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Ex1.xml" ContentType="application/vnd.ms-office.chartex+xml"/>
  <Override PartName="/ppt/charts/style2.xml" ContentType="application/vnd.ms-office.chartstyle+xml"/>
  <Override PartName="/ppt/charts/colors2.xml" ContentType="application/vnd.ms-office.chartcolorstyle+xml"/>
  <Override PartName="/ppt/charts/chartEx2.xml" ContentType="application/vnd.ms-office.chartex+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10"/>
  </p:notesMasterIdLst>
  <p:sldIdLst>
    <p:sldId id="256" r:id="rId3"/>
    <p:sldId id="257" r:id="rId4"/>
    <p:sldId id="258" r:id="rId5"/>
    <p:sldId id="259" r:id="rId6"/>
    <p:sldId id="260" r:id="rId7"/>
    <p:sldId id="261" r:id="rId8"/>
    <p:sldId id="262" r:id="rId9"/>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3" roundtripDataSignature="AMtx7mggHTocux73eUUS8qCNXO43N9vIV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1568"/>
    <p:restoredTop sz="94479"/>
  </p:normalViewPr>
  <p:slideViewPr>
    <p:cSldViewPr snapToGrid="0">
      <p:cViewPr varScale="1">
        <p:scale>
          <a:sx n="108" d="100"/>
          <a:sy n="108" d="100"/>
        </p:scale>
        <p:origin x="912" y="200"/>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customschemas.google.com/relationships/presentationmetadata" Target="metadata"/><Relationship Id="rId3" Type="http://schemas.openxmlformats.org/officeDocument/2006/relationships/slide" Target="slides/slide1.xml"/><Relationship Id="rId7" Type="http://schemas.openxmlformats.org/officeDocument/2006/relationships/slide" Target="slides/slide5.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Users/hande/Downloads/1564685166_Desalination_Unit_Data.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hande/Desktop/Springboard/Inferential-Desalination_Unit_Data-Hande%20Tokgoz%20Utku.xlsx" TargetMode="External"/><Relationship Id="rId2" Type="http://schemas.microsoft.com/office/2011/relationships/chartColorStyle" Target="colors4.xml"/><Relationship Id="rId1" Type="http://schemas.microsoft.com/office/2011/relationships/chartStyle" Target="style4.xml"/></Relationships>
</file>

<file path=ppt/charts/_rels/chart3.xml.rels><?xml version="1.0" encoding="UTF-8" standalone="yes"?>
<Relationships xmlns="http://schemas.openxmlformats.org/package/2006/relationships"><Relationship Id="rId3" Type="http://schemas.openxmlformats.org/officeDocument/2006/relationships/oleObject" Target="file:////Users/hande/Desktop/Springboard/Inferential-Desalination_Unit_Data-Hande%20Tokgoz%20Utku.xlsx" TargetMode="External"/><Relationship Id="rId2" Type="http://schemas.microsoft.com/office/2011/relationships/chartColorStyle" Target="colors5.xml"/><Relationship Id="rId1" Type="http://schemas.microsoft.com/office/2011/relationships/chartStyle" Target="style5.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Users/hande/Downloads/1564685166_Desalination_Unit_Data.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file:////Users/hande/Downloads/1564685166_Desalination_Unit_Dat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Plotted Rolling STDEV</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7832178763434724E-2"/>
          <c:y val="9.8035714285714289E-3"/>
          <c:w val="0.93521400772772945"/>
          <c:h val="0.75086445444319461"/>
        </c:manualLayout>
      </c:layout>
      <c:lineChart>
        <c:grouping val="standard"/>
        <c:varyColors val="0"/>
        <c:ser>
          <c:idx val="0"/>
          <c:order val="0"/>
          <c:tx>
            <c:strRef>
              <c:f>'Rolling Stdev Data'!$A$1:$A$2</c:f>
              <c:strCache>
                <c:ptCount val="2"/>
                <c:pt idx="0">
                  <c:v>m3/d</c:v>
                </c:pt>
                <c:pt idx="1">
                  <c:v>SURJEK_FLOW_METER_1</c:v>
                </c:pt>
              </c:strCache>
            </c:strRef>
          </c:tx>
          <c:spPr>
            <a:ln w="28575" cap="rnd">
              <a:solidFill>
                <a:schemeClr val="accent1"/>
              </a:solidFill>
              <a:round/>
            </a:ln>
            <a:effectLst/>
          </c:spPr>
          <c:marker>
            <c:symbol val="none"/>
          </c:marker>
          <c:val>
            <c:numRef>
              <c:f>'Rolling Stdev Data'!$A$3:$A$7000</c:f>
              <c:numCache>
                <c:formatCode>General</c:formatCode>
                <c:ptCount val="699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9.6279364940164286E-2</c:v>
                </c:pt>
                <c:pt idx="385">
                  <c:v>0.13356384300116927</c:v>
                </c:pt>
                <c:pt idx="386">
                  <c:v>0.16025682632263979</c:v>
                </c:pt>
                <c:pt idx="387">
                  <c:v>0.1812643747670255</c:v>
                </c:pt>
                <c:pt idx="388">
                  <c:v>0.19849152082826896</c:v>
                </c:pt>
                <c:pt idx="389">
                  <c:v>0.21236193181866755</c:v>
                </c:pt>
                <c:pt idx="390">
                  <c:v>0.22369307848731496</c:v>
                </c:pt>
                <c:pt idx="391">
                  <c:v>0.23310713811347092</c:v>
                </c:pt>
                <c:pt idx="392">
                  <c:v>0.24072397929785216</c:v>
                </c:pt>
                <c:pt idx="393">
                  <c:v>0.24692613925944332</c:v>
                </c:pt>
                <c:pt idx="394">
                  <c:v>0.25178746780780648</c:v>
                </c:pt>
                <c:pt idx="395">
                  <c:v>0.255381255042118</c:v>
                </c:pt>
                <c:pt idx="396">
                  <c:v>0.2577032046141946</c:v>
                </c:pt>
                <c:pt idx="397">
                  <c:v>0.25889666983786541</c:v>
                </c:pt>
                <c:pt idx="398">
                  <c:v>0.25889079466765347</c:v>
                </c:pt>
                <c:pt idx="399">
                  <c:v>0.25773133733266496</c:v>
                </c:pt>
                <c:pt idx="400">
                  <c:v>0.255434456614623</c:v>
                </c:pt>
                <c:pt idx="401">
                  <c:v>0.25202188151310823</c:v>
                </c:pt>
                <c:pt idx="402">
                  <c:v>0.2472585992483522</c:v>
                </c:pt>
                <c:pt idx="403">
                  <c:v>0.24126849978945125</c:v>
                </c:pt>
                <c:pt idx="404">
                  <c:v>0.2339976327095861</c:v>
                </c:pt>
                <c:pt idx="405">
                  <c:v>0.22532128840876117</c:v>
                </c:pt>
                <c:pt idx="406">
                  <c:v>0.21509619999017798</c:v>
                </c:pt>
                <c:pt idx="407">
                  <c:v>0.20308322286795905</c:v>
                </c:pt>
                <c:pt idx="408">
                  <c:v>0.18893722553461495</c:v>
                </c:pt>
                <c:pt idx="409">
                  <c:v>0.17217277046821763</c:v>
                </c:pt>
                <c:pt idx="410">
                  <c:v>0.15193114160482646</c:v>
                </c:pt>
                <c:pt idx="411">
                  <c:v>0.12659697051275473</c:v>
                </c:pt>
                <c:pt idx="412">
                  <c:v>9.2081265611204291E-2</c:v>
                </c:pt>
                <c:pt idx="413">
                  <c:v>2.1076200318117348E-2</c:v>
                </c:pt>
                <c:pt idx="414">
                  <c:v>2.064966460220248E-2</c:v>
                </c:pt>
                <c:pt idx="415">
                  <c:v>2.0101420404607242E-2</c:v>
                </c:pt>
                <c:pt idx="416">
                  <c:v>1.9836227041172643E-2</c:v>
                </c:pt>
                <c:pt idx="417">
                  <c:v>1.9393346750118796E-2</c:v>
                </c:pt>
                <c:pt idx="418">
                  <c:v>1.8688331127081584E-2</c:v>
                </c:pt>
                <c:pt idx="419">
                  <c:v>1.8296796515869924E-2</c:v>
                </c:pt>
                <c:pt idx="420">
                  <c:v>1.8072113153351641E-2</c:v>
                </c:pt>
                <c:pt idx="421">
                  <c:v>1.7754133386086696E-2</c:v>
                </c:pt>
                <c:pt idx="422">
                  <c:v>1.7497312279690477E-2</c:v>
                </c:pt>
                <c:pt idx="423">
                  <c:v>1.7192786466726426E-2</c:v>
                </c:pt>
                <c:pt idx="424">
                  <c:v>1.6774359001493693E-2</c:v>
                </c:pt>
                <c:pt idx="425">
                  <c:v>1.64480282364282E-2</c:v>
                </c:pt>
                <c:pt idx="426">
                  <c:v>1.6155013430090841E-2</c:v>
                </c:pt>
                <c:pt idx="427">
                  <c:v>1.5808348820538609E-2</c:v>
                </c:pt>
                <c:pt idx="428">
                  <c:v>1.5455286344598505E-2</c:v>
                </c:pt>
                <c:pt idx="429">
                  <c:v>1.5695874882687463E-2</c:v>
                </c:pt>
                <c:pt idx="430">
                  <c:v>1.5795464288734018E-2</c:v>
                </c:pt>
                <c:pt idx="431">
                  <c:v>1.5662913254885412E-2</c:v>
                </c:pt>
                <c:pt idx="432">
                  <c:v>1.5974574022800312E-2</c:v>
                </c:pt>
                <c:pt idx="433">
                  <c:v>1.6224022423431874E-2</c:v>
                </c:pt>
                <c:pt idx="434">
                  <c:v>1.6474979073835903E-2</c:v>
                </c:pt>
                <c:pt idx="435">
                  <c:v>1.6613860220393014E-2</c:v>
                </c:pt>
                <c:pt idx="436">
                  <c:v>1.6665488320768109E-2</c:v>
                </c:pt>
                <c:pt idx="437">
                  <c:v>1.6682969228937493E-2</c:v>
                </c:pt>
                <c:pt idx="438">
                  <c:v>1.6739767925737618E-2</c:v>
                </c:pt>
                <c:pt idx="439">
                  <c:v>1.6724578521190771E-2</c:v>
                </c:pt>
                <c:pt idx="440">
                  <c:v>1.6714530409560082E-2</c:v>
                </c:pt>
                <c:pt idx="441">
                  <c:v>1.6635644008149288E-2</c:v>
                </c:pt>
                <c:pt idx="442">
                  <c:v>1.6714169787912909E-2</c:v>
                </c:pt>
                <c:pt idx="443">
                  <c:v>1.6703497511950955E-2</c:v>
                </c:pt>
                <c:pt idx="444">
                  <c:v>1.6686997851802932E-2</c:v>
                </c:pt>
                <c:pt idx="445">
                  <c:v>1.6522654373950781E-2</c:v>
                </c:pt>
                <c:pt idx="446">
                  <c:v>1.72723898673488E-2</c:v>
                </c:pt>
                <c:pt idx="447">
                  <c:v>1.7844132963389929E-2</c:v>
                </c:pt>
                <c:pt idx="448">
                  <c:v>1.825026966573506E-2</c:v>
                </c:pt>
                <c:pt idx="449">
                  <c:v>1.8494739559810507E-2</c:v>
                </c:pt>
                <c:pt idx="450">
                  <c:v>1.9034928824432022E-2</c:v>
                </c:pt>
                <c:pt idx="451">
                  <c:v>1.9449953804995899E-2</c:v>
                </c:pt>
                <c:pt idx="452">
                  <c:v>1.9867968829920538E-2</c:v>
                </c:pt>
                <c:pt idx="453">
                  <c:v>2.0321794102144561E-2</c:v>
                </c:pt>
                <c:pt idx="454">
                  <c:v>2.0539021636411497E-2</c:v>
                </c:pt>
                <c:pt idx="455">
                  <c:v>2.0777177099103115E-2</c:v>
                </c:pt>
                <c:pt idx="456">
                  <c:v>2.089190626528346E-2</c:v>
                </c:pt>
                <c:pt idx="457">
                  <c:v>2.0974283600994573E-2</c:v>
                </c:pt>
                <c:pt idx="458">
                  <c:v>2.0868779951639889E-2</c:v>
                </c:pt>
                <c:pt idx="459">
                  <c:v>2.1094336211257191E-2</c:v>
                </c:pt>
                <c:pt idx="460">
                  <c:v>2.1165814284147294E-2</c:v>
                </c:pt>
                <c:pt idx="461">
                  <c:v>2.1071016436458378E-2</c:v>
                </c:pt>
                <c:pt idx="462">
                  <c:v>2.1067835477514583E-2</c:v>
                </c:pt>
                <c:pt idx="463">
                  <c:v>2.0935864897011325E-2</c:v>
                </c:pt>
                <c:pt idx="464">
                  <c:v>2.0795163927680736E-2</c:v>
                </c:pt>
                <c:pt idx="465">
                  <c:v>2.1605860351371867E-2</c:v>
                </c:pt>
                <c:pt idx="466">
                  <c:v>2.2826770737627004E-2</c:v>
                </c:pt>
                <c:pt idx="467">
                  <c:v>2.3750501716026738E-2</c:v>
                </c:pt>
                <c:pt idx="468">
                  <c:v>2.439234284804858E-2</c:v>
                </c:pt>
                <c:pt idx="469">
                  <c:v>2.4756708567193312E-2</c:v>
                </c:pt>
                <c:pt idx="470">
                  <c:v>2.4999941459526599E-2</c:v>
                </c:pt>
                <c:pt idx="471">
                  <c:v>2.4956226995553464E-2</c:v>
                </c:pt>
                <c:pt idx="472">
                  <c:v>2.4986973505552821E-2</c:v>
                </c:pt>
                <c:pt idx="473">
                  <c:v>2.4973411761533639E-2</c:v>
                </c:pt>
                <c:pt idx="474">
                  <c:v>2.4923168348241705E-2</c:v>
                </c:pt>
                <c:pt idx="475">
                  <c:v>2.4710973740243659E-2</c:v>
                </c:pt>
                <c:pt idx="476">
                  <c:v>2.5029463242418035E-2</c:v>
                </c:pt>
                <c:pt idx="477">
                  <c:v>2.519964510161888E-2</c:v>
                </c:pt>
                <c:pt idx="478">
                  <c:v>2.5154628489669612E-2</c:v>
                </c:pt>
                <c:pt idx="479">
                  <c:v>2.4892268395747399E-2</c:v>
                </c:pt>
                <c:pt idx="480">
                  <c:v>2.4821892361525294E-2</c:v>
                </c:pt>
                <c:pt idx="481">
                  <c:v>2.4828055397912281E-2</c:v>
                </c:pt>
                <c:pt idx="482">
                  <c:v>2.4848966266772299E-2</c:v>
                </c:pt>
                <c:pt idx="483">
                  <c:v>2.486769694909188E-2</c:v>
                </c:pt>
                <c:pt idx="484">
                  <c:v>2.4746523283001184E-2</c:v>
                </c:pt>
                <c:pt idx="485">
                  <c:v>2.4711357416193569E-2</c:v>
                </c:pt>
                <c:pt idx="486">
                  <c:v>2.5308094781439604E-2</c:v>
                </c:pt>
                <c:pt idx="487">
                  <c:v>2.5645191671311036E-2</c:v>
                </c:pt>
                <c:pt idx="488">
                  <c:v>2.570985233669568E-2</c:v>
                </c:pt>
                <c:pt idx="489">
                  <c:v>2.5520977297960507E-2</c:v>
                </c:pt>
                <c:pt idx="490">
                  <c:v>2.5064590657282663E-2</c:v>
                </c:pt>
                <c:pt idx="491">
                  <c:v>2.4288195287486016E-2</c:v>
                </c:pt>
                <c:pt idx="492">
                  <c:v>2.367207061881756E-2</c:v>
                </c:pt>
                <c:pt idx="493">
                  <c:v>2.276841599741615E-2</c:v>
                </c:pt>
                <c:pt idx="494">
                  <c:v>2.1548933700089694E-2</c:v>
                </c:pt>
                <c:pt idx="495">
                  <c:v>2.1433025483536691E-2</c:v>
                </c:pt>
                <c:pt idx="496">
                  <c:v>2.1608107896965038E-2</c:v>
                </c:pt>
                <c:pt idx="497">
                  <c:v>2.1615035914651082E-2</c:v>
                </c:pt>
                <c:pt idx="498">
                  <c:v>2.1525836263670488E-2</c:v>
                </c:pt>
                <c:pt idx="499">
                  <c:v>2.1255003017547978E-2</c:v>
                </c:pt>
                <c:pt idx="500">
                  <c:v>2.1116774371987942E-2</c:v>
                </c:pt>
                <c:pt idx="501">
                  <c:v>2.0837496929997697E-2</c:v>
                </c:pt>
                <c:pt idx="502">
                  <c:v>2.0594350760534424E-2</c:v>
                </c:pt>
                <c:pt idx="503">
                  <c:v>2.0506762274185405E-2</c:v>
                </c:pt>
                <c:pt idx="504">
                  <c:v>2.0916142298042447E-2</c:v>
                </c:pt>
                <c:pt idx="505">
                  <c:v>2.1258736174926681E-2</c:v>
                </c:pt>
                <c:pt idx="506">
                  <c:v>2.2316763266634648E-2</c:v>
                </c:pt>
                <c:pt idx="507">
                  <c:v>2.3187100894476845E-2</c:v>
                </c:pt>
                <c:pt idx="508">
                  <c:v>2.3748729673552578E-2</c:v>
                </c:pt>
                <c:pt idx="509">
                  <c:v>2.4176852738169989E-2</c:v>
                </c:pt>
                <c:pt idx="510">
                  <c:v>2.4388180912240737E-2</c:v>
                </c:pt>
                <c:pt idx="511">
                  <c:v>2.4510601106939051E-2</c:v>
                </c:pt>
                <c:pt idx="512">
                  <c:v>2.526240720554777E-2</c:v>
                </c:pt>
                <c:pt idx="513">
                  <c:v>2.6604255718043594E-2</c:v>
                </c:pt>
                <c:pt idx="514">
                  <c:v>2.7610011582404011E-2</c:v>
                </c:pt>
                <c:pt idx="515">
                  <c:v>2.8636913422656448E-2</c:v>
                </c:pt>
                <c:pt idx="516">
                  <c:v>3.0223066790990395E-2</c:v>
                </c:pt>
                <c:pt idx="517">
                  <c:v>3.1505302794993653E-2</c:v>
                </c:pt>
                <c:pt idx="518">
                  <c:v>3.2440312510617776E-2</c:v>
                </c:pt>
                <c:pt idx="519">
                  <c:v>3.3103943242869152E-2</c:v>
                </c:pt>
                <c:pt idx="520">
                  <c:v>3.3509241027329002E-2</c:v>
                </c:pt>
                <c:pt idx="521">
                  <c:v>3.369638788918649E-2</c:v>
                </c:pt>
                <c:pt idx="522">
                  <c:v>3.3922764773240945E-2</c:v>
                </c:pt>
                <c:pt idx="523">
                  <c:v>3.4081777089961081E-2</c:v>
                </c:pt>
                <c:pt idx="524">
                  <c:v>3.3994634951723536E-2</c:v>
                </c:pt>
                <c:pt idx="525">
                  <c:v>3.3743305101938896E-2</c:v>
                </c:pt>
                <c:pt idx="526">
                  <c:v>3.3357390113238551E-2</c:v>
                </c:pt>
                <c:pt idx="527">
                  <c:v>3.2666428484358884E-2</c:v>
                </c:pt>
                <c:pt idx="528">
                  <c:v>3.1774680496006395E-2</c:v>
                </c:pt>
                <c:pt idx="529">
                  <c:v>3.0666175358401389E-2</c:v>
                </c:pt>
                <c:pt idx="530">
                  <c:v>2.9445224234910968E-2</c:v>
                </c:pt>
                <c:pt idx="531">
                  <c:v>2.7926664059538909E-2</c:v>
                </c:pt>
                <c:pt idx="532">
                  <c:v>2.6316159828911626E-2</c:v>
                </c:pt>
                <c:pt idx="533">
                  <c:v>2.4513749631403323E-2</c:v>
                </c:pt>
                <c:pt idx="534">
                  <c:v>2.3155759544353879E-2</c:v>
                </c:pt>
                <c:pt idx="535">
                  <c:v>2.1660877552954542E-2</c:v>
                </c:pt>
                <c:pt idx="536">
                  <c:v>2.0739804251519431E-2</c:v>
                </c:pt>
                <c:pt idx="537">
                  <c:v>1.9844426437435357E-2</c:v>
                </c:pt>
                <c:pt idx="538">
                  <c:v>1.8710289096893852E-2</c:v>
                </c:pt>
                <c:pt idx="539">
                  <c:v>1.7416846039327461E-2</c:v>
                </c:pt>
                <c:pt idx="540">
                  <c:v>1.7147831468090121E-2</c:v>
                </c:pt>
                <c:pt idx="541">
                  <c:v>1.6579594016523744E-2</c:v>
                </c:pt>
                <c:pt idx="542">
                  <c:v>1.6806971233839924E-2</c:v>
                </c:pt>
                <c:pt idx="543">
                  <c:v>1.7839907008146399E-2</c:v>
                </c:pt>
                <c:pt idx="544">
                  <c:v>1.8646899056132194E-2</c:v>
                </c:pt>
                <c:pt idx="545">
                  <c:v>1.9357170115960682E-2</c:v>
                </c:pt>
                <c:pt idx="546">
                  <c:v>2.0145251193560053E-2</c:v>
                </c:pt>
                <c:pt idx="547">
                  <c:v>2.0776287421408659E-2</c:v>
                </c:pt>
                <c:pt idx="548">
                  <c:v>2.1296328976708658E-2</c:v>
                </c:pt>
                <c:pt idx="549">
                  <c:v>2.207262934997465E-2</c:v>
                </c:pt>
                <c:pt idx="550">
                  <c:v>2.2754482073000466E-2</c:v>
                </c:pt>
                <c:pt idx="551">
                  <c:v>2.3217445498188809E-2</c:v>
                </c:pt>
                <c:pt idx="552">
                  <c:v>2.3859299968470013E-2</c:v>
                </c:pt>
                <c:pt idx="553">
                  <c:v>2.4443889574468254E-2</c:v>
                </c:pt>
                <c:pt idx="554">
                  <c:v>2.4831312175314316E-2</c:v>
                </c:pt>
                <c:pt idx="555">
                  <c:v>2.506143405642557E-2</c:v>
                </c:pt>
                <c:pt idx="556">
                  <c:v>2.5351800257697583E-2</c:v>
                </c:pt>
                <c:pt idx="557">
                  <c:v>2.5427236160560404E-2</c:v>
                </c:pt>
                <c:pt idx="558">
                  <c:v>2.5350686473390203E-2</c:v>
                </c:pt>
                <c:pt idx="559">
                  <c:v>2.5192624269277319E-2</c:v>
                </c:pt>
                <c:pt idx="560">
                  <c:v>2.4853849031675552E-2</c:v>
                </c:pt>
                <c:pt idx="561">
                  <c:v>2.4336236762703713E-2</c:v>
                </c:pt>
                <c:pt idx="562">
                  <c:v>2.3668655403620436E-2</c:v>
                </c:pt>
                <c:pt idx="563">
                  <c:v>2.3053356902859767E-2</c:v>
                </c:pt>
                <c:pt idx="564">
                  <c:v>2.2440079492687851E-2</c:v>
                </c:pt>
                <c:pt idx="565">
                  <c:v>2.1733410773338509E-2</c:v>
                </c:pt>
                <c:pt idx="566">
                  <c:v>2.139563920922341E-2</c:v>
                </c:pt>
                <c:pt idx="567">
                  <c:v>2.1345090051092808E-2</c:v>
                </c:pt>
                <c:pt idx="568">
                  <c:v>2.0991215134624111E-2</c:v>
                </c:pt>
                <c:pt idx="569">
                  <c:v>2.072263495811677E-2</c:v>
                </c:pt>
                <c:pt idx="570">
                  <c:v>2.1999782607007225E-2</c:v>
                </c:pt>
                <c:pt idx="571">
                  <c:v>2.3027537346524057E-2</c:v>
                </c:pt>
                <c:pt idx="572">
                  <c:v>2.373376972645409E-2</c:v>
                </c:pt>
                <c:pt idx="573">
                  <c:v>2.4518771570803437E-2</c:v>
                </c:pt>
                <c:pt idx="574">
                  <c:v>2.50120702176596E-2</c:v>
                </c:pt>
                <c:pt idx="575">
                  <c:v>2.5314921371070834E-2</c:v>
                </c:pt>
                <c:pt idx="576">
                  <c:v>2.5573478842878611E-2</c:v>
                </c:pt>
                <c:pt idx="577">
                  <c:v>2.5578210174357293E-2</c:v>
                </c:pt>
                <c:pt idx="578">
                  <c:v>2.5635958424038496E-2</c:v>
                </c:pt>
                <c:pt idx="579">
                  <c:v>2.5901731432396942E-2</c:v>
                </c:pt>
                <c:pt idx="580">
                  <c:v>2.6058990572065791E-2</c:v>
                </c:pt>
                <c:pt idx="581">
                  <c:v>2.6198269785662087E-2</c:v>
                </c:pt>
                <c:pt idx="582">
                  <c:v>2.8030043688573258E-2</c:v>
                </c:pt>
                <c:pt idx="583">
                  <c:v>2.9995225810979555E-2</c:v>
                </c:pt>
                <c:pt idx="584">
                  <c:v>3.149615785497599E-2</c:v>
                </c:pt>
                <c:pt idx="585">
                  <c:v>3.3555349875917288E-2</c:v>
                </c:pt>
                <c:pt idx="586">
                  <c:v>3.5180739994999134E-2</c:v>
                </c:pt>
                <c:pt idx="587">
                  <c:v>3.6879278877298159E-2</c:v>
                </c:pt>
                <c:pt idx="588">
                  <c:v>3.8145667835943746E-2</c:v>
                </c:pt>
                <c:pt idx="589">
                  <c:v>3.8942668438347282E-2</c:v>
                </c:pt>
                <c:pt idx="590">
                  <c:v>3.9328012479611124E-2</c:v>
                </c:pt>
                <c:pt idx="591">
                  <c:v>3.9342098122764957E-2</c:v>
                </c:pt>
                <c:pt idx="592">
                  <c:v>3.9013697768631256E-2</c:v>
                </c:pt>
                <c:pt idx="593">
                  <c:v>3.9255464356540121E-2</c:v>
                </c:pt>
                <c:pt idx="594">
                  <c:v>3.9341128116858144E-2</c:v>
                </c:pt>
                <c:pt idx="595">
                  <c:v>3.8988516385540954E-2</c:v>
                </c:pt>
                <c:pt idx="596">
                  <c:v>3.8970130438401251E-2</c:v>
                </c:pt>
                <c:pt idx="597">
                  <c:v>3.8962460565084893E-2</c:v>
                </c:pt>
                <c:pt idx="598">
                  <c:v>3.8618438129807038E-2</c:v>
                </c:pt>
                <c:pt idx="599">
                  <c:v>3.8319516603878424E-2</c:v>
                </c:pt>
                <c:pt idx="600">
                  <c:v>3.8109230438912838E-2</c:v>
                </c:pt>
                <c:pt idx="601">
                  <c:v>3.7630095808883039E-2</c:v>
                </c:pt>
                <c:pt idx="602">
                  <c:v>3.6883359454504508E-2</c:v>
                </c:pt>
                <c:pt idx="603">
                  <c:v>3.5988510163555316E-2</c:v>
                </c:pt>
                <c:pt idx="604">
                  <c:v>3.4930705040422227E-2</c:v>
                </c:pt>
                <c:pt idx="605">
                  <c:v>3.3577156860999137E-2</c:v>
                </c:pt>
                <c:pt idx="606">
                  <c:v>3.2022306132168492E-2</c:v>
                </c:pt>
                <c:pt idx="607">
                  <c:v>3.0076346799238266E-2</c:v>
                </c:pt>
                <c:pt idx="608">
                  <c:v>2.7999212335301064E-2</c:v>
                </c:pt>
                <c:pt idx="609">
                  <c:v>2.5501014707427803E-2</c:v>
                </c:pt>
                <c:pt idx="610">
                  <c:v>2.2360359777056395E-2</c:v>
                </c:pt>
                <c:pt idx="611">
                  <c:v>1.8774942822589232E-2</c:v>
                </c:pt>
                <c:pt idx="612">
                  <c:v>1.726526406483294E-2</c:v>
                </c:pt>
                <c:pt idx="613">
                  <c:v>1.6126033887407434E-2</c:v>
                </c:pt>
                <c:pt idx="614">
                  <c:v>1.4639201960618223E-2</c:v>
                </c:pt>
                <c:pt idx="615">
                  <c:v>1.4042233659186065E-2</c:v>
                </c:pt>
                <c:pt idx="616">
                  <c:v>1.3241216030507571E-2</c:v>
                </c:pt>
                <c:pt idx="617">
                  <c:v>1.3497172085681963E-2</c:v>
                </c:pt>
                <c:pt idx="618">
                  <c:v>1.3779146538900581E-2</c:v>
                </c:pt>
                <c:pt idx="619">
                  <c:v>1.3858724951362783E-2</c:v>
                </c:pt>
                <c:pt idx="620">
                  <c:v>1.3841233321828626E-2</c:v>
                </c:pt>
                <c:pt idx="621">
                  <c:v>1.3786878542077885E-2</c:v>
                </c:pt>
                <c:pt idx="622">
                  <c:v>1.5525948558729463E-2</c:v>
                </c:pt>
                <c:pt idx="623">
                  <c:v>1.775963915028704E-2</c:v>
                </c:pt>
                <c:pt idx="624">
                  <c:v>1.9500345227120033E-2</c:v>
                </c:pt>
                <c:pt idx="625">
                  <c:v>2.1057082434768774E-2</c:v>
                </c:pt>
                <c:pt idx="626">
                  <c:v>2.2383691368517318E-2</c:v>
                </c:pt>
                <c:pt idx="627">
                  <c:v>2.3519582817032661E-2</c:v>
                </c:pt>
                <c:pt idx="628">
                  <c:v>2.5643786979984026E-2</c:v>
                </c:pt>
                <c:pt idx="629">
                  <c:v>2.7629227980731107E-2</c:v>
                </c:pt>
                <c:pt idx="630">
                  <c:v>2.9374486554780987E-2</c:v>
                </c:pt>
                <c:pt idx="631">
                  <c:v>3.0725400767343786E-2</c:v>
                </c:pt>
                <c:pt idx="632">
                  <c:v>3.1947333105765578E-2</c:v>
                </c:pt>
                <c:pt idx="633">
                  <c:v>3.2854269833211561E-2</c:v>
                </c:pt>
                <c:pt idx="634">
                  <c:v>3.3836004403107155E-2</c:v>
                </c:pt>
                <c:pt idx="635">
                  <c:v>3.4604039804393111E-2</c:v>
                </c:pt>
                <c:pt idx="636">
                  <c:v>3.5143763924202528E-2</c:v>
                </c:pt>
                <c:pt idx="637">
                  <c:v>3.5541609754516951E-2</c:v>
                </c:pt>
                <c:pt idx="638">
                  <c:v>3.5723295518702201E-2</c:v>
                </c:pt>
                <c:pt idx="639">
                  <c:v>3.5660528738242818E-2</c:v>
                </c:pt>
                <c:pt idx="640">
                  <c:v>3.5393136633362861E-2</c:v>
                </c:pt>
                <c:pt idx="641">
                  <c:v>3.5147581614454207E-2</c:v>
                </c:pt>
                <c:pt idx="642">
                  <c:v>3.4723534213838961E-2</c:v>
                </c:pt>
                <c:pt idx="643">
                  <c:v>3.4092282286730106E-2</c:v>
                </c:pt>
                <c:pt idx="644">
                  <c:v>3.3770740686603261E-2</c:v>
                </c:pt>
                <c:pt idx="645">
                  <c:v>3.3020402673272546E-2</c:v>
                </c:pt>
                <c:pt idx="646">
                  <c:v>3.1811695057098903E-2</c:v>
                </c:pt>
                <c:pt idx="647">
                  <c:v>3.1053375538375266E-2</c:v>
                </c:pt>
                <c:pt idx="648">
                  <c:v>3.0096288050446628E-2</c:v>
                </c:pt>
                <c:pt idx="649">
                  <c:v>2.8759468296696403E-2</c:v>
                </c:pt>
                <c:pt idx="650">
                  <c:v>2.7103910025681945E-2</c:v>
                </c:pt>
                <c:pt idx="651">
                  <c:v>2.5335434905466931E-2</c:v>
                </c:pt>
                <c:pt idx="652">
                  <c:v>2.4900860545972424E-2</c:v>
                </c:pt>
                <c:pt idx="653">
                  <c:v>2.4395924911424432E-2</c:v>
                </c:pt>
                <c:pt idx="654">
                  <c:v>2.3608813317237038E-2</c:v>
                </c:pt>
                <c:pt idx="655">
                  <c:v>2.2697689639715472E-2</c:v>
                </c:pt>
                <c:pt idx="656">
                  <c:v>2.1607685314432423E-2</c:v>
                </c:pt>
                <c:pt idx="657">
                  <c:v>2.030805928063768E-2</c:v>
                </c:pt>
                <c:pt idx="658">
                  <c:v>2.0128888855367445E-2</c:v>
                </c:pt>
                <c:pt idx="659">
                  <c:v>2.0010701810955479E-2</c:v>
                </c:pt>
                <c:pt idx="660">
                  <c:v>1.984863177338481E-2</c:v>
                </c:pt>
                <c:pt idx="661">
                  <c:v>1.9665439561065527E-2</c:v>
                </c:pt>
                <c:pt idx="662">
                  <c:v>1.9477837214560971E-2</c:v>
                </c:pt>
                <c:pt idx="663">
                  <c:v>1.9135620839974894E-2</c:v>
                </c:pt>
                <c:pt idx="664">
                  <c:v>1.8824729543329994E-2</c:v>
                </c:pt>
                <c:pt idx="665">
                  <c:v>1.8450979170600745E-2</c:v>
                </c:pt>
                <c:pt idx="666">
                  <c:v>1.792891502667722E-2</c:v>
                </c:pt>
                <c:pt idx="667">
                  <c:v>1.7341728125788918E-2</c:v>
                </c:pt>
                <c:pt idx="668">
                  <c:v>1.6653677818387055E-2</c:v>
                </c:pt>
                <c:pt idx="669">
                  <c:v>1.5840367179164861E-2</c:v>
                </c:pt>
                <c:pt idx="670">
                  <c:v>1.4815254545739669E-2</c:v>
                </c:pt>
                <c:pt idx="671">
                  <c:v>1.3993898394720289E-2</c:v>
                </c:pt>
                <c:pt idx="672">
                  <c:v>1.3053491235701892E-2</c:v>
                </c:pt>
                <c:pt idx="673">
                  <c:v>1.1941277147281066E-2</c:v>
                </c:pt>
                <c:pt idx="674">
                  <c:v>1.1690353173976034E-2</c:v>
                </c:pt>
                <c:pt idx="675">
                  <c:v>1.1368748553618441E-2</c:v>
                </c:pt>
                <c:pt idx="676">
                  <c:v>1.0965276096752128E-2</c:v>
                </c:pt>
                <c:pt idx="677">
                  <c:v>1.0598569387141857E-2</c:v>
                </c:pt>
                <c:pt idx="678">
                  <c:v>1.0191407028365487E-2</c:v>
                </c:pt>
                <c:pt idx="679">
                  <c:v>9.7175219407128859E-3</c:v>
                </c:pt>
                <c:pt idx="680">
                  <c:v>9.1596489300137269E-3</c:v>
                </c:pt>
                <c:pt idx="681">
                  <c:v>8.9802885201827071E-3</c:v>
                </c:pt>
                <c:pt idx="682">
                  <c:v>8.8827844545279495E-3</c:v>
                </c:pt>
                <c:pt idx="683">
                  <c:v>8.7040072877826308E-3</c:v>
                </c:pt>
                <c:pt idx="684">
                  <c:v>8.5015543615175153E-3</c:v>
                </c:pt>
                <c:pt idx="685">
                  <c:v>8.2321722471426911E-3</c:v>
                </c:pt>
                <c:pt idx="686">
                  <c:v>8.1083363241123124E-3</c:v>
                </c:pt>
                <c:pt idx="687">
                  <c:v>8.5503114800087789E-3</c:v>
                </c:pt>
                <c:pt idx="688">
                  <c:v>9.1014477980015853E-3</c:v>
                </c:pt>
                <c:pt idx="689">
                  <c:v>9.5962693297327352E-3</c:v>
                </c:pt>
                <c:pt idx="690">
                  <c:v>1.0653181862116601E-2</c:v>
                </c:pt>
                <c:pt idx="691">
                  <c:v>1.1615775349675323E-2</c:v>
                </c:pt>
                <c:pt idx="692">
                  <c:v>1.2389521183897752E-2</c:v>
                </c:pt>
                <c:pt idx="693">
                  <c:v>1.3263370278103273E-2</c:v>
                </c:pt>
                <c:pt idx="694">
                  <c:v>1.3956991413982232E-2</c:v>
                </c:pt>
                <c:pt idx="695">
                  <c:v>1.4527506088262693E-2</c:v>
                </c:pt>
                <c:pt idx="696">
                  <c:v>1.5100584890681189E-2</c:v>
                </c:pt>
                <c:pt idx="697">
                  <c:v>1.5543215539967436E-2</c:v>
                </c:pt>
                <c:pt idx="698">
                  <c:v>1.5935718198219855E-2</c:v>
                </c:pt>
                <c:pt idx="699">
                  <c:v>1.6553832572307171E-2</c:v>
                </c:pt>
                <c:pt idx="700">
                  <c:v>1.708971745571123E-2</c:v>
                </c:pt>
                <c:pt idx="701">
                  <c:v>1.7502367481840822E-2</c:v>
                </c:pt>
                <c:pt idx="702">
                  <c:v>1.7779708625931218E-2</c:v>
                </c:pt>
                <c:pt idx="703">
                  <c:v>1.7909584875092893E-2</c:v>
                </c:pt>
                <c:pt idx="704">
                  <c:v>1.7964060844779268E-2</c:v>
                </c:pt>
                <c:pt idx="705">
                  <c:v>1.7944133127822229E-2</c:v>
                </c:pt>
                <c:pt idx="706">
                  <c:v>1.7826555619360522E-2</c:v>
                </c:pt>
                <c:pt idx="707">
                  <c:v>1.7569784645896154E-2</c:v>
                </c:pt>
                <c:pt idx="708">
                  <c:v>1.7242206075711516E-2</c:v>
                </c:pt>
                <c:pt idx="709">
                  <c:v>1.7148284669257077E-2</c:v>
                </c:pt>
                <c:pt idx="710">
                  <c:v>1.7037124605100259E-2</c:v>
                </c:pt>
                <c:pt idx="711">
                  <c:v>1.6906576489158352E-2</c:v>
                </c:pt>
                <c:pt idx="712">
                  <c:v>1.6690507897039356E-2</c:v>
                </c:pt>
                <c:pt idx="713">
                  <c:v>1.6346852232447671E-2</c:v>
                </c:pt>
                <c:pt idx="714">
                  <c:v>1.5936638075913851E-2</c:v>
                </c:pt>
                <c:pt idx="715">
                  <c:v>1.5557741243460042E-2</c:v>
                </c:pt>
                <c:pt idx="716">
                  <c:v>1.5088610420454533E-2</c:v>
                </c:pt>
                <c:pt idx="717">
                  <c:v>1.4865474354369806E-2</c:v>
                </c:pt>
                <c:pt idx="718">
                  <c:v>1.4569251246582964E-2</c:v>
                </c:pt>
                <c:pt idx="719">
                  <c:v>1.4149040980352544E-2</c:v>
                </c:pt>
                <c:pt idx="720">
                  <c:v>1.4190634116498166E-2</c:v>
                </c:pt>
                <c:pt idx="721">
                  <c:v>1.4096736415061992E-2</c:v>
                </c:pt>
                <c:pt idx="722">
                  <c:v>1.3866616989558071E-2</c:v>
                </c:pt>
                <c:pt idx="723">
                  <c:v>1.4188848370561603E-2</c:v>
                </c:pt>
                <c:pt idx="724">
                  <c:v>1.4380008420033055E-2</c:v>
                </c:pt>
                <c:pt idx="725">
                  <c:v>1.4410508224461967E-2</c:v>
                </c:pt>
                <c:pt idx="726">
                  <c:v>1.4513184729073104E-2</c:v>
                </c:pt>
                <c:pt idx="727">
                  <c:v>1.4517920715732427E-2</c:v>
                </c:pt>
                <c:pt idx="728">
                  <c:v>1.4427895100295162E-2</c:v>
                </c:pt>
                <c:pt idx="729">
                  <c:v>1.4519829218878554E-2</c:v>
                </c:pt>
                <c:pt idx="730">
                  <c:v>1.4561327212324898E-2</c:v>
                </c:pt>
                <c:pt idx="731">
                  <c:v>1.4533650893100528E-2</c:v>
                </c:pt>
                <c:pt idx="732">
                  <c:v>1.4411406527216057E-2</c:v>
                </c:pt>
                <c:pt idx="733">
                  <c:v>1.4165706615918974E-2</c:v>
                </c:pt>
                <c:pt idx="734">
                  <c:v>1.4361410657302823E-2</c:v>
                </c:pt>
                <c:pt idx="735">
                  <c:v>1.4434763519068821E-2</c:v>
                </c:pt>
                <c:pt idx="736">
                  <c:v>1.4418662635018299E-2</c:v>
                </c:pt>
                <c:pt idx="737">
                  <c:v>1.4229258003249288E-2</c:v>
                </c:pt>
                <c:pt idx="738">
                  <c:v>1.3949851052346656E-2</c:v>
                </c:pt>
                <c:pt idx="739">
                  <c:v>1.4233959133977719E-2</c:v>
                </c:pt>
                <c:pt idx="740">
                  <c:v>1.4527060055542914E-2</c:v>
                </c:pt>
                <c:pt idx="741">
                  <c:v>1.5001174235896742E-2</c:v>
                </c:pt>
                <c:pt idx="742">
                  <c:v>1.5784197041455627E-2</c:v>
                </c:pt>
                <c:pt idx="743">
                  <c:v>1.6384695865236613E-2</c:v>
                </c:pt>
                <c:pt idx="744">
                  <c:v>1.7056680962923818E-2</c:v>
                </c:pt>
                <c:pt idx="745">
                  <c:v>1.7809765661604228E-2</c:v>
                </c:pt>
                <c:pt idx="746">
                  <c:v>1.8379492156544119E-2</c:v>
                </c:pt>
                <c:pt idx="747">
                  <c:v>1.8764103012565595E-2</c:v>
                </c:pt>
                <c:pt idx="748">
                  <c:v>1.8993732251791951E-2</c:v>
                </c:pt>
                <c:pt idx="749">
                  <c:v>1.9533938470618441E-2</c:v>
                </c:pt>
                <c:pt idx="750">
                  <c:v>2.0220885549759933E-2</c:v>
                </c:pt>
                <c:pt idx="751">
                  <c:v>2.0687947559781872E-2</c:v>
                </c:pt>
                <c:pt idx="752">
                  <c:v>2.0928625534719747E-2</c:v>
                </c:pt>
                <c:pt idx="753">
                  <c:v>2.1469043562965466E-2</c:v>
                </c:pt>
                <c:pt idx="754">
                  <c:v>2.1852045775961608E-2</c:v>
                </c:pt>
                <c:pt idx="755">
                  <c:v>2.2093712499591241E-2</c:v>
                </c:pt>
                <c:pt idx="756">
                  <c:v>2.2444810979424829E-2</c:v>
                </c:pt>
                <c:pt idx="757">
                  <c:v>2.2723174399436993E-2</c:v>
                </c:pt>
                <c:pt idx="758">
                  <c:v>2.3013806255111256E-2</c:v>
                </c:pt>
                <c:pt idx="759">
                  <c:v>2.3184713308694357E-2</c:v>
                </c:pt>
                <c:pt idx="760">
                  <c:v>2.3131159556890997E-2</c:v>
                </c:pt>
                <c:pt idx="761">
                  <c:v>2.2973423415106324E-2</c:v>
                </c:pt>
                <c:pt idx="762">
                  <c:v>2.2559744090410481E-2</c:v>
                </c:pt>
                <c:pt idx="763">
                  <c:v>2.1875341774105106E-2</c:v>
                </c:pt>
                <c:pt idx="764">
                  <c:v>2.1653154735649448E-2</c:v>
                </c:pt>
                <c:pt idx="765">
                  <c:v>2.1319211308169432E-2</c:v>
                </c:pt>
                <c:pt idx="766">
                  <c:v>2.1065892336271905E-2</c:v>
                </c:pt>
                <c:pt idx="767">
                  <c:v>2.0186475933724229E-2</c:v>
                </c:pt>
                <c:pt idx="768">
                  <c:v>1.9081477360228447E-2</c:v>
                </c:pt>
                <c:pt idx="769">
                  <c:v>1.7986164841705909E-2</c:v>
                </c:pt>
                <c:pt idx="770">
                  <c:v>1.6634528423903235E-2</c:v>
                </c:pt>
                <c:pt idx="771">
                  <c:v>1.542721729139577E-2</c:v>
                </c:pt>
                <c:pt idx="772">
                  <c:v>1.4503581169850052E-2</c:v>
                </c:pt>
                <c:pt idx="773">
                  <c:v>1.3448935813453158E-2</c:v>
                </c:pt>
                <c:pt idx="774">
                  <c:v>1.2541499153713888E-2</c:v>
                </c:pt>
                <c:pt idx="775">
                  <c:v>1.1706301359089446E-2</c:v>
                </c:pt>
                <c:pt idx="776">
                  <c:v>1.0859444489810003E-2</c:v>
                </c:pt>
                <c:pt idx="777">
                  <c:v>9.9385081743721872E-3</c:v>
                </c:pt>
                <c:pt idx="778">
                  <c:v>9.1874644063498264E-3</c:v>
                </c:pt>
                <c:pt idx="779">
                  <c:v>9.5677894471354209E-3</c:v>
                </c:pt>
                <c:pt idx="780">
                  <c:v>1.0220049441792098E-2</c:v>
                </c:pt>
                <c:pt idx="781">
                  <c:v>1.1121212044791457E-2</c:v>
                </c:pt>
                <c:pt idx="782">
                  <c:v>1.197898011260869E-2</c:v>
                </c:pt>
                <c:pt idx="783">
                  <c:v>1.2894707464744855E-2</c:v>
                </c:pt>
                <c:pt idx="784">
                  <c:v>1.3881669499672705E-2</c:v>
                </c:pt>
                <c:pt idx="785">
                  <c:v>1.4898833358048988E-2</c:v>
                </c:pt>
                <c:pt idx="786">
                  <c:v>1.6196862981223057E-2</c:v>
                </c:pt>
                <c:pt idx="787">
                  <c:v>1.731688091012332E-2</c:v>
                </c:pt>
                <c:pt idx="788">
                  <c:v>1.8903445586883016E-2</c:v>
                </c:pt>
                <c:pt idx="789">
                  <c:v>2.1348249695978212E-2</c:v>
                </c:pt>
                <c:pt idx="790">
                  <c:v>2.363670011200996E-2</c:v>
                </c:pt>
                <c:pt idx="791">
                  <c:v>2.5534930858761771E-2</c:v>
                </c:pt>
                <c:pt idx="792">
                  <c:v>2.7101312257976917E-2</c:v>
                </c:pt>
                <c:pt idx="793">
                  <c:v>2.8616993063483819E-2</c:v>
                </c:pt>
                <c:pt idx="794">
                  <c:v>2.9707378443458884E-2</c:v>
                </c:pt>
                <c:pt idx="795">
                  <c:v>3.0531849238073689E-2</c:v>
                </c:pt>
                <c:pt idx="796">
                  <c:v>3.0844948879567027E-2</c:v>
                </c:pt>
                <c:pt idx="797">
                  <c:v>3.1256046447084851E-2</c:v>
                </c:pt>
                <c:pt idx="798">
                  <c:v>3.1486282173138071E-2</c:v>
                </c:pt>
                <c:pt idx="799">
                  <c:v>3.1533010375114454E-2</c:v>
                </c:pt>
                <c:pt idx="800">
                  <c:v>3.1364253577622993E-2</c:v>
                </c:pt>
                <c:pt idx="801">
                  <c:v>3.1017963187234033E-2</c:v>
                </c:pt>
                <c:pt idx="802">
                  <c:v>3.0748498748035747E-2</c:v>
                </c:pt>
                <c:pt idx="803">
                  <c:v>3.0733771246305937E-2</c:v>
                </c:pt>
                <c:pt idx="804">
                  <c:v>3.0851062657150371E-2</c:v>
                </c:pt>
                <c:pt idx="805">
                  <c:v>3.0933166489034207E-2</c:v>
                </c:pt>
                <c:pt idx="806">
                  <c:v>3.0896093720296398E-2</c:v>
                </c:pt>
                <c:pt idx="807">
                  <c:v>3.0495503267028247E-2</c:v>
                </c:pt>
                <c:pt idx="808">
                  <c:v>3.0464420506448025E-2</c:v>
                </c:pt>
                <c:pt idx="809">
                  <c:v>3.0500716274556014E-2</c:v>
                </c:pt>
                <c:pt idx="810">
                  <c:v>3.0258700965894659E-2</c:v>
                </c:pt>
                <c:pt idx="811">
                  <c:v>3.0949056622571074E-2</c:v>
                </c:pt>
                <c:pt idx="812">
                  <c:v>3.1569722215690391E-2</c:v>
                </c:pt>
                <c:pt idx="813">
                  <c:v>3.1791631471044961E-2</c:v>
                </c:pt>
                <c:pt idx="814">
                  <c:v>3.1694069338575354E-2</c:v>
                </c:pt>
                <c:pt idx="815">
                  <c:v>3.1357421025885526E-2</c:v>
                </c:pt>
                <c:pt idx="816">
                  <c:v>3.1032995107763937E-2</c:v>
                </c:pt>
                <c:pt idx="817">
                  <c:v>3.0283393201470048E-2</c:v>
                </c:pt>
                <c:pt idx="818">
                  <c:v>3.0117288070272811E-2</c:v>
                </c:pt>
                <c:pt idx="819">
                  <c:v>3.0871795321408668E-2</c:v>
                </c:pt>
                <c:pt idx="820">
                  <c:v>3.1582455338403349E-2</c:v>
                </c:pt>
                <c:pt idx="821">
                  <c:v>3.2288614389957851E-2</c:v>
                </c:pt>
                <c:pt idx="822">
                  <c:v>3.3208505716527809E-2</c:v>
                </c:pt>
                <c:pt idx="823">
                  <c:v>3.4115293570052177E-2</c:v>
                </c:pt>
                <c:pt idx="824">
                  <c:v>3.4695808038622891E-2</c:v>
                </c:pt>
                <c:pt idx="825">
                  <c:v>3.5539982799588379E-2</c:v>
                </c:pt>
                <c:pt idx="826">
                  <c:v>3.6115692496372018E-2</c:v>
                </c:pt>
                <c:pt idx="827">
                  <c:v>3.6375167446709274E-2</c:v>
                </c:pt>
                <c:pt idx="828">
                  <c:v>3.6716441979431781E-2</c:v>
                </c:pt>
                <c:pt idx="829">
                  <c:v>3.7336790802171067E-2</c:v>
                </c:pt>
                <c:pt idx="830">
                  <c:v>3.7497045138148485E-2</c:v>
                </c:pt>
                <c:pt idx="831">
                  <c:v>3.7252497075987621E-2</c:v>
                </c:pt>
                <c:pt idx="832">
                  <c:v>3.6790041549411186E-2</c:v>
                </c:pt>
                <c:pt idx="833">
                  <c:v>3.6469978310721879E-2</c:v>
                </c:pt>
                <c:pt idx="834">
                  <c:v>3.6105432246228863E-2</c:v>
                </c:pt>
                <c:pt idx="835">
                  <c:v>3.5626664979947632E-2</c:v>
                </c:pt>
                <c:pt idx="836">
                  <c:v>3.5459189555648085E-2</c:v>
                </c:pt>
                <c:pt idx="837">
                  <c:v>3.5135492344479338E-2</c:v>
                </c:pt>
                <c:pt idx="838">
                  <c:v>3.4835052584800318E-2</c:v>
                </c:pt>
                <c:pt idx="839">
                  <c:v>3.4127127566963539E-2</c:v>
                </c:pt>
                <c:pt idx="840">
                  <c:v>3.3818320935520133E-2</c:v>
                </c:pt>
                <c:pt idx="841">
                  <c:v>3.4263841961753229E-2</c:v>
                </c:pt>
                <c:pt idx="842">
                  <c:v>3.4631408714624182E-2</c:v>
                </c:pt>
                <c:pt idx="843">
                  <c:v>3.486948042546173E-2</c:v>
                </c:pt>
                <c:pt idx="844">
                  <c:v>3.4738962438727913E-2</c:v>
                </c:pt>
                <c:pt idx="845">
                  <c:v>3.4787587802294427E-2</c:v>
                </c:pt>
                <c:pt idx="846">
                  <c:v>3.460352797746663E-2</c:v>
                </c:pt>
                <c:pt idx="847">
                  <c:v>3.3986336472657148E-2</c:v>
                </c:pt>
                <c:pt idx="848">
                  <c:v>3.3391908849433195E-2</c:v>
                </c:pt>
                <c:pt idx="849">
                  <c:v>3.3132896352174646E-2</c:v>
                </c:pt>
                <c:pt idx="850">
                  <c:v>3.2616988754218389E-2</c:v>
                </c:pt>
                <c:pt idx="851">
                  <c:v>3.1961326808156873E-2</c:v>
                </c:pt>
                <c:pt idx="852">
                  <c:v>3.1591452661741057E-2</c:v>
                </c:pt>
                <c:pt idx="853">
                  <c:v>3.112693077466475E-2</c:v>
                </c:pt>
                <c:pt idx="854">
                  <c:v>3.0559021583509122E-2</c:v>
                </c:pt>
                <c:pt idx="855">
                  <c:v>3.0205209088657984E-2</c:v>
                </c:pt>
                <c:pt idx="856">
                  <c:v>2.9589114779681271E-2</c:v>
                </c:pt>
                <c:pt idx="857">
                  <c:v>2.8726239743957088E-2</c:v>
                </c:pt>
                <c:pt idx="858">
                  <c:v>2.8107825160516839E-2</c:v>
                </c:pt>
                <c:pt idx="859">
                  <c:v>2.8148150770748642E-2</c:v>
                </c:pt>
                <c:pt idx="860">
                  <c:v>2.7947455169006673E-2</c:v>
                </c:pt>
                <c:pt idx="861">
                  <c:v>2.7500081759686556E-2</c:v>
                </c:pt>
                <c:pt idx="862">
                  <c:v>2.6874366992673718E-2</c:v>
                </c:pt>
                <c:pt idx="863">
                  <c:v>2.6055728186480002E-2</c:v>
                </c:pt>
                <c:pt idx="864">
                  <c:v>2.5098146618190858E-2</c:v>
                </c:pt>
                <c:pt idx="865">
                  <c:v>2.3776784554521424E-2</c:v>
                </c:pt>
                <c:pt idx="866">
                  <c:v>2.3601724746058782E-2</c:v>
                </c:pt>
                <c:pt idx="867">
                  <c:v>2.4318919237615144E-2</c:v>
                </c:pt>
                <c:pt idx="868">
                  <c:v>2.4719083050433802E-2</c:v>
                </c:pt>
                <c:pt idx="869">
                  <c:v>2.4799130239316042E-2</c:v>
                </c:pt>
                <c:pt idx="870">
                  <c:v>2.5411221182619997E-2</c:v>
                </c:pt>
                <c:pt idx="871">
                  <c:v>2.586881934516572E-2</c:v>
                </c:pt>
                <c:pt idx="872">
                  <c:v>2.634051211124392E-2</c:v>
                </c:pt>
                <c:pt idx="873">
                  <c:v>2.7119324444211799E-2</c:v>
                </c:pt>
                <c:pt idx="874">
                  <c:v>2.7665837521864554E-2</c:v>
                </c:pt>
                <c:pt idx="875">
                  <c:v>2.849381574829107E-2</c:v>
                </c:pt>
                <c:pt idx="876">
                  <c:v>2.9102819319612741E-2</c:v>
                </c:pt>
                <c:pt idx="877">
                  <c:v>2.9419915539404758E-2</c:v>
                </c:pt>
                <c:pt idx="878">
                  <c:v>3.0370438895774194E-2</c:v>
                </c:pt>
                <c:pt idx="879">
                  <c:v>3.1210218914095554E-2</c:v>
                </c:pt>
                <c:pt idx="880">
                  <c:v>3.1785272121863925E-2</c:v>
                </c:pt>
                <c:pt idx="881">
                  <c:v>3.2249663890881929E-2</c:v>
                </c:pt>
                <c:pt idx="882">
                  <c:v>3.2693403578722732E-2</c:v>
                </c:pt>
                <c:pt idx="883">
                  <c:v>3.2959625613590969E-2</c:v>
                </c:pt>
                <c:pt idx="884">
                  <c:v>3.3557502112274366E-2</c:v>
                </c:pt>
                <c:pt idx="885">
                  <c:v>3.3861282367595238E-2</c:v>
                </c:pt>
                <c:pt idx="886">
                  <c:v>3.3863218134088303E-2</c:v>
                </c:pt>
                <c:pt idx="887">
                  <c:v>3.3657114299957963E-2</c:v>
                </c:pt>
                <c:pt idx="888">
                  <c:v>3.4240649836244384E-2</c:v>
                </c:pt>
                <c:pt idx="889">
                  <c:v>3.5112779030743543E-2</c:v>
                </c:pt>
                <c:pt idx="890">
                  <c:v>3.5684260930971962E-2</c:v>
                </c:pt>
                <c:pt idx="891">
                  <c:v>3.5859727725014702E-2</c:v>
                </c:pt>
                <c:pt idx="892">
                  <c:v>3.5900830211670537E-2</c:v>
                </c:pt>
                <c:pt idx="893">
                  <c:v>3.5761042151323558E-2</c:v>
                </c:pt>
                <c:pt idx="894">
                  <c:v>3.5341982115109583E-2</c:v>
                </c:pt>
                <c:pt idx="895">
                  <c:v>3.4497908053475621E-2</c:v>
                </c:pt>
                <c:pt idx="896">
                  <c:v>3.4097558984297692E-2</c:v>
                </c:pt>
                <c:pt idx="897">
                  <c:v>3.4367366030897767E-2</c:v>
                </c:pt>
                <c:pt idx="898">
                  <c:v>3.4429638697659998E-2</c:v>
                </c:pt>
                <c:pt idx="899">
                  <c:v>3.4270275515836827E-2</c:v>
                </c:pt>
                <c:pt idx="900">
                  <c:v>3.3839030677707688E-2</c:v>
                </c:pt>
                <c:pt idx="901">
                  <c:v>3.3191613865560916E-2</c:v>
                </c:pt>
                <c:pt idx="902">
                  <c:v>3.255553273576263E-2</c:v>
                </c:pt>
                <c:pt idx="903">
                  <c:v>3.2037375960376938E-2</c:v>
                </c:pt>
                <c:pt idx="904">
                  <c:v>3.1445232917006738E-2</c:v>
                </c:pt>
                <c:pt idx="905">
                  <c:v>3.0716261898771288E-2</c:v>
                </c:pt>
                <c:pt idx="906">
                  <c:v>2.9776833442505233E-2</c:v>
                </c:pt>
                <c:pt idx="907">
                  <c:v>2.8643077383676271E-2</c:v>
                </c:pt>
                <c:pt idx="908">
                  <c:v>2.8148265301843362E-2</c:v>
                </c:pt>
                <c:pt idx="909">
                  <c:v>2.7373425522894391E-2</c:v>
                </c:pt>
                <c:pt idx="910">
                  <c:v>2.6501784056942236E-2</c:v>
                </c:pt>
                <c:pt idx="911">
                  <c:v>2.5586991617275623E-2</c:v>
                </c:pt>
                <c:pt idx="912">
                  <c:v>2.4572062612980644E-2</c:v>
                </c:pt>
                <c:pt idx="913">
                  <c:v>2.3387182449247913E-2</c:v>
                </c:pt>
                <c:pt idx="914">
                  <c:v>2.2757103983394898E-2</c:v>
                </c:pt>
                <c:pt idx="915">
                  <c:v>2.1784436883491697E-2</c:v>
                </c:pt>
                <c:pt idx="916">
                  <c:v>2.0418736421403575E-2</c:v>
                </c:pt>
                <c:pt idx="917">
                  <c:v>1.8684318639291656E-2</c:v>
                </c:pt>
                <c:pt idx="918">
                  <c:v>1.8210452622001268E-2</c:v>
                </c:pt>
                <c:pt idx="919">
                  <c:v>1.8220453119127119E-2</c:v>
                </c:pt>
                <c:pt idx="920">
                  <c:v>1.8165504718736732E-2</c:v>
                </c:pt>
                <c:pt idx="921">
                  <c:v>1.8068715878291453E-2</c:v>
                </c:pt>
                <c:pt idx="922">
                  <c:v>1.801284817479188E-2</c:v>
                </c:pt>
                <c:pt idx="923">
                  <c:v>1.8671342070252159E-2</c:v>
                </c:pt>
                <c:pt idx="924">
                  <c:v>1.9167122617893644E-2</c:v>
                </c:pt>
                <c:pt idx="925">
                  <c:v>1.9520668867211235E-2</c:v>
                </c:pt>
                <c:pt idx="926">
                  <c:v>1.9724365288037359E-2</c:v>
                </c:pt>
                <c:pt idx="927">
                  <c:v>2.0022962308465928E-2</c:v>
                </c:pt>
                <c:pt idx="928">
                  <c:v>2.0455029019973182E-2</c:v>
                </c:pt>
                <c:pt idx="929">
                  <c:v>2.0885420620269133E-2</c:v>
                </c:pt>
                <c:pt idx="930">
                  <c:v>2.1151070085603081E-2</c:v>
                </c:pt>
                <c:pt idx="931">
                  <c:v>2.1837636431538937E-2</c:v>
                </c:pt>
                <c:pt idx="932">
                  <c:v>2.2392329696479425E-2</c:v>
                </c:pt>
                <c:pt idx="933">
                  <c:v>2.276658286974741E-2</c:v>
                </c:pt>
                <c:pt idx="934">
                  <c:v>2.3090312217960977E-2</c:v>
                </c:pt>
                <c:pt idx="935">
                  <c:v>2.4080566542283174E-2</c:v>
                </c:pt>
                <c:pt idx="936">
                  <c:v>2.5360830750436009E-2</c:v>
                </c:pt>
                <c:pt idx="937">
                  <c:v>2.6685261646678934E-2</c:v>
                </c:pt>
                <c:pt idx="938">
                  <c:v>2.9478311143156518E-2</c:v>
                </c:pt>
                <c:pt idx="939">
                  <c:v>3.2893774540310783E-2</c:v>
                </c:pt>
                <c:pt idx="940">
                  <c:v>3.5989823036298073E-2</c:v>
                </c:pt>
                <c:pt idx="941">
                  <c:v>3.870972554335559E-2</c:v>
                </c:pt>
                <c:pt idx="942">
                  <c:v>4.0783413325122322E-2</c:v>
                </c:pt>
                <c:pt idx="943">
                  <c:v>4.2678772200580514E-2</c:v>
                </c:pt>
                <c:pt idx="944">
                  <c:v>4.4629696911803567E-2</c:v>
                </c:pt>
                <c:pt idx="945">
                  <c:v>4.6379892365373314E-2</c:v>
                </c:pt>
                <c:pt idx="946">
                  <c:v>4.7658423559967626E-2</c:v>
                </c:pt>
                <c:pt idx="947">
                  <c:v>4.855361651346244E-2</c:v>
                </c:pt>
                <c:pt idx="948">
                  <c:v>4.9054005945450965E-2</c:v>
                </c:pt>
                <c:pt idx="949">
                  <c:v>4.9448696598393939E-2</c:v>
                </c:pt>
                <c:pt idx="950">
                  <c:v>5.0004079430713638E-2</c:v>
                </c:pt>
                <c:pt idx="951">
                  <c:v>5.0202396648323148E-2</c:v>
                </c:pt>
                <c:pt idx="952">
                  <c:v>5.0017441354566733E-2</c:v>
                </c:pt>
                <c:pt idx="953">
                  <c:v>5.0254444157345618E-2</c:v>
                </c:pt>
                <c:pt idx="954">
                  <c:v>5.0457419103534643E-2</c:v>
                </c:pt>
                <c:pt idx="955">
                  <c:v>5.0498904616656605E-2</c:v>
                </c:pt>
                <c:pt idx="956">
                  <c:v>5.0172089681467878E-2</c:v>
                </c:pt>
                <c:pt idx="957">
                  <c:v>5.0993060639710312E-2</c:v>
                </c:pt>
                <c:pt idx="958">
                  <c:v>5.1647880619611612E-2</c:v>
                </c:pt>
                <c:pt idx="959">
                  <c:v>5.1811588578331798E-2</c:v>
                </c:pt>
                <c:pt idx="960">
                  <c:v>5.1426235682386988E-2</c:v>
                </c:pt>
                <c:pt idx="961">
                  <c:v>5.1481423953484443E-2</c:v>
                </c:pt>
                <c:pt idx="962">
                  <c:v>5.0622598434951774E-2</c:v>
                </c:pt>
                <c:pt idx="963">
                  <c:v>4.9101111351387609E-2</c:v>
                </c:pt>
                <c:pt idx="964">
                  <c:v>4.6892200491330589E-2</c:v>
                </c:pt>
                <c:pt idx="965">
                  <c:v>4.4953312382686628E-2</c:v>
                </c:pt>
                <c:pt idx="966">
                  <c:v>4.2884406178932195E-2</c:v>
                </c:pt>
                <c:pt idx="967">
                  <c:v>4.0243046974292956E-2</c:v>
                </c:pt>
                <c:pt idx="968">
                  <c:v>3.8491851560326258E-2</c:v>
                </c:pt>
                <c:pt idx="969">
                  <c:v>3.7296974129515874E-2</c:v>
                </c:pt>
                <c:pt idx="970">
                  <c:v>3.5996417104184733E-2</c:v>
                </c:pt>
                <c:pt idx="971">
                  <c:v>3.4646134792065325E-2</c:v>
                </c:pt>
                <c:pt idx="972">
                  <c:v>3.3056114593606495E-2</c:v>
                </c:pt>
                <c:pt idx="973">
                  <c:v>3.1435415088561063E-2</c:v>
                </c:pt>
                <c:pt idx="974">
                  <c:v>2.9826512376797447E-2</c:v>
                </c:pt>
                <c:pt idx="975">
                  <c:v>2.8348622335714484E-2</c:v>
                </c:pt>
                <c:pt idx="976">
                  <c:v>2.6743852004432689E-2</c:v>
                </c:pt>
                <c:pt idx="977">
                  <c:v>2.5195763370687841E-2</c:v>
                </c:pt>
                <c:pt idx="978">
                  <c:v>2.35888895190592E-2</c:v>
                </c:pt>
                <c:pt idx="979">
                  <c:v>2.2029687047300909E-2</c:v>
                </c:pt>
                <c:pt idx="980">
                  <c:v>2.1295297734293523E-2</c:v>
                </c:pt>
                <c:pt idx="981">
                  <c:v>2.0786786328000021E-2</c:v>
                </c:pt>
                <c:pt idx="982">
                  <c:v>2.0441320805901473E-2</c:v>
                </c:pt>
                <c:pt idx="983">
                  <c:v>2.0590644219576563E-2</c:v>
                </c:pt>
                <c:pt idx="984">
                  <c:v>2.1154151545760655E-2</c:v>
                </c:pt>
                <c:pt idx="985">
                  <c:v>2.1989029349106442E-2</c:v>
                </c:pt>
                <c:pt idx="986">
                  <c:v>2.286860908074315E-2</c:v>
                </c:pt>
                <c:pt idx="987">
                  <c:v>2.3763835144846264E-2</c:v>
                </c:pt>
                <c:pt idx="988">
                  <c:v>2.4369324891133724E-2</c:v>
                </c:pt>
                <c:pt idx="989">
                  <c:v>2.4797004030966973E-2</c:v>
                </c:pt>
                <c:pt idx="990">
                  <c:v>2.5226372871567086E-2</c:v>
                </c:pt>
                <c:pt idx="991">
                  <c:v>2.4968399332681388E-2</c:v>
                </c:pt>
                <c:pt idx="992">
                  <c:v>2.4796292245857065E-2</c:v>
                </c:pt>
                <c:pt idx="993">
                  <c:v>2.4425049164008977E-2</c:v>
                </c:pt>
                <c:pt idx="994">
                  <c:v>2.3945513031689361E-2</c:v>
                </c:pt>
                <c:pt idx="995">
                  <c:v>2.3309767499520368E-2</c:v>
                </c:pt>
                <c:pt idx="996">
                  <c:v>2.2459466610856318E-2</c:v>
                </c:pt>
                <c:pt idx="997">
                  <c:v>2.1662136309703414E-2</c:v>
                </c:pt>
                <c:pt idx="998">
                  <c:v>2.1335153932272002E-2</c:v>
                </c:pt>
                <c:pt idx="999">
                  <c:v>2.0793623270050018E-2</c:v>
                </c:pt>
                <c:pt idx="1000">
                  <c:v>2.020882881975181E-2</c:v>
                </c:pt>
                <c:pt idx="1001">
                  <c:v>1.9656807203388544E-2</c:v>
                </c:pt>
                <c:pt idx="1002">
                  <c:v>1.9302536996746365E-2</c:v>
                </c:pt>
                <c:pt idx="1003">
                  <c:v>1.900006859902028E-2</c:v>
                </c:pt>
                <c:pt idx="1004">
                  <c:v>1.906582646195534E-2</c:v>
                </c:pt>
                <c:pt idx="1005">
                  <c:v>1.8954175529710408E-2</c:v>
                </c:pt>
                <c:pt idx="1006">
                  <c:v>1.8924760800191134E-2</c:v>
                </c:pt>
                <c:pt idx="1007">
                  <c:v>1.9661492072768721E-2</c:v>
                </c:pt>
                <c:pt idx="1008">
                  <c:v>2.0503507283052138E-2</c:v>
                </c:pt>
                <c:pt idx="1009">
                  <c:v>2.1076396204332732E-2</c:v>
                </c:pt>
                <c:pt idx="1010">
                  <c:v>2.1739289236832594E-2</c:v>
                </c:pt>
                <c:pt idx="1011">
                  <c:v>2.2536893545519954E-2</c:v>
                </c:pt>
                <c:pt idx="1012">
                  <c:v>2.323903381399994E-2</c:v>
                </c:pt>
                <c:pt idx="1013">
                  <c:v>2.3761078085443699E-2</c:v>
                </c:pt>
                <c:pt idx="1014">
                  <c:v>2.4135774432431995E-2</c:v>
                </c:pt>
                <c:pt idx="1015">
                  <c:v>2.441456704134266E-2</c:v>
                </c:pt>
                <c:pt idx="1016">
                  <c:v>2.4539247002518166E-2</c:v>
                </c:pt>
                <c:pt idx="1017">
                  <c:v>2.4630368822900275E-2</c:v>
                </c:pt>
                <c:pt idx="1018">
                  <c:v>2.464996846570219E-2</c:v>
                </c:pt>
                <c:pt idx="1019">
                  <c:v>2.460934321373727E-2</c:v>
                </c:pt>
                <c:pt idx="1020">
                  <c:v>2.4841609945234017E-2</c:v>
                </c:pt>
                <c:pt idx="1021">
                  <c:v>2.4862305285599094E-2</c:v>
                </c:pt>
                <c:pt idx="1022">
                  <c:v>2.4659163468892378E-2</c:v>
                </c:pt>
                <c:pt idx="1023">
                  <c:v>2.4268531744207653E-2</c:v>
                </c:pt>
                <c:pt idx="1024">
                  <c:v>2.3797688646471742E-2</c:v>
                </c:pt>
                <c:pt idx="1025">
                  <c:v>2.3194520674880786E-2</c:v>
                </c:pt>
                <c:pt idx="1026">
                  <c:v>2.2476054122339634E-2</c:v>
                </c:pt>
                <c:pt idx="1027">
                  <c:v>2.147472463677608E-2</c:v>
                </c:pt>
                <c:pt idx="1028">
                  <c:v>2.0708497622534228E-2</c:v>
                </c:pt>
                <c:pt idx="1029">
                  <c:v>1.9726936170318576E-2</c:v>
                </c:pt>
                <c:pt idx="1030">
                  <c:v>1.8520833998993333E-2</c:v>
                </c:pt>
                <c:pt idx="1031">
                  <c:v>1.7314117731307029E-2</c:v>
                </c:pt>
                <c:pt idx="1032">
                  <c:v>1.6575662025848561E-2</c:v>
                </c:pt>
                <c:pt idx="1033">
                  <c:v>1.6028989109958602E-2</c:v>
                </c:pt>
                <c:pt idx="1034">
                  <c:v>1.5259570891583715E-2</c:v>
                </c:pt>
                <c:pt idx="1035">
                  <c:v>1.4396122437847247E-2</c:v>
                </c:pt>
                <c:pt idx="1036">
                  <c:v>1.3756499653316842E-2</c:v>
                </c:pt>
                <c:pt idx="1037">
                  <c:v>1.399293209038089E-2</c:v>
                </c:pt>
                <c:pt idx="1038">
                  <c:v>1.4354184396225416E-2</c:v>
                </c:pt>
                <c:pt idx="1039">
                  <c:v>1.4576769330638202E-2</c:v>
                </c:pt>
                <c:pt idx="1040">
                  <c:v>1.5018856175421744E-2</c:v>
                </c:pt>
                <c:pt idx="1041">
                  <c:v>1.5923774740951493E-2</c:v>
                </c:pt>
                <c:pt idx="1042">
                  <c:v>1.6766642318695527E-2</c:v>
                </c:pt>
                <c:pt idx="1043">
                  <c:v>1.7408889092328714E-2</c:v>
                </c:pt>
                <c:pt idx="1044">
                  <c:v>1.8343771080877952E-2</c:v>
                </c:pt>
                <c:pt idx="1045">
                  <c:v>1.9059003691418257E-2</c:v>
                </c:pt>
                <c:pt idx="1046">
                  <c:v>1.978140744374338E-2</c:v>
                </c:pt>
                <c:pt idx="1047">
                  <c:v>2.0433651141948821E-2</c:v>
                </c:pt>
                <c:pt idx="1048">
                  <c:v>2.0969197214230722E-2</c:v>
                </c:pt>
                <c:pt idx="1049">
                  <c:v>2.1435171509426715E-2</c:v>
                </c:pt>
                <c:pt idx="1050">
                  <c:v>2.1920804152803071E-2</c:v>
                </c:pt>
                <c:pt idx="1051">
                  <c:v>2.2279049773742954E-2</c:v>
                </c:pt>
                <c:pt idx="1052">
                  <c:v>2.24752393152448E-2</c:v>
                </c:pt>
                <c:pt idx="1053">
                  <c:v>2.3291434826860826E-2</c:v>
                </c:pt>
                <c:pt idx="1054">
                  <c:v>2.3960686755639296E-2</c:v>
                </c:pt>
                <c:pt idx="1055">
                  <c:v>2.4541022744784438E-2</c:v>
                </c:pt>
                <c:pt idx="1056">
                  <c:v>2.5019117614341477E-2</c:v>
                </c:pt>
                <c:pt idx="1057">
                  <c:v>2.5326473458420973E-2</c:v>
                </c:pt>
                <c:pt idx="1058">
                  <c:v>2.5397004887777602E-2</c:v>
                </c:pt>
                <c:pt idx="1059">
                  <c:v>2.5287127744215161E-2</c:v>
                </c:pt>
                <c:pt idx="1060">
                  <c:v>2.4943998034163899E-2</c:v>
                </c:pt>
                <c:pt idx="1061">
                  <c:v>2.4440223707499723E-2</c:v>
                </c:pt>
                <c:pt idx="1062">
                  <c:v>2.3947803491215933E-2</c:v>
                </c:pt>
                <c:pt idx="1063">
                  <c:v>2.3373338338766307E-2</c:v>
                </c:pt>
                <c:pt idx="1064">
                  <c:v>2.2581174123830872E-2</c:v>
                </c:pt>
                <c:pt idx="1065">
                  <c:v>2.1631796512208416E-2</c:v>
                </c:pt>
                <c:pt idx="1066">
                  <c:v>2.0356568805695304E-2</c:v>
                </c:pt>
                <c:pt idx="1067">
                  <c:v>1.974719916077769E-2</c:v>
                </c:pt>
                <c:pt idx="1068">
                  <c:v>1.9033344649167915E-2</c:v>
                </c:pt>
                <c:pt idx="1069">
                  <c:v>1.8161397160892764E-2</c:v>
                </c:pt>
                <c:pt idx="1070">
                  <c:v>1.7405588394718369E-2</c:v>
                </c:pt>
                <c:pt idx="1071">
                  <c:v>1.7072721218939158E-2</c:v>
                </c:pt>
                <c:pt idx="1072">
                  <c:v>1.664874586761218E-2</c:v>
                </c:pt>
                <c:pt idx="1073">
                  <c:v>1.6092445615812391E-2</c:v>
                </c:pt>
                <c:pt idx="1074">
                  <c:v>1.5959071398665869E-2</c:v>
                </c:pt>
                <c:pt idx="1075">
                  <c:v>1.5683030221234937E-2</c:v>
                </c:pt>
                <c:pt idx="1076">
                  <c:v>1.5467780044694653E-2</c:v>
                </c:pt>
                <c:pt idx="1077">
                  <c:v>1.5240018730507385E-2</c:v>
                </c:pt>
                <c:pt idx="1078">
                  <c:v>1.491092072203945E-2</c:v>
                </c:pt>
                <c:pt idx="1079">
                  <c:v>1.4754308474052116E-2</c:v>
                </c:pt>
                <c:pt idx="1080">
                  <c:v>1.4487607621343586E-2</c:v>
                </c:pt>
                <c:pt idx="1081">
                  <c:v>1.4117709735996025E-2</c:v>
                </c:pt>
                <c:pt idx="1082">
                  <c:v>1.3523799191644805E-2</c:v>
                </c:pt>
                <c:pt idx="1083">
                  <c:v>1.3758541823478253E-2</c:v>
                </c:pt>
                <c:pt idx="1084">
                  <c:v>1.396084389822462E-2</c:v>
                </c:pt>
                <c:pt idx="1085">
                  <c:v>1.4113884468111959E-2</c:v>
                </c:pt>
                <c:pt idx="1086">
                  <c:v>1.4215800000845651E-2</c:v>
                </c:pt>
                <c:pt idx="1087">
                  <c:v>1.4247510533949846E-2</c:v>
                </c:pt>
                <c:pt idx="1088">
                  <c:v>1.4161190470405044E-2</c:v>
                </c:pt>
                <c:pt idx="1089">
                  <c:v>1.4017803161830227E-2</c:v>
                </c:pt>
                <c:pt idx="1090">
                  <c:v>1.3745501848377461E-2</c:v>
                </c:pt>
                <c:pt idx="1091">
                  <c:v>1.3436443578451E-2</c:v>
                </c:pt>
                <c:pt idx="1092">
                  <c:v>1.326988040784873E-2</c:v>
                </c:pt>
                <c:pt idx="1093">
                  <c:v>1.3077226158551692E-2</c:v>
                </c:pt>
                <c:pt idx="1094">
                  <c:v>1.292487597981291E-2</c:v>
                </c:pt>
                <c:pt idx="1095">
                  <c:v>1.2795661556561342E-2</c:v>
                </c:pt>
                <c:pt idx="1096">
                  <c:v>1.278821909223791E-2</c:v>
                </c:pt>
                <c:pt idx="1097">
                  <c:v>1.2942997428867816E-2</c:v>
                </c:pt>
                <c:pt idx="1098">
                  <c:v>1.2979147179600687E-2</c:v>
                </c:pt>
                <c:pt idx="1099">
                  <c:v>1.3017070236594866E-2</c:v>
                </c:pt>
                <c:pt idx="1100">
                  <c:v>1.30544766229715E-2</c:v>
                </c:pt>
                <c:pt idx="1101">
                  <c:v>1.3163955987625875E-2</c:v>
                </c:pt>
                <c:pt idx="1102">
                  <c:v>1.355121860308898E-2</c:v>
                </c:pt>
                <c:pt idx="1103">
                  <c:v>1.3814117977082504E-2</c:v>
                </c:pt>
                <c:pt idx="1104">
                  <c:v>1.4091364522124377E-2</c:v>
                </c:pt>
                <c:pt idx="1105">
                  <c:v>1.4424442731083054E-2</c:v>
                </c:pt>
                <c:pt idx="1106">
                  <c:v>1.4606638995098585E-2</c:v>
                </c:pt>
                <c:pt idx="1107">
                  <c:v>1.4674721855571711E-2</c:v>
                </c:pt>
                <c:pt idx="1108">
                  <c:v>1.4766139797096225E-2</c:v>
                </c:pt>
                <c:pt idx="1109">
                  <c:v>1.5040225072925933E-2</c:v>
                </c:pt>
                <c:pt idx="1110">
                  <c:v>1.533913265478642E-2</c:v>
                </c:pt>
                <c:pt idx="1111">
                  <c:v>1.573473732755773E-2</c:v>
                </c:pt>
                <c:pt idx="1112">
                  <c:v>1.6220713930376662E-2</c:v>
                </c:pt>
                <c:pt idx="1113">
                  <c:v>1.7263351917503129E-2</c:v>
                </c:pt>
                <c:pt idx="1114">
                  <c:v>1.8182637976984335E-2</c:v>
                </c:pt>
                <c:pt idx="1115">
                  <c:v>1.9068135692086086E-2</c:v>
                </c:pt>
                <c:pt idx="1116">
                  <c:v>1.973671777029852E-2</c:v>
                </c:pt>
                <c:pt idx="1117">
                  <c:v>2.018220207300201E-2</c:v>
                </c:pt>
                <c:pt idx="1118">
                  <c:v>2.0723007439680027E-2</c:v>
                </c:pt>
                <c:pt idx="1119">
                  <c:v>2.1138568597216384E-2</c:v>
                </c:pt>
                <c:pt idx="1120">
                  <c:v>2.1424920656600455E-2</c:v>
                </c:pt>
                <c:pt idx="1121">
                  <c:v>2.1804680342092785E-2</c:v>
                </c:pt>
                <c:pt idx="1122">
                  <c:v>2.2200304714806988E-2</c:v>
                </c:pt>
                <c:pt idx="1123">
                  <c:v>2.2592818849764322E-2</c:v>
                </c:pt>
                <c:pt idx="1124">
                  <c:v>2.3224610348367872E-2</c:v>
                </c:pt>
                <c:pt idx="1125">
                  <c:v>2.3644730994579841E-2</c:v>
                </c:pt>
                <c:pt idx="1126">
                  <c:v>2.4310441751222201E-2</c:v>
                </c:pt>
                <c:pt idx="1127">
                  <c:v>2.4900970862193256E-2</c:v>
                </c:pt>
                <c:pt idx="1128">
                  <c:v>2.5252503660780828E-2</c:v>
                </c:pt>
                <c:pt idx="1129">
                  <c:v>2.5490493939832895E-2</c:v>
                </c:pt>
                <c:pt idx="1130">
                  <c:v>2.5601639578719068E-2</c:v>
                </c:pt>
                <c:pt idx="1131">
                  <c:v>2.5496811893208023E-2</c:v>
                </c:pt>
                <c:pt idx="1132">
                  <c:v>2.5528874031344125E-2</c:v>
                </c:pt>
                <c:pt idx="1133">
                  <c:v>2.5760273830263202E-2</c:v>
                </c:pt>
                <c:pt idx="1134">
                  <c:v>2.5889721733285277E-2</c:v>
                </c:pt>
                <c:pt idx="1135">
                  <c:v>2.6271912151927056E-2</c:v>
                </c:pt>
                <c:pt idx="1136">
                  <c:v>2.6812114996383717E-2</c:v>
                </c:pt>
                <c:pt idx="1137">
                  <c:v>2.963459882498445E-2</c:v>
                </c:pt>
                <c:pt idx="1138">
                  <c:v>3.1797684591852796E-2</c:v>
                </c:pt>
                <c:pt idx="1139">
                  <c:v>3.3339130507689503E-2</c:v>
                </c:pt>
                <c:pt idx="1140">
                  <c:v>3.5146372104058417E-2</c:v>
                </c:pt>
                <c:pt idx="1141">
                  <c:v>3.71628174564358E-2</c:v>
                </c:pt>
                <c:pt idx="1142">
                  <c:v>3.8750058318919492E-2</c:v>
                </c:pt>
                <c:pt idx="1143">
                  <c:v>4.0844786431668736E-2</c:v>
                </c:pt>
                <c:pt idx="1144">
                  <c:v>4.2433135106830368E-2</c:v>
                </c:pt>
                <c:pt idx="1145">
                  <c:v>4.3676089337798159E-2</c:v>
                </c:pt>
                <c:pt idx="1146">
                  <c:v>4.4553902659806001E-2</c:v>
                </c:pt>
                <c:pt idx="1147">
                  <c:v>4.4999714316465232E-2</c:v>
                </c:pt>
                <c:pt idx="1148">
                  <c:v>4.5368762346566067E-2</c:v>
                </c:pt>
                <c:pt idx="1149">
                  <c:v>4.5710984397326383E-2</c:v>
                </c:pt>
                <c:pt idx="1150">
                  <c:v>4.5758390769248966E-2</c:v>
                </c:pt>
                <c:pt idx="1151">
                  <c:v>4.5682245985981279E-2</c:v>
                </c:pt>
                <c:pt idx="1152">
                  <c:v>4.5439001261652491E-2</c:v>
                </c:pt>
                <c:pt idx="1153">
                  <c:v>4.5049193728072555E-2</c:v>
                </c:pt>
                <c:pt idx="1154">
                  <c:v>4.4651758849645659E-2</c:v>
                </c:pt>
                <c:pt idx="1155">
                  <c:v>4.4380810286980446E-2</c:v>
                </c:pt>
                <c:pt idx="1156">
                  <c:v>4.4158458720039498E-2</c:v>
                </c:pt>
                <c:pt idx="1157">
                  <c:v>4.4420181604919458E-2</c:v>
                </c:pt>
                <c:pt idx="1158">
                  <c:v>4.4583045907441603E-2</c:v>
                </c:pt>
                <c:pt idx="1159">
                  <c:v>4.426031990312003E-2</c:v>
                </c:pt>
                <c:pt idx="1160">
                  <c:v>4.3574262400088867E-2</c:v>
                </c:pt>
                <c:pt idx="1161">
                  <c:v>4.330473324998773E-2</c:v>
                </c:pt>
                <c:pt idx="1162">
                  <c:v>4.2368308589444549E-2</c:v>
                </c:pt>
                <c:pt idx="1163">
                  <c:v>4.1332248078026157E-2</c:v>
                </c:pt>
                <c:pt idx="1164">
                  <c:v>3.9883148766013489E-2</c:v>
                </c:pt>
                <c:pt idx="1165">
                  <c:v>3.8236661198919206E-2</c:v>
                </c:pt>
                <c:pt idx="1166">
                  <c:v>3.6466647086471259E-2</c:v>
                </c:pt>
                <c:pt idx="1167">
                  <c:v>3.6512265315502092E-2</c:v>
                </c:pt>
                <c:pt idx="1168">
                  <c:v>3.6261110579732324E-2</c:v>
                </c:pt>
                <c:pt idx="1169">
                  <c:v>3.5711543704267268E-2</c:v>
                </c:pt>
                <c:pt idx="1170">
                  <c:v>3.5856615241676611E-2</c:v>
                </c:pt>
                <c:pt idx="1171">
                  <c:v>3.6177206914566259E-2</c:v>
                </c:pt>
                <c:pt idx="1172">
                  <c:v>3.6271888601137989E-2</c:v>
                </c:pt>
                <c:pt idx="1173">
                  <c:v>3.6762658746498054E-2</c:v>
                </c:pt>
                <c:pt idx="1174">
                  <c:v>3.697212018720112E-2</c:v>
                </c:pt>
                <c:pt idx="1175">
                  <c:v>3.6861311808429754E-2</c:v>
                </c:pt>
                <c:pt idx="1176">
                  <c:v>3.6740485960757498E-2</c:v>
                </c:pt>
                <c:pt idx="1177">
                  <c:v>3.6268896720786051E-2</c:v>
                </c:pt>
                <c:pt idx="1178">
                  <c:v>3.5563944871514985E-2</c:v>
                </c:pt>
                <c:pt idx="1179">
                  <c:v>3.5405050390536291E-2</c:v>
                </c:pt>
                <c:pt idx="1180">
                  <c:v>3.5476339655919051E-2</c:v>
                </c:pt>
                <c:pt idx="1181">
                  <c:v>3.5098162375373158E-2</c:v>
                </c:pt>
                <c:pt idx="1182">
                  <c:v>3.4456173547250168E-2</c:v>
                </c:pt>
                <c:pt idx="1183">
                  <c:v>3.3523074597036039E-2</c:v>
                </c:pt>
                <c:pt idx="1184">
                  <c:v>3.2251897620427794E-2</c:v>
                </c:pt>
                <c:pt idx="1185">
                  <c:v>3.1442760694555857E-2</c:v>
                </c:pt>
                <c:pt idx="1186">
                  <c:v>3.0415977110820176E-2</c:v>
                </c:pt>
                <c:pt idx="1187">
                  <c:v>3.028982667379005E-2</c:v>
                </c:pt>
                <c:pt idx="1188">
                  <c:v>3.0221398605483559E-2</c:v>
                </c:pt>
                <c:pt idx="1189">
                  <c:v>2.9866461060634539E-2</c:v>
                </c:pt>
                <c:pt idx="1190">
                  <c:v>2.9396125986398607E-2</c:v>
                </c:pt>
                <c:pt idx="1191">
                  <c:v>2.9592059294424863E-2</c:v>
                </c:pt>
                <c:pt idx="1192">
                  <c:v>2.9616575063508795E-2</c:v>
                </c:pt>
                <c:pt idx="1193">
                  <c:v>2.9624154709586008E-2</c:v>
                </c:pt>
                <c:pt idx="1194">
                  <c:v>2.94531229810568E-2</c:v>
                </c:pt>
                <c:pt idx="1195">
                  <c:v>2.9122743093099198E-2</c:v>
                </c:pt>
                <c:pt idx="1196">
                  <c:v>2.8759839249645838E-2</c:v>
                </c:pt>
                <c:pt idx="1197">
                  <c:v>2.8294263463665894E-2</c:v>
                </c:pt>
                <c:pt idx="1198">
                  <c:v>2.7569391736705029E-2</c:v>
                </c:pt>
                <c:pt idx="1199">
                  <c:v>2.663026749016802E-2</c:v>
                </c:pt>
                <c:pt idx="1200">
                  <c:v>2.6100752428417289E-2</c:v>
                </c:pt>
                <c:pt idx="1201">
                  <c:v>2.5394775396348858E-2</c:v>
                </c:pt>
                <c:pt idx="1202">
                  <c:v>2.4611855400060053E-2</c:v>
                </c:pt>
                <c:pt idx="1203">
                  <c:v>2.43761527839844E-2</c:v>
                </c:pt>
                <c:pt idx="1204">
                  <c:v>2.4038910775318532E-2</c:v>
                </c:pt>
                <c:pt idx="1205">
                  <c:v>2.3405814737762584E-2</c:v>
                </c:pt>
                <c:pt idx="1206">
                  <c:v>2.3004712258993955E-2</c:v>
                </c:pt>
                <c:pt idx="1207">
                  <c:v>2.2300587494964774E-2</c:v>
                </c:pt>
                <c:pt idx="1208">
                  <c:v>2.1346548183572407E-2</c:v>
                </c:pt>
                <c:pt idx="1209">
                  <c:v>2.1733295470991055E-2</c:v>
                </c:pt>
                <c:pt idx="1210">
                  <c:v>2.279969859729554E-2</c:v>
                </c:pt>
                <c:pt idx="1211">
                  <c:v>2.4806074145229687E-2</c:v>
                </c:pt>
                <c:pt idx="1212">
                  <c:v>2.6444922870027487E-2</c:v>
                </c:pt>
                <c:pt idx="1213">
                  <c:v>2.779360261942504E-2</c:v>
                </c:pt>
                <c:pt idx="1214">
                  <c:v>2.8914709893606068E-2</c:v>
                </c:pt>
                <c:pt idx="1215">
                  <c:v>2.9880272191430222E-2</c:v>
                </c:pt>
                <c:pt idx="1216">
                  <c:v>3.0539159124652458E-2</c:v>
                </c:pt>
                <c:pt idx="1217">
                  <c:v>3.1045971185136575E-2</c:v>
                </c:pt>
                <c:pt idx="1218">
                  <c:v>3.1396996645541082E-2</c:v>
                </c:pt>
                <c:pt idx="1219">
                  <c:v>3.1704496430221676E-2</c:v>
                </c:pt>
                <c:pt idx="1220">
                  <c:v>3.264656506634793E-2</c:v>
                </c:pt>
                <c:pt idx="1221">
                  <c:v>3.3408297374222802E-2</c:v>
                </c:pt>
                <c:pt idx="1222">
                  <c:v>3.3954003925981135E-2</c:v>
                </c:pt>
                <c:pt idx="1223">
                  <c:v>3.4492961410354905E-2</c:v>
                </c:pt>
                <c:pt idx="1224">
                  <c:v>3.4689888167338159E-2</c:v>
                </c:pt>
                <c:pt idx="1225">
                  <c:v>3.464635330636711E-2</c:v>
                </c:pt>
                <c:pt idx="1226">
                  <c:v>3.4582245768917802E-2</c:v>
                </c:pt>
                <c:pt idx="1227">
                  <c:v>3.445261689459566E-2</c:v>
                </c:pt>
                <c:pt idx="1228">
                  <c:v>3.4022797519399267E-2</c:v>
                </c:pt>
                <c:pt idx="1229">
                  <c:v>3.3312768753574855E-2</c:v>
                </c:pt>
                <c:pt idx="1230">
                  <c:v>3.248065498829824E-2</c:v>
                </c:pt>
                <c:pt idx="1231">
                  <c:v>3.1379854117873543E-2</c:v>
                </c:pt>
                <c:pt idx="1232">
                  <c:v>3.0096355911821276E-2</c:v>
                </c:pt>
                <c:pt idx="1233">
                  <c:v>2.9110379460697711E-2</c:v>
                </c:pt>
                <c:pt idx="1234">
                  <c:v>2.7970942033151931E-2</c:v>
                </c:pt>
                <c:pt idx="1235">
                  <c:v>2.6555016922816314E-2</c:v>
                </c:pt>
                <c:pt idx="1236">
                  <c:v>2.5050289930178958E-2</c:v>
                </c:pt>
                <c:pt idx="1237">
                  <c:v>2.3203063758340525E-2</c:v>
                </c:pt>
                <c:pt idx="1238">
                  <c:v>2.1035556318730664E-2</c:v>
                </c:pt>
                <c:pt idx="1239">
                  <c:v>1.9873910481768783E-2</c:v>
                </c:pt>
                <c:pt idx="1240">
                  <c:v>1.8820455353196982E-2</c:v>
                </c:pt>
                <c:pt idx="1241">
                  <c:v>1.8702739951922155E-2</c:v>
                </c:pt>
                <c:pt idx="1242">
                  <c:v>1.84436285667362E-2</c:v>
                </c:pt>
                <c:pt idx="1243">
                  <c:v>1.8205948177868438E-2</c:v>
                </c:pt>
                <c:pt idx="1244">
                  <c:v>1.8221055274048815E-2</c:v>
                </c:pt>
                <c:pt idx="1245">
                  <c:v>1.8114483076095266E-2</c:v>
                </c:pt>
                <c:pt idx="1246">
                  <c:v>1.7727849972319132E-2</c:v>
                </c:pt>
                <c:pt idx="1247">
                  <c:v>1.7184511217019478E-2</c:v>
                </c:pt>
                <c:pt idx="1248">
                  <c:v>1.6545154428577555E-2</c:v>
                </c:pt>
                <c:pt idx="1249">
                  <c:v>1.595966686339086E-2</c:v>
                </c:pt>
                <c:pt idx="1250">
                  <c:v>1.6154838811732009E-2</c:v>
                </c:pt>
                <c:pt idx="1251">
                  <c:v>1.6411584014901948E-2</c:v>
                </c:pt>
                <c:pt idx="1252">
                  <c:v>1.6597266041759425E-2</c:v>
                </c:pt>
                <c:pt idx="1253">
                  <c:v>1.6843810950703864E-2</c:v>
                </c:pt>
                <c:pt idx="1254">
                  <c:v>1.6995969945086706E-2</c:v>
                </c:pt>
                <c:pt idx="1255">
                  <c:v>1.7079130493058453E-2</c:v>
                </c:pt>
                <c:pt idx="1256">
                  <c:v>1.7225680514540785E-2</c:v>
                </c:pt>
                <c:pt idx="1257">
                  <c:v>1.735474536286203E-2</c:v>
                </c:pt>
                <c:pt idx="1258">
                  <c:v>1.7404633100668247E-2</c:v>
                </c:pt>
                <c:pt idx="1259">
                  <c:v>1.7356026242428685E-2</c:v>
                </c:pt>
                <c:pt idx="1260">
                  <c:v>1.7331976011028587E-2</c:v>
                </c:pt>
                <c:pt idx="1261">
                  <c:v>1.7237892947244711E-2</c:v>
                </c:pt>
                <c:pt idx="1262">
                  <c:v>1.7250713050899466E-2</c:v>
                </c:pt>
                <c:pt idx="1263">
                  <c:v>1.7187361896259974E-2</c:v>
                </c:pt>
                <c:pt idx="1264">
                  <c:v>1.7003263265378227E-2</c:v>
                </c:pt>
                <c:pt idx="1265">
                  <c:v>1.6676066052046908E-2</c:v>
                </c:pt>
                <c:pt idx="1266">
                  <c:v>1.6241765454911319E-2</c:v>
                </c:pt>
                <c:pt idx="1267">
                  <c:v>1.56621969635901E-2</c:v>
                </c:pt>
                <c:pt idx="1268">
                  <c:v>1.5242855758026445E-2</c:v>
                </c:pt>
                <c:pt idx="1269">
                  <c:v>1.5234034172763679E-2</c:v>
                </c:pt>
                <c:pt idx="1270">
                  <c:v>1.5086839294020915E-2</c:v>
                </c:pt>
                <c:pt idx="1271">
                  <c:v>1.6250473839065551E-2</c:v>
                </c:pt>
                <c:pt idx="1272">
                  <c:v>1.7141067980725049E-2</c:v>
                </c:pt>
                <c:pt idx="1273">
                  <c:v>1.8582309101982161E-2</c:v>
                </c:pt>
                <c:pt idx="1274">
                  <c:v>2.0034358945711542E-2</c:v>
                </c:pt>
                <c:pt idx="1275">
                  <c:v>2.1259918754212095E-2</c:v>
                </c:pt>
                <c:pt idx="1276">
                  <c:v>2.2183326746787468E-2</c:v>
                </c:pt>
                <c:pt idx="1277">
                  <c:v>2.2949275499584317E-2</c:v>
                </c:pt>
                <c:pt idx="1278">
                  <c:v>2.3866006431676932E-2</c:v>
                </c:pt>
                <c:pt idx="1279">
                  <c:v>2.4529682390157452E-2</c:v>
                </c:pt>
                <c:pt idx="1280">
                  <c:v>2.5078232561929086E-2</c:v>
                </c:pt>
                <c:pt idx="1281">
                  <c:v>2.5699409580602135E-2</c:v>
                </c:pt>
                <c:pt idx="1282">
                  <c:v>2.6155389959782047E-2</c:v>
                </c:pt>
                <c:pt idx="1283">
                  <c:v>2.6462801793712513E-2</c:v>
                </c:pt>
                <c:pt idx="1284">
                  <c:v>2.6677202109731596E-2</c:v>
                </c:pt>
                <c:pt idx="1285">
                  <c:v>2.67180395105991E-2</c:v>
                </c:pt>
                <c:pt idx="1286">
                  <c:v>2.7409912736821258E-2</c:v>
                </c:pt>
                <c:pt idx="1287">
                  <c:v>2.7844434316654301E-2</c:v>
                </c:pt>
                <c:pt idx="1288">
                  <c:v>2.8143785873339235E-2</c:v>
                </c:pt>
                <c:pt idx="1289">
                  <c:v>2.824493035341067E-2</c:v>
                </c:pt>
                <c:pt idx="1290">
                  <c:v>2.823515659752825E-2</c:v>
                </c:pt>
                <c:pt idx="1291">
                  <c:v>2.7994108545131277E-2</c:v>
                </c:pt>
                <c:pt idx="1292">
                  <c:v>2.7709869506509718E-2</c:v>
                </c:pt>
                <c:pt idx="1293">
                  <c:v>2.7432058274309189E-2</c:v>
                </c:pt>
                <c:pt idx="1294">
                  <c:v>2.6920281375850355E-2</c:v>
                </c:pt>
                <c:pt idx="1295">
                  <c:v>2.6171141186464544E-2</c:v>
                </c:pt>
                <c:pt idx="1296">
                  <c:v>2.5155694390105687E-2</c:v>
                </c:pt>
                <c:pt idx="1297">
                  <c:v>2.4232447293519459E-2</c:v>
                </c:pt>
                <c:pt idx="1298">
                  <c:v>2.3315623704988239E-2</c:v>
                </c:pt>
                <c:pt idx="1299">
                  <c:v>2.2363537595941636E-2</c:v>
                </c:pt>
                <c:pt idx="1300">
                  <c:v>2.1046727180894686E-2</c:v>
                </c:pt>
                <c:pt idx="1301">
                  <c:v>2.088849851452396E-2</c:v>
                </c:pt>
                <c:pt idx="1302">
                  <c:v>2.0759769532383138E-2</c:v>
                </c:pt>
                <c:pt idx="1303">
                  <c:v>2.1111757132652193E-2</c:v>
                </c:pt>
                <c:pt idx="1304">
                  <c:v>2.1309146716665089E-2</c:v>
                </c:pt>
                <c:pt idx="1305">
                  <c:v>2.131361959163261E-2</c:v>
                </c:pt>
                <c:pt idx="1306">
                  <c:v>2.1530812994338438E-2</c:v>
                </c:pt>
                <c:pt idx="1307">
                  <c:v>2.156892180069403E-2</c:v>
                </c:pt>
                <c:pt idx="1308">
                  <c:v>2.1675734988952457E-2</c:v>
                </c:pt>
                <c:pt idx="1309">
                  <c:v>2.1539993092848566E-2</c:v>
                </c:pt>
                <c:pt idx="1310">
                  <c:v>2.1267635257491889E-2</c:v>
                </c:pt>
                <c:pt idx="1311">
                  <c:v>2.1048524585775021E-2</c:v>
                </c:pt>
                <c:pt idx="1312">
                  <c:v>2.0703514114855871E-2</c:v>
                </c:pt>
                <c:pt idx="1313">
                  <c:v>2.0161028439053413E-2</c:v>
                </c:pt>
                <c:pt idx="1314">
                  <c:v>1.9523582158273833E-2</c:v>
                </c:pt>
                <c:pt idx="1315">
                  <c:v>1.8675153815131136E-2</c:v>
                </c:pt>
                <c:pt idx="1316">
                  <c:v>1.8516780664813475E-2</c:v>
                </c:pt>
                <c:pt idx="1317">
                  <c:v>1.8378609476885747E-2</c:v>
                </c:pt>
                <c:pt idx="1318">
                  <c:v>1.8182644382874799E-2</c:v>
                </c:pt>
                <c:pt idx="1319">
                  <c:v>1.7862746916072959E-2</c:v>
                </c:pt>
                <c:pt idx="1320">
                  <c:v>1.7572760810963227E-2</c:v>
                </c:pt>
                <c:pt idx="1321">
                  <c:v>1.7108463600920824E-2</c:v>
                </c:pt>
                <c:pt idx="1322">
                  <c:v>1.6483387893045608E-2</c:v>
                </c:pt>
                <c:pt idx="1323">
                  <c:v>1.6042378216169152E-2</c:v>
                </c:pt>
                <c:pt idx="1324">
                  <c:v>1.5460008211120336E-2</c:v>
                </c:pt>
                <c:pt idx="1325">
                  <c:v>1.4740044667133771E-2</c:v>
                </c:pt>
                <c:pt idx="1326">
                  <c:v>1.3822150974422647E-2</c:v>
                </c:pt>
                <c:pt idx="1327">
                  <c:v>1.3337787055663072E-2</c:v>
                </c:pt>
                <c:pt idx="1328">
                  <c:v>1.2686920001292002E-2</c:v>
                </c:pt>
                <c:pt idx="1329">
                  <c:v>1.230733871333946E-2</c:v>
                </c:pt>
                <c:pt idx="1330">
                  <c:v>1.1815855722566467E-2</c:v>
                </c:pt>
                <c:pt idx="1331">
                  <c:v>1.1314944054711092E-2</c:v>
                </c:pt>
                <c:pt idx="1332">
                  <c:v>1.0895518165463768E-2</c:v>
                </c:pt>
                <c:pt idx="1333">
                  <c:v>1.0752324276597787E-2</c:v>
                </c:pt>
                <c:pt idx="1334">
                  <c:v>1.0682818766966615E-2</c:v>
                </c:pt>
                <c:pt idx="1335">
                  <c:v>1.0756118239386409E-2</c:v>
                </c:pt>
                <c:pt idx="1336">
                  <c:v>1.1413957371197424E-2</c:v>
                </c:pt>
                <c:pt idx="1337">
                  <c:v>1.1961425547933712E-2</c:v>
                </c:pt>
                <c:pt idx="1338">
                  <c:v>1.310690561037123E-2</c:v>
                </c:pt>
                <c:pt idx="1339">
                  <c:v>1.4197765334694808E-2</c:v>
                </c:pt>
                <c:pt idx="1340">
                  <c:v>1.5077085217753545E-2</c:v>
                </c:pt>
                <c:pt idx="1341">
                  <c:v>1.5838642904294778E-2</c:v>
                </c:pt>
                <c:pt idx="1342">
                  <c:v>1.6405230456185287E-2</c:v>
                </c:pt>
                <c:pt idx="1343">
                  <c:v>1.6877945581178957E-2</c:v>
                </c:pt>
                <c:pt idx="1344">
                  <c:v>1.7198176423391526E-2</c:v>
                </c:pt>
                <c:pt idx="1345">
                  <c:v>1.7397832606635709E-2</c:v>
                </c:pt>
                <c:pt idx="1346">
                  <c:v>1.7511484991518646E-2</c:v>
                </c:pt>
                <c:pt idx="1347">
                  <c:v>1.7643074413077747E-2</c:v>
                </c:pt>
                <c:pt idx="1348">
                  <c:v>1.8042925408855701E-2</c:v>
                </c:pt>
                <c:pt idx="1349">
                  <c:v>1.8689279037400943E-2</c:v>
                </c:pt>
                <c:pt idx="1350">
                  <c:v>1.9283477952367806E-2</c:v>
                </c:pt>
                <c:pt idx="1351">
                  <c:v>1.969079086576864E-2</c:v>
                </c:pt>
                <c:pt idx="1352">
                  <c:v>2.0005835013668382E-2</c:v>
                </c:pt>
                <c:pt idx="1353">
                  <c:v>2.0196711448685754E-2</c:v>
                </c:pt>
                <c:pt idx="1354">
                  <c:v>2.0817102854277139E-2</c:v>
                </c:pt>
                <c:pt idx="1355">
                  <c:v>2.1331326839598163E-2</c:v>
                </c:pt>
                <c:pt idx="1356">
                  <c:v>2.1852746769716779E-2</c:v>
                </c:pt>
                <c:pt idx="1357">
                  <c:v>2.2202538360366727E-2</c:v>
                </c:pt>
                <c:pt idx="1358">
                  <c:v>2.2263699563673058E-2</c:v>
                </c:pt>
                <c:pt idx="1359">
                  <c:v>2.2367895925669005E-2</c:v>
                </c:pt>
                <c:pt idx="1360">
                  <c:v>2.2354989117163288E-2</c:v>
                </c:pt>
                <c:pt idx="1361">
                  <c:v>2.2165087341996108E-2</c:v>
                </c:pt>
                <c:pt idx="1362">
                  <c:v>2.1753501548552795E-2</c:v>
                </c:pt>
                <c:pt idx="1363">
                  <c:v>2.1256302782408081E-2</c:v>
                </c:pt>
                <c:pt idx="1364">
                  <c:v>2.0649982311968889E-2</c:v>
                </c:pt>
                <c:pt idx="1365">
                  <c:v>2.0255342679936506E-2</c:v>
                </c:pt>
                <c:pt idx="1366">
                  <c:v>1.9886044120012162E-2</c:v>
                </c:pt>
                <c:pt idx="1367">
                  <c:v>1.932131462176492E-2</c:v>
                </c:pt>
                <c:pt idx="1368">
                  <c:v>1.9139363156270756E-2</c:v>
                </c:pt>
                <c:pt idx="1369">
                  <c:v>1.8978718215548997E-2</c:v>
                </c:pt>
                <c:pt idx="1370">
                  <c:v>1.8678935979195895E-2</c:v>
                </c:pt>
                <c:pt idx="1371">
                  <c:v>1.8381242949288022E-2</c:v>
                </c:pt>
                <c:pt idx="1372">
                  <c:v>1.8098378235314506E-2</c:v>
                </c:pt>
                <c:pt idx="1373">
                  <c:v>1.7705788999821361E-2</c:v>
                </c:pt>
                <c:pt idx="1374">
                  <c:v>1.7318129903706323E-2</c:v>
                </c:pt>
                <c:pt idx="1375">
                  <c:v>1.6971414625721087E-2</c:v>
                </c:pt>
                <c:pt idx="1376">
                  <c:v>1.6477097355725095E-2</c:v>
                </c:pt>
                <c:pt idx="1377">
                  <c:v>1.5701814415691136E-2</c:v>
                </c:pt>
                <c:pt idx="1378">
                  <c:v>1.5203554033414333E-2</c:v>
                </c:pt>
                <c:pt idx="1379">
                  <c:v>1.5030168860367185E-2</c:v>
                </c:pt>
                <c:pt idx="1380">
                  <c:v>1.4740520281212319E-2</c:v>
                </c:pt>
                <c:pt idx="1381">
                  <c:v>1.4486401626546552E-2</c:v>
                </c:pt>
                <c:pt idx="1382">
                  <c:v>1.4117220079591517E-2</c:v>
                </c:pt>
                <c:pt idx="1383">
                  <c:v>1.3620106462495675E-2</c:v>
                </c:pt>
                <c:pt idx="1384">
                  <c:v>1.3612306043051355E-2</c:v>
                </c:pt>
                <c:pt idx="1385">
                  <c:v>1.3626687493061736E-2</c:v>
                </c:pt>
                <c:pt idx="1386">
                  <c:v>1.3794453986634319E-2</c:v>
                </c:pt>
                <c:pt idx="1387">
                  <c:v>1.4077174450585875E-2</c:v>
                </c:pt>
                <c:pt idx="1388">
                  <c:v>1.5275109499712945E-2</c:v>
                </c:pt>
                <c:pt idx="1389">
                  <c:v>1.6174007927877293E-2</c:v>
                </c:pt>
                <c:pt idx="1390">
                  <c:v>1.6926626379989002E-2</c:v>
                </c:pt>
                <c:pt idx="1391">
                  <c:v>1.7498528512716684E-2</c:v>
                </c:pt>
                <c:pt idx="1392">
                  <c:v>1.790056803705049E-2</c:v>
                </c:pt>
                <c:pt idx="1393">
                  <c:v>1.8647910303250616E-2</c:v>
                </c:pt>
                <c:pt idx="1394">
                  <c:v>1.9156503522587257E-2</c:v>
                </c:pt>
                <c:pt idx="1395">
                  <c:v>1.960035883919738E-2</c:v>
                </c:pt>
                <c:pt idx="1396">
                  <c:v>1.9999014320050298E-2</c:v>
                </c:pt>
                <c:pt idx="1397">
                  <c:v>2.0479825453218848E-2</c:v>
                </c:pt>
                <c:pt idx="1398">
                  <c:v>2.215306857967804E-2</c:v>
                </c:pt>
                <c:pt idx="1399">
                  <c:v>2.4194827494515549E-2</c:v>
                </c:pt>
                <c:pt idx="1400">
                  <c:v>2.5942533840415144E-2</c:v>
                </c:pt>
                <c:pt idx="1401">
                  <c:v>2.7358450836433755E-2</c:v>
                </c:pt>
                <c:pt idx="1402">
                  <c:v>2.8743735466044702E-2</c:v>
                </c:pt>
                <c:pt idx="1403">
                  <c:v>3.003112326927922E-2</c:v>
                </c:pt>
                <c:pt idx="1404">
                  <c:v>3.1504780365738019E-2</c:v>
                </c:pt>
                <c:pt idx="1405">
                  <c:v>3.3101433077531675E-2</c:v>
                </c:pt>
                <c:pt idx="1406">
                  <c:v>3.4372488164339347E-2</c:v>
                </c:pt>
                <c:pt idx="1407">
                  <c:v>3.5415046621382396E-2</c:v>
                </c:pt>
                <c:pt idx="1408">
                  <c:v>3.6171785160068116E-2</c:v>
                </c:pt>
                <c:pt idx="1409">
                  <c:v>3.6665908666210847E-2</c:v>
                </c:pt>
                <c:pt idx="1410">
                  <c:v>3.7283708662798849E-2</c:v>
                </c:pt>
                <c:pt idx="1411">
                  <c:v>3.7734064129329579E-2</c:v>
                </c:pt>
                <c:pt idx="1412">
                  <c:v>3.7865138035076899E-2</c:v>
                </c:pt>
                <c:pt idx="1413">
                  <c:v>3.7714816305031776E-2</c:v>
                </c:pt>
                <c:pt idx="1414">
                  <c:v>3.724567269749577E-2</c:v>
                </c:pt>
                <c:pt idx="1415">
                  <c:v>3.657330534168951E-2</c:v>
                </c:pt>
                <c:pt idx="1416">
                  <c:v>3.5648881424860848E-2</c:v>
                </c:pt>
                <c:pt idx="1417">
                  <c:v>3.4514944292165312E-2</c:v>
                </c:pt>
                <c:pt idx="1418">
                  <c:v>3.4018307104605808E-2</c:v>
                </c:pt>
                <c:pt idx="1419">
                  <c:v>3.3268640949445635E-2</c:v>
                </c:pt>
                <c:pt idx="1420">
                  <c:v>3.2237293633142226E-2</c:v>
                </c:pt>
                <c:pt idx="1421">
                  <c:v>3.0947180750794785E-2</c:v>
                </c:pt>
                <c:pt idx="1422">
                  <c:v>2.9382973260836127E-2</c:v>
                </c:pt>
                <c:pt idx="1423">
                  <c:v>2.8076890120887044E-2</c:v>
                </c:pt>
                <c:pt idx="1424">
                  <c:v>2.6395915395561836E-2</c:v>
                </c:pt>
                <c:pt idx="1425">
                  <c:v>2.4224114302890343E-2</c:v>
                </c:pt>
                <c:pt idx="1426">
                  <c:v>2.213283002259811E-2</c:v>
                </c:pt>
                <c:pt idx="1427">
                  <c:v>1.9968361312196106E-2</c:v>
                </c:pt>
                <c:pt idx="1428">
                  <c:v>1.9681009233793276E-2</c:v>
                </c:pt>
                <c:pt idx="1429">
                  <c:v>1.9734997650451121E-2</c:v>
                </c:pt>
                <c:pt idx="1430">
                  <c:v>1.9697941047678812E-2</c:v>
                </c:pt>
                <c:pt idx="1431">
                  <c:v>1.9693087579234419E-2</c:v>
                </c:pt>
                <c:pt idx="1432">
                  <c:v>1.9583106467038799E-2</c:v>
                </c:pt>
                <c:pt idx="1433">
                  <c:v>1.9972793355347983E-2</c:v>
                </c:pt>
                <c:pt idx="1434">
                  <c:v>2.0489969621170129E-2</c:v>
                </c:pt>
                <c:pt idx="1435">
                  <c:v>2.1010275225920454E-2</c:v>
                </c:pt>
                <c:pt idx="1436">
                  <c:v>2.135668334586633E-2</c:v>
                </c:pt>
                <c:pt idx="1437">
                  <c:v>2.1583006912042131E-2</c:v>
                </c:pt>
                <c:pt idx="1438">
                  <c:v>2.1885962514392458E-2</c:v>
                </c:pt>
                <c:pt idx="1439">
                  <c:v>2.2183457868392206E-2</c:v>
                </c:pt>
                <c:pt idx="1440">
                  <c:v>2.2640135028444738E-2</c:v>
                </c:pt>
                <c:pt idx="1441">
                  <c:v>2.2936723052687059E-2</c:v>
                </c:pt>
                <c:pt idx="1442">
                  <c:v>2.323384183900401E-2</c:v>
                </c:pt>
                <c:pt idx="1443">
                  <c:v>2.3338988017930211E-2</c:v>
                </c:pt>
                <c:pt idx="1444">
                  <c:v>2.3400373710079247E-2</c:v>
                </c:pt>
                <c:pt idx="1445">
                  <c:v>2.3361347236376031E-2</c:v>
                </c:pt>
                <c:pt idx="1446">
                  <c:v>2.3177909446523596E-2</c:v>
                </c:pt>
                <c:pt idx="1447">
                  <c:v>2.3298985777800804E-2</c:v>
                </c:pt>
                <c:pt idx="1448">
                  <c:v>2.4302891444037873E-2</c:v>
                </c:pt>
                <c:pt idx="1449">
                  <c:v>2.5424096515721473E-2</c:v>
                </c:pt>
                <c:pt idx="1450">
                  <c:v>2.7018206306244297E-2</c:v>
                </c:pt>
                <c:pt idx="1451">
                  <c:v>2.8725161195564577E-2</c:v>
                </c:pt>
                <c:pt idx="1452">
                  <c:v>3.0034941700396781E-2</c:v>
                </c:pt>
                <c:pt idx="1453">
                  <c:v>3.1033674310751228E-2</c:v>
                </c:pt>
                <c:pt idx="1454">
                  <c:v>3.1685705664781509E-2</c:v>
                </c:pt>
                <c:pt idx="1455">
                  <c:v>3.1918403936503546E-2</c:v>
                </c:pt>
                <c:pt idx="1456">
                  <c:v>3.2496329654644378E-2</c:v>
                </c:pt>
                <c:pt idx="1457">
                  <c:v>3.3291112211901272E-2</c:v>
                </c:pt>
                <c:pt idx="1458">
                  <c:v>3.4143287873276411E-2</c:v>
                </c:pt>
                <c:pt idx="1459">
                  <c:v>3.469184830292886E-2</c:v>
                </c:pt>
                <c:pt idx="1460">
                  <c:v>3.4944511658029719E-2</c:v>
                </c:pt>
                <c:pt idx="1461">
                  <c:v>3.5670423353407248E-2</c:v>
                </c:pt>
                <c:pt idx="1462">
                  <c:v>3.6054989312092577E-2</c:v>
                </c:pt>
                <c:pt idx="1463">
                  <c:v>3.649464433410736E-2</c:v>
                </c:pt>
                <c:pt idx="1464">
                  <c:v>3.6671036926686579E-2</c:v>
                </c:pt>
                <c:pt idx="1465">
                  <c:v>3.6668911019015128E-2</c:v>
                </c:pt>
                <c:pt idx="1466">
                  <c:v>3.6399665868168334E-2</c:v>
                </c:pt>
                <c:pt idx="1467">
                  <c:v>3.6226156649104606E-2</c:v>
                </c:pt>
                <c:pt idx="1468">
                  <c:v>3.594037480430088E-2</c:v>
                </c:pt>
                <c:pt idx="1469">
                  <c:v>3.5520311148737396E-2</c:v>
                </c:pt>
                <c:pt idx="1470">
                  <c:v>3.4820803236181037E-2</c:v>
                </c:pt>
                <c:pt idx="1471">
                  <c:v>3.3804441706364201E-2</c:v>
                </c:pt>
                <c:pt idx="1472">
                  <c:v>3.2652604469296825E-2</c:v>
                </c:pt>
                <c:pt idx="1473">
                  <c:v>3.1389035538784769E-2</c:v>
                </c:pt>
                <c:pt idx="1474">
                  <c:v>2.9920534741573929E-2</c:v>
                </c:pt>
                <c:pt idx="1475">
                  <c:v>2.7955660116418684E-2</c:v>
                </c:pt>
                <c:pt idx="1476">
                  <c:v>2.5438070606126038E-2</c:v>
                </c:pt>
                <c:pt idx="1477">
                  <c:v>2.319520822183933E-2</c:v>
                </c:pt>
                <c:pt idx="1478">
                  <c:v>2.1951510442327925E-2</c:v>
                </c:pt>
                <c:pt idx="1479">
                  <c:v>2.0853180496619602E-2</c:v>
                </c:pt>
                <c:pt idx="1480">
                  <c:v>2.0410863060417159E-2</c:v>
                </c:pt>
                <c:pt idx="1481">
                  <c:v>2.0987164695442925E-2</c:v>
                </c:pt>
                <c:pt idx="1482">
                  <c:v>2.1538065870124874E-2</c:v>
                </c:pt>
                <c:pt idx="1483">
                  <c:v>2.1889907299876207E-2</c:v>
                </c:pt>
                <c:pt idx="1484">
                  <c:v>2.2021133255258715E-2</c:v>
                </c:pt>
                <c:pt idx="1485">
                  <c:v>2.1958767630051976E-2</c:v>
                </c:pt>
                <c:pt idx="1486">
                  <c:v>2.2829584841347093E-2</c:v>
                </c:pt>
                <c:pt idx="1487">
                  <c:v>2.3751883853305077E-2</c:v>
                </c:pt>
                <c:pt idx="1488">
                  <c:v>2.4350113434124347E-2</c:v>
                </c:pt>
                <c:pt idx="1489">
                  <c:v>2.4914767393630497E-2</c:v>
                </c:pt>
                <c:pt idx="1490">
                  <c:v>2.5310155170471225E-2</c:v>
                </c:pt>
                <c:pt idx="1491">
                  <c:v>2.608630471568036E-2</c:v>
                </c:pt>
                <c:pt idx="1492">
                  <c:v>2.6612619699241863E-2</c:v>
                </c:pt>
                <c:pt idx="1493">
                  <c:v>2.71822913585592E-2</c:v>
                </c:pt>
                <c:pt idx="1494">
                  <c:v>2.74553093333069E-2</c:v>
                </c:pt>
                <c:pt idx="1495">
                  <c:v>2.758127952504745E-2</c:v>
                </c:pt>
                <c:pt idx="1496">
                  <c:v>2.7579644847004085E-2</c:v>
                </c:pt>
                <c:pt idx="1497">
                  <c:v>2.779509449782085E-2</c:v>
                </c:pt>
                <c:pt idx="1498">
                  <c:v>2.8050395698922728E-2</c:v>
                </c:pt>
                <c:pt idx="1499">
                  <c:v>2.8208328728340493E-2</c:v>
                </c:pt>
                <c:pt idx="1500">
                  <c:v>2.8168922850620257E-2</c:v>
                </c:pt>
                <c:pt idx="1501">
                  <c:v>2.7884751111678031E-2</c:v>
                </c:pt>
                <c:pt idx="1502">
                  <c:v>2.7359449578946815E-2</c:v>
                </c:pt>
                <c:pt idx="1503">
                  <c:v>2.7333586630827519E-2</c:v>
                </c:pt>
                <c:pt idx="1504">
                  <c:v>2.7078649520223538E-2</c:v>
                </c:pt>
                <c:pt idx="1505">
                  <c:v>2.6774186382259226E-2</c:v>
                </c:pt>
                <c:pt idx="1506">
                  <c:v>2.6445401729318179E-2</c:v>
                </c:pt>
                <c:pt idx="1507">
                  <c:v>2.58269175587258E-2</c:v>
                </c:pt>
                <c:pt idx="1508">
                  <c:v>2.5245739274147791E-2</c:v>
                </c:pt>
                <c:pt idx="1509">
                  <c:v>2.4374880375862166E-2</c:v>
                </c:pt>
                <c:pt idx="1510">
                  <c:v>2.3369092614741051E-2</c:v>
                </c:pt>
                <c:pt idx="1511">
                  <c:v>2.2993821021489586E-2</c:v>
                </c:pt>
                <c:pt idx="1512">
                  <c:v>2.2606743088538481E-2</c:v>
                </c:pt>
                <c:pt idx="1513">
                  <c:v>2.2037512720693344E-2</c:v>
                </c:pt>
                <c:pt idx="1514">
                  <c:v>2.1194396836676618E-2</c:v>
                </c:pt>
                <c:pt idx="1515">
                  <c:v>2.0919864471910014E-2</c:v>
                </c:pt>
                <c:pt idx="1516">
                  <c:v>2.1360003038909812E-2</c:v>
                </c:pt>
                <c:pt idx="1517">
                  <c:v>2.1669621572371671E-2</c:v>
                </c:pt>
                <c:pt idx="1518">
                  <c:v>2.1705696014564294E-2</c:v>
                </c:pt>
                <c:pt idx="1519">
                  <c:v>2.1756060212218833E-2</c:v>
                </c:pt>
                <c:pt idx="1520">
                  <c:v>2.246334655434374E-2</c:v>
                </c:pt>
                <c:pt idx="1521">
                  <c:v>2.3023311266739423E-2</c:v>
                </c:pt>
                <c:pt idx="1522">
                  <c:v>2.3544942003927951E-2</c:v>
                </c:pt>
                <c:pt idx="1523">
                  <c:v>2.4023005186742948E-2</c:v>
                </c:pt>
                <c:pt idx="1524">
                  <c:v>2.423602613148124E-2</c:v>
                </c:pt>
                <c:pt idx="1525">
                  <c:v>2.42819430662005E-2</c:v>
                </c:pt>
                <c:pt idx="1526">
                  <c:v>2.4482006960496027E-2</c:v>
                </c:pt>
                <c:pt idx="1527">
                  <c:v>2.4504939120487769E-2</c:v>
                </c:pt>
                <c:pt idx="1528">
                  <c:v>2.4551419158515823E-2</c:v>
                </c:pt>
                <c:pt idx="1529">
                  <c:v>2.4533988002078698E-2</c:v>
                </c:pt>
                <c:pt idx="1530">
                  <c:v>2.4284675111114859E-2</c:v>
                </c:pt>
                <c:pt idx="1531">
                  <c:v>2.3979502492794322E-2</c:v>
                </c:pt>
                <c:pt idx="1532">
                  <c:v>2.3427851958114573E-2</c:v>
                </c:pt>
                <c:pt idx="1533">
                  <c:v>2.3109546147514076E-2</c:v>
                </c:pt>
                <c:pt idx="1534">
                  <c:v>2.2667410681849968E-2</c:v>
                </c:pt>
                <c:pt idx="1535">
                  <c:v>2.225806022070435E-2</c:v>
                </c:pt>
                <c:pt idx="1536">
                  <c:v>2.1871587245465614E-2</c:v>
                </c:pt>
                <c:pt idx="1537">
                  <c:v>2.1346029489264957E-2</c:v>
                </c:pt>
                <c:pt idx="1538">
                  <c:v>2.1244598489321784E-2</c:v>
                </c:pt>
                <c:pt idx="1539">
                  <c:v>2.098723338638896E-2</c:v>
                </c:pt>
                <c:pt idx="1540">
                  <c:v>2.0681842923174754E-2</c:v>
                </c:pt>
                <c:pt idx="1541">
                  <c:v>2.0331971115663518E-2</c:v>
                </c:pt>
                <c:pt idx="1542">
                  <c:v>1.9779241256172236E-2</c:v>
                </c:pt>
                <c:pt idx="1543">
                  <c:v>1.9035582626310533E-2</c:v>
                </c:pt>
                <c:pt idx="1544">
                  <c:v>1.7977573397243176E-2</c:v>
                </c:pt>
                <c:pt idx="1545">
                  <c:v>1.7623878732168329E-2</c:v>
                </c:pt>
                <c:pt idx="1546">
                  <c:v>1.711790838188593E-2</c:v>
                </c:pt>
                <c:pt idx="1547">
                  <c:v>1.651513576535811E-2</c:v>
                </c:pt>
                <c:pt idx="1548">
                  <c:v>1.6252362904403829E-2</c:v>
                </c:pt>
                <c:pt idx="1549">
                  <c:v>1.6366825777253027E-2</c:v>
                </c:pt>
                <c:pt idx="1550">
                  <c:v>1.7248473992983165E-2</c:v>
                </c:pt>
                <c:pt idx="1551">
                  <c:v>1.7911406265140713E-2</c:v>
                </c:pt>
                <c:pt idx="1552">
                  <c:v>1.8584523895246455E-2</c:v>
                </c:pt>
                <c:pt idx="1553">
                  <c:v>1.9280232409477599E-2</c:v>
                </c:pt>
                <c:pt idx="1554">
                  <c:v>2.0196275886635636E-2</c:v>
                </c:pt>
                <c:pt idx="1555">
                  <c:v>2.0904086008234572E-2</c:v>
                </c:pt>
                <c:pt idx="1556">
                  <c:v>2.1610607373978005E-2</c:v>
                </c:pt>
                <c:pt idx="1557">
                  <c:v>2.2403262356650175E-2</c:v>
                </c:pt>
                <c:pt idx="1558">
                  <c:v>2.2958187190394965E-2</c:v>
                </c:pt>
                <c:pt idx="1559">
                  <c:v>2.3684317486476644E-2</c:v>
                </c:pt>
                <c:pt idx="1560">
                  <c:v>2.4266855158319167E-2</c:v>
                </c:pt>
                <c:pt idx="1561">
                  <c:v>2.49029015708652E-2</c:v>
                </c:pt>
                <c:pt idx="1562">
                  <c:v>2.5352537799070124E-2</c:v>
                </c:pt>
                <c:pt idx="1563">
                  <c:v>2.5712801450468468E-2</c:v>
                </c:pt>
                <c:pt idx="1564">
                  <c:v>2.5979820719543058E-2</c:v>
                </c:pt>
                <c:pt idx="1565">
                  <c:v>2.6014189673742898E-2</c:v>
                </c:pt>
                <c:pt idx="1566">
                  <c:v>2.6275716445291045E-2</c:v>
                </c:pt>
                <c:pt idx="1567">
                  <c:v>2.6474615713867885E-2</c:v>
                </c:pt>
                <c:pt idx="1568">
                  <c:v>2.6828069162812301E-2</c:v>
                </c:pt>
                <c:pt idx="1569">
                  <c:v>2.6906314584302364E-2</c:v>
                </c:pt>
                <c:pt idx="1570">
                  <c:v>2.7088175018451413E-2</c:v>
                </c:pt>
                <c:pt idx="1571">
                  <c:v>2.7654162353740009E-2</c:v>
                </c:pt>
                <c:pt idx="1572">
                  <c:v>2.7987500716238397E-2</c:v>
                </c:pt>
                <c:pt idx="1573">
                  <c:v>2.828524301551457E-2</c:v>
                </c:pt>
                <c:pt idx="1574">
                  <c:v>2.8284560537443756E-2</c:v>
                </c:pt>
                <c:pt idx="1575">
                  <c:v>2.8084258895720811E-2</c:v>
                </c:pt>
                <c:pt idx="1576">
                  <c:v>2.7711751039878708E-2</c:v>
                </c:pt>
                <c:pt idx="1577">
                  <c:v>2.7397937264272559E-2</c:v>
                </c:pt>
                <c:pt idx="1578">
                  <c:v>2.7412772138083318E-2</c:v>
                </c:pt>
                <c:pt idx="1579">
                  <c:v>2.7619137648382631E-2</c:v>
                </c:pt>
                <c:pt idx="1580">
                  <c:v>2.7769489515783768E-2</c:v>
                </c:pt>
                <c:pt idx="1581">
                  <c:v>2.7978672471515354E-2</c:v>
                </c:pt>
                <c:pt idx="1582">
                  <c:v>2.8165693851895796E-2</c:v>
                </c:pt>
                <c:pt idx="1583">
                  <c:v>2.8231218065773517E-2</c:v>
                </c:pt>
                <c:pt idx="1584">
                  <c:v>2.8694535156038783E-2</c:v>
                </c:pt>
                <c:pt idx="1585">
                  <c:v>2.8941582080168993E-2</c:v>
                </c:pt>
                <c:pt idx="1586">
                  <c:v>2.9108798038140347E-2</c:v>
                </c:pt>
                <c:pt idx="1587">
                  <c:v>2.932106236760397E-2</c:v>
                </c:pt>
                <c:pt idx="1588">
                  <c:v>2.9186721580585214E-2</c:v>
                </c:pt>
                <c:pt idx="1589">
                  <c:v>2.912076446622083E-2</c:v>
                </c:pt>
                <c:pt idx="1590">
                  <c:v>2.9166625337928027E-2</c:v>
                </c:pt>
                <c:pt idx="1591">
                  <c:v>2.9222579362534917E-2</c:v>
                </c:pt>
                <c:pt idx="1592">
                  <c:v>2.9081147785296239E-2</c:v>
                </c:pt>
                <c:pt idx="1593">
                  <c:v>2.8818203042782643E-2</c:v>
                </c:pt>
                <c:pt idx="1594">
                  <c:v>2.8299056453243137E-2</c:v>
                </c:pt>
                <c:pt idx="1595">
                  <c:v>2.753599709226643E-2</c:v>
                </c:pt>
                <c:pt idx="1596">
                  <c:v>2.7076510834934574E-2</c:v>
                </c:pt>
                <c:pt idx="1597">
                  <c:v>2.6589041165854907E-2</c:v>
                </c:pt>
                <c:pt idx="1598">
                  <c:v>2.5832117342366779E-2</c:v>
                </c:pt>
                <c:pt idx="1599">
                  <c:v>2.4776900165957429E-2</c:v>
                </c:pt>
                <c:pt idx="1600">
                  <c:v>2.3773434320846349E-2</c:v>
                </c:pt>
                <c:pt idx="1601">
                  <c:v>2.3038235600947657E-2</c:v>
                </c:pt>
                <c:pt idx="1602">
                  <c:v>2.2364955706315706E-2</c:v>
                </c:pt>
                <c:pt idx="1603">
                  <c:v>2.1679078627944597E-2</c:v>
                </c:pt>
                <c:pt idx="1604">
                  <c:v>2.0911184444308097E-2</c:v>
                </c:pt>
                <c:pt idx="1605">
                  <c:v>2.0070896389618623E-2</c:v>
                </c:pt>
                <c:pt idx="1606">
                  <c:v>1.938330552368674E-2</c:v>
                </c:pt>
                <c:pt idx="1607">
                  <c:v>1.8997651822001256E-2</c:v>
                </c:pt>
                <c:pt idx="1608">
                  <c:v>1.8434490207130484E-2</c:v>
                </c:pt>
                <c:pt idx="1609">
                  <c:v>1.7671523682732213E-2</c:v>
                </c:pt>
                <c:pt idx="1610">
                  <c:v>1.6777189254947741E-2</c:v>
                </c:pt>
                <c:pt idx="1611">
                  <c:v>1.6152758170633896E-2</c:v>
                </c:pt>
                <c:pt idx="1612">
                  <c:v>1.6595151211720297E-2</c:v>
                </c:pt>
                <c:pt idx="1613">
                  <c:v>1.6774945544990046E-2</c:v>
                </c:pt>
                <c:pt idx="1614">
                  <c:v>1.7055152160284175E-2</c:v>
                </c:pt>
                <c:pt idx="1615">
                  <c:v>1.7224536874996629E-2</c:v>
                </c:pt>
                <c:pt idx="1616">
                  <c:v>1.8255908425203863E-2</c:v>
                </c:pt>
                <c:pt idx="1617">
                  <c:v>1.9806335286572309E-2</c:v>
                </c:pt>
                <c:pt idx="1618">
                  <c:v>2.0968981210727662E-2</c:v>
                </c:pt>
                <c:pt idx="1619">
                  <c:v>2.2094764071248003E-2</c:v>
                </c:pt>
                <c:pt idx="1620">
                  <c:v>2.3151599228355541E-2</c:v>
                </c:pt>
                <c:pt idx="1621">
                  <c:v>2.5557867092386003E-2</c:v>
                </c:pt>
                <c:pt idx="1622">
                  <c:v>2.8236981216559719E-2</c:v>
                </c:pt>
                <c:pt idx="1623">
                  <c:v>3.0782815725182509E-2</c:v>
                </c:pt>
                <c:pt idx="1624">
                  <c:v>3.2822139180991763E-2</c:v>
                </c:pt>
                <c:pt idx="1625">
                  <c:v>3.4492890154977134E-2</c:v>
                </c:pt>
                <c:pt idx="1626">
                  <c:v>3.5805614569534516E-2</c:v>
                </c:pt>
                <c:pt idx="1627">
                  <c:v>3.6788336339514588E-2</c:v>
                </c:pt>
                <c:pt idx="1628">
                  <c:v>3.7451688464214906E-2</c:v>
                </c:pt>
                <c:pt idx="1629">
                  <c:v>3.7811177377857171E-2</c:v>
                </c:pt>
                <c:pt idx="1630">
                  <c:v>3.7878577100625463E-2</c:v>
                </c:pt>
                <c:pt idx="1631">
                  <c:v>3.7644009020545682E-2</c:v>
                </c:pt>
                <c:pt idx="1632">
                  <c:v>3.7420179313212933E-2</c:v>
                </c:pt>
                <c:pt idx="1633">
                  <c:v>3.694163719359498E-2</c:v>
                </c:pt>
                <c:pt idx="1634">
                  <c:v>3.6341747356589453E-2</c:v>
                </c:pt>
                <c:pt idx="1635">
                  <c:v>3.5501061004289881E-2</c:v>
                </c:pt>
                <c:pt idx="1636">
                  <c:v>3.4602864175055259E-2</c:v>
                </c:pt>
                <c:pt idx="1637">
                  <c:v>3.3463481207989504E-2</c:v>
                </c:pt>
                <c:pt idx="1638">
                  <c:v>3.2024609445231618E-2</c:v>
                </c:pt>
                <c:pt idx="1639">
                  <c:v>3.0273807195809792E-2</c:v>
                </c:pt>
                <c:pt idx="1640">
                  <c:v>2.8198383963982651E-2</c:v>
                </c:pt>
                <c:pt idx="1641">
                  <c:v>2.5776110240374264E-2</c:v>
                </c:pt>
                <c:pt idx="1642">
                  <c:v>2.4151662839389489E-2</c:v>
                </c:pt>
                <c:pt idx="1643">
                  <c:v>2.2245744893955307E-2</c:v>
                </c:pt>
                <c:pt idx="1644">
                  <c:v>1.9905659960810795E-2</c:v>
                </c:pt>
                <c:pt idx="1645">
                  <c:v>1.7011190107196199E-2</c:v>
                </c:pt>
                <c:pt idx="1646">
                  <c:v>1.477379728843671E-2</c:v>
                </c:pt>
                <c:pt idx="1647">
                  <c:v>1.2969540114784879E-2</c:v>
                </c:pt>
                <c:pt idx="1648">
                  <c:v>1.0724342496284704E-2</c:v>
                </c:pt>
                <c:pt idx="1649">
                  <c:v>8.3063586368407102E-3</c:v>
                </c:pt>
                <c:pt idx="1650">
                  <c:v>4.4339097719292243E-3</c:v>
                </c:pt>
                <c:pt idx="1651">
                  <c:v>2.7633807645296364E-3</c:v>
                </c:pt>
                <c:pt idx="1652">
                  <c:v>2.1231969503045811E-3</c:v>
                </c:pt>
                <c:pt idx="1653">
                  <c:v>2.0346052010909504E-3</c:v>
                </c:pt>
                <c:pt idx="1654">
                  <c:v>1.9932031809586376E-3</c:v>
                </c:pt>
                <c:pt idx="1655">
                  <c:v>1.9654683676027158E-3</c:v>
                </c:pt>
                <c:pt idx="1656">
                  <c:v>1.9289004312338825E-3</c:v>
                </c:pt>
                <c:pt idx="1657">
                  <c:v>1.9595403800320597E-3</c:v>
                </c:pt>
                <c:pt idx="1658">
                  <c:v>2.0018406191234734E-3</c:v>
                </c:pt>
                <c:pt idx="1659">
                  <c:v>2.0445328499656954E-3</c:v>
                </c:pt>
                <c:pt idx="1660">
                  <c:v>2.0987688146824864E-3</c:v>
                </c:pt>
                <c:pt idx="1661">
                  <c:v>2.1430787479769964E-3</c:v>
                </c:pt>
                <c:pt idx="1662">
                  <c:v>2.1928586392781294E-3</c:v>
                </c:pt>
                <c:pt idx="1663">
                  <c:v>2.2595078243203884E-3</c:v>
                </c:pt>
                <c:pt idx="1664">
                  <c:v>2.3134663586310456E-3</c:v>
                </c:pt>
                <c:pt idx="1665">
                  <c:v>2.3557086225455856E-3</c:v>
                </c:pt>
                <c:pt idx="1666">
                  <c:v>2.4065950894961142E-3</c:v>
                </c:pt>
                <c:pt idx="1667">
                  <c:v>2.4461222123429477E-3</c:v>
                </c:pt>
                <c:pt idx="1668">
                  <c:v>2.5186288790157562E-3</c:v>
                </c:pt>
                <c:pt idx="1669">
                  <c:v>2.5734642332144514E-3</c:v>
                </c:pt>
                <c:pt idx="1670">
                  <c:v>2.6163986577281131E-3</c:v>
                </c:pt>
                <c:pt idx="1671">
                  <c:v>2.6570416389670253E-3</c:v>
                </c:pt>
                <c:pt idx="1672">
                  <c:v>2.695135901504081E-3</c:v>
                </c:pt>
                <c:pt idx="1673">
                  <c:v>2.7202729597443531E-3</c:v>
                </c:pt>
                <c:pt idx="1674">
                  <c:v>2.7424246089287211E-3</c:v>
                </c:pt>
                <c:pt idx="1675">
                  <c:v>2.751187145743452E-3</c:v>
                </c:pt>
                <c:pt idx="1676">
                  <c:v>2.7564894814080306E-3</c:v>
                </c:pt>
                <c:pt idx="1677">
                  <c:v>2.7495010523163653E-3</c:v>
                </c:pt>
                <c:pt idx="1678">
                  <c:v>2.7486218166322975E-3</c:v>
                </c:pt>
                <c:pt idx="1679">
                  <c:v>2.7353906201046745E-3</c:v>
                </c:pt>
                <c:pt idx="1680">
                  <c:v>2.6945606471550812E-3</c:v>
                </c:pt>
                <c:pt idx="1681">
                  <c:v>2.6367914206847274E-3</c:v>
                </c:pt>
                <c:pt idx="1682">
                  <c:v>2.5726749020589419E-3</c:v>
                </c:pt>
                <c:pt idx="1683">
                  <c:v>2.513177568317307E-3</c:v>
                </c:pt>
                <c:pt idx="1684">
                  <c:v>2.4498064508961669E-3</c:v>
                </c:pt>
                <c:pt idx="1685">
                  <c:v>2.3885966251898792E-3</c:v>
                </c:pt>
                <c:pt idx="1686">
                  <c:v>2.3091491072449928E-3</c:v>
                </c:pt>
                <c:pt idx="1687">
                  <c:v>2.2832298578491857E-3</c:v>
                </c:pt>
                <c:pt idx="1688">
                  <c:v>2.2560086553298194E-3</c:v>
                </c:pt>
                <c:pt idx="1689">
                  <c:v>2.2377383023108989E-3</c:v>
                </c:pt>
                <c:pt idx="1690">
                  <c:v>2.2229573010098935E-3</c:v>
                </c:pt>
                <c:pt idx="1691">
                  <c:v>2.1954902019738908E-3</c:v>
                </c:pt>
                <c:pt idx="1692">
                  <c:v>2.1784608758384414E-3</c:v>
                </c:pt>
                <c:pt idx="1693">
                  <c:v>2.1626747619940432E-3</c:v>
                </c:pt>
                <c:pt idx="1694">
                  <c:v>2.1378976417024118E-3</c:v>
                </c:pt>
                <c:pt idx="1695">
                  <c:v>2.1231688660186526E-3</c:v>
                </c:pt>
                <c:pt idx="1696">
                  <c:v>2.4871683457279616E-3</c:v>
                </c:pt>
                <c:pt idx="1697">
                  <c:v>2.8201593190402192E-3</c:v>
                </c:pt>
                <c:pt idx="1698">
                  <c:v>3.1118246087388788E-3</c:v>
                </c:pt>
                <c:pt idx="1699">
                  <c:v>3.3477418835394087E-3</c:v>
                </c:pt>
                <c:pt idx="1700">
                  <c:v>3.5416251469603927E-3</c:v>
                </c:pt>
                <c:pt idx="1701">
                  <c:v>3.7076765541721622E-3</c:v>
                </c:pt>
                <c:pt idx="1702">
                  <c:v>3.8505821443398348E-3</c:v>
                </c:pt>
                <c:pt idx="1703">
                  <c:v>3.966380114695159E-3</c:v>
                </c:pt>
                <c:pt idx="1704">
                  <c:v>4.0583695219572587E-3</c:v>
                </c:pt>
                <c:pt idx="1705">
                  <c:v>4.1260770506222448E-3</c:v>
                </c:pt>
                <c:pt idx="1706">
                  <c:v>4.173532020336275E-3</c:v>
                </c:pt>
                <c:pt idx="1707">
                  <c:v>4.2538243452346835E-3</c:v>
                </c:pt>
                <c:pt idx="1708">
                  <c:v>4.3168669731643476E-3</c:v>
                </c:pt>
                <c:pt idx="1709">
                  <c:v>4.3565580376046355E-3</c:v>
                </c:pt>
                <c:pt idx="1710">
                  <c:v>4.3687218124692983E-3</c:v>
                </c:pt>
                <c:pt idx="1711">
                  <c:v>4.354583233208028E-3</c:v>
                </c:pt>
                <c:pt idx="1712">
                  <c:v>4.325788182189678E-3</c:v>
                </c:pt>
                <c:pt idx="1713">
                  <c:v>4.283377478386809E-3</c:v>
                </c:pt>
                <c:pt idx="1714">
                  <c:v>4.218343704435381E-3</c:v>
                </c:pt>
                <c:pt idx="1715">
                  <c:v>4.149330123586076E-3</c:v>
                </c:pt>
                <c:pt idx="1716">
                  <c:v>4.0577999157907496E-3</c:v>
                </c:pt>
                <c:pt idx="1717">
                  <c:v>3.952720166424094E-3</c:v>
                </c:pt>
                <c:pt idx="1718">
                  <c:v>3.8231165928807199E-3</c:v>
                </c:pt>
                <c:pt idx="1719">
                  <c:v>3.6780667924693469E-3</c:v>
                </c:pt>
                <c:pt idx="1720">
                  <c:v>3.4954970136658534E-3</c:v>
                </c:pt>
                <c:pt idx="1721">
                  <c:v>3.2738028335328813E-3</c:v>
                </c:pt>
                <c:pt idx="1722">
                  <c:v>3.0237766996782474E-3</c:v>
                </c:pt>
                <c:pt idx="1723">
                  <c:v>2.721790856255102E-3</c:v>
                </c:pt>
                <c:pt idx="1724">
                  <c:v>2.3480238783786774E-3</c:v>
                </c:pt>
                <c:pt idx="1725">
                  <c:v>1.9119081902153844E-3</c:v>
                </c:pt>
                <c:pt idx="1726">
                  <c:v>1.8692611555165297E-3</c:v>
                </c:pt>
                <c:pt idx="1727">
                  <c:v>1.8536752396299124E-3</c:v>
                </c:pt>
                <c:pt idx="1728">
                  <c:v>1.834727676400531E-3</c:v>
                </c:pt>
                <c:pt idx="1729">
                  <c:v>1.8212909781673823E-3</c:v>
                </c:pt>
                <c:pt idx="1730">
                  <c:v>1.8036957382478254E-3</c:v>
                </c:pt>
                <c:pt idx="1731">
                  <c:v>1.7913743002147041E-3</c:v>
                </c:pt>
                <c:pt idx="1732">
                  <c:v>1.7742168470316225E-3</c:v>
                </c:pt>
                <c:pt idx="1733">
                  <c:v>1.7616432652610755E-3</c:v>
                </c:pt>
                <c:pt idx="1734">
                  <c:v>1.7348932025591092E-3</c:v>
                </c:pt>
                <c:pt idx="1735">
                  <c:v>1.6969942824495003E-3</c:v>
                </c:pt>
                <c:pt idx="1736">
                  <c:v>1.6617829433243035E-3</c:v>
                </c:pt>
                <c:pt idx="1737">
                  <c:v>1.6991046404164691E-3</c:v>
                </c:pt>
                <c:pt idx="1738">
                  <c:v>1.7323966329694546E-3</c:v>
                </c:pt>
                <c:pt idx="1739">
                  <c:v>1.7724853581091873E-3</c:v>
                </c:pt>
                <c:pt idx="1740">
                  <c:v>1.8182564952952869E-3</c:v>
                </c:pt>
                <c:pt idx="1741">
                  <c:v>1.8585171241874887E-3</c:v>
                </c:pt>
                <c:pt idx="1742">
                  <c:v>1.9037331483601572E-3</c:v>
                </c:pt>
                <c:pt idx="1743">
                  <c:v>1.9429982802424313E-3</c:v>
                </c:pt>
                <c:pt idx="1744">
                  <c:v>1.9761428472593336E-3</c:v>
                </c:pt>
                <c:pt idx="1745">
                  <c:v>2.046869178403288E-3</c:v>
                </c:pt>
                <c:pt idx="1746">
                  <c:v>2.1074573076416991E-3</c:v>
                </c:pt>
                <c:pt idx="1747">
                  <c:v>2.1693473203844298E-3</c:v>
                </c:pt>
                <c:pt idx="1748">
                  <c:v>2.221053081676591E-3</c:v>
                </c:pt>
                <c:pt idx="1749">
                  <c:v>2.2632014305812419E-3</c:v>
                </c:pt>
                <c:pt idx="1750">
                  <c:v>2.2963082435216238E-3</c:v>
                </c:pt>
                <c:pt idx="1751">
                  <c:v>2.3211291861529645E-3</c:v>
                </c:pt>
                <c:pt idx="1752">
                  <c:v>2.3374984919803856E-3</c:v>
                </c:pt>
                <c:pt idx="1753">
                  <c:v>2.3550134501741531E-3</c:v>
                </c:pt>
                <c:pt idx="1754">
                  <c:v>2.3637907896144721E-3</c:v>
                </c:pt>
                <c:pt idx="1755">
                  <c:v>2.373159427424657E-3</c:v>
                </c:pt>
                <c:pt idx="1756">
                  <c:v>2.3729299188752543E-3</c:v>
                </c:pt>
                <c:pt idx="1757">
                  <c:v>2.3629592150878702E-3</c:v>
                </c:pt>
                <c:pt idx="1758">
                  <c:v>2.3461425909623483E-3</c:v>
                </c:pt>
                <c:pt idx="1759">
                  <c:v>2.3271235817495374E-3</c:v>
                </c:pt>
                <c:pt idx="1760">
                  <c:v>2.2988036497592081E-3</c:v>
                </c:pt>
                <c:pt idx="1761">
                  <c:v>2.2804519665169738E-3</c:v>
                </c:pt>
                <c:pt idx="1762">
                  <c:v>2.2529100749999727E-3</c:v>
                </c:pt>
                <c:pt idx="1763">
                  <c:v>2.2355509583148118E-3</c:v>
                </c:pt>
                <c:pt idx="1764">
                  <c:v>2.2088355932799826E-3</c:v>
                </c:pt>
                <c:pt idx="1765">
                  <c:v>2.1719434268980516E-3</c:v>
                </c:pt>
                <c:pt idx="1766">
                  <c:v>2.1366419945259129E-3</c:v>
                </c:pt>
                <c:pt idx="1767">
                  <c:v>2.1031179058412005E-3</c:v>
                </c:pt>
                <c:pt idx="1768">
                  <c:v>2.0610237372694208E-3</c:v>
                </c:pt>
                <c:pt idx="1769">
                  <c:v>2.0305359733253049E-3</c:v>
                </c:pt>
                <c:pt idx="1770">
                  <c:v>2.0026520363663016E-3</c:v>
                </c:pt>
                <c:pt idx="1771">
                  <c:v>1.960431175743568E-3</c:v>
                </c:pt>
                <c:pt idx="1772">
                  <c:v>1.9191527933744416E-3</c:v>
                </c:pt>
                <c:pt idx="1773">
                  <c:v>1.8706800477807715E-3</c:v>
                </c:pt>
                <c:pt idx="1774">
                  <c:v>1.8143560591836073E-3</c:v>
                </c:pt>
                <c:pt idx="1775">
                  <c:v>1.7971223657266618E-3</c:v>
                </c:pt>
                <c:pt idx="1776">
                  <c:v>1.7767752986107721E-3</c:v>
                </c:pt>
                <c:pt idx="1777">
                  <c:v>1.7634829922026898E-3</c:v>
                </c:pt>
                <c:pt idx="1778">
                  <c:v>1.7475975277591188E-3</c:v>
                </c:pt>
                <c:pt idx="1779">
                  <c:v>1.7287552537865415E-3</c:v>
                </c:pt>
                <c:pt idx="1780">
                  <c:v>1.7162946259919746E-3</c:v>
                </c:pt>
                <c:pt idx="1781">
                  <c:v>1.7004315678107596E-3</c:v>
                </c:pt>
                <c:pt idx="1782">
                  <c:v>1.6810554788523181E-3</c:v>
                </c:pt>
                <c:pt idx="1783">
                  <c:v>1.6688459063533736E-3</c:v>
                </c:pt>
                <c:pt idx="1784">
                  <c:v>1.6540751229705895E-3</c:v>
                </c:pt>
                <c:pt idx="1785">
                  <c:v>1.6473289136354149E-3</c:v>
                </c:pt>
                <c:pt idx="1786">
                  <c:v>1.6321574101226027E-3</c:v>
                </c:pt>
                <c:pt idx="1787">
                  <c:v>1.6216948683553212E-3</c:v>
                </c:pt>
                <c:pt idx="1788">
                  <c:v>1.6124748200120182E-3</c:v>
                </c:pt>
                <c:pt idx="1789">
                  <c:v>1.5980314419431119E-3</c:v>
                </c:pt>
                <c:pt idx="1790">
                  <c:v>1.5810782154706067E-3</c:v>
                </c:pt>
                <c:pt idx="1791">
                  <c:v>1.5730606911073511E-3</c:v>
                </c:pt>
                <c:pt idx="1792">
                  <c:v>1.5638307581121189E-3</c:v>
                </c:pt>
                <c:pt idx="1793">
                  <c:v>1.5637269700710327E-3</c:v>
                </c:pt>
                <c:pt idx="1794">
                  <c:v>1.5630878033477758E-3</c:v>
                </c:pt>
                <c:pt idx="1795">
                  <c:v>1.5615195704795617E-3</c:v>
                </c:pt>
                <c:pt idx="1796">
                  <c:v>1.5596297490675321E-3</c:v>
                </c:pt>
                <c:pt idx="1797">
                  <c:v>1.5667515133089181E-3</c:v>
                </c:pt>
                <c:pt idx="1798">
                  <c:v>1.5723717157727015E-3</c:v>
                </c:pt>
                <c:pt idx="1799">
                  <c:v>1.5867849142998925E-3</c:v>
                </c:pt>
                <c:pt idx="1800">
                  <c:v>1.5941002453632594E-3</c:v>
                </c:pt>
                <c:pt idx="1801">
                  <c:v>1.5909947196269998E-3</c:v>
                </c:pt>
                <c:pt idx="1802">
                  <c:v>1.58435414600646E-3</c:v>
                </c:pt>
                <c:pt idx="1803">
                  <c:v>1.576994484042404E-3</c:v>
                </c:pt>
                <c:pt idx="1804">
                  <c:v>1.5689107855127366E-3</c:v>
                </c:pt>
                <c:pt idx="1805">
                  <c:v>1.5600100182107464E-3</c:v>
                </c:pt>
                <c:pt idx="1806">
                  <c:v>1.5506641731721795E-3</c:v>
                </c:pt>
                <c:pt idx="1807">
                  <c:v>1.5403185111412532E-3</c:v>
                </c:pt>
                <c:pt idx="1808">
                  <c:v>1.5293619688722931E-3</c:v>
                </c:pt>
                <c:pt idx="1809">
                  <c:v>1.527364096237663E-3</c:v>
                </c:pt>
                <c:pt idx="1810">
                  <c:v>1.5347133082014713E-3</c:v>
                </c:pt>
                <c:pt idx="1811">
                  <c:v>1.5316874567997373E-3</c:v>
                </c:pt>
                <c:pt idx="1812">
                  <c:v>1.5286240669116918E-3</c:v>
                </c:pt>
                <c:pt idx="1813">
                  <c:v>1.5253748787955321E-3</c:v>
                </c:pt>
                <c:pt idx="1814">
                  <c:v>1.5223254160428362E-3</c:v>
                </c:pt>
                <c:pt idx="1815">
                  <c:v>1.5291044341587865E-3</c:v>
                </c:pt>
                <c:pt idx="1816">
                  <c:v>1.5277953449936226E-3</c:v>
                </c:pt>
                <c:pt idx="1817">
                  <c:v>1.5652844604806034E-3</c:v>
                </c:pt>
                <c:pt idx="1818">
                  <c:v>1.5989476581294022E-3</c:v>
                </c:pt>
                <c:pt idx="1819">
                  <c:v>1.6290913066911742E-3</c:v>
                </c:pt>
                <c:pt idx="1820">
                  <c:v>1.6669422532144115E-3</c:v>
                </c:pt>
                <c:pt idx="1821">
                  <c:v>1.7007226276047596E-3</c:v>
                </c:pt>
                <c:pt idx="1822">
                  <c:v>1.7304748352735789E-3</c:v>
                </c:pt>
                <c:pt idx="1823">
                  <c:v>1.7668556834318403E-3</c:v>
                </c:pt>
                <c:pt idx="1824">
                  <c:v>1.7985021747905978E-3</c:v>
                </c:pt>
                <c:pt idx="1825">
                  <c:v>1.8255344094939485E-3</c:v>
                </c:pt>
                <c:pt idx="1826">
                  <c:v>1.8589327240852663E-3</c:v>
                </c:pt>
                <c:pt idx="1827">
                  <c:v>1.895965260578842E-3</c:v>
                </c:pt>
                <c:pt idx="1828">
                  <c:v>1.9285694302165995E-3</c:v>
                </c:pt>
                <c:pt idx="1829">
                  <c:v>1.9570341989191675E-3</c:v>
                </c:pt>
                <c:pt idx="1830">
                  <c:v>1.9755562886029187E-3</c:v>
                </c:pt>
                <c:pt idx="1831">
                  <c:v>1.9864166197176374E-3</c:v>
                </c:pt>
                <c:pt idx="1832">
                  <c:v>1.9929722747485182E-3</c:v>
                </c:pt>
                <c:pt idx="1833">
                  <c:v>2.0044889746303192E-3</c:v>
                </c:pt>
                <c:pt idx="1834">
                  <c:v>2.0108478181713246E-3</c:v>
                </c:pt>
                <c:pt idx="1835">
                  <c:v>2.0120824185818156E-3</c:v>
                </c:pt>
                <c:pt idx="1836">
                  <c:v>2.0083641266636079E-3</c:v>
                </c:pt>
                <c:pt idx="1837">
                  <c:v>2.0087301321414647E-3</c:v>
                </c:pt>
                <c:pt idx="1838">
                  <c:v>2.0030296688548078E-3</c:v>
                </c:pt>
                <c:pt idx="1839">
                  <c:v>2.0017843374547876E-3</c:v>
                </c:pt>
                <c:pt idx="1840">
                  <c:v>2.0047092714283576E-3</c:v>
                </c:pt>
                <c:pt idx="1841">
                  <c:v>1.9913248425614829E-3</c:v>
                </c:pt>
                <c:pt idx="1842">
                  <c:v>1.9710046452621624E-3</c:v>
                </c:pt>
                <c:pt idx="1843">
                  <c:v>3.5845693858400619E-2</c:v>
                </c:pt>
                <c:pt idx="1844">
                  <c:v>0.1123278231968981</c:v>
                </c:pt>
                <c:pt idx="1845">
                  <c:v>0.17892581025297349</c:v>
                </c:pt>
                <c:pt idx="1846">
                  <c:v>0.24652955502247362</c:v>
                </c:pt>
                <c:pt idx="1847">
                  <c:v>0.31636851033623964</c:v>
                </c:pt>
                <c:pt idx="1848">
                  <c:v>0.46082928476294432</c:v>
                </c:pt>
                <c:pt idx="1849">
                  <c:v>0.58306137197748897</c:v>
                </c:pt>
                <c:pt idx="1850">
                  <c:v>0.69469790846927348</c:v>
                </c:pt>
                <c:pt idx="1851">
                  <c:v>0.8002542194472303</c:v>
                </c:pt>
                <c:pt idx="1852">
                  <c:v>0.90090785993243216</c:v>
                </c:pt>
                <c:pt idx="1853">
                  <c:v>1.0141627554141814</c:v>
                </c:pt>
                <c:pt idx="1854">
                  <c:v>1.1211339631283737</c:v>
                </c:pt>
                <c:pt idx="1855">
                  <c:v>1.2228233545565239</c:v>
                </c:pt>
                <c:pt idx="1856">
                  <c:v>1.3192053920854865</c:v>
                </c:pt>
                <c:pt idx="1857">
                  <c:v>1.4248710522018746</c:v>
                </c:pt>
                <c:pt idx="1858">
                  <c:v>1.523457896662014</c:v>
                </c:pt>
                <c:pt idx="1859">
                  <c:v>1.6155758982031883</c:v>
                </c:pt>
                <c:pt idx="1860">
                  <c:v>1.713714511888363</c:v>
                </c:pt>
                <c:pt idx="1861">
                  <c:v>1.8035283194613754</c:v>
                </c:pt>
                <c:pt idx="1862">
                  <c:v>1.8851673038371908</c:v>
                </c:pt>
                <c:pt idx="1863">
                  <c:v>1.9703564653566585</c:v>
                </c:pt>
                <c:pt idx="1864">
                  <c:v>2.0451396435432598</c:v>
                </c:pt>
                <c:pt idx="1865">
                  <c:v>2.109736671821699</c:v>
                </c:pt>
                <c:pt idx="1866">
                  <c:v>2.1749227927631285</c:v>
                </c:pt>
                <c:pt idx="1867">
                  <c:v>2.2278767344011912</c:v>
                </c:pt>
                <c:pt idx="1868">
                  <c:v>2.2676741420739299</c:v>
                </c:pt>
                <c:pt idx="1869">
                  <c:v>2.3047004218615919</c:v>
                </c:pt>
                <c:pt idx="1870">
                  <c:v>2.3257737077045393</c:v>
                </c:pt>
                <c:pt idx="1871">
                  <c:v>2.3299923667147757</c:v>
                </c:pt>
                <c:pt idx="1872">
                  <c:v>2.3154238224751578</c:v>
                </c:pt>
                <c:pt idx="1873">
                  <c:v>2.3270968480759273</c:v>
                </c:pt>
                <c:pt idx="1874">
                  <c:v>2.3404741979094874</c:v>
                </c:pt>
                <c:pt idx="1875">
                  <c:v>2.3446823715056793</c:v>
                </c:pt>
                <c:pt idx="1876">
                  <c:v>2.3507723999766075</c:v>
                </c:pt>
                <c:pt idx="1877">
                  <c:v>2.346257533221852</c:v>
                </c:pt>
                <c:pt idx="1878">
                  <c:v>2.3673874415033627</c:v>
                </c:pt>
                <c:pt idx="1879">
                  <c:v>2.3808736249936877</c:v>
                </c:pt>
                <c:pt idx="1880">
                  <c:v>2.4130366015893761</c:v>
                </c:pt>
                <c:pt idx="1881">
                  <c:v>2.4628212580023763</c:v>
                </c:pt>
                <c:pt idx="1882">
                  <c:v>2.529617965976239</c:v>
                </c:pt>
                <c:pt idx="1883">
                  <c:v>2.6690304510020382</c:v>
                </c:pt>
                <c:pt idx="1884">
                  <c:v>2.8165687360634375</c:v>
                </c:pt>
                <c:pt idx="1885">
                  <c:v>2.9711426381785659</c:v>
                </c:pt>
                <c:pt idx="1886">
                  <c:v>3.1286289499563575</c:v>
                </c:pt>
                <c:pt idx="1887">
                  <c:v>3.2980314613766391</c:v>
                </c:pt>
                <c:pt idx="1888">
                  <c:v>3.4681312668379785</c:v>
                </c:pt>
                <c:pt idx="1889">
                  <c:v>3.6370755314975707</c:v>
                </c:pt>
                <c:pt idx="1890">
                  <c:v>3.812392547249571</c:v>
                </c:pt>
                <c:pt idx="1891">
                  <c:v>4.0298087962119906</c:v>
                </c:pt>
                <c:pt idx="1892">
                  <c:v>4.2358446902278999</c:v>
                </c:pt>
                <c:pt idx="1893">
                  <c:v>4.4406048733014289</c:v>
                </c:pt>
                <c:pt idx="1894">
                  <c:v>4.7059389132413845</c:v>
                </c:pt>
                <c:pt idx="1895">
                  <c:v>4.967471073612348</c:v>
                </c:pt>
                <c:pt idx="1896">
                  <c:v>5.2580490103199624</c:v>
                </c:pt>
                <c:pt idx="1897">
                  <c:v>5.567170951435557</c:v>
                </c:pt>
                <c:pt idx="1898">
                  <c:v>6.1989993069802249</c:v>
                </c:pt>
                <c:pt idx="1899">
                  <c:v>6.995870856531023</c:v>
                </c:pt>
                <c:pt idx="1900">
                  <c:v>7.6460578296672201</c:v>
                </c:pt>
                <c:pt idx="1901">
                  <c:v>8.1824015046426695</c:v>
                </c:pt>
                <c:pt idx="1902">
                  <c:v>8.6554236801871323</c:v>
                </c:pt>
                <c:pt idx="1903">
                  <c:v>9.0658785277020257</c:v>
                </c:pt>
                <c:pt idx="1904">
                  <c:v>9.3993570943103286</c:v>
                </c:pt>
                <c:pt idx="1905">
                  <c:v>9.6625140870381365</c:v>
                </c:pt>
                <c:pt idx="1906">
                  <c:v>9.8923369576270996</c:v>
                </c:pt>
                <c:pt idx="1907">
                  <c:v>10.055596247645669</c:v>
                </c:pt>
                <c:pt idx="1908">
                  <c:v>10.153877012211385</c:v>
                </c:pt>
                <c:pt idx="1909">
                  <c:v>10.208522233671216</c:v>
                </c:pt>
                <c:pt idx="1910">
                  <c:v>10.218098306836607</c:v>
                </c:pt>
                <c:pt idx="1911">
                  <c:v>10.182810983438925</c:v>
                </c:pt>
                <c:pt idx="1912">
                  <c:v>10.12553129627395</c:v>
                </c:pt>
                <c:pt idx="1913">
                  <c:v>10.065210596442254</c:v>
                </c:pt>
                <c:pt idx="1914">
                  <c:v>9.97026744000466</c:v>
                </c:pt>
                <c:pt idx="1915">
                  <c:v>9.8676981438454039</c:v>
                </c:pt>
                <c:pt idx="1916">
                  <c:v>9.7253245569903424</c:v>
                </c:pt>
                <c:pt idx="1917">
                  <c:v>9.5430741209286882</c:v>
                </c:pt>
                <c:pt idx="1918">
                  <c:v>9.3461761097155751</c:v>
                </c:pt>
                <c:pt idx="1919">
                  <c:v>9.1027933508523553</c:v>
                </c:pt>
                <c:pt idx="1920">
                  <c:v>8.8084166872669449</c:v>
                </c:pt>
                <c:pt idx="1921">
                  <c:v>8.5358812519138141</c:v>
                </c:pt>
                <c:pt idx="1922">
                  <c:v>8.2067798550958031</c:v>
                </c:pt>
                <c:pt idx="1923">
                  <c:v>7.816768335986926</c:v>
                </c:pt>
                <c:pt idx="1924">
                  <c:v>7.4750991666679312</c:v>
                </c:pt>
                <c:pt idx="1925">
                  <c:v>7.0895240055276805</c:v>
                </c:pt>
                <c:pt idx="1926">
                  <c:v>6.7226242069700541</c:v>
                </c:pt>
                <c:pt idx="1927">
                  <c:v>6.3435373277635598</c:v>
                </c:pt>
                <c:pt idx="1928">
                  <c:v>6.285427942984839</c:v>
                </c:pt>
                <c:pt idx="1929">
                  <c:v>6.3738498615934356</c:v>
                </c:pt>
                <c:pt idx="1930">
                  <c:v>6.4307836360723716</c:v>
                </c:pt>
                <c:pt idx="1931">
                  <c:v>6.4782605035398957</c:v>
                </c:pt>
                <c:pt idx="1932">
                  <c:v>6.5404913559905662</c:v>
                </c:pt>
                <c:pt idx="1933">
                  <c:v>6.5710417846984894</c:v>
                </c:pt>
                <c:pt idx="1934">
                  <c:v>6.5708220782817</c:v>
                </c:pt>
                <c:pt idx="1935">
                  <c:v>6.5606047636076159</c:v>
                </c:pt>
                <c:pt idx="1936">
                  <c:v>6.5444763008458731</c:v>
                </c:pt>
                <c:pt idx="1937">
                  <c:v>6.4981566575268186</c:v>
                </c:pt>
                <c:pt idx="1938">
                  <c:v>6.4423539692099094</c:v>
                </c:pt>
                <c:pt idx="1939">
                  <c:v>6.3810031018470728</c:v>
                </c:pt>
                <c:pt idx="1940">
                  <c:v>6.289832914012595</c:v>
                </c:pt>
                <c:pt idx="1941">
                  <c:v>6.1866790257352475</c:v>
                </c:pt>
                <c:pt idx="1942">
                  <c:v>6.0797675631896837</c:v>
                </c:pt>
                <c:pt idx="1943">
                  <c:v>5.9507990187048714</c:v>
                </c:pt>
                <c:pt idx="1944">
                  <c:v>5.8211674662031525</c:v>
                </c:pt>
                <c:pt idx="1945">
                  <c:v>5.7098202194961294</c:v>
                </c:pt>
                <c:pt idx="1946">
                  <c:v>5.5792402857066783</c:v>
                </c:pt>
                <c:pt idx="1947">
                  <c:v>5.4508568616600357</c:v>
                </c:pt>
                <c:pt idx="1948">
                  <c:v>5.3192933412995744</c:v>
                </c:pt>
                <c:pt idx="1949">
                  <c:v>5.1504936190088992</c:v>
                </c:pt>
                <c:pt idx="1950">
                  <c:v>4.9453825646904592</c:v>
                </c:pt>
                <c:pt idx="1951">
                  <c:v>4.7391384870234585</c:v>
                </c:pt>
                <c:pt idx="1952">
                  <c:v>4.5065275505426667</c:v>
                </c:pt>
                <c:pt idx="1953">
                  <c:v>4.2458734382250398</c:v>
                </c:pt>
                <c:pt idx="1954">
                  <c:v>4.0108829727658648</c:v>
                </c:pt>
                <c:pt idx="1955">
                  <c:v>3.7616224460555396</c:v>
                </c:pt>
                <c:pt idx="1956">
                  <c:v>3.5441242827701895</c:v>
                </c:pt>
                <c:pt idx="1957">
                  <c:v>3.3170029415857525</c:v>
                </c:pt>
                <c:pt idx="1958">
                  <c:v>3.1002684541538841</c:v>
                </c:pt>
                <c:pt idx="1959">
                  <c:v>2.8674340906785027</c:v>
                </c:pt>
                <c:pt idx="1960">
                  <c:v>2.6184808692226382</c:v>
                </c:pt>
                <c:pt idx="1961">
                  <c:v>2.3848918575908256</c:v>
                </c:pt>
                <c:pt idx="1962">
                  <c:v>2.1744786274515873</c:v>
                </c:pt>
                <c:pt idx="1963">
                  <c:v>1.9574885142087506</c:v>
                </c:pt>
                <c:pt idx="1964">
                  <c:v>1.7356746265136873</c:v>
                </c:pt>
                <c:pt idx="1965">
                  <c:v>1.5485196545681699</c:v>
                </c:pt>
                <c:pt idx="1966">
                  <c:v>1.3670836295249089</c:v>
                </c:pt>
                <c:pt idx="1967">
                  <c:v>1.1958301164527847</c:v>
                </c:pt>
                <c:pt idx="1968">
                  <c:v>1.0796729664855034</c:v>
                </c:pt>
                <c:pt idx="1969">
                  <c:v>0.98937151435957094</c:v>
                </c:pt>
                <c:pt idx="1970">
                  <c:v>0.93492947828746864</c:v>
                </c:pt>
                <c:pt idx="1971">
                  <c:v>0.93893190152707129</c:v>
                </c:pt>
                <c:pt idx="1972">
                  <c:v>0.96730076954899247</c:v>
                </c:pt>
                <c:pt idx="1973">
                  <c:v>1.0177967492544291</c:v>
                </c:pt>
                <c:pt idx="1974">
                  <c:v>1.0756700583743584</c:v>
                </c:pt>
                <c:pt idx="1975">
                  <c:v>1.1261082805205864</c:v>
                </c:pt>
                <c:pt idx="1976">
                  <c:v>1.1622751090249328</c:v>
                </c:pt>
                <c:pt idx="1977">
                  <c:v>1.1604482802423741</c:v>
                </c:pt>
                <c:pt idx="1978">
                  <c:v>1.1545816224694352</c:v>
                </c:pt>
                <c:pt idx="1979">
                  <c:v>1.1504702434161349</c:v>
                </c:pt>
                <c:pt idx="1980">
                  <c:v>1.1889078675956535</c:v>
                </c:pt>
                <c:pt idx="1981">
                  <c:v>1.2360232626342509</c:v>
                </c:pt>
                <c:pt idx="1982">
                  <c:v>1.2752506197751656</c:v>
                </c:pt>
                <c:pt idx="1983">
                  <c:v>1.3192661286387322</c:v>
                </c:pt>
                <c:pt idx="1984">
                  <c:v>1.3526179057646064</c:v>
                </c:pt>
                <c:pt idx="1985">
                  <c:v>1.3772242510441657</c:v>
                </c:pt>
                <c:pt idx="1986">
                  <c:v>1.3953048954104064</c:v>
                </c:pt>
                <c:pt idx="1987">
                  <c:v>1.4125598731308606</c:v>
                </c:pt>
                <c:pt idx="1988">
                  <c:v>1.4240969393208507</c:v>
                </c:pt>
                <c:pt idx="1989">
                  <c:v>1.4301836508449199</c:v>
                </c:pt>
                <c:pt idx="1990">
                  <c:v>1.4307587511551523</c:v>
                </c:pt>
                <c:pt idx="1991">
                  <c:v>1.4314309835666612</c:v>
                </c:pt>
                <c:pt idx="1992">
                  <c:v>1.4272491947715027</c:v>
                </c:pt>
                <c:pt idx="1993">
                  <c:v>1.4178353251356617</c:v>
                </c:pt>
                <c:pt idx="1994">
                  <c:v>1.4142002132980322</c:v>
                </c:pt>
                <c:pt idx="1995">
                  <c:v>1.4055489811527786</c:v>
                </c:pt>
                <c:pt idx="1996">
                  <c:v>1.3916111889308218</c:v>
                </c:pt>
                <c:pt idx="1997">
                  <c:v>1.3835456008056868</c:v>
                </c:pt>
                <c:pt idx="1998">
                  <c:v>1.3701601542820232</c:v>
                </c:pt>
                <c:pt idx="1999">
                  <c:v>1.3514396346723165</c:v>
                </c:pt>
                <c:pt idx="2000">
                  <c:v>1.3385412432832642</c:v>
                </c:pt>
                <c:pt idx="2001">
                  <c:v>1.3200516395808333</c:v>
                </c:pt>
                <c:pt idx="2002">
                  <c:v>1.295853323454534</c:v>
                </c:pt>
                <c:pt idx="2003">
                  <c:v>1.2722795338955231</c:v>
                </c:pt>
                <c:pt idx="2004">
                  <c:v>1.2431897195275776</c:v>
                </c:pt>
                <c:pt idx="2005">
                  <c:v>1.2079982025358991</c:v>
                </c:pt>
                <c:pt idx="2006">
                  <c:v>1.166251232190376</c:v>
                </c:pt>
                <c:pt idx="2007">
                  <c:v>1.1419616581998178</c:v>
                </c:pt>
                <c:pt idx="2008">
                  <c:v>1.110084669920137</c:v>
                </c:pt>
                <c:pt idx="2009">
                  <c:v>1.0980335525800493</c:v>
                </c:pt>
                <c:pt idx="2010">
                  <c:v>1.1259850057645013</c:v>
                </c:pt>
                <c:pt idx="2011">
                  <c:v>1.1493905587808182</c:v>
                </c:pt>
                <c:pt idx="2012">
                  <c:v>1.1746487759347866</c:v>
                </c:pt>
                <c:pt idx="2013">
                  <c:v>1.2003881970265351</c:v>
                </c:pt>
                <c:pt idx="2014">
                  <c:v>1.2219059628721458</c:v>
                </c:pt>
                <c:pt idx="2015">
                  <c:v>1.257901723932326</c:v>
                </c:pt>
                <c:pt idx="2016">
                  <c:v>1.2943117909257462</c:v>
                </c:pt>
                <c:pt idx="2017">
                  <c:v>1.3244142338597062</c:v>
                </c:pt>
                <c:pt idx="2018">
                  <c:v>1.3484347140124275</c:v>
                </c:pt>
                <c:pt idx="2019">
                  <c:v>1.3727732324051836</c:v>
                </c:pt>
                <c:pt idx="2020">
                  <c:v>1.3911361687400841</c:v>
                </c:pt>
                <c:pt idx="2021">
                  <c:v>1.4037183397245971</c:v>
                </c:pt>
                <c:pt idx="2022">
                  <c:v>1.4163312249017215</c:v>
                </c:pt>
                <c:pt idx="2023">
                  <c:v>1.4226900243807743</c:v>
                </c:pt>
                <c:pt idx="2024">
                  <c:v>1.4287152564250114</c:v>
                </c:pt>
                <c:pt idx="2025">
                  <c:v>1.4292252168294433</c:v>
                </c:pt>
                <c:pt idx="2026">
                  <c:v>1.4243065926257679</c:v>
                </c:pt>
                <c:pt idx="2027">
                  <c:v>1.4196371541193302</c:v>
                </c:pt>
                <c:pt idx="2028">
                  <c:v>1.4099099836649489</c:v>
                </c:pt>
                <c:pt idx="2029">
                  <c:v>1.4000925193620628</c:v>
                </c:pt>
                <c:pt idx="2030">
                  <c:v>1.3904944393970933</c:v>
                </c:pt>
                <c:pt idx="2031">
                  <c:v>1.3757005941353659</c:v>
                </c:pt>
                <c:pt idx="2032">
                  <c:v>1.3546835940790696</c:v>
                </c:pt>
                <c:pt idx="2033">
                  <c:v>1.32715222330463</c:v>
                </c:pt>
                <c:pt idx="2034">
                  <c:v>1.3252636756553668</c:v>
                </c:pt>
                <c:pt idx="2035">
                  <c:v>1.3140813449053077</c:v>
                </c:pt>
                <c:pt idx="2036">
                  <c:v>1.293229992562668</c:v>
                </c:pt>
                <c:pt idx="2037">
                  <c:v>1.2838785400265518</c:v>
                </c:pt>
                <c:pt idx="2038">
                  <c:v>1.2667759492144928</c:v>
                </c:pt>
                <c:pt idx="2039">
                  <c:v>1.2619775265215338</c:v>
                </c:pt>
                <c:pt idx="2040">
                  <c:v>1.2512705531084096</c:v>
                </c:pt>
                <c:pt idx="2041">
                  <c:v>1.2347303786185586</c:v>
                </c:pt>
                <c:pt idx="2042">
                  <c:v>1.2187704502662948</c:v>
                </c:pt>
                <c:pt idx="2043">
                  <c:v>1.1972534848815382</c:v>
                </c:pt>
                <c:pt idx="2044">
                  <c:v>1.1702084845536522</c:v>
                </c:pt>
                <c:pt idx="2045">
                  <c:v>1.1615931049342119</c:v>
                </c:pt>
                <c:pt idx="2046">
                  <c:v>1.1549765103872918</c:v>
                </c:pt>
                <c:pt idx="2047">
                  <c:v>1.1448477101896288</c:v>
                </c:pt>
                <c:pt idx="2048">
                  <c:v>1.1353877841721973</c:v>
                </c:pt>
                <c:pt idx="2049">
                  <c:v>1.1281605153462477</c:v>
                </c:pt>
                <c:pt idx="2050">
                  <c:v>1.1176635278609233</c:v>
                </c:pt>
                <c:pt idx="2051">
                  <c:v>1.1038128943243752</c:v>
                </c:pt>
                <c:pt idx="2052">
                  <c:v>1.0928685185904365</c:v>
                </c:pt>
                <c:pt idx="2053">
                  <c:v>1.0790041558746553</c:v>
                </c:pt>
                <c:pt idx="2054">
                  <c:v>1.0622804933579861</c:v>
                </c:pt>
                <c:pt idx="2055">
                  <c:v>1.0468959797529735</c:v>
                </c:pt>
                <c:pt idx="2056">
                  <c:v>1.0284214819679289</c:v>
                </c:pt>
                <c:pt idx="2057">
                  <c:v>1.006569576973515</c:v>
                </c:pt>
                <c:pt idx="2058">
                  <c:v>0.99535996357011081</c:v>
                </c:pt>
                <c:pt idx="2059">
                  <c:v>0.98358005012660288</c:v>
                </c:pt>
                <c:pt idx="2060">
                  <c:v>0.96673990707969637</c:v>
                </c:pt>
                <c:pt idx="2061">
                  <c:v>0.95140919968405158</c:v>
                </c:pt>
                <c:pt idx="2062">
                  <c:v>0.93087449367394159</c:v>
                </c:pt>
                <c:pt idx="2063">
                  <c:v>0.90498484588993999</c:v>
                </c:pt>
                <c:pt idx="2064">
                  <c:v>0.91349779746343829</c:v>
                </c:pt>
                <c:pt idx="2065">
                  <c:v>0.92491770172279697</c:v>
                </c:pt>
                <c:pt idx="2066">
                  <c:v>0.93396819237632189</c:v>
                </c:pt>
                <c:pt idx="2067">
                  <c:v>0.94070029978266656</c:v>
                </c:pt>
                <c:pt idx="2068">
                  <c:v>0.96023097257788748</c:v>
                </c:pt>
                <c:pt idx="2069">
                  <c:v>0.97609812000442919</c:v>
                </c:pt>
                <c:pt idx="2070">
                  <c:v>0.98845369929229476</c:v>
                </c:pt>
                <c:pt idx="2071">
                  <c:v>0.9973899810887622</c:v>
                </c:pt>
                <c:pt idx="2072">
                  <c:v>1.0031053945324868</c:v>
                </c:pt>
                <c:pt idx="2073">
                  <c:v>1.0055040220472569</c:v>
                </c:pt>
                <c:pt idx="2074">
                  <c:v>1.0095929013622591</c:v>
                </c:pt>
                <c:pt idx="2075">
                  <c:v>1.014857994492137</c:v>
                </c:pt>
                <c:pt idx="2076">
                  <c:v>1.0169980153521319</c:v>
                </c:pt>
                <c:pt idx="2077">
                  <c:v>1.015883935757443</c:v>
                </c:pt>
                <c:pt idx="2078">
                  <c:v>1.0211268218081313</c:v>
                </c:pt>
                <c:pt idx="2079">
                  <c:v>1.0232639456973931</c:v>
                </c:pt>
                <c:pt idx="2080">
                  <c:v>1.0222428578203615</c:v>
                </c:pt>
                <c:pt idx="2081">
                  <c:v>1.0180524652358196</c:v>
                </c:pt>
                <c:pt idx="2082">
                  <c:v>1.0106930873137649</c:v>
                </c:pt>
                <c:pt idx="2083">
                  <c:v>1.0000859962400679</c:v>
                </c:pt>
                <c:pt idx="2084">
                  <c:v>0.98602252638605747</c:v>
                </c:pt>
                <c:pt idx="2085">
                  <c:v>0.9783144518412813</c:v>
                </c:pt>
                <c:pt idx="2086">
                  <c:v>0.96729277943058878</c:v>
                </c:pt>
                <c:pt idx="2087">
                  <c:v>0.95287369554137369</c:v>
                </c:pt>
                <c:pt idx="2088">
                  <c:v>0.95532813349769707</c:v>
                </c:pt>
                <c:pt idx="2089">
                  <c:v>0.95169702955833579</c:v>
                </c:pt>
                <c:pt idx="2090">
                  <c:v>0.9532824804930371</c:v>
                </c:pt>
                <c:pt idx="2091">
                  <c:v>0.96144488101660563</c:v>
                </c:pt>
                <c:pt idx="2092">
                  <c:v>0.96569863389558785</c:v>
                </c:pt>
                <c:pt idx="2093">
                  <c:v>0.96289849083295886</c:v>
                </c:pt>
                <c:pt idx="2094">
                  <c:v>0.95503660974667659</c:v>
                </c:pt>
                <c:pt idx="2095">
                  <c:v>0.96401418423090679</c:v>
                </c:pt>
                <c:pt idx="2096">
                  <c:v>0.96888184827197033</c:v>
                </c:pt>
                <c:pt idx="2097">
                  <c:v>0.97453163294855127</c:v>
                </c:pt>
                <c:pt idx="2098">
                  <c:v>0.99083771916110441</c:v>
                </c:pt>
                <c:pt idx="2099">
                  <c:v>1.0036731281456652</c:v>
                </c:pt>
                <c:pt idx="2100">
                  <c:v>1.0180896025694943</c:v>
                </c:pt>
                <c:pt idx="2101">
                  <c:v>1.0286901438234237</c:v>
                </c:pt>
                <c:pt idx="2102">
                  <c:v>1.0358237302857773</c:v>
                </c:pt>
                <c:pt idx="2103">
                  <c:v>1.0393746664249937</c:v>
                </c:pt>
                <c:pt idx="2104">
                  <c:v>1.0412650909978538</c:v>
                </c:pt>
                <c:pt idx="2105">
                  <c:v>1.0387422603876608</c:v>
                </c:pt>
                <c:pt idx="2106">
                  <c:v>1.0335487541934341</c:v>
                </c:pt>
                <c:pt idx="2107">
                  <c:v>1.0255632298852231</c:v>
                </c:pt>
                <c:pt idx="2108">
                  <c:v>1.0196170032238696</c:v>
                </c:pt>
                <c:pt idx="2109">
                  <c:v>1.011351775284429</c:v>
                </c:pt>
                <c:pt idx="2110">
                  <c:v>1.0004573273482058</c:v>
                </c:pt>
                <c:pt idx="2111">
                  <c:v>0.98710004862639189</c:v>
                </c:pt>
                <c:pt idx="2112">
                  <c:v>0.97092356648225009</c:v>
                </c:pt>
                <c:pt idx="2113">
                  <c:v>0.95626894093339843</c:v>
                </c:pt>
                <c:pt idx="2114">
                  <c:v>0.93835679346467193</c:v>
                </c:pt>
                <c:pt idx="2115">
                  <c:v>0.92262165958989295</c:v>
                </c:pt>
                <c:pt idx="2116">
                  <c:v>0.90852814828582085</c:v>
                </c:pt>
                <c:pt idx="2117">
                  <c:v>0.89108768879308586</c:v>
                </c:pt>
                <c:pt idx="2118">
                  <c:v>0.87607786471938986</c:v>
                </c:pt>
                <c:pt idx="2119">
                  <c:v>0.86760396090144898</c:v>
                </c:pt>
                <c:pt idx="2120">
                  <c:v>0.86707813086976548</c:v>
                </c:pt>
                <c:pt idx="2121">
                  <c:v>0.86907349403652312</c:v>
                </c:pt>
                <c:pt idx="2122">
                  <c:v>0.87372303474482027</c:v>
                </c:pt>
                <c:pt idx="2123">
                  <c:v>0.87050507476238159</c:v>
                </c:pt>
                <c:pt idx="2124">
                  <c:v>0.86105984225008125</c:v>
                </c:pt>
                <c:pt idx="2125">
                  <c:v>0.8636749341276857</c:v>
                </c:pt>
                <c:pt idx="2126">
                  <c:v>0.86680925162720313</c:v>
                </c:pt>
                <c:pt idx="2127">
                  <c:v>0.87168012087007685</c:v>
                </c:pt>
                <c:pt idx="2128">
                  <c:v>0.87392780526137581</c:v>
                </c:pt>
                <c:pt idx="2129">
                  <c:v>0.87369529234484278</c:v>
                </c:pt>
                <c:pt idx="2130">
                  <c:v>0.87912250974036077</c:v>
                </c:pt>
                <c:pt idx="2131">
                  <c:v>0.88222765653036461</c:v>
                </c:pt>
                <c:pt idx="2132">
                  <c:v>0.88326103063722672</c:v>
                </c:pt>
                <c:pt idx="2133">
                  <c:v>0.88557974262377936</c:v>
                </c:pt>
                <c:pt idx="2134">
                  <c:v>0.88250516416772162</c:v>
                </c:pt>
                <c:pt idx="2135">
                  <c:v>0.8754815974593585</c:v>
                </c:pt>
                <c:pt idx="2136">
                  <c:v>0.86921896278419863</c:v>
                </c:pt>
                <c:pt idx="2137">
                  <c:v>0.86047261381595419</c:v>
                </c:pt>
                <c:pt idx="2138">
                  <c:v>0.84918429591449884</c:v>
                </c:pt>
                <c:pt idx="2139">
                  <c:v>0.83545990482304644</c:v>
                </c:pt>
                <c:pt idx="2140">
                  <c:v>0.82241444477050518</c:v>
                </c:pt>
                <c:pt idx="2141">
                  <c:v>0.8066984776775592</c:v>
                </c:pt>
                <c:pt idx="2142">
                  <c:v>0.78821348186487061</c:v>
                </c:pt>
                <c:pt idx="2143">
                  <c:v>0.77604011758158398</c:v>
                </c:pt>
                <c:pt idx="2144">
                  <c:v>0.76156312429405992</c:v>
                </c:pt>
                <c:pt idx="2145">
                  <c:v>0.74798573777232513</c:v>
                </c:pt>
                <c:pt idx="2146">
                  <c:v>0.73780198062229452</c:v>
                </c:pt>
                <c:pt idx="2147">
                  <c:v>0.73652267959539131</c:v>
                </c:pt>
                <c:pt idx="2148">
                  <c:v>0.74044182493957622</c:v>
                </c:pt>
                <c:pt idx="2149">
                  <c:v>0.75187452399785515</c:v>
                </c:pt>
                <c:pt idx="2150">
                  <c:v>0.76086172378516603</c:v>
                </c:pt>
                <c:pt idx="2151">
                  <c:v>0.78358666310267211</c:v>
                </c:pt>
                <c:pt idx="2152">
                  <c:v>0.80705705357413482</c:v>
                </c:pt>
                <c:pt idx="2153">
                  <c:v>0.82605775907259182</c:v>
                </c:pt>
                <c:pt idx="2154">
                  <c:v>0.84087746881825642</c:v>
                </c:pt>
                <c:pt idx="2155">
                  <c:v>0.85539603316319512</c:v>
                </c:pt>
                <c:pt idx="2156">
                  <c:v>0.86899832590857717</c:v>
                </c:pt>
                <c:pt idx="2157">
                  <c:v>0.8787846000922358</c:v>
                </c:pt>
                <c:pt idx="2158">
                  <c:v>0.88828938759566933</c:v>
                </c:pt>
                <c:pt idx="2159">
                  <c:v>0.89387917332727351</c:v>
                </c:pt>
                <c:pt idx="2160">
                  <c:v>0.89899190123636419</c:v>
                </c:pt>
                <c:pt idx="2161">
                  <c:v>0.90383598335415227</c:v>
                </c:pt>
                <c:pt idx="2162">
                  <c:v>0.90485935708851906</c:v>
                </c:pt>
                <c:pt idx="2163">
                  <c:v>0.90551577369337355</c:v>
                </c:pt>
                <c:pt idx="2164">
                  <c:v>0.9058093120269709</c:v>
                </c:pt>
                <c:pt idx="2165">
                  <c:v>0.90239791109131207</c:v>
                </c:pt>
                <c:pt idx="2166">
                  <c:v>0.8986452598541933</c:v>
                </c:pt>
                <c:pt idx="2167">
                  <c:v>0.89440847525931788</c:v>
                </c:pt>
                <c:pt idx="2168">
                  <c:v>0.88635546544483756</c:v>
                </c:pt>
                <c:pt idx="2169">
                  <c:v>0.87424212035805093</c:v>
                </c:pt>
                <c:pt idx="2170">
                  <c:v>0.86505411330236315</c:v>
                </c:pt>
                <c:pt idx="2171">
                  <c:v>0.8516225930323349</c:v>
                </c:pt>
                <c:pt idx="2172">
                  <c:v>0.83394245063214389</c:v>
                </c:pt>
                <c:pt idx="2173">
                  <c:v>0.81900532098072665</c:v>
                </c:pt>
                <c:pt idx="2174">
                  <c:v>0.79951986496709415</c:v>
                </c:pt>
                <c:pt idx="2175">
                  <c:v>0.77954782090636632</c:v>
                </c:pt>
                <c:pt idx="2176">
                  <c:v>0.75490271099690509</c:v>
                </c:pt>
                <c:pt idx="2177">
                  <c:v>0.73888430450562326</c:v>
                </c:pt>
                <c:pt idx="2178">
                  <c:v>0.73095568707959391</c:v>
                </c:pt>
                <c:pt idx="2179">
                  <c:v>0.7199758147740708</c:v>
                </c:pt>
                <c:pt idx="2180">
                  <c:v>0.705702094060772</c:v>
                </c:pt>
                <c:pt idx="2181">
                  <c:v>0.71506544313253895</c:v>
                </c:pt>
                <c:pt idx="2182">
                  <c:v>0.72163010373713421</c:v>
                </c:pt>
                <c:pt idx="2183">
                  <c:v>0.72908755969531225</c:v>
                </c:pt>
                <c:pt idx="2184">
                  <c:v>0.73360865223775273</c:v>
                </c:pt>
                <c:pt idx="2185">
                  <c:v>0.74241071083579446</c:v>
                </c:pt>
                <c:pt idx="2186">
                  <c:v>0.75203155662627441</c:v>
                </c:pt>
                <c:pt idx="2187">
                  <c:v>0.75830611299324691</c:v>
                </c:pt>
                <c:pt idx="2188">
                  <c:v>0.76493392666121351</c:v>
                </c:pt>
                <c:pt idx="2189">
                  <c:v>0.76877192830521168</c:v>
                </c:pt>
                <c:pt idx="2190">
                  <c:v>0.76972127556839898</c:v>
                </c:pt>
                <c:pt idx="2191">
                  <c:v>0.77138170387311633</c:v>
                </c:pt>
                <c:pt idx="2192">
                  <c:v>0.77060826421555351</c:v>
                </c:pt>
                <c:pt idx="2193">
                  <c:v>0.76720315985501819</c:v>
                </c:pt>
                <c:pt idx="2194">
                  <c:v>0.7648954323095718</c:v>
                </c:pt>
                <c:pt idx="2195">
                  <c:v>0.76043160971817547</c:v>
                </c:pt>
                <c:pt idx="2196">
                  <c:v>0.75356436322512377</c:v>
                </c:pt>
                <c:pt idx="2197">
                  <c:v>0.75125769167696832</c:v>
                </c:pt>
                <c:pt idx="2198">
                  <c:v>0.74664921237746662</c:v>
                </c:pt>
                <c:pt idx="2199">
                  <c:v>0.73971892272469131</c:v>
                </c:pt>
                <c:pt idx="2200">
                  <c:v>0.73409704823879185</c:v>
                </c:pt>
                <c:pt idx="2201">
                  <c:v>0.77520146018230007</c:v>
                </c:pt>
                <c:pt idx="2202">
                  <c:v>0.80856209016815939</c:v>
                </c:pt>
                <c:pt idx="2203">
                  <c:v>0.83849719020266544</c:v>
                </c:pt>
                <c:pt idx="2204">
                  <c:v>0.86240221384055848</c:v>
                </c:pt>
                <c:pt idx="2205">
                  <c:v>0.88072915703368027</c:v>
                </c:pt>
                <c:pt idx="2206">
                  <c:v>0.89390406788991417</c:v>
                </c:pt>
                <c:pt idx="2207">
                  <c:v>0.90586950222835128</c:v>
                </c:pt>
                <c:pt idx="2208">
                  <c:v>0.91607457178474194</c:v>
                </c:pt>
                <c:pt idx="2209">
                  <c:v>0.92150526341202177</c:v>
                </c:pt>
                <c:pt idx="2210">
                  <c:v>0.92568051811409824</c:v>
                </c:pt>
                <c:pt idx="2211">
                  <c:v>0.9352699559857911</c:v>
                </c:pt>
                <c:pt idx="2212">
                  <c:v>0.94080966660337073</c:v>
                </c:pt>
                <c:pt idx="2213">
                  <c:v>0.94887893534353884</c:v>
                </c:pt>
                <c:pt idx="2214">
                  <c:v>0.95305732756673978</c:v>
                </c:pt>
                <c:pt idx="2215">
                  <c:v>0.95655931554362106</c:v>
                </c:pt>
                <c:pt idx="2216">
                  <c:v>0.95967123914526475</c:v>
                </c:pt>
                <c:pt idx="2217">
                  <c:v>0.95949921064635113</c:v>
                </c:pt>
                <c:pt idx="2218">
                  <c:v>0.95592003458177188</c:v>
                </c:pt>
                <c:pt idx="2219">
                  <c:v>0.94902263385603136</c:v>
                </c:pt>
                <c:pt idx="2220">
                  <c:v>0.93875018569904434</c:v>
                </c:pt>
                <c:pt idx="2221">
                  <c:v>0.9248156864367314</c:v>
                </c:pt>
                <c:pt idx="2222">
                  <c:v>0.90725597878222297</c:v>
                </c:pt>
                <c:pt idx="2223">
                  <c:v>0.88567624510803611</c:v>
                </c:pt>
                <c:pt idx="2224">
                  <c:v>0.85989642235099883</c:v>
                </c:pt>
                <c:pt idx="2225">
                  <c:v>0.82949981197928935</c:v>
                </c:pt>
                <c:pt idx="2226">
                  <c:v>0.80994662204047463</c:v>
                </c:pt>
                <c:pt idx="2227">
                  <c:v>0.78882348300809513</c:v>
                </c:pt>
                <c:pt idx="2228">
                  <c:v>0.77279123906704383</c:v>
                </c:pt>
                <c:pt idx="2229">
                  <c:v>0.7535641528150836</c:v>
                </c:pt>
                <c:pt idx="2230">
                  <c:v>0.72598708367276676</c:v>
                </c:pt>
                <c:pt idx="2231">
                  <c:v>0.7445553892737693</c:v>
                </c:pt>
                <c:pt idx="2232">
                  <c:v>0.79150978847323594</c:v>
                </c:pt>
                <c:pt idx="2233">
                  <c:v>0.82944464308590471</c:v>
                </c:pt>
                <c:pt idx="2234">
                  <c:v>1.1394436720395371</c:v>
                </c:pt>
                <c:pt idx="2235">
                  <c:v>2.4191153039995461</c:v>
                </c:pt>
                <c:pt idx="2236">
                  <c:v>3.2485965905392278</c:v>
                </c:pt>
                <c:pt idx="2237">
                  <c:v>4.0716364287746529</c:v>
                </c:pt>
                <c:pt idx="2238">
                  <c:v>5.0744618773735759</c:v>
                </c:pt>
                <c:pt idx="2239">
                  <c:v>5.8764370669096193</c:v>
                </c:pt>
                <c:pt idx="2240">
                  <c:v>6.5492383919694728</c:v>
                </c:pt>
                <c:pt idx="2241">
                  <c:v>7.1272538222465718</c:v>
                </c:pt>
                <c:pt idx="2242">
                  <c:v>7.6284039273382627</c:v>
                </c:pt>
                <c:pt idx="2243">
                  <c:v>8.1205680062397008</c:v>
                </c:pt>
                <c:pt idx="2244">
                  <c:v>8.6274973091251468</c:v>
                </c:pt>
                <c:pt idx="2245">
                  <c:v>9.0653417159124885</c:v>
                </c:pt>
                <c:pt idx="2246">
                  <c:v>9.4665597790313907</c:v>
                </c:pt>
                <c:pt idx="2247">
                  <c:v>9.8146884640924554</c:v>
                </c:pt>
                <c:pt idx="2248">
                  <c:v>10.10419700063863</c:v>
                </c:pt>
                <c:pt idx="2249">
                  <c:v>10.352190801555723</c:v>
                </c:pt>
                <c:pt idx="2250">
                  <c:v>10.634125871204125</c:v>
                </c:pt>
                <c:pt idx="2251">
                  <c:v>10.833513297552416</c:v>
                </c:pt>
                <c:pt idx="2252">
                  <c:v>10.975576244762211</c:v>
                </c:pt>
                <c:pt idx="2253">
                  <c:v>11.065581158250327</c:v>
                </c:pt>
                <c:pt idx="2254">
                  <c:v>11.080389574987011</c:v>
                </c:pt>
                <c:pt idx="2255">
                  <c:v>11.037426169258426</c:v>
                </c:pt>
                <c:pt idx="2256">
                  <c:v>10.954272927327832</c:v>
                </c:pt>
                <c:pt idx="2257">
                  <c:v>10.790494375447292</c:v>
                </c:pt>
                <c:pt idx="2258">
                  <c:v>10.544149307104464</c:v>
                </c:pt>
                <c:pt idx="2259">
                  <c:v>10.218916671269316</c:v>
                </c:pt>
                <c:pt idx="2260">
                  <c:v>9.7674387396131301</c:v>
                </c:pt>
                <c:pt idx="2261">
                  <c:v>9.1718793297777541</c:v>
                </c:pt>
                <c:pt idx="2262">
                  <c:v>8.4435306559028085</c:v>
                </c:pt>
                <c:pt idx="2263">
                  <c:v>7.5005659055677043</c:v>
                </c:pt>
                <c:pt idx="2264">
                  <c:v>6.5807028035061155</c:v>
                </c:pt>
                <c:pt idx="2265">
                  <c:v>6.1657790327050419</c:v>
                </c:pt>
                <c:pt idx="2266">
                  <c:v>5.6925949136813614</c:v>
                </c:pt>
                <c:pt idx="2267">
                  <c:v>5.2776667990311195</c:v>
                </c:pt>
                <c:pt idx="2268">
                  <c:v>5.0547006464556823</c:v>
                </c:pt>
                <c:pt idx="2269">
                  <c:v>4.8001367740384167</c:v>
                </c:pt>
                <c:pt idx="2270">
                  <c:v>4.5108835373978815</c:v>
                </c:pt>
                <c:pt idx="2271">
                  <c:v>4.184232565137818</c:v>
                </c:pt>
                <c:pt idx="2272">
                  <c:v>3.812636133382032</c:v>
                </c:pt>
                <c:pt idx="2273">
                  <c:v>3.4667778206674522</c:v>
                </c:pt>
                <c:pt idx="2274">
                  <c:v>3.190339941594861</c:v>
                </c:pt>
                <c:pt idx="2275">
                  <c:v>2.8879584440644313</c:v>
                </c:pt>
                <c:pt idx="2276">
                  <c:v>2.59688448774539</c:v>
                </c:pt>
                <c:pt idx="2277">
                  <c:v>2.2920578371752809</c:v>
                </c:pt>
                <c:pt idx="2278">
                  <c:v>1.9528489959629396</c:v>
                </c:pt>
                <c:pt idx="2279">
                  <c:v>1.6003918441453442</c:v>
                </c:pt>
                <c:pt idx="2280">
                  <c:v>1.4140858502244913</c:v>
                </c:pt>
                <c:pt idx="2281">
                  <c:v>1.1928396315018268</c:v>
                </c:pt>
                <c:pt idx="2282">
                  <c:v>0.97831405981173525</c:v>
                </c:pt>
                <c:pt idx="2283">
                  <c:v>0.7923549616328962</c:v>
                </c:pt>
                <c:pt idx="2284">
                  <c:v>0.57788634826151009</c:v>
                </c:pt>
                <c:pt idx="2285">
                  <c:v>0.39038953231007334</c:v>
                </c:pt>
                <c:pt idx="2286">
                  <c:v>0.27504701393745462</c:v>
                </c:pt>
                <c:pt idx="2287">
                  <c:v>0.18314823831788837</c:v>
                </c:pt>
                <c:pt idx="2288">
                  <c:v>9.0809224809648578E-2</c:v>
                </c:pt>
                <c:pt idx="2289">
                  <c:v>8.9666760029715159E-2</c:v>
                </c:pt>
                <c:pt idx="2290">
                  <c:v>8.7838319410887364E-2</c:v>
                </c:pt>
                <c:pt idx="2291">
                  <c:v>8.5509756561234759E-2</c:v>
                </c:pt>
                <c:pt idx="2292">
                  <c:v>8.2727631738298835E-2</c:v>
                </c:pt>
                <c:pt idx="2293">
                  <c:v>7.8838656608509847E-2</c:v>
                </c:pt>
                <c:pt idx="2294">
                  <c:v>7.8057622117406161E-2</c:v>
                </c:pt>
                <c:pt idx="2295">
                  <c:v>7.6960639081660703E-2</c:v>
                </c:pt>
                <c:pt idx="2296">
                  <c:v>7.572260298219749E-2</c:v>
                </c:pt>
                <c:pt idx="2297">
                  <c:v>7.3930137403904347E-2</c:v>
                </c:pt>
                <c:pt idx="2298">
                  <c:v>7.1876546505834985E-2</c:v>
                </c:pt>
                <c:pt idx="2299">
                  <c:v>6.9412570247845293E-2</c:v>
                </c:pt>
                <c:pt idx="2300">
                  <c:v>6.6607765123512575E-2</c:v>
                </c:pt>
                <c:pt idx="2301">
                  <c:v>6.3315893522927477E-2</c:v>
                </c:pt>
                <c:pt idx="2302">
                  <c:v>5.9556819865592948E-2</c:v>
                </c:pt>
                <c:pt idx="2303">
                  <c:v>5.7512724296719116E-2</c:v>
                </c:pt>
                <c:pt idx="2304">
                  <c:v>5.5291941975940243E-2</c:v>
                </c:pt>
                <c:pt idx="2305">
                  <c:v>5.281004056767237E-2</c:v>
                </c:pt>
                <c:pt idx="2306">
                  <c:v>5.0077124852189389E-2</c:v>
                </c:pt>
                <c:pt idx="2307">
                  <c:v>4.7320214160984905E-2</c:v>
                </c:pt>
                <c:pt idx="2308">
                  <c:v>4.4464628401234586E-2</c:v>
                </c:pt>
                <c:pt idx="2309">
                  <c:v>4.0926685777174454E-2</c:v>
                </c:pt>
                <c:pt idx="2310">
                  <c:v>3.6703184776154162E-2</c:v>
                </c:pt>
                <c:pt idx="2311">
                  <c:v>3.1983129606422536E-2</c:v>
                </c:pt>
                <c:pt idx="2312">
                  <c:v>2.7205858698508698E-2</c:v>
                </c:pt>
                <c:pt idx="2313">
                  <c:v>2.1121846172214916E-2</c:v>
                </c:pt>
                <c:pt idx="2314">
                  <c:v>1.8539746133543433E-2</c:v>
                </c:pt>
                <c:pt idx="2315">
                  <c:v>1.6924115796130828E-2</c:v>
                </c:pt>
                <c:pt idx="2316">
                  <c:v>1.6376350919962143E-2</c:v>
                </c:pt>
                <c:pt idx="2317">
                  <c:v>1.6242192528829715E-2</c:v>
                </c:pt>
                <c:pt idx="2318">
                  <c:v>1.8412952975679499E-2</c:v>
                </c:pt>
                <c:pt idx="2319">
                  <c:v>2.0593811454031077E-2</c:v>
                </c:pt>
                <c:pt idx="2320">
                  <c:v>2.2380059307589531E-2</c:v>
                </c:pt>
                <c:pt idx="2321">
                  <c:v>2.405590154156572E-2</c:v>
                </c:pt>
                <c:pt idx="2322">
                  <c:v>2.5493750207089941E-2</c:v>
                </c:pt>
                <c:pt idx="2323">
                  <c:v>2.7044590288145619E-2</c:v>
                </c:pt>
                <c:pt idx="2324">
                  <c:v>2.8323473793449572E-2</c:v>
                </c:pt>
                <c:pt idx="2325">
                  <c:v>2.9875831545467576E-2</c:v>
                </c:pt>
                <c:pt idx="2326">
                  <c:v>3.122436791825672E-2</c:v>
                </c:pt>
                <c:pt idx="2327">
                  <c:v>3.2550960549526012E-2</c:v>
                </c:pt>
                <c:pt idx="2328">
                  <c:v>3.3601390158814241E-2</c:v>
                </c:pt>
                <c:pt idx="2329">
                  <c:v>3.4400963876304959E-2</c:v>
                </c:pt>
                <c:pt idx="2330">
                  <c:v>3.4966894596728769E-2</c:v>
                </c:pt>
                <c:pt idx="2331">
                  <c:v>3.5373486934913392E-2</c:v>
                </c:pt>
                <c:pt idx="2332">
                  <c:v>3.6082391419967101E-2</c:v>
                </c:pt>
                <c:pt idx="2333">
                  <c:v>3.6700075840590839E-2</c:v>
                </c:pt>
                <c:pt idx="2334">
                  <c:v>3.7219607713440947E-2</c:v>
                </c:pt>
                <c:pt idx="2335">
                  <c:v>3.761992632142145E-2</c:v>
                </c:pt>
                <c:pt idx="2336">
                  <c:v>3.7920655275181785E-2</c:v>
                </c:pt>
                <c:pt idx="2337">
                  <c:v>3.8188954443818549E-2</c:v>
                </c:pt>
                <c:pt idx="2338">
                  <c:v>3.8281511946053927E-2</c:v>
                </c:pt>
                <c:pt idx="2339">
                  <c:v>3.8060142526528909E-2</c:v>
                </c:pt>
                <c:pt idx="2340">
                  <c:v>3.7700426490723242E-2</c:v>
                </c:pt>
                <c:pt idx="2341">
                  <c:v>3.7186373504274263E-2</c:v>
                </c:pt>
                <c:pt idx="2342">
                  <c:v>3.6556148774501855E-2</c:v>
                </c:pt>
                <c:pt idx="2343">
                  <c:v>3.5763436841763717E-2</c:v>
                </c:pt>
                <c:pt idx="2344">
                  <c:v>3.4924318442630282E-2</c:v>
                </c:pt>
                <c:pt idx="2345">
                  <c:v>3.3929070110729723E-2</c:v>
                </c:pt>
                <c:pt idx="2346">
                  <c:v>3.3054925193176377E-2</c:v>
                </c:pt>
                <c:pt idx="2347">
                  <c:v>3.2000967100133747E-2</c:v>
                </c:pt>
                <c:pt idx="2348">
                  <c:v>3.2586566128765877E-2</c:v>
                </c:pt>
                <c:pt idx="2349">
                  <c:v>3.3227940234631798E-2</c:v>
                </c:pt>
                <c:pt idx="2350">
                  <c:v>3.3816208354963483E-2</c:v>
                </c:pt>
                <c:pt idx="2351">
                  <c:v>3.4181675174134521E-2</c:v>
                </c:pt>
                <c:pt idx="2352">
                  <c:v>3.4246637957113767E-2</c:v>
                </c:pt>
                <c:pt idx="2353">
                  <c:v>3.4607330485894434E-2</c:v>
                </c:pt>
                <c:pt idx="2354">
                  <c:v>3.4744213552349634E-2</c:v>
                </c:pt>
                <c:pt idx="2355">
                  <c:v>3.5784169841870481E-2</c:v>
                </c:pt>
                <c:pt idx="2356">
                  <c:v>3.6623724730933727E-2</c:v>
                </c:pt>
                <c:pt idx="2357">
                  <c:v>3.7564871624294657E-2</c:v>
                </c:pt>
                <c:pt idx="2358">
                  <c:v>3.8253580829655423E-2</c:v>
                </c:pt>
                <c:pt idx="2359">
                  <c:v>3.8693717059733325E-2</c:v>
                </c:pt>
                <c:pt idx="2360">
                  <c:v>3.9177986797011392E-2</c:v>
                </c:pt>
                <c:pt idx="2361">
                  <c:v>3.9529364747217001E-2</c:v>
                </c:pt>
                <c:pt idx="2362">
                  <c:v>4.0019297332863892E-2</c:v>
                </c:pt>
                <c:pt idx="2363">
                  <c:v>4.0594024060116765E-2</c:v>
                </c:pt>
                <c:pt idx="2364">
                  <c:v>4.1400955537838097E-2</c:v>
                </c:pt>
                <c:pt idx="2365">
                  <c:v>4.2362584081762418E-2</c:v>
                </c:pt>
                <c:pt idx="2366">
                  <c:v>4.3960527590916579E-2</c:v>
                </c:pt>
                <c:pt idx="2367">
                  <c:v>4.6498175776173947E-2</c:v>
                </c:pt>
                <c:pt idx="2368">
                  <c:v>4.9660868701522268E-2</c:v>
                </c:pt>
                <c:pt idx="2369">
                  <c:v>5.1995066932129221E-2</c:v>
                </c:pt>
                <c:pt idx="2370">
                  <c:v>5.4656476683375699E-2</c:v>
                </c:pt>
                <c:pt idx="2371">
                  <c:v>5.6845216923711465E-2</c:v>
                </c:pt>
                <c:pt idx="2372">
                  <c:v>5.8851551457281576E-2</c:v>
                </c:pt>
                <c:pt idx="2373">
                  <c:v>6.0753506208579014E-2</c:v>
                </c:pt>
                <c:pt idx="2374">
                  <c:v>6.7539557004016731E-2</c:v>
                </c:pt>
                <c:pt idx="2375">
                  <c:v>7.3089528434678128E-2</c:v>
                </c:pt>
                <c:pt idx="2376">
                  <c:v>7.9361874170712193E-2</c:v>
                </c:pt>
                <c:pt idx="2377">
                  <c:v>8.5374064576968334E-2</c:v>
                </c:pt>
                <c:pt idx="2378">
                  <c:v>9.0074826429465085E-2</c:v>
                </c:pt>
                <c:pt idx="2379">
                  <c:v>9.3877343399993915E-2</c:v>
                </c:pt>
                <c:pt idx="2380">
                  <c:v>9.6991284412367582E-2</c:v>
                </c:pt>
                <c:pt idx="2381">
                  <c:v>9.9523292534968499E-2</c:v>
                </c:pt>
                <c:pt idx="2382">
                  <c:v>0.10115397315933197</c:v>
                </c:pt>
                <c:pt idx="2383">
                  <c:v>0.10236429493263684</c:v>
                </c:pt>
                <c:pt idx="2384">
                  <c:v>0.10318730633866725</c:v>
                </c:pt>
                <c:pt idx="2385">
                  <c:v>0.10390170071747527</c:v>
                </c:pt>
                <c:pt idx="2386">
                  <c:v>0.10394605273937843</c:v>
                </c:pt>
                <c:pt idx="2387">
                  <c:v>0.10345328948879286</c:v>
                </c:pt>
                <c:pt idx="2388">
                  <c:v>0.10229560106051282</c:v>
                </c:pt>
                <c:pt idx="2389">
                  <c:v>0.10060939073343096</c:v>
                </c:pt>
                <c:pt idx="2390">
                  <c:v>9.8541762565448277E-2</c:v>
                </c:pt>
                <c:pt idx="2391">
                  <c:v>9.6197452883052523E-2</c:v>
                </c:pt>
                <c:pt idx="2392">
                  <c:v>9.3173440997124463E-2</c:v>
                </c:pt>
                <c:pt idx="2393">
                  <c:v>8.9848254859322893E-2</c:v>
                </c:pt>
                <c:pt idx="2394">
                  <c:v>8.6134981415958226E-2</c:v>
                </c:pt>
                <c:pt idx="2395">
                  <c:v>8.2934295576614234E-2</c:v>
                </c:pt>
                <c:pt idx="2396">
                  <c:v>7.9671205441150958E-2</c:v>
                </c:pt>
                <c:pt idx="2397">
                  <c:v>7.666711915685008E-2</c:v>
                </c:pt>
                <c:pt idx="2398">
                  <c:v>7.5989168420244418E-2</c:v>
                </c:pt>
                <c:pt idx="2399">
                  <c:v>8.473797811169051E-2</c:v>
                </c:pt>
                <c:pt idx="2400">
                  <c:v>9.1489724136270614E-2</c:v>
                </c:pt>
                <c:pt idx="2401">
                  <c:v>0.10383847838168246</c:v>
                </c:pt>
                <c:pt idx="2402">
                  <c:v>0.13166200730488145</c:v>
                </c:pt>
                <c:pt idx="2403">
                  <c:v>0.15250049200823984</c:v>
                </c:pt>
                <c:pt idx="2404">
                  <c:v>0.17618385989609314</c:v>
                </c:pt>
                <c:pt idx="2405">
                  <c:v>0.19537542109870867</c:v>
                </c:pt>
                <c:pt idx="2406">
                  <c:v>0.21329521345171917</c:v>
                </c:pt>
                <c:pt idx="2407">
                  <c:v>0.23080085990687013</c:v>
                </c:pt>
                <c:pt idx="2408">
                  <c:v>0.24656689107759186</c:v>
                </c:pt>
                <c:pt idx="2409">
                  <c:v>0.25968902739905486</c:v>
                </c:pt>
                <c:pt idx="2410">
                  <c:v>0.27030792595789799</c:v>
                </c:pt>
                <c:pt idx="2411">
                  <c:v>0.28126417461752989</c:v>
                </c:pt>
                <c:pt idx="2412">
                  <c:v>0.28970199833556165</c:v>
                </c:pt>
                <c:pt idx="2413">
                  <c:v>0.29623637728694707</c:v>
                </c:pt>
                <c:pt idx="2414">
                  <c:v>0.30112869457612174</c:v>
                </c:pt>
                <c:pt idx="2415">
                  <c:v>0.30498077393936002</c:v>
                </c:pt>
                <c:pt idx="2416">
                  <c:v>0.30797389859129348</c:v>
                </c:pt>
                <c:pt idx="2417">
                  <c:v>0.31399728815879463</c:v>
                </c:pt>
                <c:pt idx="2418">
                  <c:v>0.31831126480552541</c:v>
                </c:pt>
                <c:pt idx="2419">
                  <c:v>0.32025119616154796</c:v>
                </c:pt>
                <c:pt idx="2420">
                  <c:v>0.31971567915427007</c:v>
                </c:pt>
                <c:pt idx="2421">
                  <c:v>0.31695433515459287</c:v>
                </c:pt>
                <c:pt idx="2422">
                  <c:v>0.31173171376474057</c:v>
                </c:pt>
                <c:pt idx="2423">
                  <c:v>0.30394440458930189</c:v>
                </c:pt>
                <c:pt idx="2424">
                  <c:v>0.29306374037867855</c:v>
                </c:pt>
                <c:pt idx="2425">
                  <c:v>0.280075560316774</c:v>
                </c:pt>
                <c:pt idx="2426">
                  <c:v>0.26314808936028544</c:v>
                </c:pt>
                <c:pt idx="2427">
                  <c:v>0.24171391219668709</c:v>
                </c:pt>
                <c:pt idx="2428">
                  <c:v>0.21815648604599955</c:v>
                </c:pt>
                <c:pt idx="2429">
                  <c:v>0.20084762676871543</c:v>
                </c:pt>
                <c:pt idx="2430">
                  <c:v>0.17876504743786667</c:v>
                </c:pt>
                <c:pt idx="2431">
                  <c:v>0.15941360415661152</c:v>
                </c:pt>
                <c:pt idx="2432">
                  <c:v>0.15147108609549281</c:v>
                </c:pt>
                <c:pt idx="2433">
                  <c:v>0.14207875597310088</c:v>
                </c:pt>
                <c:pt idx="2434">
                  <c:v>0.13504196137287483</c:v>
                </c:pt>
                <c:pt idx="2435">
                  <c:v>0.12690090514951058</c:v>
                </c:pt>
                <c:pt idx="2436">
                  <c:v>0.11901142433780273</c:v>
                </c:pt>
                <c:pt idx="2437">
                  <c:v>0.11227344473273496</c:v>
                </c:pt>
                <c:pt idx="2438">
                  <c:v>0.10586395768991665</c:v>
                </c:pt>
                <c:pt idx="2439">
                  <c:v>9.8467552744901612E-2</c:v>
                </c:pt>
                <c:pt idx="2440">
                  <c:v>8.9710400694072948E-2</c:v>
                </c:pt>
                <c:pt idx="2441">
                  <c:v>8.3266239338258746E-2</c:v>
                </c:pt>
                <c:pt idx="2442">
                  <c:v>7.5544379735123748E-2</c:v>
                </c:pt>
                <c:pt idx="2443">
                  <c:v>6.6365495875952543E-2</c:v>
                </c:pt>
                <c:pt idx="2444">
                  <c:v>5.5049430170603562E-2</c:v>
                </c:pt>
                <c:pt idx="2445">
                  <c:v>4.2507920880964375E-2</c:v>
                </c:pt>
                <c:pt idx="2446">
                  <c:v>2.8683896352569259E-2</c:v>
                </c:pt>
                <c:pt idx="2447">
                  <c:v>2.6645979442454996E-2</c:v>
                </c:pt>
                <c:pt idx="2448">
                  <c:v>2.6078918856746059E-2</c:v>
                </c:pt>
                <c:pt idx="2449">
                  <c:v>2.5763333570881217E-2</c:v>
                </c:pt>
                <c:pt idx="2450">
                  <c:v>2.5630606713761047E-2</c:v>
                </c:pt>
                <c:pt idx="2451">
                  <c:v>2.5608594104897544E-2</c:v>
                </c:pt>
                <c:pt idx="2452">
                  <c:v>2.5903098336709774E-2</c:v>
                </c:pt>
                <c:pt idx="2453">
                  <c:v>2.606385524794691E-2</c:v>
                </c:pt>
                <c:pt idx="2454">
                  <c:v>2.610521433496411E-2</c:v>
                </c:pt>
                <c:pt idx="2455">
                  <c:v>2.6217358669885959E-2</c:v>
                </c:pt>
                <c:pt idx="2456">
                  <c:v>2.6391795364493237E-2</c:v>
                </c:pt>
                <c:pt idx="2457">
                  <c:v>2.6547287291518618E-2</c:v>
                </c:pt>
                <c:pt idx="2458">
                  <c:v>2.6506856168701673E-2</c:v>
                </c:pt>
                <c:pt idx="2459">
                  <c:v>2.6331026117113666E-2</c:v>
                </c:pt>
                <c:pt idx="2460">
                  <c:v>2.6088361707121033E-2</c:v>
                </c:pt>
                <c:pt idx="2461">
                  <c:v>2.5694795166079698E-2</c:v>
                </c:pt>
                <c:pt idx="2462">
                  <c:v>2.5347774256051947E-2</c:v>
                </c:pt>
                <c:pt idx="2463">
                  <c:v>2.4899704296110509E-2</c:v>
                </c:pt>
                <c:pt idx="2464">
                  <c:v>2.4275800836762101E-2</c:v>
                </c:pt>
                <c:pt idx="2465">
                  <c:v>2.3460736098187492E-2</c:v>
                </c:pt>
                <c:pt idx="2466">
                  <c:v>2.2626448065399245E-2</c:v>
                </c:pt>
                <c:pt idx="2467">
                  <c:v>2.1527338666551345E-2</c:v>
                </c:pt>
                <c:pt idx="2468">
                  <c:v>2.036454581894636E-2</c:v>
                </c:pt>
                <c:pt idx="2469">
                  <c:v>1.8944500575423674E-2</c:v>
                </c:pt>
                <c:pt idx="2470">
                  <c:v>1.7817814133443709E-2</c:v>
                </c:pt>
                <c:pt idx="2471">
                  <c:v>1.712102801919365E-2</c:v>
                </c:pt>
                <c:pt idx="2472">
                  <c:v>1.6847042049438928E-2</c:v>
                </c:pt>
                <c:pt idx="2473">
                  <c:v>1.6582041030706908E-2</c:v>
                </c:pt>
                <c:pt idx="2474">
                  <c:v>1.639709698361887E-2</c:v>
                </c:pt>
                <c:pt idx="2475">
                  <c:v>1.6145173637682121E-2</c:v>
                </c:pt>
                <c:pt idx="2476">
                  <c:v>1.5906171383760655E-2</c:v>
                </c:pt>
                <c:pt idx="2477">
                  <c:v>1.582592672785485E-2</c:v>
                </c:pt>
                <c:pt idx="2478">
                  <c:v>1.5761827544839433E-2</c:v>
                </c:pt>
                <c:pt idx="2479">
                  <c:v>1.5862567966338573E-2</c:v>
                </c:pt>
                <c:pt idx="2480">
                  <c:v>1.5972320697640045E-2</c:v>
                </c:pt>
                <c:pt idx="2481">
                  <c:v>1.6085442811771079E-2</c:v>
                </c:pt>
                <c:pt idx="2482">
                  <c:v>1.6198471670957042E-2</c:v>
                </c:pt>
                <c:pt idx="2483">
                  <c:v>1.6220618723075675E-2</c:v>
                </c:pt>
                <c:pt idx="2484">
                  <c:v>1.622290886693201E-2</c:v>
                </c:pt>
                <c:pt idx="2485">
                  <c:v>1.6371583979636336E-2</c:v>
                </c:pt>
                <c:pt idx="2486">
                  <c:v>1.6821276147820668E-2</c:v>
                </c:pt>
                <c:pt idx="2487">
                  <c:v>1.7195699540889522E-2</c:v>
                </c:pt>
                <c:pt idx="2488">
                  <c:v>1.7474074597853974E-2</c:v>
                </c:pt>
                <c:pt idx="2489">
                  <c:v>1.7662671098882053E-2</c:v>
                </c:pt>
                <c:pt idx="2490">
                  <c:v>1.7765505241956289E-2</c:v>
                </c:pt>
                <c:pt idx="2491">
                  <c:v>1.7931118471814854E-2</c:v>
                </c:pt>
                <c:pt idx="2492">
                  <c:v>1.8305222970413062E-2</c:v>
                </c:pt>
                <c:pt idx="2493">
                  <c:v>1.8657478036431994E-2</c:v>
                </c:pt>
                <c:pt idx="2494">
                  <c:v>1.9080099140749453E-2</c:v>
                </c:pt>
                <c:pt idx="2495">
                  <c:v>1.9486291643823948E-2</c:v>
                </c:pt>
                <c:pt idx="2496">
                  <c:v>1.9794075832426043E-2</c:v>
                </c:pt>
                <c:pt idx="2497">
                  <c:v>2.0014303145649441E-2</c:v>
                </c:pt>
                <c:pt idx="2498">
                  <c:v>2.0202428655834159E-2</c:v>
                </c:pt>
                <c:pt idx="2499">
                  <c:v>2.0755625678523373E-2</c:v>
                </c:pt>
                <c:pt idx="2500">
                  <c:v>2.116474594276473E-2</c:v>
                </c:pt>
                <c:pt idx="2501">
                  <c:v>2.2120137389176637E-2</c:v>
                </c:pt>
                <c:pt idx="2502">
                  <c:v>2.352283958121977E-2</c:v>
                </c:pt>
                <c:pt idx="2503">
                  <c:v>2.4911999578648127E-2</c:v>
                </c:pt>
                <c:pt idx="2504">
                  <c:v>2.606068864552465E-2</c:v>
                </c:pt>
                <c:pt idx="2505">
                  <c:v>2.7394889404289389E-2</c:v>
                </c:pt>
                <c:pt idx="2506">
                  <c:v>2.8975166554588882E-2</c:v>
                </c:pt>
                <c:pt idx="2507">
                  <c:v>3.0323011288947082E-2</c:v>
                </c:pt>
                <c:pt idx="2508">
                  <c:v>3.1528667879177796E-2</c:v>
                </c:pt>
                <c:pt idx="2509">
                  <c:v>3.2635282161332449E-2</c:v>
                </c:pt>
                <c:pt idx="2510">
                  <c:v>3.3678603563604394E-2</c:v>
                </c:pt>
                <c:pt idx="2511">
                  <c:v>3.4502866548858542E-2</c:v>
                </c:pt>
                <c:pt idx="2512">
                  <c:v>3.5134032542070204E-2</c:v>
                </c:pt>
                <c:pt idx="2513">
                  <c:v>3.559094216612782E-2</c:v>
                </c:pt>
                <c:pt idx="2514">
                  <c:v>3.5887974211133648E-2</c:v>
                </c:pt>
                <c:pt idx="2515">
                  <c:v>3.5971879373927887E-2</c:v>
                </c:pt>
                <c:pt idx="2516">
                  <c:v>3.6037373107628889E-2</c:v>
                </c:pt>
                <c:pt idx="2517">
                  <c:v>3.6145191649877728E-2</c:v>
                </c:pt>
                <c:pt idx="2518">
                  <c:v>3.6036190587177851E-2</c:v>
                </c:pt>
                <c:pt idx="2519">
                  <c:v>3.5708904397433482E-2</c:v>
                </c:pt>
                <c:pt idx="2520">
                  <c:v>3.5396470234457987E-2</c:v>
                </c:pt>
                <c:pt idx="2521">
                  <c:v>3.4904493348941308E-2</c:v>
                </c:pt>
                <c:pt idx="2522">
                  <c:v>3.4371653098302944E-2</c:v>
                </c:pt>
                <c:pt idx="2523">
                  <c:v>3.3585317736559969E-2</c:v>
                </c:pt>
                <c:pt idx="2524">
                  <c:v>3.2696240830356403E-2</c:v>
                </c:pt>
                <c:pt idx="2525">
                  <c:v>3.1571819053498276E-2</c:v>
                </c:pt>
                <c:pt idx="2526">
                  <c:v>3.1477849721400032E-2</c:v>
                </c:pt>
                <c:pt idx="2527">
                  <c:v>3.1415858125417424E-2</c:v>
                </c:pt>
                <c:pt idx="2528">
                  <c:v>3.1266522990641796E-2</c:v>
                </c:pt>
                <c:pt idx="2529">
                  <c:v>3.1684124104918068E-2</c:v>
                </c:pt>
                <c:pt idx="2530">
                  <c:v>3.1640036158541357E-2</c:v>
                </c:pt>
                <c:pt idx="2531">
                  <c:v>3.1884829652347645E-2</c:v>
                </c:pt>
                <c:pt idx="2532">
                  <c:v>3.233377650336567E-2</c:v>
                </c:pt>
                <c:pt idx="2533">
                  <c:v>3.3716533099815753E-2</c:v>
                </c:pt>
                <c:pt idx="2534">
                  <c:v>3.4771233424953148E-2</c:v>
                </c:pt>
                <c:pt idx="2535">
                  <c:v>3.5955696245910732E-2</c:v>
                </c:pt>
                <c:pt idx="2536">
                  <c:v>3.7831427171349907E-2</c:v>
                </c:pt>
                <c:pt idx="2537">
                  <c:v>3.9818849129602457E-2</c:v>
                </c:pt>
                <c:pt idx="2538">
                  <c:v>4.1645786528829526E-2</c:v>
                </c:pt>
                <c:pt idx="2539">
                  <c:v>4.3037488185944592E-2</c:v>
                </c:pt>
                <c:pt idx="2540">
                  <c:v>4.4259393470990428E-2</c:v>
                </c:pt>
                <c:pt idx="2541">
                  <c:v>4.5290222079571812E-2</c:v>
                </c:pt>
                <c:pt idx="2542">
                  <c:v>4.5990177227192813E-2</c:v>
                </c:pt>
                <c:pt idx="2543">
                  <c:v>4.6441712898442518E-2</c:v>
                </c:pt>
                <c:pt idx="2544">
                  <c:v>4.6641175545019828E-2</c:v>
                </c:pt>
                <c:pt idx="2545">
                  <c:v>4.6519639085060877E-2</c:v>
                </c:pt>
                <c:pt idx="2546">
                  <c:v>4.6146717806755139E-2</c:v>
                </c:pt>
                <c:pt idx="2547">
                  <c:v>4.5666840217823156E-2</c:v>
                </c:pt>
                <c:pt idx="2548">
                  <c:v>4.4880418285889213E-2</c:v>
                </c:pt>
                <c:pt idx="2549">
                  <c:v>4.3720480864802548E-2</c:v>
                </c:pt>
                <c:pt idx="2550">
                  <c:v>4.2544457271399085E-2</c:v>
                </c:pt>
                <c:pt idx="2551">
                  <c:v>4.1044148434137832E-2</c:v>
                </c:pt>
                <c:pt idx="2552">
                  <c:v>3.9320150885630033E-2</c:v>
                </c:pt>
                <c:pt idx="2553">
                  <c:v>3.7246558726341035E-2</c:v>
                </c:pt>
                <c:pt idx="2554">
                  <c:v>3.5200809753728773E-2</c:v>
                </c:pt>
                <c:pt idx="2555">
                  <c:v>3.2444725952923734E-2</c:v>
                </c:pt>
                <c:pt idx="2556">
                  <c:v>3.1365102714879446E-2</c:v>
                </c:pt>
                <c:pt idx="2557">
                  <c:v>3.0377627293942371E-2</c:v>
                </c:pt>
                <c:pt idx="2558">
                  <c:v>2.9625561601622736E-2</c:v>
                </c:pt>
                <c:pt idx="2559">
                  <c:v>2.9150267883843055E-2</c:v>
                </c:pt>
                <c:pt idx="2560">
                  <c:v>2.8745461903815168E-2</c:v>
                </c:pt>
                <c:pt idx="2561">
                  <c:v>2.8574055370249332E-2</c:v>
                </c:pt>
                <c:pt idx="2562">
                  <c:v>2.7977712304807698E-2</c:v>
                </c:pt>
                <c:pt idx="2563">
                  <c:v>2.8129035445162178E-2</c:v>
                </c:pt>
                <c:pt idx="2564">
                  <c:v>2.8064424713821666E-2</c:v>
                </c:pt>
                <c:pt idx="2565">
                  <c:v>2.7884539500947002E-2</c:v>
                </c:pt>
                <c:pt idx="2566">
                  <c:v>2.8078566932964552E-2</c:v>
                </c:pt>
                <c:pt idx="2567">
                  <c:v>2.8477691408335132E-2</c:v>
                </c:pt>
                <c:pt idx="2568">
                  <c:v>2.8902071923208858E-2</c:v>
                </c:pt>
                <c:pt idx="2569">
                  <c:v>2.9311153353817624E-2</c:v>
                </c:pt>
                <c:pt idx="2570">
                  <c:v>2.960033325210128E-2</c:v>
                </c:pt>
                <c:pt idx="2571">
                  <c:v>2.9910091365460661E-2</c:v>
                </c:pt>
                <c:pt idx="2572">
                  <c:v>3.0054526479298429E-2</c:v>
                </c:pt>
                <c:pt idx="2573">
                  <c:v>3.0165825380647333E-2</c:v>
                </c:pt>
                <c:pt idx="2574">
                  <c:v>3.0305299350843171E-2</c:v>
                </c:pt>
                <c:pt idx="2575">
                  <c:v>3.0404176428370604E-2</c:v>
                </c:pt>
                <c:pt idx="2576">
                  <c:v>3.038592114971634E-2</c:v>
                </c:pt>
                <c:pt idx="2577">
                  <c:v>3.0118757751003818E-2</c:v>
                </c:pt>
                <c:pt idx="2578">
                  <c:v>2.9722954478291676E-2</c:v>
                </c:pt>
                <c:pt idx="2579">
                  <c:v>2.9230406257148657E-2</c:v>
                </c:pt>
                <c:pt idx="2580">
                  <c:v>2.8498845299476494E-2</c:v>
                </c:pt>
                <c:pt idx="2581">
                  <c:v>2.7779751513395051E-2</c:v>
                </c:pt>
                <c:pt idx="2582">
                  <c:v>2.6852913674762422E-2</c:v>
                </c:pt>
                <c:pt idx="2583">
                  <c:v>2.5713134769184867E-2</c:v>
                </c:pt>
                <c:pt idx="2584">
                  <c:v>2.5208874083673446E-2</c:v>
                </c:pt>
                <c:pt idx="2585">
                  <c:v>2.4479009318000053E-2</c:v>
                </c:pt>
                <c:pt idx="2586">
                  <c:v>2.3792802142513239E-2</c:v>
                </c:pt>
                <c:pt idx="2587">
                  <c:v>2.2990470043130637E-2</c:v>
                </c:pt>
                <c:pt idx="2588">
                  <c:v>2.2245594558479426E-2</c:v>
                </c:pt>
                <c:pt idx="2589">
                  <c:v>2.1488628543035716E-2</c:v>
                </c:pt>
                <c:pt idx="2590">
                  <c:v>2.1004955832072125E-2</c:v>
                </c:pt>
                <c:pt idx="2591">
                  <c:v>2.0940357549093781E-2</c:v>
                </c:pt>
                <c:pt idx="2592">
                  <c:v>2.0853514007704688E-2</c:v>
                </c:pt>
                <c:pt idx="2593">
                  <c:v>2.0674458768740418E-2</c:v>
                </c:pt>
                <c:pt idx="2594">
                  <c:v>2.0468701863221063E-2</c:v>
                </c:pt>
                <c:pt idx="2595">
                  <c:v>2.0662870010029658E-2</c:v>
                </c:pt>
                <c:pt idx="2596">
                  <c:v>2.0608228901919049E-2</c:v>
                </c:pt>
                <c:pt idx="2597">
                  <c:v>2.0314472133919757E-2</c:v>
                </c:pt>
                <c:pt idx="2598">
                  <c:v>1.9895114099510957E-2</c:v>
                </c:pt>
                <c:pt idx="2599">
                  <c:v>1.9542086252925153E-2</c:v>
                </c:pt>
                <c:pt idx="2600">
                  <c:v>1.8946858883936452E-2</c:v>
                </c:pt>
                <c:pt idx="2601">
                  <c:v>1.8273017658101378E-2</c:v>
                </c:pt>
                <c:pt idx="2602">
                  <c:v>1.7440253543731018E-2</c:v>
                </c:pt>
                <c:pt idx="2603">
                  <c:v>1.6550566427858692E-2</c:v>
                </c:pt>
                <c:pt idx="2604">
                  <c:v>1.568711100610836E-2</c:v>
                </c:pt>
                <c:pt idx="2605">
                  <c:v>1.48713984037667E-2</c:v>
                </c:pt>
                <c:pt idx="2606">
                  <c:v>1.4035613300749098E-2</c:v>
                </c:pt>
                <c:pt idx="2607">
                  <c:v>1.2993440161851933E-2</c:v>
                </c:pt>
                <c:pt idx="2608">
                  <c:v>1.1923799236698002E-2</c:v>
                </c:pt>
                <c:pt idx="2609">
                  <c:v>1.105042961038586E-2</c:v>
                </c:pt>
                <c:pt idx="2610">
                  <c:v>1.0090667729573528E-2</c:v>
                </c:pt>
                <c:pt idx="2611">
                  <c:v>9.4689998940955065E-3</c:v>
                </c:pt>
                <c:pt idx="2612">
                  <c:v>8.8121091945429584E-3</c:v>
                </c:pt>
                <c:pt idx="2613">
                  <c:v>8.1274986314769909E-3</c:v>
                </c:pt>
                <c:pt idx="2614">
                  <c:v>7.5230966051619014E-3</c:v>
                </c:pt>
                <c:pt idx="2615">
                  <c:v>6.9089941076377667E-3</c:v>
                </c:pt>
                <c:pt idx="2616">
                  <c:v>6.2898316272423501E-3</c:v>
                </c:pt>
                <c:pt idx="2617">
                  <c:v>5.6721962064992474E-3</c:v>
                </c:pt>
                <c:pt idx="2618">
                  <c:v>5.0591457298311089E-3</c:v>
                </c:pt>
                <c:pt idx="2619">
                  <c:v>4.4562614946884677E-3</c:v>
                </c:pt>
                <c:pt idx="2620">
                  <c:v>3.8711746636676198E-3</c:v>
                </c:pt>
                <c:pt idx="2621">
                  <c:v>3.3125074805647344E-3</c:v>
                </c:pt>
                <c:pt idx="2622">
                  <c:v>2.9371150303209976E-3</c:v>
                </c:pt>
                <c:pt idx="2623">
                  <c:v>2.6411505623070031E-3</c:v>
                </c:pt>
                <c:pt idx="2624">
                  <c:v>2.5490977271917848E-3</c:v>
                </c:pt>
                <c:pt idx="2625">
                  <c:v>2.4580162294976929E-3</c:v>
                </c:pt>
                <c:pt idx="2626">
                  <c:v>2.3598772974605131E-3</c:v>
                </c:pt>
                <c:pt idx="2627">
                  <c:v>2.2680644783035567E-3</c:v>
                </c:pt>
                <c:pt idx="2628">
                  <c:v>2.1577812104837417E-3</c:v>
                </c:pt>
                <c:pt idx="2629">
                  <c:v>2.0107707740931783E-3</c:v>
                </c:pt>
                <c:pt idx="2630">
                  <c:v>1.967355958199868E-3</c:v>
                </c:pt>
                <c:pt idx="2631">
                  <c:v>1.9367864107794198E-3</c:v>
                </c:pt>
                <c:pt idx="2632">
                  <c:v>1.9837478022915918E-3</c:v>
                </c:pt>
                <c:pt idx="2633">
                  <c:v>2.1267629408139293E-3</c:v>
                </c:pt>
                <c:pt idx="2634">
                  <c:v>2.4118536921674378E-3</c:v>
                </c:pt>
                <c:pt idx="2635">
                  <c:v>2.6572193130112221E-3</c:v>
                </c:pt>
                <c:pt idx="2636">
                  <c:v>2.8663674368274343E-3</c:v>
                </c:pt>
                <c:pt idx="2637">
                  <c:v>3.04125387664787E-3</c:v>
                </c:pt>
                <c:pt idx="2638">
                  <c:v>3.1871986143977901E-3</c:v>
                </c:pt>
                <c:pt idx="2639">
                  <c:v>3.3192447930803946E-3</c:v>
                </c:pt>
                <c:pt idx="2640">
                  <c:v>3.4271877166061186E-3</c:v>
                </c:pt>
                <c:pt idx="2641">
                  <c:v>3.5435688583266038E-3</c:v>
                </c:pt>
                <c:pt idx="2642">
                  <c:v>3.6460331391395488E-3</c:v>
                </c:pt>
                <c:pt idx="2643">
                  <c:v>3.7154680532507402E-3</c:v>
                </c:pt>
                <c:pt idx="2644">
                  <c:v>3.7638137219953571E-3</c:v>
                </c:pt>
                <c:pt idx="2645">
                  <c:v>3.8269265118574536E-3</c:v>
                </c:pt>
                <c:pt idx="2646">
                  <c:v>3.8760239096643141E-3</c:v>
                </c:pt>
                <c:pt idx="2647">
                  <c:v>3.9050018385873679E-3</c:v>
                </c:pt>
                <c:pt idx="2648">
                  <c:v>3.9301482521797567E-3</c:v>
                </c:pt>
                <c:pt idx="2649">
                  <c:v>4.0266130758324775E-3</c:v>
                </c:pt>
                <c:pt idx="2650">
                  <c:v>4.1333493025814995E-3</c:v>
                </c:pt>
                <c:pt idx="2651">
                  <c:v>4.2561331096364853E-3</c:v>
                </c:pt>
                <c:pt idx="2652">
                  <c:v>4.3425194783826117E-3</c:v>
                </c:pt>
                <c:pt idx="2653">
                  <c:v>4.3955141809213756E-3</c:v>
                </c:pt>
                <c:pt idx="2654">
                  <c:v>4.4147571590162178E-3</c:v>
                </c:pt>
                <c:pt idx="2655">
                  <c:v>4.4109583569724702E-3</c:v>
                </c:pt>
                <c:pt idx="2656">
                  <c:v>4.3756093390815258E-3</c:v>
                </c:pt>
                <c:pt idx="2657">
                  <c:v>4.307862923947239E-3</c:v>
                </c:pt>
                <c:pt idx="2658">
                  <c:v>4.2059051438288675E-3</c:v>
                </c:pt>
                <c:pt idx="2659">
                  <c:v>4.0673867257261659E-3</c:v>
                </c:pt>
                <c:pt idx="2660">
                  <c:v>3.9083385065430383E-3</c:v>
                </c:pt>
                <c:pt idx="2661">
                  <c:v>3.7500136970748089E-3</c:v>
                </c:pt>
                <c:pt idx="2662">
                  <c:v>3.6834198313187953E-3</c:v>
                </c:pt>
                <c:pt idx="2663">
                  <c:v>3.6801708884501741E-3</c:v>
                </c:pt>
                <c:pt idx="2664">
                  <c:v>3.7513943964385876E-3</c:v>
                </c:pt>
                <c:pt idx="2665">
                  <c:v>3.8071614139780071E-3</c:v>
                </c:pt>
                <c:pt idx="2666">
                  <c:v>3.8466679436684006E-3</c:v>
                </c:pt>
                <c:pt idx="2667">
                  <c:v>3.8600983003859628E-3</c:v>
                </c:pt>
                <c:pt idx="2668">
                  <c:v>3.8565977438447694E-3</c:v>
                </c:pt>
                <c:pt idx="2669">
                  <c:v>3.8366043910800667E-3</c:v>
                </c:pt>
                <c:pt idx="2670">
                  <c:v>3.7907354267218913E-3</c:v>
                </c:pt>
                <c:pt idx="2671">
                  <c:v>3.7488014690014735E-3</c:v>
                </c:pt>
                <c:pt idx="2672">
                  <c:v>3.8038620117089384E-3</c:v>
                </c:pt>
                <c:pt idx="2673">
                  <c:v>3.8345789603913059E-3</c:v>
                </c:pt>
                <c:pt idx="2674">
                  <c:v>4.0039567646705755E-3</c:v>
                </c:pt>
                <c:pt idx="2675">
                  <c:v>4.2363819495826373E-3</c:v>
                </c:pt>
                <c:pt idx="2676">
                  <c:v>4.5662319605172001E-3</c:v>
                </c:pt>
                <c:pt idx="2677">
                  <c:v>4.8096923584046618E-3</c:v>
                </c:pt>
                <c:pt idx="2678">
                  <c:v>5.0005575193607654E-3</c:v>
                </c:pt>
                <c:pt idx="2679">
                  <c:v>5.2148937266459023E-3</c:v>
                </c:pt>
                <c:pt idx="2680">
                  <c:v>5.4273377972509215E-3</c:v>
                </c:pt>
                <c:pt idx="2681">
                  <c:v>5.6283350344215298E-3</c:v>
                </c:pt>
                <c:pt idx="2682">
                  <c:v>5.7843630821623696E-3</c:v>
                </c:pt>
                <c:pt idx="2683">
                  <c:v>5.9171509928984982E-3</c:v>
                </c:pt>
                <c:pt idx="2684">
                  <c:v>6.0080473180966574E-3</c:v>
                </c:pt>
                <c:pt idx="2685">
                  <c:v>6.0676575597865649E-3</c:v>
                </c:pt>
                <c:pt idx="2686">
                  <c:v>6.087528353273427E-3</c:v>
                </c:pt>
                <c:pt idx="2687">
                  <c:v>6.0758083057879872E-3</c:v>
                </c:pt>
                <c:pt idx="2688">
                  <c:v>6.0232907366243298E-3</c:v>
                </c:pt>
                <c:pt idx="2689">
                  <c:v>5.9289990911220126E-3</c:v>
                </c:pt>
                <c:pt idx="2690">
                  <c:v>5.8682071155204641E-3</c:v>
                </c:pt>
                <c:pt idx="2691">
                  <c:v>5.8021451763136589E-3</c:v>
                </c:pt>
                <c:pt idx="2692">
                  <c:v>5.7500535233641478E-3</c:v>
                </c:pt>
                <c:pt idx="2693">
                  <c:v>5.6680329513318075E-3</c:v>
                </c:pt>
                <c:pt idx="2694">
                  <c:v>5.5567641961436392E-3</c:v>
                </c:pt>
                <c:pt idx="2695">
                  <c:v>5.4158494719143309E-3</c:v>
                </c:pt>
                <c:pt idx="2696">
                  <c:v>5.2440244642837754E-3</c:v>
                </c:pt>
                <c:pt idx="2697">
                  <c:v>5.0272092782869936E-3</c:v>
                </c:pt>
                <c:pt idx="2698">
                  <c:v>4.772421813539221E-3</c:v>
                </c:pt>
                <c:pt idx="2699">
                  <c:v>4.4602776660769674E-3</c:v>
                </c:pt>
                <c:pt idx="2700">
                  <c:v>4.0788662497773772E-3</c:v>
                </c:pt>
                <c:pt idx="2701">
                  <c:v>3.6049736869391805E-3</c:v>
                </c:pt>
                <c:pt idx="2702">
                  <c:v>3.2357831870084017E-3</c:v>
                </c:pt>
                <c:pt idx="2703">
                  <c:v>2.8113901798961908E-3</c:v>
                </c:pt>
                <c:pt idx="2704">
                  <c:v>2.5754460253233093E-3</c:v>
                </c:pt>
                <c:pt idx="2705">
                  <c:v>2.4214969229656952E-3</c:v>
                </c:pt>
                <c:pt idx="2706">
                  <c:v>2.4342102978269389E-3</c:v>
                </c:pt>
                <c:pt idx="2707">
                  <c:v>2.5890056192620272E-3</c:v>
                </c:pt>
                <c:pt idx="2708">
                  <c:v>3.0492361870266354E-3</c:v>
                </c:pt>
                <c:pt idx="2709">
                  <c:v>3.6804517183562477E-3</c:v>
                </c:pt>
                <c:pt idx="2710">
                  <c:v>4.6040456470022471E-3</c:v>
                </c:pt>
                <c:pt idx="2711">
                  <c:v>5.3397197763868356E-3</c:v>
                </c:pt>
                <c:pt idx="2712">
                  <c:v>5.922542240331766E-3</c:v>
                </c:pt>
                <c:pt idx="2713">
                  <c:v>6.6404581404628524E-3</c:v>
                </c:pt>
                <c:pt idx="2714">
                  <c:v>7.2196469910568491E-3</c:v>
                </c:pt>
                <c:pt idx="2715">
                  <c:v>7.6974003007959559E-3</c:v>
                </c:pt>
                <c:pt idx="2716">
                  <c:v>8.0987233339398432E-3</c:v>
                </c:pt>
                <c:pt idx="2717">
                  <c:v>8.4284503344540396E-3</c:v>
                </c:pt>
                <c:pt idx="2718">
                  <c:v>8.6990041931175703E-3</c:v>
                </c:pt>
                <c:pt idx="2719">
                  <c:v>8.906325238566418E-3</c:v>
                </c:pt>
                <c:pt idx="2720">
                  <c:v>9.1033188344036842E-3</c:v>
                </c:pt>
                <c:pt idx="2721">
                  <c:v>9.2697861677353017E-3</c:v>
                </c:pt>
                <c:pt idx="2722">
                  <c:v>9.3956029979256391E-3</c:v>
                </c:pt>
                <c:pt idx="2723">
                  <c:v>9.4740124317063794E-3</c:v>
                </c:pt>
                <c:pt idx="2724">
                  <c:v>9.5010025576837201E-3</c:v>
                </c:pt>
                <c:pt idx="2725">
                  <c:v>9.483472803919462E-3</c:v>
                </c:pt>
                <c:pt idx="2726">
                  <c:v>9.4202076744598351E-3</c:v>
                </c:pt>
                <c:pt idx="2727">
                  <c:v>9.3086100425620721E-3</c:v>
                </c:pt>
                <c:pt idx="2728">
                  <c:v>9.1403619635113242E-3</c:v>
                </c:pt>
                <c:pt idx="2729">
                  <c:v>8.9174192082214152E-3</c:v>
                </c:pt>
                <c:pt idx="2730">
                  <c:v>8.6295217892844184E-3</c:v>
                </c:pt>
                <c:pt idx="2731">
                  <c:v>8.2637310678070793E-3</c:v>
                </c:pt>
                <c:pt idx="2732">
                  <c:v>7.8205927989995951E-3</c:v>
                </c:pt>
                <c:pt idx="2733">
                  <c:v>7.2796612515773291E-3</c:v>
                </c:pt>
                <c:pt idx="2734">
                  <c:v>6.6333611439286493E-3</c:v>
                </c:pt>
                <c:pt idx="2735">
                  <c:v>5.8674065687486293E-3</c:v>
                </c:pt>
                <c:pt idx="2736">
                  <c:v>4.9767853169959035E-3</c:v>
                </c:pt>
                <c:pt idx="2737">
                  <c:v>4.1032525697528898E-3</c:v>
                </c:pt>
                <c:pt idx="2738">
                  <c:v>3.4360148566351537E-3</c:v>
                </c:pt>
                <c:pt idx="2739">
                  <c:v>2.9166587769622219E-3</c:v>
                </c:pt>
                <c:pt idx="2740">
                  <c:v>2.7216521235693867E-3</c:v>
                </c:pt>
                <c:pt idx="2741">
                  <c:v>2.525474187887209E-3</c:v>
                </c:pt>
                <c:pt idx="2742">
                  <c:v>2.2785165823201755E-3</c:v>
                </c:pt>
                <c:pt idx="2743">
                  <c:v>2.3114529750216839E-3</c:v>
                </c:pt>
                <c:pt idx="2744">
                  <c:v>2.3286375677795406E-3</c:v>
                </c:pt>
                <c:pt idx="2745">
                  <c:v>2.3310575916577671E-3</c:v>
                </c:pt>
                <c:pt idx="2746">
                  <c:v>2.3298590992171298E-3</c:v>
                </c:pt>
                <c:pt idx="2747">
                  <c:v>2.314265321651967E-3</c:v>
                </c:pt>
                <c:pt idx="2748">
                  <c:v>2.3054922183001303E-3</c:v>
                </c:pt>
                <c:pt idx="2749">
                  <c:v>2.2931290241371416E-3</c:v>
                </c:pt>
                <c:pt idx="2750">
                  <c:v>2.2876994392502163E-3</c:v>
                </c:pt>
                <c:pt idx="2751">
                  <c:v>2.3005865240013738E-3</c:v>
                </c:pt>
                <c:pt idx="2752">
                  <c:v>2.3128438246782629E-3</c:v>
                </c:pt>
                <c:pt idx="2753">
                  <c:v>2.3344469577324602E-3</c:v>
                </c:pt>
                <c:pt idx="2754">
                  <c:v>2.6055415008791019E-3</c:v>
                </c:pt>
                <c:pt idx="2755">
                  <c:v>2.8308697857508994E-3</c:v>
                </c:pt>
                <c:pt idx="2756">
                  <c:v>3.0764154029257699E-3</c:v>
                </c:pt>
                <c:pt idx="2757">
                  <c:v>3.4865365129734317E-3</c:v>
                </c:pt>
                <c:pt idx="2758">
                  <c:v>3.816098227374659E-3</c:v>
                </c:pt>
                <c:pt idx="2759">
                  <c:v>4.2426122367377203E-3</c:v>
                </c:pt>
                <c:pt idx="2760">
                  <c:v>4.6033344427182247E-3</c:v>
                </c:pt>
                <c:pt idx="2761">
                  <c:v>4.9937556684984744E-3</c:v>
                </c:pt>
                <c:pt idx="2762">
                  <c:v>5.4594923532905191E-3</c:v>
                </c:pt>
                <c:pt idx="2763">
                  <c:v>5.8492538281134281E-3</c:v>
                </c:pt>
                <c:pt idx="2764">
                  <c:v>6.1769096997673816E-3</c:v>
                </c:pt>
                <c:pt idx="2765">
                  <c:v>6.4397584718798827E-3</c:v>
                </c:pt>
                <c:pt idx="2766">
                  <c:v>6.651888410676321E-3</c:v>
                </c:pt>
                <c:pt idx="2767">
                  <c:v>6.8199369692356201E-3</c:v>
                </c:pt>
                <c:pt idx="2768">
                  <c:v>6.9410714414072242E-3</c:v>
                </c:pt>
                <c:pt idx="2769">
                  <c:v>7.0102632804387999E-3</c:v>
                </c:pt>
                <c:pt idx="2770">
                  <c:v>7.0430420353592487E-3</c:v>
                </c:pt>
                <c:pt idx="2771">
                  <c:v>7.0396452809070734E-3</c:v>
                </c:pt>
                <c:pt idx="2772">
                  <c:v>6.9846198941685214E-3</c:v>
                </c:pt>
                <c:pt idx="2773">
                  <c:v>6.9524899551280895E-3</c:v>
                </c:pt>
                <c:pt idx="2774">
                  <c:v>6.8756605131665149E-3</c:v>
                </c:pt>
                <c:pt idx="2775">
                  <c:v>6.7600443474490519E-3</c:v>
                </c:pt>
                <c:pt idx="2776">
                  <c:v>6.6033781109032319E-3</c:v>
                </c:pt>
                <c:pt idx="2777">
                  <c:v>6.4026411337118538E-3</c:v>
                </c:pt>
                <c:pt idx="2778">
                  <c:v>6.1650249613815428E-3</c:v>
                </c:pt>
                <c:pt idx="2779">
                  <c:v>5.892835772016599E-3</c:v>
                </c:pt>
                <c:pt idx="2780">
                  <c:v>5.5625435348875202E-3</c:v>
                </c:pt>
                <c:pt idx="2781">
                  <c:v>5.1800327427365365E-3</c:v>
                </c:pt>
                <c:pt idx="2782">
                  <c:v>4.7098239685015152E-3</c:v>
                </c:pt>
                <c:pt idx="2783">
                  <c:v>4.1664436955969235E-3</c:v>
                </c:pt>
                <c:pt idx="2784">
                  <c:v>3.8488527850469912E-3</c:v>
                </c:pt>
                <c:pt idx="2785">
                  <c:v>3.4558923531334347E-3</c:v>
                </c:pt>
                <c:pt idx="2786">
                  <c:v>3.0621054134136933E-3</c:v>
                </c:pt>
                <c:pt idx="2787">
                  <c:v>3.1160415565141216E-3</c:v>
                </c:pt>
                <c:pt idx="2788">
                  <c:v>3.1021058050416943E-3</c:v>
                </c:pt>
                <c:pt idx="2789">
                  <c:v>3.181728738579128E-3</c:v>
                </c:pt>
                <c:pt idx="2790">
                  <c:v>3.2385971327529009E-3</c:v>
                </c:pt>
                <c:pt idx="2791">
                  <c:v>3.3530517904333426E-3</c:v>
                </c:pt>
                <c:pt idx="2792">
                  <c:v>3.573693044858666E-3</c:v>
                </c:pt>
                <c:pt idx="2793">
                  <c:v>3.7628653172681486E-3</c:v>
                </c:pt>
                <c:pt idx="2794">
                  <c:v>4.0439741555543546E-3</c:v>
                </c:pt>
                <c:pt idx="2795">
                  <c:v>4.4290294154232584E-3</c:v>
                </c:pt>
                <c:pt idx="2796">
                  <c:v>4.8221225639867235E-3</c:v>
                </c:pt>
                <c:pt idx="2797">
                  <c:v>5.1695067016799563E-3</c:v>
                </c:pt>
                <c:pt idx="2798">
                  <c:v>5.4654778426881673E-3</c:v>
                </c:pt>
                <c:pt idx="2799">
                  <c:v>5.7064435328618088E-3</c:v>
                </c:pt>
                <c:pt idx="2800">
                  <c:v>6.0013539076953729E-3</c:v>
                </c:pt>
                <c:pt idx="2801">
                  <c:v>6.2480124718606554E-3</c:v>
                </c:pt>
                <c:pt idx="2802">
                  <c:v>6.4823950695233317E-3</c:v>
                </c:pt>
                <c:pt idx="2803">
                  <c:v>6.7327922805027725E-3</c:v>
                </c:pt>
                <c:pt idx="2804">
                  <c:v>6.9670065166630695E-3</c:v>
                </c:pt>
                <c:pt idx="2805">
                  <c:v>7.1993235115324758E-3</c:v>
                </c:pt>
                <c:pt idx="2806">
                  <c:v>7.4140090185688444E-3</c:v>
                </c:pt>
                <c:pt idx="2807">
                  <c:v>7.5694827950525713E-3</c:v>
                </c:pt>
                <c:pt idx="2808">
                  <c:v>7.6584718405177561E-3</c:v>
                </c:pt>
                <c:pt idx="2809">
                  <c:v>7.7011180352405135E-3</c:v>
                </c:pt>
                <c:pt idx="2810">
                  <c:v>7.6889155109896813E-3</c:v>
                </c:pt>
                <c:pt idx="2811">
                  <c:v>7.6409577697731778E-3</c:v>
                </c:pt>
                <c:pt idx="2812">
                  <c:v>7.5378374913577552E-3</c:v>
                </c:pt>
                <c:pt idx="2813">
                  <c:v>7.3793919465594288E-3</c:v>
                </c:pt>
                <c:pt idx="2814">
                  <c:v>7.1710048314269637E-3</c:v>
                </c:pt>
                <c:pt idx="2815">
                  <c:v>6.8811853130324426E-3</c:v>
                </c:pt>
                <c:pt idx="2816">
                  <c:v>6.5468743877273626E-3</c:v>
                </c:pt>
                <c:pt idx="2817">
                  <c:v>6.4104709168099931E-3</c:v>
                </c:pt>
                <c:pt idx="2818">
                  <c:v>6.2270822301242002E-3</c:v>
                </c:pt>
                <c:pt idx="2819">
                  <c:v>5.9921559290390851E-3</c:v>
                </c:pt>
                <c:pt idx="2820">
                  <c:v>5.7123679899852261E-3</c:v>
                </c:pt>
                <c:pt idx="2821">
                  <c:v>5.3754030337246047E-3</c:v>
                </c:pt>
                <c:pt idx="2822">
                  <c:v>5.0744277092287515E-3</c:v>
                </c:pt>
                <c:pt idx="2823">
                  <c:v>4.8067552432486879E-3</c:v>
                </c:pt>
                <c:pt idx="2824">
                  <c:v>4.6478719645793778E-3</c:v>
                </c:pt>
                <c:pt idx="2825">
                  <c:v>4.5754591092852246E-3</c:v>
                </c:pt>
                <c:pt idx="2826">
                  <c:v>4.5276445422858776E-3</c:v>
                </c:pt>
                <c:pt idx="2827">
                  <c:v>4.4625225001006866E-3</c:v>
                </c:pt>
                <c:pt idx="2828">
                  <c:v>4.3773456418714626E-3</c:v>
                </c:pt>
                <c:pt idx="2829">
                  <c:v>4.344067348496702E-3</c:v>
                </c:pt>
                <c:pt idx="2830">
                  <c:v>4.4294068136880105E-3</c:v>
                </c:pt>
                <c:pt idx="2831">
                  <c:v>4.475904935465856E-3</c:v>
                </c:pt>
                <c:pt idx="2832">
                  <c:v>4.5434099041889052E-3</c:v>
                </c:pt>
                <c:pt idx="2833">
                  <c:v>4.6277549681397545E-3</c:v>
                </c:pt>
                <c:pt idx="2834">
                  <c:v>4.7888943675983642E-3</c:v>
                </c:pt>
                <c:pt idx="2835">
                  <c:v>5.0533401907623355E-3</c:v>
                </c:pt>
                <c:pt idx="2836">
                  <c:v>5.2942207037901456E-3</c:v>
                </c:pt>
                <c:pt idx="2837">
                  <c:v>5.491863366840561E-3</c:v>
                </c:pt>
                <c:pt idx="2838">
                  <c:v>5.6441833214526749E-3</c:v>
                </c:pt>
                <c:pt idx="2839">
                  <c:v>5.7535613308619003E-3</c:v>
                </c:pt>
                <c:pt idx="2840">
                  <c:v>5.8323247375082852E-3</c:v>
                </c:pt>
                <c:pt idx="2841">
                  <c:v>5.8759822280969867E-3</c:v>
                </c:pt>
                <c:pt idx="2842">
                  <c:v>5.8927835911863251E-3</c:v>
                </c:pt>
                <c:pt idx="2843">
                  <c:v>5.8762120934558364E-3</c:v>
                </c:pt>
                <c:pt idx="2844">
                  <c:v>5.841919828527155E-3</c:v>
                </c:pt>
                <c:pt idx="2845">
                  <c:v>5.7788461561870275E-3</c:v>
                </c:pt>
                <c:pt idx="2846">
                  <c:v>5.6848923645211602E-3</c:v>
                </c:pt>
                <c:pt idx="2847">
                  <c:v>5.55025523578244E-3</c:v>
                </c:pt>
                <c:pt idx="2848">
                  <c:v>5.3723674559098883E-3</c:v>
                </c:pt>
                <c:pt idx="2849">
                  <c:v>5.1525944110683659E-3</c:v>
                </c:pt>
                <c:pt idx="2850">
                  <c:v>4.8782887997541498E-3</c:v>
                </c:pt>
                <c:pt idx="2851">
                  <c:v>4.5183276830186641E-3</c:v>
                </c:pt>
                <c:pt idx="2852">
                  <c:v>4.2044563788664899E-3</c:v>
                </c:pt>
                <c:pt idx="2853">
                  <c:v>4.02033807071938E-3</c:v>
                </c:pt>
                <c:pt idx="2854">
                  <c:v>3.8630796636605741E-3</c:v>
                </c:pt>
                <c:pt idx="2855">
                  <c:v>3.7342558002607666E-3</c:v>
                </c:pt>
                <c:pt idx="2856">
                  <c:v>3.5710517153308714E-3</c:v>
                </c:pt>
                <c:pt idx="2857">
                  <c:v>3.3811142857905021E-3</c:v>
                </c:pt>
                <c:pt idx="2858">
                  <c:v>3.1851036033577313E-3</c:v>
                </c:pt>
                <c:pt idx="2859">
                  <c:v>3.081469663168291E-3</c:v>
                </c:pt>
                <c:pt idx="2860">
                  <c:v>3.0198833534206804E-3</c:v>
                </c:pt>
                <c:pt idx="2861">
                  <c:v>2.9610960164847266E-3</c:v>
                </c:pt>
                <c:pt idx="2862">
                  <c:v>2.9090418976665355E-3</c:v>
                </c:pt>
                <c:pt idx="2863">
                  <c:v>2.8283712150518957E-3</c:v>
                </c:pt>
                <c:pt idx="2864">
                  <c:v>2.915739905350163E-3</c:v>
                </c:pt>
                <c:pt idx="2865">
                  <c:v>3.1149243506056099E-3</c:v>
                </c:pt>
                <c:pt idx="2866">
                  <c:v>3.2792387953256208E-3</c:v>
                </c:pt>
                <c:pt idx="2867">
                  <c:v>3.4143014761078361E-3</c:v>
                </c:pt>
                <c:pt idx="2868">
                  <c:v>3.5235342691812789E-3</c:v>
                </c:pt>
                <c:pt idx="2869">
                  <c:v>3.6011377399531928E-3</c:v>
                </c:pt>
                <c:pt idx="2870">
                  <c:v>3.7053690220648196E-3</c:v>
                </c:pt>
                <c:pt idx="2871">
                  <c:v>3.801955517554132E-3</c:v>
                </c:pt>
                <c:pt idx="2872">
                  <c:v>3.8694601974886573E-3</c:v>
                </c:pt>
                <c:pt idx="2873">
                  <c:v>3.9101111130145534E-3</c:v>
                </c:pt>
                <c:pt idx="2874">
                  <c:v>3.9611558290444651E-3</c:v>
                </c:pt>
                <c:pt idx="2875">
                  <c:v>4.0017449693604051E-3</c:v>
                </c:pt>
                <c:pt idx="2876">
                  <c:v>4.0346192311612565E-3</c:v>
                </c:pt>
                <c:pt idx="2877">
                  <c:v>4.0416699219181463E-3</c:v>
                </c:pt>
                <c:pt idx="2878">
                  <c:v>4.0240051748343907E-3</c:v>
                </c:pt>
                <c:pt idx="2879">
                  <c:v>3.9898854065771941E-3</c:v>
                </c:pt>
                <c:pt idx="2880">
                  <c:v>3.9306797756333833E-3</c:v>
                </c:pt>
                <c:pt idx="2881">
                  <c:v>3.8423407866595917E-3</c:v>
                </c:pt>
                <c:pt idx="2882">
                  <c:v>3.7423004877414337E-3</c:v>
                </c:pt>
                <c:pt idx="2883">
                  <c:v>3.9153944720885757E-3</c:v>
                </c:pt>
                <c:pt idx="2884">
                  <c:v>4.0266363218323907E-3</c:v>
                </c:pt>
                <c:pt idx="2885">
                  <c:v>4.1887737821609313E-3</c:v>
                </c:pt>
                <c:pt idx="2886">
                  <c:v>4.3037906144000188E-3</c:v>
                </c:pt>
                <c:pt idx="2887">
                  <c:v>4.3853921249577734E-3</c:v>
                </c:pt>
                <c:pt idx="2888">
                  <c:v>4.4461489755499546E-3</c:v>
                </c:pt>
                <c:pt idx="2889">
                  <c:v>4.4800350499914175E-3</c:v>
                </c:pt>
                <c:pt idx="2890">
                  <c:v>4.9403936700596904E-3</c:v>
                </c:pt>
                <c:pt idx="2891">
                  <c:v>5.3195976373235148E-3</c:v>
                </c:pt>
                <c:pt idx="2892">
                  <c:v>5.6457035532690601E-3</c:v>
                </c:pt>
                <c:pt idx="2893">
                  <c:v>5.8853027045705428E-3</c:v>
                </c:pt>
                <c:pt idx="2894">
                  <c:v>6.2394893450235748E-3</c:v>
                </c:pt>
                <c:pt idx="2895">
                  <c:v>6.5499195977325713E-3</c:v>
                </c:pt>
                <c:pt idx="2896">
                  <c:v>6.8042067209666485E-3</c:v>
                </c:pt>
                <c:pt idx="2897">
                  <c:v>7.0795655866730542E-3</c:v>
                </c:pt>
                <c:pt idx="2898">
                  <c:v>7.297051613126714E-3</c:v>
                </c:pt>
                <c:pt idx="2899">
                  <c:v>7.4412585221644168E-3</c:v>
                </c:pt>
                <c:pt idx="2900">
                  <c:v>7.564788534639935E-3</c:v>
                </c:pt>
                <c:pt idx="2901">
                  <c:v>7.6507832090889662E-3</c:v>
                </c:pt>
                <c:pt idx="2902">
                  <c:v>7.6872283016068107E-3</c:v>
                </c:pt>
                <c:pt idx="2903">
                  <c:v>7.6755620230766729E-3</c:v>
                </c:pt>
                <c:pt idx="2904">
                  <c:v>7.6472066438631981E-3</c:v>
                </c:pt>
                <c:pt idx="2905">
                  <c:v>7.5784569626523596E-3</c:v>
                </c:pt>
                <c:pt idx="2906">
                  <c:v>7.4973158512325411E-3</c:v>
                </c:pt>
                <c:pt idx="2907">
                  <c:v>7.3699783143609827E-3</c:v>
                </c:pt>
                <c:pt idx="2908">
                  <c:v>7.1927018255365681E-3</c:v>
                </c:pt>
                <c:pt idx="2909">
                  <c:v>6.9535062422197234E-3</c:v>
                </c:pt>
                <c:pt idx="2910">
                  <c:v>6.6391826071156602E-3</c:v>
                </c:pt>
                <c:pt idx="2911">
                  <c:v>6.2721099798370141E-3</c:v>
                </c:pt>
                <c:pt idx="2912">
                  <c:v>5.8418794990108616E-3</c:v>
                </c:pt>
                <c:pt idx="2913">
                  <c:v>5.6573888919249637E-3</c:v>
                </c:pt>
                <c:pt idx="2914">
                  <c:v>5.4178863287227836E-3</c:v>
                </c:pt>
                <c:pt idx="2915">
                  <c:v>5.1436538408480559E-3</c:v>
                </c:pt>
                <c:pt idx="2916">
                  <c:v>4.8039847629470335E-3</c:v>
                </c:pt>
                <c:pt idx="2917">
                  <c:v>4.3842971733598374E-3</c:v>
                </c:pt>
                <c:pt idx="2918">
                  <c:v>3.8655541880522472E-3</c:v>
                </c:pt>
                <c:pt idx="2919">
                  <c:v>3.2063807932595496E-3</c:v>
                </c:pt>
                <c:pt idx="2920">
                  <c:v>3.2917228706444419E-3</c:v>
                </c:pt>
                <c:pt idx="2921">
                  <c:v>3.4328925642212109E-3</c:v>
                </c:pt>
                <c:pt idx="2922">
                  <c:v>3.5931201353163159E-3</c:v>
                </c:pt>
                <c:pt idx="2923">
                  <c:v>3.7234134736603046E-3</c:v>
                </c:pt>
                <c:pt idx="2924">
                  <c:v>3.9039110834155747E-3</c:v>
                </c:pt>
                <c:pt idx="2925">
                  <c:v>4.0384776014324225E-3</c:v>
                </c:pt>
                <c:pt idx="2926">
                  <c:v>4.1637088680487209E-3</c:v>
                </c:pt>
                <c:pt idx="2927">
                  <c:v>4.3246525090110495E-3</c:v>
                </c:pt>
                <c:pt idx="2928">
                  <c:v>4.4692388951256996E-3</c:v>
                </c:pt>
                <c:pt idx="2929">
                  <c:v>4.574491312175178E-3</c:v>
                </c:pt>
                <c:pt idx="2930">
                  <c:v>4.6676089910698687E-3</c:v>
                </c:pt>
                <c:pt idx="2931">
                  <c:v>4.7298082914792264E-3</c:v>
                </c:pt>
                <c:pt idx="2932">
                  <c:v>4.7618285260466551E-3</c:v>
                </c:pt>
                <c:pt idx="2933">
                  <c:v>4.7731990319510066E-3</c:v>
                </c:pt>
                <c:pt idx="2934">
                  <c:v>4.7629418906832074E-3</c:v>
                </c:pt>
                <c:pt idx="2935">
                  <c:v>4.7401537961627256E-3</c:v>
                </c:pt>
                <c:pt idx="2936">
                  <c:v>4.7238585038545649E-3</c:v>
                </c:pt>
                <c:pt idx="2937">
                  <c:v>4.6979693408260867E-3</c:v>
                </c:pt>
                <c:pt idx="2938">
                  <c:v>4.6692108752402137E-3</c:v>
                </c:pt>
                <c:pt idx="2939">
                  <c:v>4.6209606906539389E-3</c:v>
                </c:pt>
                <c:pt idx="2940">
                  <c:v>4.5491968509274918E-3</c:v>
                </c:pt>
                <c:pt idx="2941">
                  <c:v>4.4724307510963521E-3</c:v>
                </c:pt>
                <c:pt idx="2942">
                  <c:v>4.3834221030196506E-3</c:v>
                </c:pt>
                <c:pt idx="2943">
                  <c:v>4.26219411418928E-3</c:v>
                </c:pt>
                <c:pt idx="2944">
                  <c:v>4.2389613706465589E-3</c:v>
                </c:pt>
                <c:pt idx="2945">
                  <c:v>4.1799704335838449E-3</c:v>
                </c:pt>
                <c:pt idx="2946">
                  <c:v>4.0820872713751418E-3</c:v>
                </c:pt>
                <c:pt idx="2947">
                  <c:v>3.9311923844645947E-3</c:v>
                </c:pt>
                <c:pt idx="2948">
                  <c:v>3.7349075012564543E-3</c:v>
                </c:pt>
                <c:pt idx="2949">
                  <c:v>3.4652699902601746E-3</c:v>
                </c:pt>
                <c:pt idx="2950">
                  <c:v>3.4503561174347858E-3</c:v>
                </c:pt>
                <c:pt idx="2951">
                  <c:v>3.4967023488671227E-3</c:v>
                </c:pt>
                <c:pt idx="2952">
                  <c:v>3.5440388676684308E-3</c:v>
                </c:pt>
                <c:pt idx="2953">
                  <c:v>3.5839735038472038E-3</c:v>
                </c:pt>
                <c:pt idx="2954">
                  <c:v>3.6192411597406183E-3</c:v>
                </c:pt>
                <c:pt idx="2955">
                  <c:v>3.6321670431734344E-3</c:v>
                </c:pt>
                <c:pt idx="2956">
                  <c:v>3.6498566620318811E-3</c:v>
                </c:pt>
                <c:pt idx="2957">
                  <c:v>3.7204996599755889E-3</c:v>
                </c:pt>
                <c:pt idx="2958">
                  <c:v>3.8344763346464857E-3</c:v>
                </c:pt>
                <c:pt idx="2959">
                  <c:v>3.9256363614247093E-3</c:v>
                </c:pt>
                <c:pt idx="2960">
                  <c:v>4.0017839640048448E-3</c:v>
                </c:pt>
                <c:pt idx="2961">
                  <c:v>4.0486001128325257E-3</c:v>
                </c:pt>
                <c:pt idx="2962">
                  <c:v>4.0671643156823473E-3</c:v>
                </c:pt>
                <c:pt idx="2963">
                  <c:v>4.0671213567498978E-3</c:v>
                </c:pt>
                <c:pt idx="2964">
                  <c:v>4.1344143693856335E-3</c:v>
                </c:pt>
                <c:pt idx="2965">
                  <c:v>4.2154079439111133E-3</c:v>
                </c:pt>
                <c:pt idx="2966">
                  <c:v>4.2668220379721757E-3</c:v>
                </c:pt>
                <c:pt idx="2967">
                  <c:v>4.2976075280987376E-3</c:v>
                </c:pt>
                <c:pt idx="2968">
                  <c:v>4.3088765397092483E-3</c:v>
                </c:pt>
                <c:pt idx="2969">
                  <c:v>4.2840352180459123E-3</c:v>
                </c:pt>
                <c:pt idx="2970">
                  <c:v>4.2604573089919141E-3</c:v>
                </c:pt>
                <c:pt idx="2971">
                  <c:v>4.2137923521064023E-3</c:v>
                </c:pt>
                <c:pt idx="2972">
                  <c:v>4.1222181705836709E-3</c:v>
                </c:pt>
                <c:pt idx="2973">
                  <c:v>4.0008969490895642E-3</c:v>
                </c:pt>
                <c:pt idx="2974">
                  <c:v>3.9993315625821823E-3</c:v>
                </c:pt>
                <c:pt idx="2975">
                  <c:v>3.9832816049154979E-3</c:v>
                </c:pt>
                <c:pt idx="2976">
                  <c:v>3.9614495320092818E-3</c:v>
                </c:pt>
                <c:pt idx="2977">
                  <c:v>3.91640589258954E-3</c:v>
                </c:pt>
                <c:pt idx="2978">
                  <c:v>3.8468522591882546E-3</c:v>
                </c:pt>
                <c:pt idx="2979">
                  <c:v>3.7624847728219162E-3</c:v>
                </c:pt>
                <c:pt idx="2980">
                  <c:v>3.6739936633913197E-3</c:v>
                </c:pt>
                <c:pt idx="2981">
                  <c:v>3.5823853631669158E-3</c:v>
                </c:pt>
                <c:pt idx="2982">
                  <c:v>3.467757140759651E-3</c:v>
                </c:pt>
                <c:pt idx="2983">
                  <c:v>3.3266294650951562E-3</c:v>
                </c:pt>
                <c:pt idx="2984">
                  <c:v>3.1683638870319848E-3</c:v>
                </c:pt>
                <c:pt idx="2985">
                  <c:v>2.9784042495149565E-3</c:v>
                </c:pt>
                <c:pt idx="2986">
                  <c:v>2.7797294114035964E-3</c:v>
                </c:pt>
                <c:pt idx="2987">
                  <c:v>2.6514080969560509E-3</c:v>
                </c:pt>
                <c:pt idx="2988">
                  <c:v>2.5736687980097241E-3</c:v>
                </c:pt>
                <c:pt idx="2989">
                  <c:v>2.5164876853408192E-3</c:v>
                </c:pt>
                <c:pt idx="2990">
                  <c:v>2.4694156872137776E-3</c:v>
                </c:pt>
                <c:pt idx="2991">
                  <c:v>2.4087780890461215E-3</c:v>
                </c:pt>
                <c:pt idx="2992">
                  <c:v>2.3689669334487936E-3</c:v>
                </c:pt>
                <c:pt idx="2993">
                  <c:v>2.3223018354189395E-3</c:v>
                </c:pt>
                <c:pt idx="2994">
                  <c:v>2.4660118397071529E-3</c:v>
                </c:pt>
                <c:pt idx="2995">
                  <c:v>2.7129281407248375E-3</c:v>
                </c:pt>
                <c:pt idx="2996">
                  <c:v>3.0085946856754585E-3</c:v>
                </c:pt>
                <c:pt idx="2997">
                  <c:v>3.3862881172764202E-3</c:v>
                </c:pt>
                <c:pt idx="2998">
                  <c:v>3.6934900535522592E-3</c:v>
                </c:pt>
                <c:pt idx="2999">
                  <c:v>3.9390244174103313E-3</c:v>
                </c:pt>
                <c:pt idx="3000">
                  <c:v>4.1640157294254906E-3</c:v>
                </c:pt>
                <c:pt idx="3001">
                  <c:v>4.350568554119999E-3</c:v>
                </c:pt>
                <c:pt idx="3002">
                  <c:v>4.4955598520102936E-3</c:v>
                </c:pt>
                <c:pt idx="3003">
                  <c:v>4.6454549645144894E-3</c:v>
                </c:pt>
                <c:pt idx="3004">
                  <c:v>4.8082601290609563E-3</c:v>
                </c:pt>
                <c:pt idx="3005">
                  <c:v>4.9459988982677198E-3</c:v>
                </c:pt>
                <c:pt idx="3006">
                  <c:v>5.1146839340408742E-3</c:v>
                </c:pt>
                <c:pt idx="3007">
                  <c:v>5.2540169924158416E-3</c:v>
                </c:pt>
                <c:pt idx="3008">
                  <c:v>5.3653544310246649E-3</c:v>
                </c:pt>
                <c:pt idx="3009">
                  <c:v>5.4400341579068741E-3</c:v>
                </c:pt>
                <c:pt idx="3010">
                  <c:v>5.4796850294080166E-3</c:v>
                </c:pt>
                <c:pt idx="3011">
                  <c:v>5.4857159592641928E-3</c:v>
                </c:pt>
                <c:pt idx="3012">
                  <c:v>5.4651333927034492E-3</c:v>
                </c:pt>
                <c:pt idx="3013">
                  <c:v>5.4249433565788652E-3</c:v>
                </c:pt>
                <c:pt idx="3014">
                  <c:v>5.347061760205659E-3</c:v>
                </c:pt>
                <c:pt idx="3015">
                  <c:v>5.2445089080623807E-3</c:v>
                </c:pt>
                <c:pt idx="3016">
                  <c:v>5.1512967266952531E-3</c:v>
                </c:pt>
                <c:pt idx="3017">
                  <c:v>5.0234940545810505E-3</c:v>
                </c:pt>
                <c:pt idx="3018">
                  <c:v>4.847835255712773E-3</c:v>
                </c:pt>
                <c:pt idx="3019">
                  <c:v>4.6643938435917045E-3</c:v>
                </c:pt>
                <c:pt idx="3020">
                  <c:v>4.4750509856377506E-3</c:v>
                </c:pt>
                <c:pt idx="3021">
                  <c:v>4.2438970294619962E-3</c:v>
                </c:pt>
                <c:pt idx="3022">
                  <c:v>4.0110124007761211E-3</c:v>
                </c:pt>
                <c:pt idx="3023">
                  <c:v>3.807629366502491E-3</c:v>
                </c:pt>
                <c:pt idx="3024">
                  <c:v>3.6441938605296432E-3</c:v>
                </c:pt>
                <c:pt idx="3025">
                  <c:v>3.5251614235989703E-3</c:v>
                </c:pt>
                <c:pt idx="3026">
                  <c:v>3.4516962582636715E-3</c:v>
                </c:pt>
                <c:pt idx="3027">
                  <c:v>3.4538630989028002E-3</c:v>
                </c:pt>
                <c:pt idx="3028">
                  <c:v>3.4416184223526594E-3</c:v>
                </c:pt>
                <c:pt idx="3029">
                  <c:v>3.4137074750396432E-3</c:v>
                </c:pt>
                <c:pt idx="3030">
                  <c:v>3.3706043779154538E-3</c:v>
                </c:pt>
                <c:pt idx="3031">
                  <c:v>3.3193105944289976E-3</c:v>
                </c:pt>
                <c:pt idx="3032">
                  <c:v>3.2387756278694146E-3</c:v>
                </c:pt>
                <c:pt idx="3033">
                  <c:v>3.1743207386556202E-3</c:v>
                </c:pt>
                <c:pt idx="3034">
                  <c:v>3.1277425354973095E-3</c:v>
                </c:pt>
                <c:pt idx="3035">
                  <c:v>3.0697737951528104E-3</c:v>
                </c:pt>
                <c:pt idx="3036">
                  <c:v>3.070524857474105E-3</c:v>
                </c:pt>
                <c:pt idx="3037">
                  <c:v>3.0621736992363338E-3</c:v>
                </c:pt>
                <c:pt idx="3038">
                  <c:v>3.0468566928486367E-3</c:v>
                </c:pt>
                <c:pt idx="3039">
                  <c:v>3.0229022502650453E-3</c:v>
                </c:pt>
                <c:pt idx="3040">
                  <c:v>2.9984350438726618E-3</c:v>
                </c:pt>
                <c:pt idx="3041">
                  <c:v>2.9546920794338949E-3</c:v>
                </c:pt>
                <c:pt idx="3042">
                  <c:v>2.892841586508509E-3</c:v>
                </c:pt>
                <c:pt idx="3043">
                  <c:v>2.8415639183539893E-3</c:v>
                </c:pt>
                <c:pt idx="3044">
                  <c:v>2.7805342231754849E-3</c:v>
                </c:pt>
                <c:pt idx="3045">
                  <c:v>2.7222204441904275E-3</c:v>
                </c:pt>
                <c:pt idx="3046">
                  <c:v>2.6897252061830394E-3</c:v>
                </c:pt>
                <c:pt idx="3047">
                  <c:v>2.650804243468031E-3</c:v>
                </c:pt>
                <c:pt idx="3048">
                  <c:v>2.6054019235270628E-3</c:v>
                </c:pt>
                <c:pt idx="3049">
                  <c:v>2.5455772777689431E-3</c:v>
                </c:pt>
                <c:pt idx="3050">
                  <c:v>2.4894490893558733E-3</c:v>
                </c:pt>
                <c:pt idx="3051">
                  <c:v>2.434535754980737E-3</c:v>
                </c:pt>
                <c:pt idx="3052">
                  <c:v>2.3617546863972279E-3</c:v>
                </c:pt>
                <c:pt idx="3053">
                  <c:v>2.3518013524643378E-3</c:v>
                </c:pt>
                <c:pt idx="3054">
                  <c:v>2.3303282998682661E-3</c:v>
                </c:pt>
                <c:pt idx="3055">
                  <c:v>2.2975063551590523E-3</c:v>
                </c:pt>
                <c:pt idx="3056">
                  <c:v>2.2728773311991245E-3</c:v>
                </c:pt>
                <c:pt idx="3057">
                  <c:v>2.2670066578607899E-3</c:v>
                </c:pt>
                <c:pt idx="3058">
                  <c:v>2.2687132554965305E-3</c:v>
                </c:pt>
                <c:pt idx="3059">
                  <c:v>2.2688992481731938E-3</c:v>
                </c:pt>
                <c:pt idx="3060">
                  <c:v>2.2672571652154055E-3</c:v>
                </c:pt>
                <c:pt idx="3061">
                  <c:v>2.2746717426345982E-3</c:v>
                </c:pt>
                <c:pt idx="3062">
                  <c:v>2.2711580973195093E-3</c:v>
                </c:pt>
                <c:pt idx="3063">
                  <c:v>2.2674277338472259E-3</c:v>
                </c:pt>
                <c:pt idx="3064">
                  <c:v>2.2633799819530283E-3</c:v>
                </c:pt>
                <c:pt idx="3065">
                  <c:v>2.2587182675007896E-3</c:v>
                </c:pt>
                <c:pt idx="3066">
                  <c:v>2.2542695771216397E-3</c:v>
                </c:pt>
                <c:pt idx="3067">
                  <c:v>2.2489877632547168E-3</c:v>
                </c:pt>
                <c:pt idx="3068">
                  <c:v>2.2345810797166341E-3</c:v>
                </c:pt>
                <c:pt idx="3069">
                  <c:v>2.2202074540770174E-3</c:v>
                </c:pt>
                <c:pt idx="3070">
                  <c:v>2.225858900292154E-3</c:v>
                </c:pt>
                <c:pt idx="3071">
                  <c:v>2.2329959280366412E-3</c:v>
                </c:pt>
                <c:pt idx="3072">
                  <c:v>2.2406274855194955E-3</c:v>
                </c:pt>
                <c:pt idx="3073">
                  <c:v>2.2462649037850459E-3</c:v>
                </c:pt>
                <c:pt idx="3074">
                  <c:v>2.2616017630148234E-3</c:v>
                </c:pt>
                <c:pt idx="3075">
                  <c:v>2.2659269959560131E-3</c:v>
                </c:pt>
                <c:pt idx="3076">
                  <c:v>2.2800349299061289E-3</c:v>
                </c:pt>
                <c:pt idx="3077">
                  <c:v>2.3015397689112324E-3</c:v>
                </c:pt>
                <c:pt idx="3078">
                  <c:v>2.3313351443431515E-3</c:v>
                </c:pt>
                <c:pt idx="3079">
                  <c:v>2.349444320145215E-3</c:v>
                </c:pt>
                <c:pt idx="3080">
                  <c:v>2.3632780826337977E-3</c:v>
                </c:pt>
                <c:pt idx="3081">
                  <c:v>2.404353139584326E-3</c:v>
                </c:pt>
                <c:pt idx="3082">
                  <c:v>2.4431035837054541E-3</c:v>
                </c:pt>
                <c:pt idx="3083">
                  <c:v>2.4777929328389076E-3</c:v>
                </c:pt>
                <c:pt idx="3084">
                  <c:v>2.4982665257953945E-3</c:v>
                </c:pt>
                <c:pt idx="3085">
                  <c:v>2.5052202995157415E-3</c:v>
                </c:pt>
                <c:pt idx="3086">
                  <c:v>2.5075483219007297E-3</c:v>
                </c:pt>
                <c:pt idx="3087">
                  <c:v>2.5168627973171011E-3</c:v>
                </c:pt>
                <c:pt idx="3088">
                  <c:v>2.5243241418895484E-3</c:v>
                </c:pt>
                <c:pt idx="3089">
                  <c:v>2.5212568386063982E-3</c:v>
                </c:pt>
                <c:pt idx="3090">
                  <c:v>2.517242473635781E-3</c:v>
                </c:pt>
                <c:pt idx="3091">
                  <c:v>2.5043233650174873E-3</c:v>
                </c:pt>
                <c:pt idx="3092">
                  <c:v>2.5077778203921792E-3</c:v>
                </c:pt>
                <c:pt idx="3093">
                  <c:v>2.5278515920011545E-3</c:v>
                </c:pt>
                <c:pt idx="3094">
                  <c:v>2.5431488873785264E-3</c:v>
                </c:pt>
                <c:pt idx="3095">
                  <c:v>2.7056446094726704E-3</c:v>
                </c:pt>
                <c:pt idx="3096">
                  <c:v>2.8910338833425869E-3</c:v>
                </c:pt>
                <c:pt idx="3097">
                  <c:v>3.0457360527304917E-3</c:v>
                </c:pt>
                <c:pt idx="3098">
                  <c:v>3.1665531200474489E-3</c:v>
                </c:pt>
                <c:pt idx="3099">
                  <c:v>3.2799321831821068E-3</c:v>
                </c:pt>
                <c:pt idx="3100">
                  <c:v>3.3713104761266093E-3</c:v>
                </c:pt>
                <c:pt idx="3101">
                  <c:v>3.4337628768789175E-3</c:v>
                </c:pt>
                <c:pt idx="3102">
                  <c:v>3.4899549731817921E-3</c:v>
                </c:pt>
                <c:pt idx="3103">
                  <c:v>3.5152451981560404E-3</c:v>
                </c:pt>
                <c:pt idx="3104">
                  <c:v>3.529119914810109E-3</c:v>
                </c:pt>
                <c:pt idx="3105">
                  <c:v>3.5234200230600658E-3</c:v>
                </c:pt>
                <c:pt idx="3106">
                  <c:v>3.5168441995258402E-3</c:v>
                </c:pt>
                <c:pt idx="3107">
                  <c:v>3.5722293047516338E-3</c:v>
                </c:pt>
                <c:pt idx="3108">
                  <c:v>3.641578063961429E-3</c:v>
                </c:pt>
                <c:pt idx="3109">
                  <c:v>3.6943059862638719E-3</c:v>
                </c:pt>
                <c:pt idx="3110">
                  <c:v>3.7316032868155114E-3</c:v>
                </c:pt>
                <c:pt idx="3111">
                  <c:v>3.7715062166504281E-3</c:v>
                </c:pt>
                <c:pt idx="3112">
                  <c:v>3.796736194816421E-3</c:v>
                </c:pt>
                <c:pt idx="3113">
                  <c:v>3.8081210441210187E-3</c:v>
                </c:pt>
                <c:pt idx="3114">
                  <c:v>3.8070712288640392E-3</c:v>
                </c:pt>
                <c:pt idx="3115">
                  <c:v>3.7924823840048932E-3</c:v>
                </c:pt>
                <c:pt idx="3116">
                  <c:v>3.7538714496793981E-3</c:v>
                </c:pt>
                <c:pt idx="3117">
                  <c:v>3.6909896052312193E-3</c:v>
                </c:pt>
                <c:pt idx="3118">
                  <c:v>3.603277149942445E-3</c:v>
                </c:pt>
                <c:pt idx="3119">
                  <c:v>3.5037007404910554E-3</c:v>
                </c:pt>
                <c:pt idx="3120">
                  <c:v>3.3813413593505263E-3</c:v>
                </c:pt>
                <c:pt idx="3121">
                  <c:v>3.2242606113933193E-3</c:v>
                </c:pt>
                <c:pt idx="3122">
                  <c:v>3.0691636008003203E-3</c:v>
                </c:pt>
                <c:pt idx="3123">
                  <c:v>2.9950563725987993E-3</c:v>
                </c:pt>
                <c:pt idx="3124">
                  <c:v>2.8826329095372459E-3</c:v>
                </c:pt>
                <c:pt idx="3125">
                  <c:v>2.9180973122969914E-3</c:v>
                </c:pt>
                <c:pt idx="3126">
                  <c:v>3.0107321889533923E-3</c:v>
                </c:pt>
                <c:pt idx="3127">
                  <c:v>3.1726257556940374E-3</c:v>
                </c:pt>
                <c:pt idx="3128">
                  <c:v>3.5167314305653802E-3</c:v>
                </c:pt>
                <c:pt idx="3129">
                  <c:v>3.8062670565631915E-3</c:v>
                </c:pt>
                <c:pt idx="3130">
                  <c:v>4.0279035291699615E-3</c:v>
                </c:pt>
                <c:pt idx="3131">
                  <c:v>4.196497201555344E-3</c:v>
                </c:pt>
                <c:pt idx="3132">
                  <c:v>4.3255835430094725E-3</c:v>
                </c:pt>
                <c:pt idx="3133">
                  <c:v>4.4107618436649574E-3</c:v>
                </c:pt>
                <c:pt idx="3134">
                  <c:v>4.4805137111629994E-3</c:v>
                </c:pt>
                <c:pt idx="3135">
                  <c:v>4.5335977631968784E-3</c:v>
                </c:pt>
                <c:pt idx="3136">
                  <c:v>4.5405012363642864E-3</c:v>
                </c:pt>
                <c:pt idx="3137">
                  <c:v>4.5840172490397941E-3</c:v>
                </c:pt>
                <c:pt idx="3138">
                  <c:v>4.6159212983307527E-3</c:v>
                </c:pt>
                <c:pt idx="3139">
                  <c:v>4.6321286989909035E-3</c:v>
                </c:pt>
                <c:pt idx="3140">
                  <c:v>4.6396392820638871E-3</c:v>
                </c:pt>
                <c:pt idx="3141">
                  <c:v>4.6309692268636819E-3</c:v>
                </c:pt>
                <c:pt idx="3142">
                  <c:v>4.6057937797526864E-3</c:v>
                </c:pt>
                <c:pt idx="3143">
                  <c:v>4.5624038739545125E-3</c:v>
                </c:pt>
                <c:pt idx="3144">
                  <c:v>4.5168256383593449E-3</c:v>
                </c:pt>
                <c:pt idx="3145">
                  <c:v>4.4608789637999285E-3</c:v>
                </c:pt>
                <c:pt idx="3146">
                  <c:v>4.3762256931992281E-3</c:v>
                </c:pt>
                <c:pt idx="3147">
                  <c:v>4.2610224353903155E-3</c:v>
                </c:pt>
                <c:pt idx="3148">
                  <c:v>4.1279887500131384E-3</c:v>
                </c:pt>
                <c:pt idx="3149">
                  <c:v>4.0211813729936962E-3</c:v>
                </c:pt>
                <c:pt idx="3150">
                  <c:v>3.8959167223986853E-3</c:v>
                </c:pt>
                <c:pt idx="3151">
                  <c:v>3.7362483728259521E-3</c:v>
                </c:pt>
                <c:pt idx="3152">
                  <c:v>3.5274243985317809E-3</c:v>
                </c:pt>
                <c:pt idx="3153">
                  <c:v>3.3969154950150441E-3</c:v>
                </c:pt>
                <c:pt idx="3154">
                  <c:v>3.2335509214175017E-3</c:v>
                </c:pt>
                <c:pt idx="3155">
                  <c:v>3.050615180803041E-3</c:v>
                </c:pt>
                <c:pt idx="3156">
                  <c:v>2.8646453494569472E-3</c:v>
                </c:pt>
                <c:pt idx="3157">
                  <c:v>2.7502619453613156E-3</c:v>
                </c:pt>
                <c:pt idx="3158">
                  <c:v>2.7870987382273352E-3</c:v>
                </c:pt>
                <c:pt idx="3159">
                  <c:v>2.8213075575627936E-3</c:v>
                </c:pt>
                <c:pt idx="3160">
                  <c:v>2.8342078538381296E-3</c:v>
                </c:pt>
                <c:pt idx="3161">
                  <c:v>2.8337688343827985E-3</c:v>
                </c:pt>
                <c:pt idx="3162">
                  <c:v>2.8197882303650805E-3</c:v>
                </c:pt>
                <c:pt idx="3163">
                  <c:v>2.9140264459450579E-3</c:v>
                </c:pt>
                <c:pt idx="3164">
                  <c:v>3.0113980562602657E-3</c:v>
                </c:pt>
                <c:pt idx="3165">
                  <c:v>3.1127250981694984E-3</c:v>
                </c:pt>
                <c:pt idx="3166">
                  <c:v>3.1923817044167023E-3</c:v>
                </c:pt>
                <c:pt idx="3167">
                  <c:v>3.2582523239695904E-3</c:v>
                </c:pt>
                <c:pt idx="3168">
                  <c:v>3.3114860935134897E-3</c:v>
                </c:pt>
                <c:pt idx="3169">
                  <c:v>3.358911814416487E-3</c:v>
                </c:pt>
                <c:pt idx="3170">
                  <c:v>3.4002927989747371E-3</c:v>
                </c:pt>
                <c:pt idx="3171">
                  <c:v>3.4264258832483233E-3</c:v>
                </c:pt>
                <c:pt idx="3172">
                  <c:v>3.4371116375341458E-3</c:v>
                </c:pt>
                <c:pt idx="3173">
                  <c:v>3.441952093664736E-3</c:v>
                </c:pt>
                <c:pt idx="3174">
                  <c:v>3.4516909050511667E-3</c:v>
                </c:pt>
                <c:pt idx="3175">
                  <c:v>3.4478929258530727E-3</c:v>
                </c:pt>
                <c:pt idx="3176">
                  <c:v>3.4305501036970771E-3</c:v>
                </c:pt>
                <c:pt idx="3177">
                  <c:v>3.4163688812855505E-3</c:v>
                </c:pt>
                <c:pt idx="3178">
                  <c:v>3.4155860836743569E-3</c:v>
                </c:pt>
                <c:pt idx="3179">
                  <c:v>3.4572171801256603E-3</c:v>
                </c:pt>
                <c:pt idx="3180">
                  <c:v>3.6776438955338454E-3</c:v>
                </c:pt>
                <c:pt idx="3181">
                  <c:v>3.8818064811774531E-3</c:v>
                </c:pt>
                <c:pt idx="3182">
                  <c:v>4.0396478088136891E-3</c:v>
                </c:pt>
                <c:pt idx="3183">
                  <c:v>4.1627219999639765E-3</c:v>
                </c:pt>
                <c:pt idx="3184">
                  <c:v>4.258811426797013E-3</c:v>
                </c:pt>
                <c:pt idx="3185">
                  <c:v>4.3223838467129627E-3</c:v>
                </c:pt>
                <c:pt idx="3186">
                  <c:v>4.355848461995146E-3</c:v>
                </c:pt>
                <c:pt idx="3187">
                  <c:v>4.3589152630686776E-3</c:v>
                </c:pt>
                <c:pt idx="3188">
                  <c:v>4.3667721639766965E-3</c:v>
                </c:pt>
                <c:pt idx="3189">
                  <c:v>4.5784562756683751E-3</c:v>
                </c:pt>
                <c:pt idx="3190">
                  <c:v>4.7276074332088351E-3</c:v>
                </c:pt>
                <c:pt idx="3191">
                  <c:v>4.8214518929919296E-3</c:v>
                </c:pt>
                <c:pt idx="3192">
                  <c:v>4.8615182643570645E-3</c:v>
                </c:pt>
                <c:pt idx="3193">
                  <c:v>4.975094706975167E-3</c:v>
                </c:pt>
                <c:pt idx="3194">
                  <c:v>5.0657934228780684E-3</c:v>
                </c:pt>
                <c:pt idx="3195">
                  <c:v>5.1262893423351151E-3</c:v>
                </c:pt>
                <c:pt idx="3196">
                  <c:v>5.1590803847687853E-3</c:v>
                </c:pt>
                <c:pt idx="3197">
                  <c:v>5.165229616404806E-3</c:v>
                </c:pt>
                <c:pt idx="3198">
                  <c:v>5.1550062498997434E-3</c:v>
                </c:pt>
                <c:pt idx="3199">
                  <c:v>5.1294741144376783E-3</c:v>
                </c:pt>
                <c:pt idx="3200">
                  <c:v>5.1033877991982449E-3</c:v>
                </c:pt>
                <c:pt idx="3201">
                  <c:v>5.0526184413642455E-3</c:v>
                </c:pt>
                <c:pt idx="3202">
                  <c:v>4.966690153552996E-3</c:v>
                </c:pt>
                <c:pt idx="3203">
                  <c:v>4.8689561909733489E-3</c:v>
                </c:pt>
                <c:pt idx="3204">
                  <c:v>4.7439184388705516E-3</c:v>
                </c:pt>
                <c:pt idx="3205">
                  <c:v>4.5776321025941917E-3</c:v>
                </c:pt>
                <c:pt idx="3206">
                  <c:v>4.3863108685244043E-3</c:v>
                </c:pt>
                <c:pt idx="3207">
                  <c:v>4.199677853801897E-3</c:v>
                </c:pt>
                <c:pt idx="3208">
                  <c:v>3.9898419750199225E-3</c:v>
                </c:pt>
                <c:pt idx="3209">
                  <c:v>3.7634536579142009E-3</c:v>
                </c:pt>
                <c:pt idx="3210">
                  <c:v>3.6916652120636759E-3</c:v>
                </c:pt>
                <c:pt idx="3211">
                  <c:v>3.6168340732013553E-3</c:v>
                </c:pt>
                <c:pt idx="3212">
                  <c:v>3.5272809559244774E-3</c:v>
                </c:pt>
                <c:pt idx="3213">
                  <c:v>3.4011992551131404E-3</c:v>
                </c:pt>
                <c:pt idx="3214">
                  <c:v>3.2682021662260633E-3</c:v>
                </c:pt>
                <c:pt idx="3215">
                  <c:v>3.0998674370614123E-3</c:v>
                </c:pt>
                <c:pt idx="3216">
                  <c:v>2.8828772925203758E-3</c:v>
                </c:pt>
                <c:pt idx="3217">
                  <c:v>2.6148154533656774E-3</c:v>
                </c:pt>
                <c:pt idx="3218">
                  <c:v>2.3462745478138947E-3</c:v>
                </c:pt>
                <c:pt idx="3219">
                  <c:v>2.3296277980874819E-3</c:v>
                </c:pt>
                <c:pt idx="3220">
                  <c:v>2.3047200604851777E-3</c:v>
                </c:pt>
                <c:pt idx="3221">
                  <c:v>2.3609368041794484E-3</c:v>
                </c:pt>
                <c:pt idx="3222">
                  <c:v>2.4225053946381552E-3</c:v>
                </c:pt>
                <c:pt idx="3223">
                  <c:v>2.5613247877425724E-3</c:v>
                </c:pt>
                <c:pt idx="3224">
                  <c:v>2.7055758041998755E-3</c:v>
                </c:pt>
                <c:pt idx="3225">
                  <c:v>2.8210440591838735E-3</c:v>
                </c:pt>
                <c:pt idx="3226">
                  <c:v>2.9225456980456104E-3</c:v>
                </c:pt>
                <c:pt idx="3227">
                  <c:v>2.9991581931265048E-3</c:v>
                </c:pt>
                <c:pt idx="3228">
                  <c:v>3.0523721272633117E-3</c:v>
                </c:pt>
                <c:pt idx="3229">
                  <c:v>3.0932375587423926E-3</c:v>
                </c:pt>
                <c:pt idx="3230">
                  <c:v>3.2744001194496995E-3</c:v>
                </c:pt>
                <c:pt idx="3231">
                  <c:v>3.4322874701587175E-3</c:v>
                </c:pt>
                <c:pt idx="3232">
                  <c:v>3.6791654458735324E-3</c:v>
                </c:pt>
                <c:pt idx="3233">
                  <c:v>3.8906930957356978E-3</c:v>
                </c:pt>
                <c:pt idx="3234">
                  <c:v>4.0838925679600718E-3</c:v>
                </c:pt>
                <c:pt idx="3235">
                  <c:v>4.2703573112252329E-3</c:v>
                </c:pt>
                <c:pt idx="3236">
                  <c:v>4.4233745970166964E-3</c:v>
                </c:pt>
                <c:pt idx="3237">
                  <c:v>4.5963963743747343E-3</c:v>
                </c:pt>
                <c:pt idx="3238">
                  <c:v>4.7412682124680717E-3</c:v>
                </c:pt>
                <c:pt idx="3239">
                  <c:v>4.8571409535005782E-3</c:v>
                </c:pt>
                <c:pt idx="3240">
                  <c:v>4.9317505278102056E-3</c:v>
                </c:pt>
                <c:pt idx="3241">
                  <c:v>4.9738175278572034E-3</c:v>
                </c:pt>
                <c:pt idx="3242">
                  <c:v>4.9926265583571227E-3</c:v>
                </c:pt>
                <c:pt idx="3243">
                  <c:v>4.9888992918670017E-3</c:v>
                </c:pt>
                <c:pt idx="3244">
                  <c:v>5.0123328176892214E-3</c:v>
                </c:pt>
                <c:pt idx="3245">
                  <c:v>5.0373674139434438E-3</c:v>
                </c:pt>
                <c:pt idx="3246">
                  <c:v>5.0168868464697414E-3</c:v>
                </c:pt>
                <c:pt idx="3247">
                  <c:v>4.9676200194261853E-3</c:v>
                </c:pt>
                <c:pt idx="3248">
                  <c:v>4.8683190324400093E-3</c:v>
                </c:pt>
                <c:pt idx="3249">
                  <c:v>4.7176178832989525E-3</c:v>
                </c:pt>
                <c:pt idx="3250">
                  <c:v>4.5192657797532686E-3</c:v>
                </c:pt>
                <c:pt idx="3251">
                  <c:v>4.412125044128321E-3</c:v>
                </c:pt>
                <c:pt idx="3252">
                  <c:v>4.4082283448575281E-3</c:v>
                </c:pt>
                <c:pt idx="3253">
                  <c:v>4.4308700859880768E-3</c:v>
                </c:pt>
                <c:pt idx="3254">
                  <c:v>4.4423541224349328E-3</c:v>
                </c:pt>
                <c:pt idx="3255">
                  <c:v>4.4131721310817669E-3</c:v>
                </c:pt>
                <c:pt idx="3256">
                  <c:v>4.3530292289206086E-3</c:v>
                </c:pt>
                <c:pt idx="3257">
                  <c:v>4.27935851410017E-3</c:v>
                </c:pt>
                <c:pt idx="3258">
                  <c:v>4.1672734901848996E-3</c:v>
                </c:pt>
                <c:pt idx="3259">
                  <c:v>4.003504648302853E-3</c:v>
                </c:pt>
                <c:pt idx="3260">
                  <c:v>3.9386706130820183E-3</c:v>
                </c:pt>
                <c:pt idx="3261">
                  <c:v>3.8490746421562571E-3</c:v>
                </c:pt>
                <c:pt idx="3262">
                  <c:v>3.8320609758504482E-3</c:v>
                </c:pt>
                <c:pt idx="3263">
                  <c:v>3.7897225955473165E-3</c:v>
                </c:pt>
                <c:pt idx="3264">
                  <c:v>3.7499781298914094E-3</c:v>
                </c:pt>
                <c:pt idx="3265">
                  <c:v>3.7242996184574744E-3</c:v>
                </c:pt>
                <c:pt idx="3266">
                  <c:v>3.6750069407602407E-3</c:v>
                </c:pt>
                <c:pt idx="3267">
                  <c:v>3.6415085461456056E-3</c:v>
                </c:pt>
                <c:pt idx="3268">
                  <c:v>3.5981705840535554E-3</c:v>
                </c:pt>
                <c:pt idx="3269">
                  <c:v>3.5279260652884906E-3</c:v>
                </c:pt>
                <c:pt idx="3270">
                  <c:v>3.4369163942832024E-3</c:v>
                </c:pt>
                <c:pt idx="3271">
                  <c:v>3.3316761599769041E-3</c:v>
                </c:pt>
                <c:pt idx="3272">
                  <c:v>3.2015636792540243E-3</c:v>
                </c:pt>
                <c:pt idx="3273">
                  <c:v>3.0500463059651927E-3</c:v>
                </c:pt>
                <c:pt idx="3274">
                  <c:v>2.9204334224804465E-3</c:v>
                </c:pt>
                <c:pt idx="3275">
                  <c:v>2.8467175762913058E-3</c:v>
                </c:pt>
                <c:pt idx="3276">
                  <c:v>2.7525268291449449E-3</c:v>
                </c:pt>
                <c:pt idx="3277">
                  <c:v>2.64893391164736E-3</c:v>
                </c:pt>
                <c:pt idx="3278">
                  <c:v>2.5224846124788387E-3</c:v>
                </c:pt>
                <c:pt idx="3279">
                  <c:v>2.3725003165173848E-3</c:v>
                </c:pt>
                <c:pt idx="3280">
                  <c:v>2.1859223741481858E-3</c:v>
                </c:pt>
                <c:pt idx="3281">
                  <c:v>2.1582131888675032E-3</c:v>
                </c:pt>
                <c:pt idx="3282">
                  <c:v>2.2661107079689864E-3</c:v>
                </c:pt>
                <c:pt idx="3283">
                  <c:v>2.3637960537783455E-3</c:v>
                </c:pt>
                <c:pt idx="3284">
                  <c:v>2.4505493520460878E-3</c:v>
                </c:pt>
                <c:pt idx="3285">
                  <c:v>2.5182453407001136E-3</c:v>
                </c:pt>
                <c:pt idx="3286">
                  <c:v>2.5584334840873246E-3</c:v>
                </c:pt>
                <c:pt idx="3287">
                  <c:v>2.6212904620993962E-3</c:v>
                </c:pt>
                <c:pt idx="3288">
                  <c:v>2.6784601584742642E-3</c:v>
                </c:pt>
                <c:pt idx="3289">
                  <c:v>2.7325049477585918E-3</c:v>
                </c:pt>
                <c:pt idx="3290">
                  <c:v>2.7833560104935234E-3</c:v>
                </c:pt>
                <c:pt idx="3291">
                  <c:v>2.8305592081698376E-3</c:v>
                </c:pt>
                <c:pt idx="3292">
                  <c:v>2.8829131465672691E-3</c:v>
                </c:pt>
                <c:pt idx="3293">
                  <c:v>2.9294360900695929E-3</c:v>
                </c:pt>
                <c:pt idx="3294">
                  <c:v>2.9688547959926645E-3</c:v>
                </c:pt>
                <c:pt idx="3295">
                  <c:v>3.0024049188675352E-3</c:v>
                </c:pt>
                <c:pt idx="3296">
                  <c:v>3.013881783577406E-3</c:v>
                </c:pt>
                <c:pt idx="3297">
                  <c:v>3.0205753601268183E-3</c:v>
                </c:pt>
                <c:pt idx="3298">
                  <c:v>3.01472901342503E-3</c:v>
                </c:pt>
                <c:pt idx="3299">
                  <c:v>2.9862916634930455E-3</c:v>
                </c:pt>
                <c:pt idx="3300">
                  <c:v>2.9426652907139769E-3</c:v>
                </c:pt>
                <c:pt idx="3301">
                  <c:v>2.8946356064962712E-3</c:v>
                </c:pt>
                <c:pt idx="3302">
                  <c:v>2.8314696943229352E-3</c:v>
                </c:pt>
                <c:pt idx="3303">
                  <c:v>2.7489474751765681E-3</c:v>
                </c:pt>
                <c:pt idx="3304">
                  <c:v>2.6386453219081089E-3</c:v>
                </c:pt>
                <c:pt idx="3305">
                  <c:v>2.557172017162592E-3</c:v>
                </c:pt>
                <c:pt idx="3306">
                  <c:v>2.4523626630480063E-3</c:v>
                </c:pt>
                <c:pt idx="3307">
                  <c:v>2.3366714767256128E-3</c:v>
                </c:pt>
                <c:pt idx="3308">
                  <c:v>2.2010054650277197E-3</c:v>
                </c:pt>
                <c:pt idx="3309">
                  <c:v>2.0710065493027251E-3</c:v>
                </c:pt>
                <c:pt idx="3310">
                  <c:v>1.9167966748758812E-3</c:v>
                </c:pt>
                <c:pt idx="3311">
                  <c:v>1.889032951229829E-3</c:v>
                </c:pt>
                <c:pt idx="3312">
                  <c:v>1.8742149386187549E-3</c:v>
                </c:pt>
                <c:pt idx="3313">
                  <c:v>1.8639990469616978E-3</c:v>
                </c:pt>
                <c:pt idx="3314">
                  <c:v>1.8485899812739496E-3</c:v>
                </c:pt>
                <c:pt idx="3315">
                  <c:v>1.8273012796873023E-3</c:v>
                </c:pt>
                <c:pt idx="3316">
                  <c:v>1.7987882164079464E-3</c:v>
                </c:pt>
                <c:pt idx="3317">
                  <c:v>1.7742190241986997E-3</c:v>
                </c:pt>
                <c:pt idx="3318">
                  <c:v>1.7748403707561295E-3</c:v>
                </c:pt>
                <c:pt idx="3319">
                  <c:v>1.7883321908222873E-3</c:v>
                </c:pt>
                <c:pt idx="3320">
                  <c:v>1.8278869324606793E-3</c:v>
                </c:pt>
                <c:pt idx="3321">
                  <c:v>1.8670700371170765E-3</c:v>
                </c:pt>
                <c:pt idx="3322">
                  <c:v>1.9172405076365937E-3</c:v>
                </c:pt>
                <c:pt idx="3323">
                  <c:v>1.9678260408943641E-3</c:v>
                </c:pt>
                <c:pt idx="3324">
                  <c:v>2.0686112915334195E-3</c:v>
                </c:pt>
                <c:pt idx="3325">
                  <c:v>2.2890391587520485E-3</c:v>
                </c:pt>
                <c:pt idx="3326">
                  <c:v>2.6491010951825277E-3</c:v>
                </c:pt>
                <c:pt idx="3327">
                  <c:v>2.9449812994413577E-3</c:v>
                </c:pt>
                <c:pt idx="3328">
                  <c:v>3.2035310665230595E-3</c:v>
                </c:pt>
                <c:pt idx="3329">
                  <c:v>3.4188310143980975E-3</c:v>
                </c:pt>
                <c:pt idx="3330">
                  <c:v>3.5986550930070848E-3</c:v>
                </c:pt>
                <c:pt idx="3331">
                  <c:v>3.7490688091869422E-3</c:v>
                </c:pt>
                <c:pt idx="3332">
                  <c:v>3.8725723409146601E-3</c:v>
                </c:pt>
                <c:pt idx="3333">
                  <c:v>3.9784958595427593E-3</c:v>
                </c:pt>
                <c:pt idx="3334">
                  <c:v>4.0555978732854632E-3</c:v>
                </c:pt>
                <c:pt idx="3335">
                  <c:v>4.157233313107766E-3</c:v>
                </c:pt>
                <c:pt idx="3336">
                  <c:v>4.2355444081429378E-3</c:v>
                </c:pt>
                <c:pt idx="3337">
                  <c:v>4.3039144776692547E-3</c:v>
                </c:pt>
                <c:pt idx="3338">
                  <c:v>4.3555399025359421E-3</c:v>
                </c:pt>
                <c:pt idx="3339">
                  <c:v>4.4173994229551265E-3</c:v>
                </c:pt>
                <c:pt idx="3340">
                  <c:v>4.4494463109449539E-3</c:v>
                </c:pt>
                <c:pt idx="3341">
                  <c:v>4.470676385046079E-3</c:v>
                </c:pt>
                <c:pt idx="3342">
                  <c:v>4.514503168981397E-3</c:v>
                </c:pt>
                <c:pt idx="3343">
                  <c:v>4.5269786028227918E-3</c:v>
                </c:pt>
                <c:pt idx="3344">
                  <c:v>4.5158087350792549E-3</c:v>
                </c:pt>
                <c:pt idx="3345">
                  <c:v>4.4713996621051017E-3</c:v>
                </c:pt>
                <c:pt idx="3346">
                  <c:v>4.4041819334136026E-3</c:v>
                </c:pt>
                <c:pt idx="3347">
                  <c:v>4.302146113720132E-3</c:v>
                </c:pt>
                <c:pt idx="3348">
                  <c:v>4.2054966100972665E-3</c:v>
                </c:pt>
                <c:pt idx="3349">
                  <c:v>4.0851909365052482E-3</c:v>
                </c:pt>
                <c:pt idx="3350">
                  <c:v>3.9683313959336065E-3</c:v>
                </c:pt>
                <c:pt idx="3351">
                  <c:v>3.8130677993818509E-3</c:v>
                </c:pt>
                <c:pt idx="3352">
                  <c:v>3.6323878060108223E-3</c:v>
                </c:pt>
                <c:pt idx="3353">
                  <c:v>3.4014876399044458E-3</c:v>
                </c:pt>
                <c:pt idx="3354">
                  <c:v>3.1898137017278183E-3</c:v>
                </c:pt>
                <c:pt idx="3355">
                  <c:v>3.0713663919771489E-3</c:v>
                </c:pt>
                <c:pt idx="3356">
                  <c:v>3.0675010591709826E-3</c:v>
                </c:pt>
                <c:pt idx="3357">
                  <c:v>3.0477574163815763E-3</c:v>
                </c:pt>
                <c:pt idx="3358">
                  <c:v>3.0220599252374436E-3</c:v>
                </c:pt>
                <c:pt idx="3359">
                  <c:v>2.9808387598788157E-3</c:v>
                </c:pt>
                <c:pt idx="3360">
                  <c:v>3.1510105425685258E-3</c:v>
                </c:pt>
                <c:pt idx="3361">
                  <c:v>3.3581110188288768E-3</c:v>
                </c:pt>
                <c:pt idx="3362">
                  <c:v>3.5531265099271667E-3</c:v>
                </c:pt>
                <c:pt idx="3363">
                  <c:v>3.6975736382953246E-3</c:v>
                </c:pt>
                <c:pt idx="3364">
                  <c:v>3.7960699531216328E-3</c:v>
                </c:pt>
                <c:pt idx="3365">
                  <c:v>3.9014291254633611E-3</c:v>
                </c:pt>
                <c:pt idx="3366">
                  <c:v>4.0130119018408853E-3</c:v>
                </c:pt>
                <c:pt idx="3367">
                  <c:v>4.0970819787793013E-3</c:v>
                </c:pt>
                <c:pt idx="3368">
                  <c:v>4.2764932233031426E-3</c:v>
                </c:pt>
                <c:pt idx="3369">
                  <c:v>4.5363991635379202E-3</c:v>
                </c:pt>
                <c:pt idx="3370">
                  <c:v>4.7288362683325308E-3</c:v>
                </c:pt>
                <c:pt idx="3371">
                  <c:v>4.9107630598967753E-3</c:v>
                </c:pt>
                <c:pt idx="3372">
                  <c:v>5.0880232255496195E-3</c:v>
                </c:pt>
                <c:pt idx="3373">
                  <c:v>5.2155945293232541E-3</c:v>
                </c:pt>
                <c:pt idx="3374">
                  <c:v>5.3228084203354106E-3</c:v>
                </c:pt>
                <c:pt idx="3375">
                  <c:v>5.3952048985012081E-3</c:v>
                </c:pt>
                <c:pt idx="3376">
                  <c:v>5.4433281227235899E-3</c:v>
                </c:pt>
                <c:pt idx="3377">
                  <c:v>5.457520201593135E-3</c:v>
                </c:pt>
                <c:pt idx="3378">
                  <c:v>5.4548481732408626E-3</c:v>
                </c:pt>
                <c:pt idx="3379">
                  <c:v>5.4189098164092141E-3</c:v>
                </c:pt>
                <c:pt idx="3380">
                  <c:v>5.3676417121446942E-3</c:v>
                </c:pt>
                <c:pt idx="3381">
                  <c:v>5.2977795372319133E-3</c:v>
                </c:pt>
                <c:pt idx="3382">
                  <c:v>5.2117449260635522E-3</c:v>
                </c:pt>
                <c:pt idx="3383">
                  <c:v>5.0982283928158742E-3</c:v>
                </c:pt>
                <c:pt idx="3384">
                  <c:v>4.9463374936865815E-3</c:v>
                </c:pt>
                <c:pt idx="3385">
                  <c:v>4.7529037541177779E-3</c:v>
                </c:pt>
                <c:pt idx="3386">
                  <c:v>4.5249928182843806E-3</c:v>
                </c:pt>
                <c:pt idx="3387">
                  <c:v>4.2448706953260385E-3</c:v>
                </c:pt>
                <c:pt idx="3388">
                  <c:v>3.9010608510850744E-3</c:v>
                </c:pt>
                <c:pt idx="3389">
                  <c:v>3.4742092521778544E-3</c:v>
                </c:pt>
                <c:pt idx="3390">
                  <c:v>3.2939047683270338E-3</c:v>
                </c:pt>
                <c:pt idx="3391">
                  <c:v>3.1628418859619462E-3</c:v>
                </c:pt>
                <c:pt idx="3392">
                  <c:v>3.0411653572995903E-3</c:v>
                </c:pt>
                <c:pt idx="3393">
                  <c:v>2.9025825327850313E-3</c:v>
                </c:pt>
                <c:pt idx="3394">
                  <c:v>2.7420802036038014E-3</c:v>
                </c:pt>
                <c:pt idx="3395">
                  <c:v>2.5381207126584614E-3</c:v>
                </c:pt>
                <c:pt idx="3396">
                  <c:v>2.3397582862537993E-3</c:v>
                </c:pt>
                <c:pt idx="3397">
                  <c:v>2.0983505228625689E-3</c:v>
                </c:pt>
                <c:pt idx="3398">
                  <c:v>1.9937043201483898E-3</c:v>
                </c:pt>
                <c:pt idx="3399">
                  <c:v>1.9809728667011398E-3</c:v>
                </c:pt>
                <c:pt idx="3400">
                  <c:v>1.9601977141173259E-3</c:v>
                </c:pt>
                <c:pt idx="3401">
                  <c:v>1.9527058050684523E-3</c:v>
                </c:pt>
                <c:pt idx="3402">
                  <c:v>1.9490123746326721E-3</c:v>
                </c:pt>
                <c:pt idx="3403">
                  <c:v>1.938719139195701E-3</c:v>
                </c:pt>
                <c:pt idx="3404">
                  <c:v>1.94111411815783E-3</c:v>
                </c:pt>
                <c:pt idx="3405">
                  <c:v>1.9356144305624991E-3</c:v>
                </c:pt>
                <c:pt idx="3406">
                  <c:v>1.9333011681448601E-3</c:v>
                </c:pt>
                <c:pt idx="3407">
                  <c:v>1.9340658968405209E-3</c:v>
                </c:pt>
                <c:pt idx="3408">
                  <c:v>1.9380192030705398E-3</c:v>
                </c:pt>
                <c:pt idx="3409">
                  <c:v>1.93488480083563E-3</c:v>
                </c:pt>
                <c:pt idx="3410">
                  <c:v>1.9454459795673019E-3</c:v>
                </c:pt>
                <c:pt idx="3411">
                  <c:v>1.9787200349573653E-3</c:v>
                </c:pt>
                <c:pt idx="3412">
                  <c:v>2.014090281073981E-3</c:v>
                </c:pt>
                <c:pt idx="3413">
                  <c:v>2.0612640270777885E-3</c:v>
                </c:pt>
                <c:pt idx="3414">
                  <c:v>2.1209735145766829E-3</c:v>
                </c:pt>
                <c:pt idx="3415">
                  <c:v>2.2283639085586555E-3</c:v>
                </c:pt>
                <c:pt idx="3416">
                  <c:v>2.3540518605169223E-3</c:v>
                </c:pt>
                <c:pt idx="3417">
                  <c:v>2.4709254889863828E-3</c:v>
                </c:pt>
                <c:pt idx="3418">
                  <c:v>2.578492568746983E-3</c:v>
                </c:pt>
                <c:pt idx="3419">
                  <c:v>2.6659908959166373E-3</c:v>
                </c:pt>
                <c:pt idx="3420">
                  <c:v>2.7687893007683358E-3</c:v>
                </c:pt>
                <c:pt idx="3421">
                  <c:v>2.8583844680407497E-3</c:v>
                </c:pt>
                <c:pt idx="3422">
                  <c:v>2.9609272570538807E-3</c:v>
                </c:pt>
                <c:pt idx="3423">
                  <c:v>3.0499928127048223E-3</c:v>
                </c:pt>
                <c:pt idx="3424">
                  <c:v>3.1700480160329436E-3</c:v>
                </c:pt>
                <c:pt idx="3425">
                  <c:v>3.2699017320022708E-3</c:v>
                </c:pt>
                <c:pt idx="3426">
                  <c:v>3.3775598722702604E-3</c:v>
                </c:pt>
                <c:pt idx="3427">
                  <c:v>3.4804262531555894E-3</c:v>
                </c:pt>
                <c:pt idx="3428">
                  <c:v>3.5568957810703109E-3</c:v>
                </c:pt>
                <c:pt idx="3429">
                  <c:v>3.6267980581389022E-3</c:v>
                </c:pt>
                <c:pt idx="3430">
                  <c:v>3.6807057963713307E-3</c:v>
                </c:pt>
                <c:pt idx="3431">
                  <c:v>3.7215904813320518E-3</c:v>
                </c:pt>
                <c:pt idx="3432">
                  <c:v>3.757244891422385E-3</c:v>
                </c:pt>
                <c:pt idx="3433">
                  <c:v>3.7868969879687408E-3</c:v>
                </c:pt>
                <c:pt idx="3434">
                  <c:v>3.8014522635323889E-3</c:v>
                </c:pt>
                <c:pt idx="3435">
                  <c:v>3.7930648389994034E-3</c:v>
                </c:pt>
                <c:pt idx="3436">
                  <c:v>3.7956444753402432E-3</c:v>
                </c:pt>
                <c:pt idx="3437">
                  <c:v>3.808642586383206E-3</c:v>
                </c:pt>
                <c:pt idx="3438">
                  <c:v>3.7926737231486676E-3</c:v>
                </c:pt>
                <c:pt idx="3439">
                  <c:v>3.756376790066148E-3</c:v>
                </c:pt>
                <c:pt idx="3440">
                  <c:v>3.7026111431112995E-3</c:v>
                </c:pt>
                <c:pt idx="3441">
                  <c:v>3.6307675868651563E-3</c:v>
                </c:pt>
                <c:pt idx="3442">
                  <c:v>3.5493508384554636E-3</c:v>
                </c:pt>
                <c:pt idx="3443">
                  <c:v>3.441791185921206E-3</c:v>
                </c:pt>
                <c:pt idx="3444">
                  <c:v>3.3618220005334661E-3</c:v>
                </c:pt>
                <c:pt idx="3445">
                  <c:v>3.3091813962340942E-3</c:v>
                </c:pt>
                <c:pt idx="3446">
                  <c:v>3.2558606943338207E-3</c:v>
                </c:pt>
                <c:pt idx="3447">
                  <c:v>3.1912490537731454E-3</c:v>
                </c:pt>
                <c:pt idx="3448">
                  <c:v>3.1157932757077088E-3</c:v>
                </c:pt>
                <c:pt idx="3449">
                  <c:v>3.0263635743527036E-3</c:v>
                </c:pt>
                <c:pt idx="3450">
                  <c:v>2.948106305475377E-3</c:v>
                </c:pt>
                <c:pt idx="3451">
                  <c:v>2.8564021147270478E-3</c:v>
                </c:pt>
                <c:pt idx="3452">
                  <c:v>2.7861423112147087E-3</c:v>
                </c:pt>
                <c:pt idx="3453">
                  <c:v>2.7119074236767395E-3</c:v>
                </c:pt>
                <c:pt idx="3454">
                  <c:v>2.6628682357815888E-3</c:v>
                </c:pt>
                <c:pt idx="3455">
                  <c:v>2.598401540753398E-3</c:v>
                </c:pt>
                <c:pt idx="3456">
                  <c:v>2.5502221848416389E-3</c:v>
                </c:pt>
                <c:pt idx="3457">
                  <c:v>2.5093272432188474E-3</c:v>
                </c:pt>
                <c:pt idx="3458">
                  <c:v>2.4555630362130716E-3</c:v>
                </c:pt>
                <c:pt idx="3459">
                  <c:v>2.3916844355420593E-3</c:v>
                </c:pt>
                <c:pt idx="3460">
                  <c:v>2.3143372563056708E-3</c:v>
                </c:pt>
                <c:pt idx="3461">
                  <c:v>2.2277398035025721E-3</c:v>
                </c:pt>
                <c:pt idx="3462">
                  <c:v>2.1513679396799475E-3</c:v>
                </c:pt>
                <c:pt idx="3463">
                  <c:v>2.0841265831538472E-3</c:v>
                </c:pt>
                <c:pt idx="3464">
                  <c:v>2.0052059279743865E-3</c:v>
                </c:pt>
                <c:pt idx="3465">
                  <c:v>1.9138948855527062E-3</c:v>
                </c:pt>
                <c:pt idx="3466">
                  <c:v>1.8785663600262628E-3</c:v>
                </c:pt>
                <c:pt idx="3467">
                  <c:v>1.8993143157587586E-3</c:v>
                </c:pt>
                <c:pt idx="3468">
                  <c:v>2.0982630458243369E-3</c:v>
                </c:pt>
                <c:pt idx="3469">
                  <c:v>2.3763644702070965E-3</c:v>
                </c:pt>
                <c:pt idx="3470">
                  <c:v>2.7035653896102926E-3</c:v>
                </c:pt>
                <c:pt idx="3471">
                  <c:v>3.2107340876537604E-3</c:v>
                </c:pt>
                <c:pt idx="3472">
                  <c:v>3.6143754250094898E-3</c:v>
                </c:pt>
                <c:pt idx="3473">
                  <c:v>3.9899698457365341E-3</c:v>
                </c:pt>
                <c:pt idx="3474">
                  <c:v>4.5986587641781932E-3</c:v>
                </c:pt>
                <c:pt idx="3475">
                  <c:v>5.1305840941092288E-3</c:v>
                </c:pt>
                <c:pt idx="3476">
                  <c:v>5.5597480186209951E-3</c:v>
                </c:pt>
                <c:pt idx="3477">
                  <c:v>5.9118568093975022E-3</c:v>
                </c:pt>
                <c:pt idx="3478">
                  <c:v>6.2231726293395457E-3</c:v>
                </c:pt>
                <c:pt idx="3479">
                  <c:v>6.482253537473762E-3</c:v>
                </c:pt>
                <c:pt idx="3480">
                  <c:v>6.7096879300668566E-3</c:v>
                </c:pt>
                <c:pt idx="3481">
                  <c:v>6.9132193229465167E-3</c:v>
                </c:pt>
                <c:pt idx="3482">
                  <c:v>7.0766135960017426E-3</c:v>
                </c:pt>
                <c:pt idx="3483">
                  <c:v>7.2175519682375951E-3</c:v>
                </c:pt>
                <c:pt idx="3484">
                  <c:v>7.3256055786278555E-3</c:v>
                </c:pt>
                <c:pt idx="3485">
                  <c:v>7.3941174885652269E-3</c:v>
                </c:pt>
                <c:pt idx="3486">
                  <c:v>7.429090581741989E-3</c:v>
                </c:pt>
                <c:pt idx="3487">
                  <c:v>7.4300183038906566E-3</c:v>
                </c:pt>
                <c:pt idx="3488">
                  <c:v>7.3889452659614083E-3</c:v>
                </c:pt>
                <c:pt idx="3489">
                  <c:v>7.331309686867832E-3</c:v>
                </c:pt>
                <c:pt idx="3490">
                  <c:v>7.2311139171192815E-3</c:v>
                </c:pt>
                <c:pt idx="3491">
                  <c:v>7.06960865755613E-3</c:v>
                </c:pt>
                <c:pt idx="3492">
                  <c:v>6.8570140013187878E-3</c:v>
                </c:pt>
                <c:pt idx="3493">
                  <c:v>6.6065106726810648E-3</c:v>
                </c:pt>
                <c:pt idx="3494">
                  <c:v>6.2856206072573412E-3</c:v>
                </c:pt>
                <c:pt idx="3495">
                  <c:v>5.8964940781868029E-3</c:v>
                </c:pt>
                <c:pt idx="3496">
                  <c:v>5.4457454657090487E-3</c:v>
                </c:pt>
                <c:pt idx="3497">
                  <c:v>4.9356523621796582E-3</c:v>
                </c:pt>
                <c:pt idx="3498">
                  <c:v>4.5335178421263269E-3</c:v>
                </c:pt>
                <c:pt idx="3499">
                  <c:v>4.1442829645850542E-3</c:v>
                </c:pt>
                <c:pt idx="3500">
                  <c:v>3.8469913294838201E-3</c:v>
                </c:pt>
                <c:pt idx="3501">
                  <c:v>3.6994191506562512E-3</c:v>
                </c:pt>
                <c:pt idx="3502">
                  <c:v>3.7208419853514969E-3</c:v>
                </c:pt>
                <c:pt idx="3503">
                  <c:v>3.8682082431279493E-3</c:v>
                </c:pt>
                <c:pt idx="3504">
                  <c:v>4.2321637627410775E-3</c:v>
                </c:pt>
                <c:pt idx="3505">
                  <c:v>4.6956021181402546E-3</c:v>
                </c:pt>
                <c:pt idx="3506">
                  <c:v>5.0770558056318074E-3</c:v>
                </c:pt>
                <c:pt idx="3507">
                  <c:v>5.3913538040541754E-3</c:v>
                </c:pt>
                <c:pt idx="3508">
                  <c:v>5.664381612181006E-3</c:v>
                </c:pt>
                <c:pt idx="3509">
                  <c:v>5.8769123437024985E-3</c:v>
                </c:pt>
                <c:pt idx="3510">
                  <c:v>6.0713470564382373E-3</c:v>
                </c:pt>
                <c:pt idx="3511">
                  <c:v>6.2390332646035948E-3</c:v>
                </c:pt>
                <c:pt idx="3512">
                  <c:v>6.359355238441008E-3</c:v>
                </c:pt>
                <c:pt idx="3513">
                  <c:v>6.4421935681211002E-3</c:v>
                </c:pt>
                <c:pt idx="3514">
                  <c:v>6.490815059454029E-3</c:v>
                </c:pt>
                <c:pt idx="3515">
                  <c:v>6.5227611231490519E-3</c:v>
                </c:pt>
                <c:pt idx="3516">
                  <c:v>7.010273563273859E-3</c:v>
                </c:pt>
                <c:pt idx="3517">
                  <c:v>7.404190390897649E-3</c:v>
                </c:pt>
                <c:pt idx="3518">
                  <c:v>8.0555066656987102E-3</c:v>
                </c:pt>
                <c:pt idx="3519">
                  <c:v>8.6971380772147451E-3</c:v>
                </c:pt>
                <c:pt idx="3520">
                  <c:v>9.2400700897909277E-3</c:v>
                </c:pt>
                <c:pt idx="3521">
                  <c:v>9.6564313436087439E-3</c:v>
                </c:pt>
                <c:pt idx="3522">
                  <c:v>9.9693921964674644E-3</c:v>
                </c:pt>
                <c:pt idx="3523">
                  <c:v>1.0198067039106156E-2</c:v>
                </c:pt>
                <c:pt idx="3524">
                  <c:v>1.0343951850701982E-2</c:v>
                </c:pt>
                <c:pt idx="3525">
                  <c:v>1.0425764966069839E-2</c:v>
                </c:pt>
                <c:pt idx="3526">
                  <c:v>1.0430128962879653E-2</c:v>
                </c:pt>
                <c:pt idx="3527">
                  <c:v>1.0365561965980895E-2</c:v>
                </c:pt>
                <c:pt idx="3528">
                  <c:v>1.0221585477303259E-2</c:v>
                </c:pt>
                <c:pt idx="3529">
                  <c:v>1.000001657700245E-2</c:v>
                </c:pt>
                <c:pt idx="3530">
                  <c:v>9.7733256982580393E-3</c:v>
                </c:pt>
                <c:pt idx="3531">
                  <c:v>9.4517864699834291E-3</c:v>
                </c:pt>
                <c:pt idx="3532">
                  <c:v>9.2444045097840773E-3</c:v>
                </c:pt>
                <c:pt idx="3533">
                  <c:v>9.0659938570295893E-3</c:v>
                </c:pt>
                <c:pt idx="3534">
                  <c:v>8.8778724776784647E-3</c:v>
                </c:pt>
                <c:pt idx="3535">
                  <c:v>8.7342534348882426E-3</c:v>
                </c:pt>
                <c:pt idx="3536">
                  <c:v>8.630925077463077E-3</c:v>
                </c:pt>
                <c:pt idx="3537">
                  <c:v>8.5703132069280645E-3</c:v>
                </c:pt>
                <c:pt idx="3538">
                  <c:v>8.4496140111771229E-3</c:v>
                </c:pt>
                <c:pt idx="3539">
                  <c:v>8.2711269909686164E-3</c:v>
                </c:pt>
                <c:pt idx="3540">
                  <c:v>8.0351603609114773E-3</c:v>
                </c:pt>
                <c:pt idx="3541">
                  <c:v>7.7248475092608487E-3</c:v>
                </c:pt>
                <c:pt idx="3542">
                  <c:v>7.3165439612724549E-3</c:v>
                </c:pt>
                <c:pt idx="3543">
                  <c:v>6.7834581284346301E-3</c:v>
                </c:pt>
                <c:pt idx="3544">
                  <c:v>6.0852831741713687E-3</c:v>
                </c:pt>
                <c:pt idx="3545">
                  <c:v>5.2098021743133029E-3</c:v>
                </c:pt>
                <c:pt idx="3546">
                  <c:v>4.9322969500614003E-3</c:v>
                </c:pt>
                <c:pt idx="3547">
                  <c:v>4.5973747063313255E-3</c:v>
                </c:pt>
                <c:pt idx="3548">
                  <c:v>4.5538744059541248E-3</c:v>
                </c:pt>
                <c:pt idx="3549">
                  <c:v>4.5446444878151793E-3</c:v>
                </c:pt>
                <c:pt idx="3550">
                  <c:v>4.6792609070985371E-3</c:v>
                </c:pt>
                <c:pt idx="3551">
                  <c:v>4.7750573657854333E-3</c:v>
                </c:pt>
                <c:pt idx="3552">
                  <c:v>4.8534967110133919E-3</c:v>
                </c:pt>
                <c:pt idx="3553">
                  <c:v>4.904133390746533E-3</c:v>
                </c:pt>
                <c:pt idx="3554">
                  <c:v>4.9266903736946907E-3</c:v>
                </c:pt>
                <c:pt idx="3555">
                  <c:v>4.9228219932329438E-3</c:v>
                </c:pt>
                <c:pt idx="3556">
                  <c:v>4.8843378977256957E-3</c:v>
                </c:pt>
                <c:pt idx="3557">
                  <c:v>4.8121193765421986E-3</c:v>
                </c:pt>
                <c:pt idx="3558">
                  <c:v>4.7148250043709244E-3</c:v>
                </c:pt>
                <c:pt idx="3559">
                  <c:v>4.6340452188379806E-3</c:v>
                </c:pt>
                <c:pt idx="3560">
                  <c:v>4.594446123852616E-3</c:v>
                </c:pt>
                <c:pt idx="3561">
                  <c:v>4.5103683370361488E-3</c:v>
                </c:pt>
                <c:pt idx="3562">
                  <c:v>4.4894617473486042E-3</c:v>
                </c:pt>
                <c:pt idx="3563">
                  <c:v>4.4560169436084936E-3</c:v>
                </c:pt>
                <c:pt idx="3564">
                  <c:v>4.4655427209943253E-3</c:v>
                </c:pt>
                <c:pt idx="3565">
                  <c:v>4.4409475361110139E-3</c:v>
                </c:pt>
                <c:pt idx="3566">
                  <c:v>4.5904591082101143E-3</c:v>
                </c:pt>
                <c:pt idx="3567">
                  <c:v>4.7994559662310364E-3</c:v>
                </c:pt>
                <c:pt idx="3568">
                  <c:v>4.9543615022273777E-3</c:v>
                </c:pt>
                <c:pt idx="3569">
                  <c:v>5.0886565031245572E-3</c:v>
                </c:pt>
                <c:pt idx="3570">
                  <c:v>5.1915350908704775E-3</c:v>
                </c:pt>
                <c:pt idx="3571">
                  <c:v>5.2576181207828641E-3</c:v>
                </c:pt>
                <c:pt idx="3572">
                  <c:v>5.306664149233681E-3</c:v>
                </c:pt>
                <c:pt idx="3573">
                  <c:v>5.3930962936923153E-3</c:v>
                </c:pt>
                <c:pt idx="3574">
                  <c:v>5.4976246234262737E-3</c:v>
                </c:pt>
                <c:pt idx="3575">
                  <c:v>5.5632223279561644E-3</c:v>
                </c:pt>
                <c:pt idx="3576">
                  <c:v>5.5717745253866524E-3</c:v>
                </c:pt>
                <c:pt idx="3577">
                  <c:v>5.5417767430490884E-3</c:v>
                </c:pt>
                <c:pt idx="3578">
                  <c:v>5.7575786605708803E-3</c:v>
                </c:pt>
                <c:pt idx="3579">
                  <c:v>5.8925469316046357E-3</c:v>
                </c:pt>
                <c:pt idx="3580">
                  <c:v>6.1006511343099524E-3</c:v>
                </c:pt>
                <c:pt idx="3581">
                  <c:v>6.3560154909818476E-3</c:v>
                </c:pt>
                <c:pt idx="3582">
                  <c:v>6.6680597164714521E-3</c:v>
                </c:pt>
                <c:pt idx="3583">
                  <c:v>7.0230247129804768E-3</c:v>
                </c:pt>
                <c:pt idx="3584">
                  <c:v>7.286423214897992E-3</c:v>
                </c:pt>
                <c:pt idx="3585">
                  <c:v>7.5897038709544689E-3</c:v>
                </c:pt>
                <c:pt idx="3586">
                  <c:v>7.9007252189571067E-3</c:v>
                </c:pt>
                <c:pt idx="3587">
                  <c:v>8.1020066198204746E-3</c:v>
                </c:pt>
                <c:pt idx="3588">
                  <c:v>8.2084025804725833E-3</c:v>
                </c:pt>
                <c:pt idx="3589">
                  <c:v>8.2738831756503702E-3</c:v>
                </c:pt>
                <c:pt idx="3590">
                  <c:v>8.3295980524414996E-3</c:v>
                </c:pt>
                <c:pt idx="3591">
                  <c:v>8.3186540932359779E-3</c:v>
                </c:pt>
                <c:pt idx="3592">
                  <c:v>8.3253801290408234E-3</c:v>
                </c:pt>
                <c:pt idx="3593">
                  <c:v>8.2926222124737846E-3</c:v>
                </c:pt>
                <c:pt idx="3594">
                  <c:v>8.2754191571123934E-3</c:v>
                </c:pt>
                <c:pt idx="3595">
                  <c:v>8.2137449863192366E-3</c:v>
                </c:pt>
                <c:pt idx="3596">
                  <c:v>8.1651427106445764E-3</c:v>
                </c:pt>
                <c:pt idx="3597">
                  <c:v>8.0750554302963396E-3</c:v>
                </c:pt>
                <c:pt idx="3598">
                  <c:v>7.9318459978602769E-3</c:v>
                </c:pt>
                <c:pt idx="3599">
                  <c:v>7.7522553274776487E-3</c:v>
                </c:pt>
                <c:pt idx="3600">
                  <c:v>7.5175732562665484E-3</c:v>
                </c:pt>
                <c:pt idx="3601">
                  <c:v>7.2097441290464954E-3</c:v>
                </c:pt>
                <c:pt idx="3602">
                  <c:v>6.834455434140586E-3</c:v>
                </c:pt>
                <c:pt idx="3603">
                  <c:v>6.4810499266311503E-3</c:v>
                </c:pt>
                <c:pt idx="3604">
                  <c:v>6.1768121611214732E-3</c:v>
                </c:pt>
                <c:pt idx="3605">
                  <c:v>5.8039431607225843E-3</c:v>
                </c:pt>
                <c:pt idx="3606">
                  <c:v>5.334653211623186E-3</c:v>
                </c:pt>
                <c:pt idx="3607">
                  <c:v>4.7401120429648958E-3</c:v>
                </c:pt>
                <c:pt idx="3608">
                  <c:v>4.4546200021240746E-3</c:v>
                </c:pt>
                <c:pt idx="3609">
                  <c:v>4.1201098149402293E-3</c:v>
                </c:pt>
                <c:pt idx="3610">
                  <c:v>3.7080742157049036E-3</c:v>
                </c:pt>
                <c:pt idx="3611">
                  <c:v>3.3692307181548884E-3</c:v>
                </c:pt>
                <c:pt idx="3612">
                  <c:v>3.1252483722566753E-3</c:v>
                </c:pt>
                <c:pt idx="3613">
                  <c:v>2.9776996626713756E-3</c:v>
                </c:pt>
                <c:pt idx="3614">
                  <c:v>2.8096023162289315E-3</c:v>
                </c:pt>
                <c:pt idx="3615">
                  <c:v>2.7722383197479566E-3</c:v>
                </c:pt>
                <c:pt idx="3616">
                  <c:v>2.8165221491797138E-3</c:v>
                </c:pt>
                <c:pt idx="3617">
                  <c:v>2.8546141238175314E-3</c:v>
                </c:pt>
                <c:pt idx="3618">
                  <c:v>2.8767525002238764E-3</c:v>
                </c:pt>
                <c:pt idx="3619">
                  <c:v>2.9016646658167294E-3</c:v>
                </c:pt>
                <c:pt idx="3620">
                  <c:v>2.9106858661322142E-3</c:v>
                </c:pt>
                <c:pt idx="3621">
                  <c:v>2.9142974651902944E-3</c:v>
                </c:pt>
                <c:pt idx="3622">
                  <c:v>2.8954878633110697E-3</c:v>
                </c:pt>
                <c:pt idx="3623">
                  <c:v>2.8707225316344587E-3</c:v>
                </c:pt>
                <c:pt idx="3624">
                  <c:v>2.8303863173632341E-3</c:v>
                </c:pt>
                <c:pt idx="3625">
                  <c:v>2.763311355118462E-3</c:v>
                </c:pt>
                <c:pt idx="3626">
                  <c:v>2.7546976438914683E-3</c:v>
                </c:pt>
                <c:pt idx="3627">
                  <c:v>2.73471752893797E-3</c:v>
                </c:pt>
                <c:pt idx="3628">
                  <c:v>2.7809351442399004E-3</c:v>
                </c:pt>
                <c:pt idx="3629">
                  <c:v>2.8207237960127377E-3</c:v>
                </c:pt>
                <c:pt idx="3630">
                  <c:v>2.8585261307187949E-3</c:v>
                </c:pt>
                <c:pt idx="3631">
                  <c:v>2.8836719852674787E-3</c:v>
                </c:pt>
                <c:pt idx="3632">
                  <c:v>2.8975577342889311E-3</c:v>
                </c:pt>
                <c:pt idx="3633">
                  <c:v>2.9099909527336635E-3</c:v>
                </c:pt>
                <c:pt idx="3634">
                  <c:v>2.9587389672149941E-3</c:v>
                </c:pt>
                <c:pt idx="3635">
                  <c:v>2.9910791607740484E-3</c:v>
                </c:pt>
                <c:pt idx="3636">
                  <c:v>2.9988085795937579E-3</c:v>
                </c:pt>
                <c:pt idx="3637">
                  <c:v>2.9999562703103564E-3</c:v>
                </c:pt>
                <c:pt idx="3638">
                  <c:v>2.9941382523252062E-3</c:v>
                </c:pt>
                <c:pt idx="3639">
                  <c:v>2.9994835551965414E-3</c:v>
                </c:pt>
                <c:pt idx="3640">
                  <c:v>3.0155196819257502E-3</c:v>
                </c:pt>
                <c:pt idx="3641">
                  <c:v>3.0127410627458864E-3</c:v>
                </c:pt>
                <c:pt idx="3642">
                  <c:v>3.0010772485372715E-3</c:v>
                </c:pt>
                <c:pt idx="3643">
                  <c:v>2.9805917379949589E-3</c:v>
                </c:pt>
                <c:pt idx="3644">
                  <c:v>2.9623052237147903E-3</c:v>
                </c:pt>
                <c:pt idx="3645">
                  <c:v>2.9468712056250311E-3</c:v>
                </c:pt>
                <c:pt idx="3646">
                  <c:v>3.0833900555398645E-3</c:v>
                </c:pt>
                <c:pt idx="3647">
                  <c:v>3.1952767412476287E-3</c:v>
                </c:pt>
                <c:pt idx="3648">
                  <c:v>3.277905652234949E-3</c:v>
                </c:pt>
                <c:pt idx="3649">
                  <c:v>3.3532826260249762E-3</c:v>
                </c:pt>
                <c:pt idx="3650">
                  <c:v>3.4026161603432819E-3</c:v>
                </c:pt>
                <c:pt idx="3651">
                  <c:v>3.4267920140173525E-3</c:v>
                </c:pt>
                <c:pt idx="3652">
                  <c:v>3.4258858921542897E-3</c:v>
                </c:pt>
                <c:pt idx="3653">
                  <c:v>3.4182484458364906E-3</c:v>
                </c:pt>
                <c:pt idx="3654">
                  <c:v>3.4329044286624381E-3</c:v>
                </c:pt>
                <c:pt idx="3655">
                  <c:v>3.4149375399711674E-3</c:v>
                </c:pt>
                <c:pt idx="3656">
                  <c:v>3.4400680332154088E-3</c:v>
                </c:pt>
                <c:pt idx="3657">
                  <c:v>3.4318404144214687E-3</c:v>
                </c:pt>
                <c:pt idx="3658">
                  <c:v>3.4649530580738459E-3</c:v>
                </c:pt>
                <c:pt idx="3659">
                  <c:v>3.4722415079800808E-3</c:v>
                </c:pt>
                <c:pt idx="3660">
                  <c:v>3.4787041866110738E-3</c:v>
                </c:pt>
                <c:pt idx="3661">
                  <c:v>3.4840750310022031E-3</c:v>
                </c:pt>
                <c:pt idx="3662">
                  <c:v>3.4876879519196574E-3</c:v>
                </c:pt>
                <c:pt idx="3663">
                  <c:v>3.4812553377876194E-3</c:v>
                </c:pt>
                <c:pt idx="3664">
                  <c:v>3.4638795207805489E-3</c:v>
                </c:pt>
                <c:pt idx="3665">
                  <c:v>3.4271664966751087E-3</c:v>
                </c:pt>
                <c:pt idx="3666">
                  <c:v>3.3595152515155141E-3</c:v>
                </c:pt>
                <c:pt idx="3667">
                  <c:v>3.2797782314303867E-3</c:v>
                </c:pt>
                <c:pt idx="3668">
                  <c:v>3.1807782856515692E-3</c:v>
                </c:pt>
                <c:pt idx="3669">
                  <c:v>3.0824623127400537E-3</c:v>
                </c:pt>
                <c:pt idx="3670">
                  <c:v>2.9786107882173157E-3</c:v>
                </c:pt>
                <c:pt idx="3671">
                  <c:v>2.8544072157182716E-3</c:v>
                </c:pt>
                <c:pt idx="3672">
                  <c:v>2.7066335566583938E-3</c:v>
                </c:pt>
                <c:pt idx="3673">
                  <c:v>2.5452959354457434E-3</c:v>
                </c:pt>
                <c:pt idx="3674">
                  <c:v>2.3544669794373814E-3</c:v>
                </c:pt>
                <c:pt idx="3675">
                  <c:v>2.1257761611904085E-3</c:v>
                </c:pt>
                <c:pt idx="3676">
                  <c:v>2.0858021539345299E-3</c:v>
                </c:pt>
                <c:pt idx="3677">
                  <c:v>2.037064777983E-3</c:v>
                </c:pt>
                <c:pt idx="3678">
                  <c:v>1.9882977027890721E-3</c:v>
                </c:pt>
                <c:pt idx="3679">
                  <c:v>1.9337893684271304E-3</c:v>
                </c:pt>
                <c:pt idx="3680">
                  <c:v>1.8889590347233691E-3</c:v>
                </c:pt>
                <c:pt idx="3681">
                  <c:v>1.8336551010967523E-3</c:v>
                </c:pt>
                <c:pt idx="3682">
                  <c:v>1.8011891905985883E-3</c:v>
                </c:pt>
                <c:pt idx="3683">
                  <c:v>1.7927492209194474E-3</c:v>
                </c:pt>
                <c:pt idx="3684">
                  <c:v>1.8409232903814484E-3</c:v>
                </c:pt>
                <c:pt idx="3685">
                  <c:v>1.8922240154293525E-3</c:v>
                </c:pt>
                <c:pt idx="3686">
                  <c:v>1.9452694613828338E-3</c:v>
                </c:pt>
                <c:pt idx="3687">
                  <c:v>1.991050922828076E-3</c:v>
                </c:pt>
                <c:pt idx="3688">
                  <c:v>2.0256191637505368E-3</c:v>
                </c:pt>
                <c:pt idx="3689">
                  <c:v>2.0498052753472364E-3</c:v>
                </c:pt>
                <c:pt idx="3690">
                  <c:v>2.0742047147577526E-3</c:v>
                </c:pt>
                <c:pt idx="3691">
                  <c:v>2.1757673983109111E-3</c:v>
                </c:pt>
                <c:pt idx="3692">
                  <c:v>2.3871653364437063E-3</c:v>
                </c:pt>
                <c:pt idx="3693">
                  <c:v>2.5778270589399076E-3</c:v>
                </c:pt>
                <c:pt idx="3694">
                  <c:v>2.7330635616426347E-3</c:v>
                </c:pt>
                <c:pt idx="3695">
                  <c:v>2.8652703086048292E-3</c:v>
                </c:pt>
                <c:pt idx="3696">
                  <c:v>2.9769783107295739E-3</c:v>
                </c:pt>
                <c:pt idx="3697">
                  <c:v>3.1134572511502799E-3</c:v>
                </c:pt>
                <c:pt idx="3698">
                  <c:v>3.2314514196628429E-3</c:v>
                </c:pt>
                <c:pt idx="3699">
                  <c:v>3.3587562473698139E-3</c:v>
                </c:pt>
                <c:pt idx="3700">
                  <c:v>3.4649400321568329E-3</c:v>
                </c:pt>
                <c:pt idx="3701">
                  <c:v>3.7487454806552165E-3</c:v>
                </c:pt>
                <c:pt idx="3702">
                  <c:v>4.055344644946033E-3</c:v>
                </c:pt>
                <c:pt idx="3703">
                  <c:v>4.2898820950220545E-3</c:v>
                </c:pt>
                <c:pt idx="3704">
                  <c:v>4.4761559442150775E-3</c:v>
                </c:pt>
                <c:pt idx="3705">
                  <c:v>4.6200786950392914E-3</c:v>
                </c:pt>
                <c:pt idx="3706">
                  <c:v>4.7337204134461353E-3</c:v>
                </c:pt>
                <c:pt idx="3707">
                  <c:v>4.8211076719062032E-3</c:v>
                </c:pt>
                <c:pt idx="3708">
                  <c:v>4.8911884390717411E-3</c:v>
                </c:pt>
                <c:pt idx="3709">
                  <c:v>4.9195523295918909E-3</c:v>
                </c:pt>
                <c:pt idx="3710">
                  <c:v>4.9313911609879663E-3</c:v>
                </c:pt>
                <c:pt idx="3711">
                  <c:v>4.9190098534331013E-3</c:v>
                </c:pt>
                <c:pt idx="3712">
                  <c:v>4.8927121547188658E-3</c:v>
                </c:pt>
                <c:pt idx="3713">
                  <c:v>4.8692286288548377E-3</c:v>
                </c:pt>
                <c:pt idx="3714">
                  <c:v>4.8233246504927269E-3</c:v>
                </c:pt>
                <c:pt idx="3715">
                  <c:v>4.9191237489461179E-3</c:v>
                </c:pt>
                <c:pt idx="3716">
                  <c:v>4.9857816327345842E-3</c:v>
                </c:pt>
                <c:pt idx="3717">
                  <c:v>5.0554856664044353E-3</c:v>
                </c:pt>
                <c:pt idx="3718">
                  <c:v>5.0652149978744039E-3</c:v>
                </c:pt>
                <c:pt idx="3719">
                  <c:v>5.026192108101621E-3</c:v>
                </c:pt>
                <c:pt idx="3720">
                  <c:v>4.929007255197195E-3</c:v>
                </c:pt>
                <c:pt idx="3721">
                  <c:v>4.8488097381022928E-3</c:v>
                </c:pt>
                <c:pt idx="3722">
                  <c:v>4.818391824960697E-3</c:v>
                </c:pt>
                <c:pt idx="3723">
                  <c:v>4.7881551438643723E-3</c:v>
                </c:pt>
                <c:pt idx="3724">
                  <c:v>4.7371507262892118E-3</c:v>
                </c:pt>
                <c:pt idx="3725">
                  <c:v>4.6444650926731283E-3</c:v>
                </c:pt>
                <c:pt idx="3726">
                  <c:v>4.5240551681914936E-3</c:v>
                </c:pt>
                <c:pt idx="3727">
                  <c:v>4.412314156253587E-3</c:v>
                </c:pt>
                <c:pt idx="3728">
                  <c:v>4.258707721237682E-3</c:v>
                </c:pt>
                <c:pt idx="3729">
                  <c:v>4.094960800700956E-3</c:v>
                </c:pt>
                <c:pt idx="3730">
                  <c:v>3.8972688549330451E-3</c:v>
                </c:pt>
                <c:pt idx="3731">
                  <c:v>3.8541430099681704E-3</c:v>
                </c:pt>
                <c:pt idx="3732">
                  <c:v>3.8431394276766465E-3</c:v>
                </c:pt>
                <c:pt idx="3733">
                  <c:v>3.8131989150791469E-3</c:v>
                </c:pt>
                <c:pt idx="3734">
                  <c:v>3.7706712176463568E-3</c:v>
                </c:pt>
                <c:pt idx="3735">
                  <c:v>3.7143216293081902E-3</c:v>
                </c:pt>
                <c:pt idx="3736">
                  <c:v>3.634946669960126E-3</c:v>
                </c:pt>
                <c:pt idx="3737">
                  <c:v>3.5495541888182235E-3</c:v>
                </c:pt>
                <c:pt idx="3738">
                  <c:v>3.4495642078219402E-3</c:v>
                </c:pt>
                <c:pt idx="3739">
                  <c:v>3.3559582981522408E-3</c:v>
                </c:pt>
                <c:pt idx="3740">
                  <c:v>3.2968822121084763E-3</c:v>
                </c:pt>
                <c:pt idx="3741">
                  <c:v>3.2128207467272008E-3</c:v>
                </c:pt>
                <c:pt idx="3742">
                  <c:v>3.1107454737663047E-3</c:v>
                </c:pt>
                <c:pt idx="3743">
                  <c:v>3.1382050078563603E-3</c:v>
                </c:pt>
                <c:pt idx="3744">
                  <c:v>3.1390954403662428E-3</c:v>
                </c:pt>
                <c:pt idx="3745">
                  <c:v>3.2996948997767112E-3</c:v>
                </c:pt>
                <c:pt idx="3746">
                  <c:v>3.4327748020267666E-3</c:v>
                </c:pt>
                <c:pt idx="3747">
                  <c:v>3.5663906236668699E-3</c:v>
                </c:pt>
                <c:pt idx="3748">
                  <c:v>3.6865807658841569E-3</c:v>
                </c:pt>
                <c:pt idx="3749">
                  <c:v>3.779033381618742E-3</c:v>
                </c:pt>
                <c:pt idx="3750">
                  <c:v>3.8774678810335056E-3</c:v>
                </c:pt>
                <c:pt idx="3751">
                  <c:v>4.2406260453898793E-3</c:v>
                </c:pt>
                <c:pt idx="3752">
                  <c:v>4.5802504704153535E-3</c:v>
                </c:pt>
                <c:pt idx="3753">
                  <c:v>4.9208126000186711E-3</c:v>
                </c:pt>
                <c:pt idx="3754">
                  <c:v>5.213400420258891E-3</c:v>
                </c:pt>
                <c:pt idx="3755">
                  <c:v>5.4473324888109787E-3</c:v>
                </c:pt>
                <c:pt idx="3756">
                  <c:v>5.6441131413940832E-3</c:v>
                </c:pt>
                <c:pt idx="3757">
                  <c:v>5.8030175748661015E-3</c:v>
                </c:pt>
                <c:pt idx="3758">
                  <c:v>5.9143032387302449E-3</c:v>
                </c:pt>
                <c:pt idx="3759">
                  <c:v>5.9861655197488792E-3</c:v>
                </c:pt>
                <c:pt idx="3760">
                  <c:v>6.0288427934882911E-3</c:v>
                </c:pt>
                <c:pt idx="3761">
                  <c:v>6.0409777945190819E-3</c:v>
                </c:pt>
                <c:pt idx="3762">
                  <c:v>6.0897326086297157E-3</c:v>
                </c:pt>
                <c:pt idx="3763">
                  <c:v>6.2872972417985793E-3</c:v>
                </c:pt>
                <c:pt idx="3764">
                  <c:v>6.4348113719797009E-3</c:v>
                </c:pt>
                <c:pt idx="3765">
                  <c:v>6.5162067073584497E-3</c:v>
                </c:pt>
                <c:pt idx="3766">
                  <c:v>6.5548035939192954E-3</c:v>
                </c:pt>
                <c:pt idx="3767">
                  <c:v>6.5687865725066888E-3</c:v>
                </c:pt>
                <c:pt idx="3768">
                  <c:v>6.5362254029653621E-3</c:v>
                </c:pt>
                <c:pt idx="3769">
                  <c:v>6.706480470237911E-3</c:v>
                </c:pt>
                <c:pt idx="3770">
                  <c:v>7.0088198549661E-3</c:v>
                </c:pt>
                <c:pt idx="3771">
                  <c:v>7.2571820263917491E-3</c:v>
                </c:pt>
                <c:pt idx="3772">
                  <c:v>7.5425515020206462E-3</c:v>
                </c:pt>
                <c:pt idx="3773">
                  <c:v>7.8292882436223326E-3</c:v>
                </c:pt>
                <c:pt idx="3774">
                  <c:v>8.0750498979796932E-3</c:v>
                </c:pt>
                <c:pt idx="3775">
                  <c:v>8.2350140877090888E-3</c:v>
                </c:pt>
                <c:pt idx="3776">
                  <c:v>8.3135922917038571E-3</c:v>
                </c:pt>
                <c:pt idx="3777">
                  <c:v>8.3502542511398065E-3</c:v>
                </c:pt>
                <c:pt idx="3778">
                  <c:v>8.5660693987747068E-3</c:v>
                </c:pt>
                <c:pt idx="3779">
                  <c:v>8.6726657620032465E-3</c:v>
                </c:pt>
                <c:pt idx="3780">
                  <c:v>8.7050929626734178E-3</c:v>
                </c:pt>
                <c:pt idx="3781">
                  <c:v>8.8701217787444924E-3</c:v>
                </c:pt>
                <c:pt idx="3782">
                  <c:v>9.0020495020983384E-3</c:v>
                </c:pt>
                <c:pt idx="3783">
                  <c:v>9.0888851299190509E-3</c:v>
                </c:pt>
                <c:pt idx="3784">
                  <c:v>9.1291600846352128E-3</c:v>
                </c:pt>
                <c:pt idx="3785">
                  <c:v>9.105722344471304E-3</c:v>
                </c:pt>
                <c:pt idx="3786">
                  <c:v>9.0184726399081868E-3</c:v>
                </c:pt>
                <c:pt idx="3787">
                  <c:v>8.8720403137186529E-3</c:v>
                </c:pt>
                <c:pt idx="3788">
                  <c:v>8.6628866453863605E-3</c:v>
                </c:pt>
                <c:pt idx="3789">
                  <c:v>8.3778110932995319E-3</c:v>
                </c:pt>
                <c:pt idx="3790">
                  <c:v>8.02067064262698E-3</c:v>
                </c:pt>
                <c:pt idx="3791">
                  <c:v>7.582175978233123E-3</c:v>
                </c:pt>
                <c:pt idx="3792">
                  <c:v>7.1590628042269462E-3</c:v>
                </c:pt>
                <c:pt idx="3793">
                  <c:v>6.884627569244451E-3</c:v>
                </c:pt>
                <c:pt idx="3794">
                  <c:v>6.5553520208524287E-3</c:v>
                </c:pt>
                <c:pt idx="3795">
                  <c:v>6.1431087378973192E-3</c:v>
                </c:pt>
                <c:pt idx="3796">
                  <c:v>5.6738675513816703E-3</c:v>
                </c:pt>
                <c:pt idx="3797">
                  <c:v>5.1442361536602321E-3</c:v>
                </c:pt>
                <c:pt idx="3798">
                  <c:v>4.513750093233535E-3</c:v>
                </c:pt>
                <c:pt idx="3799">
                  <c:v>4.1240634980705682E-3</c:v>
                </c:pt>
                <c:pt idx="3800">
                  <c:v>3.8514243151890107E-3</c:v>
                </c:pt>
                <c:pt idx="3801">
                  <c:v>3.5790188450392354E-3</c:v>
                </c:pt>
                <c:pt idx="3802">
                  <c:v>3.3937668587434595E-3</c:v>
                </c:pt>
                <c:pt idx="3803">
                  <c:v>3.1637799527321144E-3</c:v>
                </c:pt>
                <c:pt idx="3804">
                  <c:v>2.9401420344567653E-3</c:v>
                </c:pt>
                <c:pt idx="3805">
                  <c:v>2.6690125229258373E-3</c:v>
                </c:pt>
                <c:pt idx="3806">
                  <c:v>2.3338261171918537E-3</c:v>
                </c:pt>
                <c:pt idx="3807">
                  <c:v>2.0033805793908985E-3</c:v>
                </c:pt>
                <c:pt idx="3808">
                  <c:v>1.9966368598449487E-3</c:v>
                </c:pt>
                <c:pt idx="3809">
                  <c:v>1.9848415218834924E-3</c:v>
                </c:pt>
                <c:pt idx="3810">
                  <c:v>1.9654199314776697E-3</c:v>
                </c:pt>
                <c:pt idx="3811">
                  <c:v>1.9686931131482283E-3</c:v>
                </c:pt>
                <c:pt idx="3812">
                  <c:v>1.9839698654082151E-3</c:v>
                </c:pt>
                <c:pt idx="3813">
                  <c:v>2.0021261425859716E-3</c:v>
                </c:pt>
                <c:pt idx="3814">
                  <c:v>2.0407832096346365E-3</c:v>
                </c:pt>
                <c:pt idx="3815">
                  <c:v>2.0686719703373589E-3</c:v>
                </c:pt>
                <c:pt idx="3816">
                  <c:v>2.087348891007135E-3</c:v>
                </c:pt>
                <c:pt idx="3817">
                  <c:v>2.1059965749093152E-3</c:v>
                </c:pt>
                <c:pt idx="3818">
                  <c:v>2.1256778212973126E-3</c:v>
                </c:pt>
                <c:pt idx="3819">
                  <c:v>2.1477804331874171E-3</c:v>
                </c:pt>
                <c:pt idx="3820">
                  <c:v>2.1611293515194523E-3</c:v>
                </c:pt>
                <c:pt idx="3821">
                  <c:v>2.1757374976630359E-3</c:v>
                </c:pt>
                <c:pt idx="3822">
                  <c:v>2.1906949769128631E-3</c:v>
                </c:pt>
                <c:pt idx="3823">
                  <c:v>2.2056354324587182E-3</c:v>
                </c:pt>
                <c:pt idx="3824">
                  <c:v>2.2211826597540885E-3</c:v>
                </c:pt>
                <c:pt idx="3825">
                  <c:v>2.2362300825561955E-3</c:v>
                </c:pt>
                <c:pt idx="3826">
                  <c:v>2.2556533114004716E-3</c:v>
                </c:pt>
                <c:pt idx="3827">
                  <c:v>2.2729376342296393E-3</c:v>
                </c:pt>
                <c:pt idx="3828">
                  <c:v>2.2740574066663901E-3</c:v>
                </c:pt>
                <c:pt idx="3829">
                  <c:v>2.2767544255055134E-3</c:v>
                </c:pt>
                <c:pt idx="3830">
                  <c:v>2.2816542747159958E-3</c:v>
                </c:pt>
                <c:pt idx="3831">
                  <c:v>2.2782354713563975E-3</c:v>
                </c:pt>
                <c:pt idx="3832">
                  <c:v>2.2664602906418288E-3</c:v>
                </c:pt>
                <c:pt idx="3833">
                  <c:v>2.2283016132943322E-3</c:v>
                </c:pt>
                <c:pt idx="3834">
                  <c:v>2.1918878693737228E-3</c:v>
                </c:pt>
                <c:pt idx="3835">
                  <c:v>2.1390911521973872E-3</c:v>
                </c:pt>
                <c:pt idx="3836">
                  <c:v>2.0781815314500807E-3</c:v>
                </c:pt>
                <c:pt idx="3837">
                  <c:v>2.0961170349785047E-3</c:v>
                </c:pt>
                <c:pt idx="3838">
                  <c:v>2.1114634956150998E-3</c:v>
                </c:pt>
                <c:pt idx="3839">
                  <c:v>2.1724761378315673E-3</c:v>
                </c:pt>
                <c:pt idx="3840">
                  <c:v>2.249058997828607E-3</c:v>
                </c:pt>
                <c:pt idx="3841">
                  <c:v>2.3374638425286355E-3</c:v>
                </c:pt>
                <c:pt idx="3842">
                  <c:v>2.4263506705689466E-3</c:v>
                </c:pt>
                <c:pt idx="3843">
                  <c:v>2.5139575073369422E-3</c:v>
                </c:pt>
                <c:pt idx="3844">
                  <c:v>2.5824574656535225E-3</c:v>
                </c:pt>
                <c:pt idx="3845">
                  <c:v>2.6570301322113238E-3</c:v>
                </c:pt>
                <c:pt idx="3846">
                  <c:v>2.7165610199994107E-3</c:v>
                </c:pt>
                <c:pt idx="3847">
                  <c:v>2.761009473703298E-3</c:v>
                </c:pt>
                <c:pt idx="3848">
                  <c:v>2.8531781437949474E-3</c:v>
                </c:pt>
                <c:pt idx="3849">
                  <c:v>3.0018322210313749E-3</c:v>
                </c:pt>
                <c:pt idx="3850">
                  <c:v>3.1331726013346488E-3</c:v>
                </c:pt>
                <c:pt idx="3851">
                  <c:v>3.2564302815072141E-3</c:v>
                </c:pt>
                <c:pt idx="3852">
                  <c:v>3.362559421721398E-3</c:v>
                </c:pt>
                <c:pt idx="3853">
                  <c:v>3.4454240968719504E-3</c:v>
                </c:pt>
                <c:pt idx="3854">
                  <c:v>3.5250049754075477E-3</c:v>
                </c:pt>
                <c:pt idx="3855">
                  <c:v>3.5927982753583497E-3</c:v>
                </c:pt>
                <c:pt idx="3856">
                  <c:v>3.6396785172379941E-3</c:v>
                </c:pt>
                <c:pt idx="3857">
                  <c:v>3.6672991211687614E-3</c:v>
                </c:pt>
                <c:pt idx="3858">
                  <c:v>3.6665664740554065E-3</c:v>
                </c:pt>
                <c:pt idx="3859">
                  <c:v>3.7264591019534376E-3</c:v>
                </c:pt>
                <c:pt idx="3860">
                  <c:v>3.7689627750577014E-3</c:v>
                </c:pt>
                <c:pt idx="3861">
                  <c:v>3.7856782219210443E-3</c:v>
                </c:pt>
                <c:pt idx="3862">
                  <c:v>3.7858256727670704E-3</c:v>
                </c:pt>
                <c:pt idx="3863">
                  <c:v>3.750286510283357E-3</c:v>
                </c:pt>
                <c:pt idx="3864">
                  <c:v>3.7129848398914042E-3</c:v>
                </c:pt>
                <c:pt idx="3865">
                  <c:v>3.6330087410501371E-3</c:v>
                </c:pt>
                <c:pt idx="3866">
                  <c:v>3.5173853842154624E-3</c:v>
                </c:pt>
                <c:pt idx="3867">
                  <c:v>3.4608353888394478E-3</c:v>
                </c:pt>
                <c:pt idx="3868">
                  <c:v>3.4062963856693251E-3</c:v>
                </c:pt>
                <c:pt idx="3869">
                  <c:v>3.3701947470033051E-3</c:v>
                </c:pt>
                <c:pt idx="3870">
                  <c:v>3.3331083642485606E-3</c:v>
                </c:pt>
                <c:pt idx="3871">
                  <c:v>3.2862269927342123E-3</c:v>
                </c:pt>
                <c:pt idx="3872">
                  <c:v>3.2295190586162223E-3</c:v>
                </c:pt>
                <c:pt idx="3873">
                  <c:v>3.1530666609445321E-3</c:v>
                </c:pt>
                <c:pt idx="3874">
                  <c:v>3.0370400075366826E-3</c:v>
                </c:pt>
                <c:pt idx="3875">
                  <c:v>2.920702001928776E-3</c:v>
                </c:pt>
                <c:pt idx="3876">
                  <c:v>2.7808780249277947E-3</c:v>
                </c:pt>
                <c:pt idx="3877">
                  <c:v>2.6059949418716305E-3</c:v>
                </c:pt>
                <c:pt idx="3878">
                  <c:v>2.4834462009610796E-3</c:v>
                </c:pt>
                <c:pt idx="3879">
                  <c:v>2.4145563257224429E-3</c:v>
                </c:pt>
                <c:pt idx="3880">
                  <c:v>2.3608512907627032E-3</c:v>
                </c:pt>
                <c:pt idx="3881">
                  <c:v>2.331793448364644E-3</c:v>
                </c:pt>
                <c:pt idx="3882">
                  <c:v>2.3094647897457586E-3</c:v>
                </c:pt>
                <c:pt idx="3883">
                  <c:v>2.2722682779355791E-3</c:v>
                </c:pt>
                <c:pt idx="3884">
                  <c:v>2.4771122349864353E-3</c:v>
                </c:pt>
                <c:pt idx="3885">
                  <c:v>2.6306744749210681E-3</c:v>
                </c:pt>
                <c:pt idx="3886">
                  <c:v>2.7471393457295388E-3</c:v>
                </c:pt>
                <c:pt idx="3887">
                  <c:v>2.8324704351418038E-3</c:v>
                </c:pt>
                <c:pt idx="3888">
                  <c:v>2.8769877642411054E-3</c:v>
                </c:pt>
                <c:pt idx="3889">
                  <c:v>3.0530126803605421E-3</c:v>
                </c:pt>
                <c:pt idx="3890">
                  <c:v>3.2337252595964075E-3</c:v>
                </c:pt>
                <c:pt idx="3891">
                  <c:v>3.4164568857718981E-3</c:v>
                </c:pt>
                <c:pt idx="3892">
                  <c:v>3.6698215255688339E-3</c:v>
                </c:pt>
                <c:pt idx="3893">
                  <c:v>3.913663910004174E-3</c:v>
                </c:pt>
                <c:pt idx="3894">
                  <c:v>4.1325035337333891E-3</c:v>
                </c:pt>
                <c:pt idx="3895">
                  <c:v>4.3237146702874065E-3</c:v>
                </c:pt>
                <c:pt idx="3896">
                  <c:v>4.4796962051656267E-3</c:v>
                </c:pt>
                <c:pt idx="3897">
                  <c:v>4.6036864879160592E-3</c:v>
                </c:pt>
                <c:pt idx="3898">
                  <c:v>4.7217748937695026E-3</c:v>
                </c:pt>
                <c:pt idx="3899">
                  <c:v>4.891648080633487E-3</c:v>
                </c:pt>
                <c:pt idx="3900">
                  <c:v>5.2371888181884348E-3</c:v>
                </c:pt>
                <c:pt idx="3901">
                  <c:v>5.5023652297377344E-3</c:v>
                </c:pt>
                <c:pt idx="3902">
                  <c:v>5.8607860684459908E-3</c:v>
                </c:pt>
                <c:pt idx="3903">
                  <c:v>6.1783302127566267E-3</c:v>
                </c:pt>
                <c:pt idx="3904">
                  <c:v>6.4171388529696309E-3</c:v>
                </c:pt>
                <c:pt idx="3905">
                  <c:v>6.5821302419810561E-3</c:v>
                </c:pt>
                <c:pt idx="3906">
                  <c:v>6.6895375411860254E-3</c:v>
                </c:pt>
                <c:pt idx="3907">
                  <c:v>6.7424033273412809E-3</c:v>
                </c:pt>
                <c:pt idx="3908">
                  <c:v>6.7482875910045278E-3</c:v>
                </c:pt>
                <c:pt idx="3909">
                  <c:v>6.7060936603668556E-3</c:v>
                </c:pt>
                <c:pt idx="3910">
                  <c:v>6.6258499600411963E-3</c:v>
                </c:pt>
                <c:pt idx="3911">
                  <c:v>6.5264191890517138E-3</c:v>
                </c:pt>
                <c:pt idx="3912">
                  <c:v>6.3906638341571396E-3</c:v>
                </c:pt>
                <c:pt idx="3913">
                  <c:v>6.19621241399094E-3</c:v>
                </c:pt>
                <c:pt idx="3914">
                  <c:v>6.1530264007286064E-3</c:v>
                </c:pt>
                <c:pt idx="3915">
                  <c:v>6.0682387460126996E-3</c:v>
                </c:pt>
                <c:pt idx="3916">
                  <c:v>5.9398024166913187E-3</c:v>
                </c:pt>
                <c:pt idx="3917">
                  <c:v>5.8015982627747523E-3</c:v>
                </c:pt>
                <c:pt idx="3918">
                  <c:v>5.6459150470926506E-3</c:v>
                </c:pt>
                <c:pt idx="3919">
                  <c:v>5.5181576289747777E-3</c:v>
                </c:pt>
                <c:pt idx="3920">
                  <c:v>5.3774618907361064E-3</c:v>
                </c:pt>
                <c:pt idx="3921">
                  <c:v>5.3038992249660214E-3</c:v>
                </c:pt>
                <c:pt idx="3922">
                  <c:v>5.251644996739877E-3</c:v>
                </c:pt>
                <c:pt idx="3923">
                  <c:v>5.1812696168541238E-3</c:v>
                </c:pt>
                <c:pt idx="3924">
                  <c:v>5.061434996138035E-3</c:v>
                </c:pt>
                <c:pt idx="3925">
                  <c:v>4.9009625567678818E-3</c:v>
                </c:pt>
                <c:pt idx="3926">
                  <c:v>4.6842694969905559E-3</c:v>
                </c:pt>
                <c:pt idx="3927">
                  <c:v>4.4838356047209793E-3</c:v>
                </c:pt>
                <c:pt idx="3928">
                  <c:v>4.3291367655168686E-3</c:v>
                </c:pt>
                <c:pt idx="3929">
                  <c:v>4.2238651317656507E-3</c:v>
                </c:pt>
                <c:pt idx="3930">
                  <c:v>4.2862968620334136E-3</c:v>
                </c:pt>
                <c:pt idx="3931">
                  <c:v>4.3153600201749449E-3</c:v>
                </c:pt>
                <c:pt idx="3932">
                  <c:v>4.4337318940350498E-3</c:v>
                </c:pt>
                <c:pt idx="3933">
                  <c:v>4.5415098348120641E-3</c:v>
                </c:pt>
                <c:pt idx="3934">
                  <c:v>4.618327795262449E-3</c:v>
                </c:pt>
                <c:pt idx="3935">
                  <c:v>4.6577945920707117E-3</c:v>
                </c:pt>
                <c:pt idx="3936">
                  <c:v>4.6686105092033784E-3</c:v>
                </c:pt>
                <c:pt idx="3937">
                  <c:v>4.6590533014728595E-3</c:v>
                </c:pt>
                <c:pt idx="3938">
                  <c:v>4.6304816655977016E-3</c:v>
                </c:pt>
                <c:pt idx="3939">
                  <c:v>4.5760797653082831E-3</c:v>
                </c:pt>
                <c:pt idx="3940">
                  <c:v>4.5092761421618791E-3</c:v>
                </c:pt>
                <c:pt idx="3941">
                  <c:v>4.4232445150938979E-3</c:v>
                </c:pt>
                <c:pt idx="3942">
                  <c:v>4.3073663742401814E-3</c:v>
                </c:pt>
                <c:pt idx="3943">
                  <c:v>4.1586898286038315E-3</c:v>
                </c:pt>
                <c:pt idx="3944">
                  <c:v>3.9915872502132091E-3</c:v>
                </c:pt>
                <c:pt idx="3945">
                  <c:v>3.8076670961126749E-3</c:v>
                </c:pt>
                <c:pt idx="3946">
                  <c:v>3.612882079496978E-3</c:v>
                </c:pt>
                <c:pt idx="3947">
                  <c:v>3.4482463581559657E-3</c:v>
                </c:pt>
                <c:pt idx="3948">
                  <c:v>3.330516594588362E-3</c:v>
                </c:pt>
                <c:pt idx="3949">
                  <c:v>3.1931102924441079E-3</c:v>
                </c:pt>
                <c:pt idx="3950">
                  <c:v>3.0344211466377113E-3</c:v>
                </c:pt>
                <c:pt idx="3951">
                  <c:v>2.967578270108677E-3</c:v>
                </c:pt>
                <c:pt idx="3952">
                  <c:v>2.877472783724546E-3</c:v>
                </c:pt>
                <c:pt idx="3953">
                  <c:v>2.8505079297035728E-3</c:v>
                </c:pt>
                <c:pt idx="3954">
                  <c:v>2.7916537898331354E-3</c:v>
                </c:pt>
                <c:pt idx="3955">
                  <c:v>2.6993381867536702E-3</c:v>
                </c:pt>
                <c:pt idx="3956">
                  <c:v>2.5701203346827212E-3</c:v>
                </c:pt>
                <c:pt idx="3957">
                  <c:v>2.5417129970248102E-3</c:v>
                </c:pt>
                <c:pt idx="3958">
                  <c:v>2.6089269036642547E-3</c:v>
                </c:pt>
                <c:pt idx="3959">
                  <c:v>2.6604061625024947E-3</c:v>
                </c:pt>
                <c:pt idx="3960">
                  <c:v>2.7277874297060656E-3</c:v>
                </c:pt>
                <c:pt idx="3961">
                  <c:v>2.7947327119241289E-3</c:v>
                </c:pt>
                <c:pt idx="3962">
                  <c:v>2.8850161802946835E-3</c:v>
                </c:pt>
                <c:pt idx="3963">
                  <c:v>2.9681881467883537E-3</c:v>
                </c:pt>
                <c:pt idx="3964">
                  <c:v>3.053456797891198E-3</c:v>
                </c:pt>
                <c:pt idx="3965">
                  <c:v>3.1197244655142404E-3</c:v>
                </c:pt>
                <c:pt idx="3966">
                  <c:v>3.1681208320516008E-3</c:v>
                </c:pt>
                <c:pt idx="3967">
                  <c:v>3.2085872605719292E-3</c:v>
                </c:pt>
                <c:pt idx="3968">
                  <c:v>3.230927846427898E-3</c:v>
                </c:pt>
                <c:pt idx="3969">
                  <c:v>3.2182956402569901E-3</c:v>
                </c:pt>
                <c:pt idx="3970">
                  <c:v>3.2068107849459E-3</c:v>
                </c:pt>
                <c:pt idx="3971">
                  <c:v>3.1797492522597677E-3</c:v>
                </c:pt>
                <c:pt idx="3972">
                  <c:v>3.3731185958927722E-3</c:v>
                </c:pt>
                <c:pt idx="3973">
                  <c:v>3.5989067659917473E-3</c:v>
                </c:pt>
                <c:pt idx="3974">
                  <c:v>3.8005203831664E-3</c:v>
                </c:pt>
                <c:pt idx="3975">
                  <c:v>3.9582059869315593E-3</c:v>
                </c:pt>
                <c:pt idx="3976">
                  <c:v>4.1172821316772723E-3</c:v>
                </c:pt>
                <c:pt idx="3977">
                  <c:v>4.2540240266884825E-3</c:v>
                </c:pt>
                <c:pt idx="3978">
                  <c:v>4.3603392672892467E-3</c:v>
                </c:pt>
                <c:pt idx="3979">
                  <c:v>4.5267764254290372E-3</c:v>
                </c:pt>
                <c:pt idx="3980">
                  <c:v>4.6457107615483269E-3</c:v>
                </c:pt>
                <c:pt idx="3981">
                  <c:v>4.722092851910587E-3</c:v>
                </c:pt>
                <c:pt idx="3982">
                  <c:v>4.7662296903965423E-3</c:v>
                </c:pt>
                <c:pt idx="3983">
                  <c:v>4.858398027994466E-3</c:v>
                </c:pt>
                <c:pt idx="3984">
                  <c:v>4.9188251898423839E-3</c:v>
                </c:pt>
                <c:pt idx="3985">
                  <c:v>4.9404319445350339E-3</c:v>
                </c:pt>
                <c:pt idx="3986">
                  <c:v>4.9411075127043461E-3</c:v>
                </c:pt>
                <c:pt idx="3987">
                  <c:v>4.9202175928004226E-3</c:v>
                </c:pt>
                <c:pt idx="3988">
                  <c:v>4.8868490051558224E-3</c:v>
                </c:pt>
                <c:pt idx="3989">
                  <c:v>4.8306931386017608E-3</c:v>
                </c:pt>
                <c:pt idx="3990">
                  <c:v>4.7794031286170361E-3</c:v>
                </c:pt>
                <c:pt idx="3991">
                  <c:v>4.7053696902288316E-3</c:v>
                </c:pt>
                <c:pt idx="3992">
                  <c:v>4.6290966044024778E-3</c:v>
                </c:pt>
                <c:pt idx="3993">
                  <c:v>4.5403997600763409E-3</c:v>
                </c:pt>
                <c:pt idx="3994">
                  <c:v>4.4480013424977073E-3</c:v>
                </c:pt>
                <c:pt idx="3995">
                  <c:v>4.3249885452015394E-3</c:v>
                </c:pt>
                <c:pt idx="3996">
                  <c:v>4.1678900958799095E-3</c:v>
                </c:pt>
                <c:pt idx="3997">
                  <c:v>3.9930073957706843E-3</c:v>
                </c:pt>
                <c:pt idx="3998">
                  <c:v>3.7764377528691244E-3</c:v>
                </c:pt>
                <c:pt idx="3999">
                  <c:v>3.4958473728511656E-3</c:v>
                </c:pt>
                <c:pt idx="4000">
                  <c:v>3.1420408331824996E-3</c:v>
                </c:pt>
                <c:pt idx="4001">
                  <c:v>2.6973310299556108E-3</c:v>
                </c:pt>
                <c:pt idx="4002">
                  <c:v>2.5467750988464976E-3</c:v>
                </c:pt>
                <c:pt idx="4003">
                  <c:v>2.4418311817508134E-3</c:v>
                </c:pt>
                <c:pt idx="4004">
                  <c:v>2.3559369581503818E-3</c:v>
                </c:pt>
                <c:pt idx="4005">
                  <c:v>2.2628414960929907E-3</c:v>
                </c:pt>
                <c:pt idx="4006">
                  <c:v>2.1666309557456928E-3</c:v>
                </c:pt>
                <c:pt idx="4007">
                  <c:v>2.0668674383779286E-3</c:v>
                </c:pt>
                <c:pt idx="4008">
                  <c:v>1.9877144532948828E-3</c:v>
                </c:pt>
                <c:pt idx="4009">
                  <c:v>2.0119304422419222E-3</c:v>
                </c:pt>
                <c:pt idx="4010">
                  <c:v>2.0378641753225936E-3</c:v>
                </c:pt>
                <c:pt idx="4011">
                  <c:v>2.0654325595940476E-3</c:v>
                </c:pt>
                <c:pt idx="4012">
                  <c:v>2.1157488724643492E-3</c:v>
                </c:pt>
                <c:pt idx="4013">
                  <c:v>2.2227889337793566E-3</c:v>
                </c:pt>
                <c:pt idx="4014">
                  <c:v>2.3096388796576177E-3</c:v>
                </c:pt>
                <c:pt idx="4015">
                  <c:v>2.3693037231574685E-3</c:v>
                </c:pt>
                <c:pt idx="4016">
                  <c:v>2.4936329846663172E-3</c:v>
                </c:pt>
                <c:pt idx="4017">
                  <c:v>2.5921972263962217E-3</c:v>
                </c:pt>
                <c:pt idx="4018">
                  <c:v>2.6783766010032998E-3</c:v>
                </c:pt>
                <c:pt idx="4019">
                  <c:v>2.752969104491668E-3</c:v>
                </c:pt>
                <c:pt idx="4020">
                  <c:v>2.8291426343396969E-3</c:v>
                </c:pt>
                <c:pt idx="4021">
                  <c:v>2.8962740063024467E-3</c:v>
                </c:pt>
                <c:pt idx="4022">
                  <c:v>2.9472865428556592E-3</c:v>
                </c:pt>
                <c:pt idx="4023">
                  <c:v>3.0108630711987009E-3</c:v>
                </c:pt>
                <c:pt idx="4024">
                  <c:v>3.066138015754811E-3</c:v>
                </c:pt>
                <c:pt idx="4025">
                  <c:v>3.1072526765194767E-3</c:v>
                </c:pt>
                <c:pt idx="4026">
                  <c:v>3.1340629268662773E-3</c:v>
                </c:pt>
                <c:pt idx="4027">
                  <c:v>3.1476932274764843E-3</c:v>
                </c:pt>
                <c:pt idx="4028">
                  <c:v>3.1573771860028766E-3</c:v>
                </c:pt>
                <c:pt idx="4029">
                  <c:v>3.1541589182304034E-3</c:v>
                </c:pt>
                <c:pt idx="4030">
                  <c:v>3.1294143402099172E-3</c:v>
                </c:pt>
                <c:pt idx="4031">
                  <c:v>3.0910146010336183E-3</c:v>
                </c:pt>
                <c:pt idx="4032">
                  <c:v>3.0379740903499516E-3</c:v>
                </c:pt>
                <c:pt idx="4033">
                  <c:v>2.9522772384098549E-3</c:v>
                </c:pt>
                <c:pt idx="4034">
                  <c:v>2.8489769768317292E-3</c:v>
                </c:pt>
                <c:pt idx="4035">
                  <c:v>2.7381718554077908E-3</c:v>
                </c:pt>
                <c:pt idx="4036">
                  <c:v>2.6150063219299189E-3</c:v>
                </c:pt>
                <c:pt idx="4037">
                  <c:v>2.4687625241343169E-3</c:v>
                </c:pt>
                <c:pt idx="4038">
                  <c:v>2.3519959703182185E-3</c:v>
                </c:pt>
                <c:pt idx="4039">
                  <c:v>2.2280545458882653E-3</c:v>
                </c:pt>
                <c:pt idx="4040">
                  <c:v>2.1229958804032463E-3</c:v>
                </c:pt>
                <c:pt idx="4041">
                  <c:v>2.0011154169569004E-3</c:v>
                </c:pt>
                <c:pt idx="4042">
                  <c:v>1.920792270279138E-3</c:v>
                </c:pt>
                <c:pt idx="4043">
                  <c:v>1.8901531012695729E-3</c:v>
                </c:pt>
                <c:pt idx="4044">
                  <c:v>1.8495612657011909E-3</c:v>
                </c:pt>
                <c:pt idx="4045">
                  <c:v>1.7978391293023009E-3</c:v>
                </c:pt>
                <c:pt idx="4046">
                  <c:v>1.8061639417500097E-3</c:v>
                </c:pt>
                <c:pt idx="4047">
                  <c:v>1.8093848524162845E-3</c:v>
                </c:pt>
                <c:pt idx="4048">
                  <c:v>1.8184775560728872E-3</c:v>
                </c:pt>
                <c:pt idx="4049">
                  <c:v>1.8216067006118978E-3</c:v>
                </c:pt>
                <c:pt idx="4050">
                  <c:v>1.8205557664315866E-3</c:v>
                </c:pt>
                <c:pt idx="4051">
                  <c:v>1.8249077390435182E-3</c:v>
                </c:pt>
                <c:pt idx="4052">
                  <c:v>1.8242861947416853E-3</c:v>
                </c:pt>
                <c:pt idx="4053">
                  <c:v>1.8391114066179434E-3</c:v>
                </c:pt>
                <c:pt idx="4054">
                  <c:v>1.8601974040089856E-3</c:v>
                </c:pt>
                <c:pt idx="4055">
                  <c:v>1.8868855784364693E-3</c:v>
                </c:pt>
                <c:pt idx="4056">
                  <c:v>1.9090168789162104E-3</c:v>
                </c:pt>
                <c:pt idx="4057">
                  <c:v>1.9268210868794019E-3</c:v>
                </c:pt>
                <c:pt idx="4058">
                  <c:v>2.0667655165148842E-3</c:v>
                </c:pt>
                <c:pt idx="4059">
                  <c:v>2.1978443308101137E-3</c:v>
                </c:pt>
                <c:pt idx="4060">
                  <c:v>2.3080376747551569E-3</c:v>
                </c:pt>
                <c:pt idx="4061">
                  <c:v>2.4127004917085448E-3</c:v>
                </c:pt>
                <c:pt idx="4062">
                  <c:v>2.4996349115826468E-3</c:v>
                </c:pt>
                <c:pt idx="4063">
                  <c:v>2.56249373436675E-3</c:v>
                </c:pt>
                <c:pt idx="4064">
                  <c:v>2.62094590886282E-3</c:v>
                </c:pt>
                <c:pt idx="4065">
                  <c:v>2.6742651410789501E-3</c:v>
                </c:pt>
                <c:pt idx="4066">
                  <c:v>2.7206397390920432E-3</c:v>
                </c:pt>
                <c:pt idx="4067">
                  <c:v>2.7527095588940342E-3</c:v>
                </c:pt>
                <c:pt idx="4068">
                  <c:v>2.7807109796475129E-3</c:v>
                </c:pt>
                <c:pt idx="4069">
                  <c:v>2.7939088388540937E-3</c:v>
                </c:pt>
                <c:pt idx="4070">
                  <c:v>2.8113100501401963E-3</c:v>
                </c:pt>
                <c:pt idx="4071">
                  <c:v>2.817759732587897E-3</c:v>
                </c:pt>
                <c:pt idx="4072">
                  <c:v>2.8293413682872865E-3</c:v>
                </c:pt>
                <c:pt idx="4073">
                  <c:v>2.8385432721116091E-3</c:v>
                </c:pt>
                <c:pt idx="4074">
                  <c:v>2.853499546828538E-3</c:v>
                </c:pt>
                <c:pt idx="4075">
                  <c:v>2.8641013197000078E-3</c:v>
                </c:pt>
                <c:pt idx="4076">
                  <c:v>2.8606873670140721E-3</c:v>
                </c:pt>
                <c:pt idx="4077">
                  <c:v>2.8606081936763785E-3</c:v>
                </c:pt>
                <c:pt idx="4078">
                  <c:v>2.8547024307546739E-3</c:v>
                </c:pt>
                <c:pt idx="4079">
                  <c:v>2.8340739186642661E-3</c:v>
                </c:pt>
                <c:pt idx="4080">
                  <c:v>2.7877465744842573E-3</c:v>
                </c:pt>
                <c:pt idx="4081">
                  <c:v>2.7353361992194566E-3</c:v>
                </c:pt>
                <c:pt idx="4082">
                  <c:v>2.6578261486103162E-3</c:v>
                </c:pt>
                <c:pt idx="4083">
                  <c:v>2.5710490715395045E-3</c:v>
                </c:pt>
                <c:pt idx="4084">
                  <c:v>2.4772207584559266E-3</c:v>
                </c:pt>
                <c:pt idx="4085">
                  <c:v>2.3840375031517428E-3</c:v>
                </c:pt>
                <c:pt idx="4086">
                  <c:v>2.2703021938980422E-3</c:v>
                </c:pt>
                <c:pt idx="4087">
                  <c:v>2.1466363191306138E-3</c:v>
                </c:pt>
                <c:pt idx="4088">
                  <c:v>2.1287960279476352E-3</c:v>
                </c:pt>
                <c:pt idx="4089">
                  <c:v>2.1133502430693224E-3</c:v>
                </c:pt>
                <c:pt idx="4090">
                  <c:v>2.090855728224492E-3</c:v>
                </c:pt>
                <c:pt idx="4091">
                  <c:v>2.0714956249833286E-3</c:v>
                </c:pt>
                <c:pt idx="4092">
                  <c:v>2.0452854824860984E-3</c:v>
                </c:pt>
                <c:pt idx="4093">
                  <c:v>2.0304175738657176E-3</c:v>
                </c:pt>
                <c:pt idx="4094">
                  <c:v>2.0091360462927386E-3</c:v>
                </c:pt>
                <c:pt idx="4095">
                  <c:v>1.9914399285478699E-3</c:v>
                </c:pt>
                <c:pt idx="4096">
                  <c:v>1.9769438125573379E-3</c:v>
                </c:pt>
                <c:pt idx="4097">
                  <c:v>1.9551790368637738E-3</c:v>
                </c:pt>
                <c:pt idx="4098">
                  <c:v>2.0244888276836652E-3</c:v>
                </c:pt>
                <c:pt idx="4099">
                  <c:v>2.1033074433510746E-3</c:v>
                </c:pt>
                <c:pt idx="4100">
                  <c:v>2.2622630983944354E-3</c:v>
                </c:pt>
                <c:pt idx="4101">
                  <c:v>3.0965258916567122E-3</c:v>
                </c:pt>
                <c:pt idx="4102">
                  <c:v>3.7501226823782891E-3</c:v>
                </c:pt>
                <c:pt idx="4103">
                  <c:v>4.4096827608245881E-3</c:v>
                </c:pt>
                <c:pt idx="4104">
                  <c:v>4.9562451922820511E-3</c:v>
                </c:pt>
                <c:pt idx="4105">
                  <c:v>5.433350952912858E-3</c:v>
                </c:pt>
                <c:pt idx="4106">
                  <c:v>5.8149121102651453E-3</c:v>
                </c:pt>
                <c:pt idx="4107">
                  <c:v>6.1755229509318898E-3</c:v>
                </c:pt>
                <c:pt idx="4108">
                  <c:v>6.4655605687521083E-3</c:v>
                </c:pt>
                <c:pt idx="4109">
                  <c:v>6.7051849630321032E-3</c:v>
                </c:pt>
                <c:pt idx="4110">
                  <c:v>6.9082898221343898E-3</c:v>
                </c:pt>
                <c:pt idx="4111">
                  <c:v>7.0683365448181972E-3</c:v>
                </c:pt>
                <c:pt idx="4112">
                  <c:v>7.1742557860800518E-3</c:v>
                </c:pt>
                <c:pt idx="4113">
                  <c:v>7.3136251577544439E-3</c:v>
                </c:pt>
                <c:pt idx="4114">
                  <c:v>7.4422694297805788E-3</c:v>
                </c:pt>
                <c:pt idx="4115">
                  <c:v>7.5399624650435235E-3</c:v>
                </c:pt>
                <c:pt idx="4116">
                  <c:v>7.5928766260789909E-3</c:v>
                </c:pt>
                <c:pt idx="4117">
                  <c:v>7.6321083000426074E-3</c:v>
                </c:pt>
                <c:pt idx="4118">
                  <c:v>7.6788563360297409E-3</c:v>
                </c:pt>
                <c:pt idx="4119">
                  <c:v>7.6882466417714486E-3</c:v>
                </c:pt>
                <c:pt idx="4120">
                  <c:v>7.6826107910085506E-3</c:v>
                </c:pt>
                <c:pt idx="4121">
                  <c:v>7.6159382872801338E-3</c:v>
                </c:pt>
                <c:pt idx="4122">
                  <c:v>7.4868809889387699E-3</c:v>
                </c:pt>
                <c:pt idx="4123">
                  <c:v>7.3143121494380131E-3</c:v>
                </c:pt>
                <c:pt idx="4124">
                  <c:v>7.1238587327612183E-3</c:v>
                </c:pt>
                <c:pt idx="4125">
                  <c:v>6.8526024808702691E-3</c:v>
                </c:pt>
                <c:pt idx="4126">
                  <c:v>6.5044006523422718E-3</c:v>
                </c:pt>
                <c:pt idx="4127">
                  <c:v>6.0601325805639712E-3</c:v>
                </c:pt>
                <c:pt idx="4128">
                  <c:v>5.6189642247885955E-3</c:v>
                </c:pt>
                <c:pt idx="4129">
                  <c:v>5.0941215788120608E-3</c:v>
                </c:pt>
                <c:pt idx="4130">
                  <c:v>4.5730535225872362E-3</c:v>
                </c:pt>
                <c:pt idx="4131">
                  <c:v>4.4971053146119983E-3</c:v>
                </c:pt>
                <c:pt idx="4132">
                  <c:v>4.4152392353183348E-3</c:v>
                </c:pt>
                <c:pt idx="4133">
                  <c:v>4.3886615386208661E-3</c:v>
                </c:pt>
                <c:pt idx="4134">
                  <c:v>4.3769891987203617E-3</c:v>
                </c:pt>
                <c:pt idx="4135">
                  <c:v>4.3555580791916453E-3</c:v>
                </c:pt>
                <c:pt idx="4136">
                  <c:v>4.2966814670231529E-3</c:v>
                </c:pt>
                <c:pt idx="4137">
                  <c:v>4.2384394294240008E-3</c:v>
                </c:pt>
                <c:pt idx="4138">
                  <c:v>4.1426878663551239E-3</c:v>
                </c:pt>
                <c:pt idx="4139">
                  <c:v>4.0163242734297553E-3</c:v>
                </c:pt>
                <c:pt idx="4140">
                  <c:v>3.8683470966928216E-3</c:v>
                </c:pt>
                <c:pt idx="4141">
                  <c:v>3.6841668402531136E-3</c:v>
                </c:pt>
                <c:pt idx="4142">
                  <c:v>3.4596812755406754E-3</c:v>
                </c:pt>
                <c:pt idx="4143">
                  <c:v>3.2909932307309204E-3</c:v>
                </c:pt>
                <c:pt idx="4144">
                  <c:v>3.1466574176038571E-3</c:v>
                </c:pt>
                <c:pt idx="4145">
                  <c:v>3.0544364160963694E-3</c:v>
                </c:pt>
                <c:pt idx="4146">
                  <c:v>2.9342790135043198E-3</c:v>
                </c:pt>
                <c:pt idx="4147">
                  <c:v>2.8308632435780495E-3</c:v>
                </c:pt>
                <c:pt idx="4148">
                  <c:v>2.8056698649093106E-3</c:v>
                </c:pt>
                <c:pt idx="4149">
                  <c:v>2.79906569854429E-3</c:v>
                </c:pt>
                <c:pt idx="4150">
                  <c:v>2.8232061686067587E-3</c:v>
                </c:pt>
                <c:pt idx="4151">
                  <c:v>2.8361407138650855E-3</c:v>
                </c:pt>
                <c:pt idx="4152">
                  <c:v>2.8269122503526856E-3</c:v>
                </c:pt>
                <c:pt idx="4153">
                  <c:v>2.7866566682538253E-3</c:v>
                </c:pt>
                <c:pt idx="4154">
                  <c:v>2.8178868481692101E-3</c:v>
                </c:pt>
                <c:pt idx="4155">
                  <c:v>2.8444155880899269E-3</c:v>
                </c:pt>
                <c:pt idx="4156">
                  <c:v>2.8744056373168772E-3</c:v>
                </c:pt>
                <c:pt idx="4157">
                  <c:v>3.0429494707416233E-3</c:v>
                </c:pt>
                <c:pt idx="4158">
                  <c:v>3.1890481678090005E-3</c:v>
                </c:pt>
                <c:pt idx="4159">
                  <c:v>3.3106950509984435E-3</c:v>
                </c:pt>
                <c:pt idx="4160">
                  <c:v>3.4117271167701979E-3</c:v>
                </c:pt>
                <c:pt idx="4161">
                  <c:v>3.4868433545028167E-3</c:v>
                </c:pt>
                <c:pt idx="4162">
                  <c:v>3.5376673686680297E-3</c:v>
                </c:pt>
                <c:pt idx="4163">
                  <c:v>3.574446707528935E-3</c:v>
                </c:pt>
                <c:pt idx="4164">
                  <c:v>3.631681392634064E-3</c:v>
                </c:pt>
                <c:pt idx="4165">
                  <c:v>3.6769417907982589E-3</c:v>
                </c:pt>
                <c:pt idx="4166">
                  <c:v>3.7008519651119953E-3</c:v>
                </c:pt>
                <c:pt idx="4167">
                  <c:v>3.7690924127385165E-3</c:v>
                </c:pt>
                <c:pt idx="4168">
                  <c:v>3.8706961726908524E-3</c:v>
                </c:pt>
                <c:pt idx="4169">
                  <c:v>3.9375923328285991E-3</c:v>
                </c:pt>
                <c:pt idx="4170">
                  <c:v>4.0806067808631524E-3</c:v>
                </c:pt>
                <c:pt idx="4171">
                  <c:v>4.2360453218677502E-3</c:v>
                </c:pt>
                <c:pt idx="4172">
                  <c:v>4.7130443667062214E-3</c:v>
                </c:pt>
                <c:pt idx="4173">
                  <c:v>5.1729991514896066E-3</c:v>
                </c:pt>
                <c:pt idx="4174">
                  <c:v>5.5328741401972532E-3</c:v>
                </c:pt>
                <c:pt idx="4175">
                  <c:v>5.8810257115330796E-3</c:v>
                </c:pt>
                <c:pt idx="4176">
                  <c:v>6.1732102949205283E-3</c:v>
                </c:pt>
                <c:pt idx="4177">
                  <c:v>6.3998708977594234E-3</c:v>
                </c:pt>
                <c:pt idx="4178">
                  <c:v>6.5824250865902699E-3</c:v>
                </c:pt>
                <c:pt idx="4179">
                  <c:v>6.7263192210479531E-3</c:v>
                </c:pt>
                <c:pt idx="4180">
                  <c:v>6.8220046065030539E-3</c:v>
                </c:pt>
                <c:pt idx="4181">
                  <c:v>6.8786517125754044E-3</c:v>
                </c:pt>
                <c:pt idx="4182">
                  <c:v>6.8904894517929239E-3</c:v>
                </c:pt>
                <c:pt idx="4183">
                  <c:v>6.8803945228535328E-3</c:v>
                </c:pt>
                <c:pt idx="4184">
                  <c:v>6.8455117721803304E-3</c:v>
                </c:pt>
                <c:pt idx="4185">
                  <c:v>6.7770950443570548E-3</c:v>
                </c:pt>
                <c:pt idx="4186">
                  <c:v>6.7393898189138553E-3</c:v>
                </c:pt>
                <c:pt idx="4187">
                  <c:v>6.8227222361542999E-3</c:v>
                </c:pt>
                <c:pt idx="4188">
                  <c:v>6.9165703937705643E-3</c:v>
                </c:pt>
                <c:pt idx="4189">
                  <c:v>6.9997984209717963E-3</c:v>
                </c:pt>
                <c:pt idx="4190">
                  <c:v>7.0228683951433623E-3</c:v>
                </c:pt>
                <c:pt idx="4191">
                  <c:v>7.3680820190213285E-3</c:v>
                </c:pt>
                <c:pt idx="4192">
                  <c:v>8.5809857146306751E-3</c:v>
                </c:pt>
                <c:pt idx="4193">
                  <c:v>1.0267030507333264E-2</c:v>
                </c:pt>
                <c:pt idx="4194">
                  <c:v>1.1738181233695372E-2</c:v>
                </c:pt>
                <c:pt idx="4195">
                  <c:v>1.2864601305836979E-2</c:v>
                </c:pt>
                <c:pt idx="4196">
                  <c:v>1.5681983764814778E-2</c:v>
                </c:pt>
                <c:pt idx="4197">
                  <c:v>1.7843647141638698E-2</c:v>
                </c:pt>
                <c:pt idx="4198">
                  <c:v>1.9986930754512824E-2</c:v>
                </c:pt>
                <c:pt idx="4199">
                  <c:v>2.1679688859998082E-2</c:v>
                </c:pt>
                <c:pt idx="4200">
                  <c:v>2.3070200767100139E-2</c:v>
                </c:pt>
                <c:pt idx="4201">
                  <c:v>2.464958854617787E-2</c:v>
                </c:pt>
                <c:pt idx="4202">
                  <c:v>2.6083633708457822E-2</c:v>
                </c:pt>
                <c:pt idx="4203">
                  <c:v>2.7792976170689626E-2</c:v>
                </c:pt>
                <c:pt idx="4204">
                  <c:v>2.9233323007410512E-2</c:v>
                </c:pt>
                <c:pt idx="4205">
                  <c:v>3.113413654689209E-2</c:v>
                </c:pt>
                <c:pt idx="4206">
                  <c:v>3.3319740626462278E-2</c:v>
                </c:pt>
                <c:pt idx="4207">
                  <c:v>3.5068795898918426E-2</c:v>
                </c:pt>
                <c:pt idx="4208">
                  <c:v>3.6616896447257789E-2</c:v>
                </c:pt>
                <c:pt idx="4209">
                  <c:v>3.7868340348944103E-2</c:v>
                </c:pt>
                <c:pt idx="4210">
                  <c:v>3.8982737200840674E-2</c:v>
                </c:pt>
                <c:pt idx="4211">
                  <c:v>3.9928698456585338E-2</c:v>
                </c:pt>
                <c:pt idx="4212">
                  <c:v>4.1298405440823714E-2</c:v>
                </c:pt>
                <c:pt idx="4213">
                  <c:v>4.2799404316179374E-2</c:v>
                </c:pt>
                <c:pt idx="4214">
                  <c:v>4.4627542996119603E-2</c:v>
                </c:pt>
                <c:pt idx="4215">
                  <c:v>4.6571250982575592E-2</c:v>
                </c:pt>
                <c:pt idx="4216">
                  <c:v>4.8035385121581363E-2</c:v>
                </c:pt>
                <c:pt idx="4217">
                  <c:v>4.8925444128041215E-2</c:v>
                </c:pt>
                <c:pt idx="4218">
                  <c:v>4.9294445920562785E-2</c:v>
                </c:pt>
                <c:pt idx="4219">
                  <c:v>4.9305824281615201E-2</c:v>
                </c:pt>
                <c:pt idx="4220">
                  <c:v>4.873549864311752E-2</c:v>
                </c:pt>
                <c:pt idx="4221">
                  <c:v>4.8674512306867188E-2</c:v>
                </c:pt>
                <c:pt idx="4222">
                  <c:v>4.8764579387262287E-2</c:v>
                </c:pt>
                <c:pt idx="4223">
                  <c:v>4.9066369480647881E-2</c:v>
                </c:pt>
                <c:pt idx="4224">
                  <c:v>4.9014342515265631E-2</c:v>
                </c:pt>
                <c:pt idx="4225">
                  <c:v>4.8831125520507737E-2</c:v>
                </c:pt>
                <c:pt idx="4226">
                  <c:v>4.9452565999011253E-2</c:v>
                </c:pt>
                <c:pt idx="4227">
                  <c:v>4.9596909281090187E-2</c:v>
                </c:pt>
                <c:pt idx="4228">
                  <c:v>5.0082632602375179E-2</c:v>
                </c:pt>
                <c:pt idx="4229">
                  <c:v>5.0558266426138192E-2</c:v>
                </c:pt>
                <c:pt idx="4230">
                  <c:v>5.04746397270322E-2</c:v>
                </c:pt>
                <c:pt idx="4231">
                  <c:v>5.0324059599732844E-2</c:v>
                </c:pt>
                <c:pt idx="4232">
                  <c:v>4.9614706330614218E-2</c:v>
                </c:pt>
                <c:pt idx="4233">
                  <c:v>4.880407178792881E-2</c:v>
                </c:pt>
                <c:pt idx="4234">
                  <c:v>4.7674941409817581E-2</c:v>
                </c:pt>
                <c:pt idx="4235">
                  <c:v>4.6706507137366536E-2</c:v>
                </c:pt>
                <c:pt idx="4236">
                  <c:v>4.6493258337026833E-2</c:v>
                </c:pt>
                <c:pt idx="4237">
                  <c:v>4.6226466612193769E-2</c:v>
                </c:pt>
                <c:pt idx="4238">
                  <c:v>4.5996254163723993E-2</c:v>
                </c:pt>
                <c:pt idx="4239">
                  <c:v>4.5459350948814287E-2</c:v>
                </c:pt>
                <c:pt idx="4240">
                  <c:v>4.4953892639084836E-2</c:v>
                </c:pt>
                <c:pt idx="4241">
                  <c:v>4.5774600484821362E-2</c:v>
                </c:pt>
                <c:pt idx="4242">
                  <c:v>4.700058829453823E-2</c:v>
                </c:pt>
                <c:pt idx="4243">
                  <c:v>4.9634331816684474E-2</c:v>
                </c:pt>
                <c:pt idx="4244">
                  <c:v>5.2208544424706411E-2</c:v>
                </c:pt>
                <c:pt idx="4245">
                  <c:v>5.4932567309698685E-2</c:v>
                </c:pt>
                <c:pt idx="4246">
                  <c:v>5.775988891899677E-2</c:v>
                </c:pt>
                <c:pt idx="4247">
                  <c:v>5.9757432782238808E-2</c:v>
                </c:pt>
                <c:pt idx="4248">
                  <c:v>6.1023015529130281E-2</c:v>
                </c:pt>
                <c:pt idx="4249">
                  <c:v>6.2640874501099911E-2</c:v>
                </c:pt>
                <c:pt idx="4250">
                  <c:v>6.3494234152688886E-2</c:v>
                </c:pt>
                <c:pt idx="4251">
                  <c:v>6.496742880812717E-2</c:v>
                </c:pt>
                <c:pt idx="4252">
                  <c:v>6.6038891278491579E-2</c:v>
                </c:pt>
                <c:pt idx="4253">
                  <c:v>6.704160583966616E-2</c:v>
                </c:pt>
                <c:pt idx="4254">
                  <c:v>6.7947127603604676E-2</c:v>
                </c:pt>
                <c:pt idx="4255">
                  <c:v>6.8626198463146618E-2</c:v>
                </c:pt>
                <c:pt idx="4256">
                  <c:v>7.1121399052127249E-2</c:v>
                </c:pt>
                <c:pt idx="4257">
                  <c:v>7.3311883243163747E-2</c:v>
                </c:pt>
                <c:pt idx="4258">
                  <c:v>7.5512334255874489E-2</c:v>
                </c:pt>
                <c:pt idx="4259">
                  <c:v>7.7377015384496442E-2</c:v>
                </c:pt>
                <c:pt idx="4260">
                  <c:v>7.8474591755359369E-2</c:v>
                </c:pt>
                <c:pt idx="4261">
                  <c:v>7.9917481768108423E-2</c:v>
                </c:pt>
                <c:pt idx="4262">
                  <c:v>8.0524029615988479E-2</c:v>
                </c:pt>
                <c:pt idx="4263">
                  <c:v>8.0218334021685503E-2</c:v>
                </c:pt>
                <c:pt idx="4264">
                  <c:v>8.0131563458965646E-2</c:v>
                </c:pt>
                <c:pt idx="4265">
                  <c:v>7.9371995283644234E-2</c:v>
                </c:pt>
                <c:pt idx="4266">
                  <c:v>7.9173922244804101E-2</c:v>
                </c:pt>
                <c:pt idx="4267">
                  <c:v>7.8708619793657578E-2</c:v>
                </c:pt>
                <c:pt idx="4268">
                  <c:v>7.7729506983296767E-2</c:v>
                </c:pt>
                <c:pt idx="4269">
                  <c:v>7.6028968049179357E-2</c:v>
                </c:pt>
                <c:pt idx="4270">
                  <c:v>7.4423201737439645E-2</c:v>
                </c:pt>
                <c:pt idx="4271">
                  <c:v>7.3723508470607602E-2</c:v>
                </c:pt>
                <c:pt idx="4272">
                  <c:v>7.2922853659877954E-2</c:v>
                </c:pt>
                <c:pt idx="4273">
                  <c:v>7.2730294070180654E-2</c:v>
                </c:pt>
                <c:pt idx="4274">
                  <c:v>7.2262827441566785E-2</c:v>
                </c:pt>
                <c:pt idx="4275">
                  <c:v>7.1588052724236809E-2</c:v>
                </c:pt>
                <c:pt idx="4276">
                  <c:v>7.0972336511445633E-2</c:v>
                </c:pt>
                <c:pt idx="4277">
                  <c:v>6.9737008139355197E-2</c:v>
                </c:pt>
                <c:pt idx="4278">
                  <c:v>6.84313776014705E-2</c:v>
                </c:pt>
                <c:pt idx="4279">
                  <c:v>6.8906185757348248E-2</c:v>
                </c:pt>
                <c:pt idx="4280">
                  <c:v>6.8453716754142011E-2</c:v>
                </c:pt>
                <c:pt idx="4281">
                  <c:v>6.8317527800932309E-2</c:v>
                </c:pt>
                <c:pt idx="4282">
                  <c:v>6.8212275459507504E-2</c:v>
                </c:pt>
                <c:pt idx="4283">
                  <c:v>6.7431374245627382E-2</c:v>
                </c:pt>
                <c:pt idx="4284">
                  <c:v>6.6928181750789351E-2</c:v>
                </c:pt>
                <c:pt idx="4285">
                  <c:v>6.5433446054469283E-2</c:v>
                </c:pt>
                <c:pt idx="4286">
                  <c:v>6.558489404619415E-2</c:v>
                </c:pt>
                <c:pt idx="4287">
                  <c:v>6.6878999869497482E-2</c:v>
                </c:pt>
                <c:pt idx="4288">
                  <c:v>6.7777158197981746E-2</c:v>
                </c:pt>
                <c:pt idx="4289">
                  <c:v>6.8040547079401187E-2</c:v>
                </c:pt>
                <c:pt idx="4290">
                  <c:v>6.8520278898153361E-2</c:v>
                </c:pt>
                <c:pt idx="4291">
                  <c:v>6.9334789008463835E-2</c:v>
                </c:pt>
                <c:pt idx="4292">
                  <c:v>7.0109482188280753E-2</c:v>
                </c:pt>
                <c:pt idx="4293">
                  <c:v>7.0643763893574227E-2</c:v>
                </c:pt>
                <c:pt idx="4294">
                  <c:v>7.2099697270984503E-2</c:v>
                </c:pt>
                <c:pt idx="4295">
                  <c:v>7.3234221937515512E-2</c:v>
                </c:pt>
                <c:pt idx="4296">
                  <c:v>7.4611212071354349E-2</c:v>
                </c:pt>
                <c:pt idx="4297">
                  <c:v>7.5743068100240757E-2</c:v>
                </c:pt>
                <c:pt idx="4298">
                  <c:v>7.6085070138341523E-2</c:v>
                </c:pt>
                <c:pt idx="4299">
                  <c:v>7.6538565909992709E-2</c:v>
                </c:pt>
                <c:pt idx="4300">
                  <c:v>7.6105382849125422E-2</c:v>
                </c:pt>
                <c:pt idx="4301">
                  <c:v>7.5016040046539612E-2</c:v>
                </c:pt>
                <c:pt idx="4302">
                  <c:v>7.3647160391735939E-2</c:v>
                </c:pt>
                <c:pt idx="4303">
                  <c:v>7.1526410015903291E-2</c:v>
                </c:pt>
                <c:pt idx="4304">
                  <c:v>6.8930266839239696E-2</c:v>
                </c:pt>
                <c:pt idx="4305">
                  <c:v>6.5699983002960788E-2</c:v>
                </c:pt>
                <c:pt idx="4306">
                  <c:v>6.1746007183399274E-2</c:v>
                </c:pt>
                <c:pt idx="4307">
                  <c:v>5.7122100741830356E-2</c:v>
                </c:pt>
                <c:pt idx="4308">
                  <c:v>5.2772625148747775E-2</c:v>
                </c:pt>
                <c:pt idx="4309">
                  <c:v>4.9821217993065083E-2</c:v>
                </c:pt>
                <c:pt idx="4310">
                  <c:v>4.6410828918917436E-2</c:v>
                </c:pt>
                <c:pt idx="4311">
                  <c:v>4.3148218669138913E-2</c:v>
                </c:pt>
                <c:pt idx="4312">
                  <c:v>4.0302996411821598E-2</c:v>
                </c:pt>
                <c:pt idx="4313">
                  <c:v>3.6947259298274915E-2</c:v>
                </c:pt>
                <c:pt idx="4314">
                  <c:v>3.399979711262615E-2</c:v>
                </c:pt>
                <c:pt idx="4315">
                  <c:v>3.0567160627183648E-2</c:v>
                </c:pt>
                <c:pt idx="4316">
                  <c:v>2.6684147950492072E-2</c:v>
                </c:pt>
                <c:pt idx="4317">
                  <c:v>2.4454290719634928E-2</c:v>
                </c:pt>
                <c:pt idx="4318">
                  <c:v>2.2093913190428686E-2</c:v>
                </c:pt>
                <c:pt idx="4319">
                  <c:v>2.0078794829141003E-2</c:v>
                </c:pt>
                <c:pt idx="4320">
                  <c:v>1.9587337563997109E-2</c:v>
                </c:pt>
                <c:pt idx="4321">
                  <c:v>1.9331696408544641E-2</c:v>
                </c:pt>
                <c:pt idx="4322">
                  <c:v>2.0414861726663704E-2</c:v>
                </c:pt>
                <c:pt idx="4323">
                  <c:v>2.1830728213453304E-2</c:v>
                </c:pt>
                <c:pt idx="4324">
                  <c:v>2.3386749651719021E-2</c:v>
                </c:pt>
                <c:pt idx="4325">
                  <c:v>2.4764439715949986E-2</c:v>
                </c:pt>
                <c:pt idx="4326">
                  <c:v>2.5808247387183368E-2</c:v>
                </c:pt>
                <c:pt idx="4327">
                  <c:v>2.6642648493897168E-2</c:v>
                </c:pt>
                <c:pt idx="4328">
                  <c:v>2.7420961447924386E-2</c:v>
                </c:pt>
                <c:pt idx="4329">
                  <c:v>2.6999342802875036E-2</c:v>
                </c:pt>
                <c:pt idx="4330">
                  <c:v>2.7318038520755698E-2</c:v>
                </c:pt>
                <c:pt idx="4331">
                  <c:v>2.7671419403226146E-2</c:v>
                </c:pt>
                <c:pt idx="4332">
                  <c:v>2.8460740781163698E-2</c:v>
                </c:pt>
                <c:pt idx="4333">
                  <c:v>2.9100236746885541E-2</c:v>
                </c:pt>
                <c:pt idx="4334">
                  <c:v>2.9601137518740644E-2</c:v>
                </c:pt>
                <c:pt idx="4335">
                  <c:v>2.9986543007775975E-2</c:v>
                </c:pt>
                <c:pt idx="4336">
                  <c:v>3.0522114687643452E-2</c:v>
                </c:pt>
                <c:pt idx="4337">
                  <c:v>3.114126710525305E-2</c:v>
                </c:pt>
                <c:pt idx="4338">
                  <c:v>3.1447357736641153E-2</c:v>
                </c:pt>
                <c:pt idx="4339">
                  <c:v>3.1676688898061418E-2</c:v>
                </c:pt>
                <c:pt idx="4340">
                  <c:v>3.1639904750998357E-2</c:v>
                </c:pt>
                <c:pt idx="4341">
                  <c:v>3.138242647611357E-2</c:v>
                </c:pt>
                <c:pt idx="4342">
                  <c:v>3.0905826248808707E-2</c:v>
                </c:pt>
                <c:pt idx="4343">
                  <c:v>3.059512443828526E-2</c:v>
                </c:pt>
                <c:pt idx="4344">
                  <c:v>3.0476845316033865E-2</c:v>
                </c:pt>
                <c:pt idx="4345">
                  <c:v>3.0103646634261929E-2</c:v>
                </c:pt>
                <c:pt idx="4346">
                  <c:v>3.0011276425288204E-2</c:v>
                </c:pt>
                <c:pt idx="4347">
                  <c:v>2.9887671978802047E-2</c:v>
                </c:pt>
                <c:pt idx="4348">
                  <c:v>2.962835508122157E-2</c:v>
                </c:pt>
                <c:pt idx="4349">
                  <c:v>2.9945839593543182E-2</c:v>
                </c:pt>
                <c:pt idx="4350">
                  <c:v>2.9996854477943282E-2</c:v>
                </c:pt>
                <c:pt idx="4351">
                  <c:v>2.9878466560491045E-2</c:v>
                </c:pt>
                <c:pt idx="4352">
                  <c:v>3.0254584417717032E-2</c:v>
                </c:pt>
                <c:pt idx="4353">
                  <c:v>3.0487508503272424E-2</c:v>
                </c:pt>
                <c:pt idx="4354">
                  <c:v>3.0833524033169787E-2</c:v>
                </c:pt>
                <c:pt idx="4355">
                  <c:v>3.108063131889691E-2</c:v>
                </c:pt>
                <c:pt idx="4356">
                  <c:v>3.1253111912856457E-2</c:v>
                </c:pt>
                <c:pt idx="4357">
                  <c:v>3.1332931619802669E-2</c:v>
                </c:pt>
                <c:pt idx="4358">
                  <c:v>3.14881947258661E-2</c:v>
                </c:pt>
                <c:pt idx="4359">
                  <c:v>3.1936297394726074E-2</c:v>
                </c:pt>
                <c:pt idx="4360">
                  <c:v>3.2328437351741006E-2</c:v>
                </c:pt>
                <c:pt idx="4361">
                  <c:v>3.2928719371163609E-2</c:v>
                </c:pt>
                <c:pt idx="4362">
                  <c:v>3.3758444221400966E-2</c:v>
                </c:pt>
                <c:pt idx="4363">
                  <c:v>3.4425258447265371E-2</c:v>
                </c:pt>
                <c:pt idx="4364">
                  <c:v>3.4739740378793266E-2</c:v>
                </c:pt>
                <c:pt idx="4365">
                  <c:v>3.4765988118884553E-2</c:v>
                </c:pt>
                <c:pt idx="4366">
                  <c:v>3.4634015162278951E-2</c:v>
                </c:pt>
                <c:pt idx="4367">
                  <c:v>3.463289337163445E-2</c:v>
                </c:pt>
                <c:pt idx="4368">
                  <c:v>3.4940107715821365E-2</c:v>
                </c:pt>
                <c:pt idx="4369">
                  <c:v>3.4942115950107829E-2</c:v>
                </c:pt>
                <c:pt idx="4370">
                  <c:v>3.4680394065913792E-2</c:v>
                </c:pt>
                <c:pt idx="4371">
                  <c:v>3.4529850549351426E-2</c:v>
                </c:pt>
                <c:pt idx="4372">
                  <c:v>3.4297094536824647E-2</c:v>
                </c:pt>
                <c:pt idx="4373">
                  <c:v>3.4127419484996473E-2</c:v>
                </c:pt>
                <c:pt idx="4374">
                  <c:v>3.4140395820567215E-2</c:v>
                </c:pt>
                <c:pt idx="4375">
                  <c:v>3.3989716866434712E-2</c:v>
                </c:pt>
                <c:pt idx="4376">
                  <c:v>3.3915214925841625E-2</c:v>
                </c:pt>
                <c:pt idx="4377">
                  <c:v>3.4030104906729391E-2</c:v>
                </c:pt>
                <c:pt idx="4378">
                  <c:v>3.3969397073760184E-2</c:v>
                </c:pt>
                <c:pt idx="4379">
                  <c:v>3.3838936609156336E-2</c:v>
                </c:pt>
                <c:pt idx="4380">
                  <c:v>3.3318416231052209E-2</c:v>
                </c:pt>
                <c:pt idx="4381">
                  <c:v>3.2810624791489121E-2</c:v>
                </c:pt>
                <c:pt idx="4382">
                  <c:v>3.2458778808435278E-2</c:v>
                </c:pt>
                <c:pt idx="4383">
                  <c:v>3.196894695553186E-2</c:v>
                </c:pt>
                <c:pt idx="4384">
                  <c:v>3.1707853302789059E-2</c:v>
                </c:pt>
                <c:pt idx="4385">
                  <c:v>3.1496072578182696E-2</c:v>
                </c:pt>
                <c:pt idx="4386">
                  <c:v>3.147637999304901E-2</c:v>
                </c:pt>
                <c:pt idx="4387">
                  <c:v>3.1157349719716575E-2</c:v>
                </c:pt>
                <c:pt idx="4388">
                  <c:v>3.0771222484005861E-2</c:v>
                </c:pt>
                <c:pt idx="4389">
                  <c:v>3.0938625188460824E-2</c:v>
                </c:pt>
                <c:pt idx="4390">
                  <c:v>3.0941256450007535E-2</c:v>
                </c:pt>
                <c:pt idx="4391">
                  <c:v>3.0918894054536464E-2</c:v>
                </c:pt>
                <c:pt idx="4392">
                  <c:v>3.0744169870499296E-2</c:v>
                </c:pt>
                <c:pt idx="4393">
                  <c:v>3.0445474651586875E-2</c:v>
                </c:pt>
                <c:pt idx="4394">
                  <c:v>2.9828896413619011E-2</c:v>
                </c:pt>
                <c:pt idx="4395">
                  <c:v>2.9317800451258091E-2</c:v>
                </c:pt>
                <c:pt idx="4396">
                  <c:v>2.8564869653101801E-2</c:v>
                </c:pt>
                <c:pt idx="4397">
                  <c:v>2.7768833058707042E-2</c:v>
                </c:pt>
                <c:pt idx="4398">
                  <c:v>2.7346672117352297E-2</c:v>
                </c:pt>
                <c:pt idx="4399">
                  <c:v>2.7009491856203251E-2</c:v>
                </c:pt>
                <c:pt idx="4400">
                  <c:v>2.6496909001004654E-2</c:v>
                </c:pt>
                <c:pt idx="4401">
                  <c:v>2.6436803532465917E-2</c:v>
                </c:pt>
                <c:pt idx="4402">
                  <c:v>2.6463959659783244E-2</c:v>
                </c:pt>
                <c:pt idx="4403">
                  <c:v>2.6845648845382195E-2</c:v>
                </c:pt>
                <c:pt idx="4404">
                  <c:v>2.7385837881786154E-2</c:v>
                </c:pt>
                <c:pt idx="4405">
                  <c:v>2.7715953207652907E-2</c:v>
                </c:pt>
                <c:pt idx="4406">
                  <c:v>2.7788943664665021E-2</c:v>
                </c:pt>
                <c:pt idx="4407">
                  <c:v>2.848534065406445E-2</c:v>
                </c:pt>
                <c:pt idx="4408">
                  <c:v>2.8821845326055643E-2</c:v>
                </c:pt>
                <c:pt idx="4409">
                  <c:v>2.9004206877261501E-2</c:v>
                </c:pt>
                <c:pt idx="4410">
                  <c:v>2.8862478552800212E-2</c:v>
                </c:pt>
                <c:pt idx="4411">
                  <c:v>2.8759373164579952E-2</c:v>
                </c:pt>
                <c:pt idx="4412">
                  <c:v>2.856949281668195E-2</c:v>
                </c:pt>
                <c:pt idx="4413">
                  <c:v>2.8384969668270334E-2</c:v>
                </c:pt>
                <c:pt idx="4414">
                  <c:v>2.8226464039960021E-2</c:v>
                </c:pt>
                <c:pt idx="4415">
                  <c:v>2.8098044000907024E-2</c:v>
                </c:pt>
                <c:pt idx="4416">
                  <c:v>2.7936346884052873E-2</c:v>
                </c:pt>
                <c:pt idx="4417">
                  <c:v>2.7691925122121454E-2</c:v>
                </c:pt>
                <c:pt idx="4418">
                  <c:v>2.7315698905483968E-2</c:v>
                </c:pt>
                <c:pt idx="4419">
                  <c:v>2.716473717174445E-2</c:v>
                </c:pt>
                <c:pt idx="4420">
                  <c:v>2.6880212930946286E-2</c:v>
                </c:pt>
                <c:pt idx="4421">
                  <c:v>2.631344394527824E-2</c:v>
                </c:pt>
                <c:pt idx="4422">
                  <c:v>2.6392001509619276E-2</c:v>
                </c:pt>
                <c:pt idx="4423">
                  <c:v>2.6133650540340378E-2</c:v>
                </c:pt>
                <c:pt idx="4424">
                  <c:v>2.57035424582941E-2</c:v>
                </c:pt>
                <c:pt idx="4425">
                  <c:v>2.5745557285521522E-2</c:v>
                </c:pt>
                <c:pt idx="4426">
                  <c:v>2.5676366668427771E-2</c:v>
                </c:pt>
                <c:pt idx="4427">
                  <c:v>2.5553543777716948E-2</c:v>
                </c:pt>
                <c:pt idx="4428">
                  <c:v>2.5094626000810596E-2</c:v>
                </c:pt>
                <c:pt idx="4429">
                  <c:v>2.4939554996359393E-2</c:v>
                </c:pt>
                <c:pt idx="4430">
                  <c:v>2.4661436048768075E-2</c:v>
                </c:pt>
                <c:pt idx="4431">
                  <c:v>2.4436651150215209E-2</c:v>
                </c:pt>
                <c:pt idx="4432">
                  <c:v>2.4044320993973835E-2</c:v>
                </c:pt>
                <c:pt idx="4433">
                  <c:v>2.3638082953458227E-2</c:v>
                </c:pt>
                <c:pt idx="4434">
                  <c:v>2.3543581294332452E-2</c:v>
                </c:pt>
                <c:pt idx="4435">
                  <c:v>2.357881748896375E-2</c:v>
                </c:pt>
                <c:pt idx="4436">
                  <c:v>2.356516325295795E-2</c:v>
                </c:pt>
                <c:pt idx="4437">
                  <c:v>2.4639131617786109E-2</c:v>
                </c:pt>
                <c:pt idx="4438">
                  <c:v>2.5494875674811759E-2</c:v>
                </c:pt>
                <c:pt idx="4439">
                  <c:v>2.67541825422664E-2</c:v>
                </c:pt>
                <c:pt idx="4440">
                  <c:v>2.8083190690984042E-2</c:v>
                </c:pt>
                <c:pt idx="4441">
                  <c:v>2.9589139758778606E-2</c:v>
                </c:pt>
                <c:pt idx="4442">
                  <c:v>3.1583540013193669E-2</c:v>
                </c:pt>
                <c:pt idx="4443">
                  <c:v>3.3281114673319338E-2</c:v>
                </c:pt>
                <c:pt idx="4444">
                  <c:v>3.4507386450091042E-2</c:v>
                </c:pt>
                <c:pt idx="4445">
                  <c:v>3.5482810126762743E-2</c:v>
                </c:pt>
                <c:pt idx="4446">
                  <c:v>3.6286342948477372E-2</c:v>
                </c:pt>
                <c:pt idx="4447">
                  <c:v>3.6888226800325163E-2</c:v>
                </c:pt>
                <c:pt idx="4448">
                  <c:v>3.7227242175352504E-2</c:v>
                </c:pt>
                <c:pt idx="4449">
                  <c:v>3.7902807712391046E-2</c:v>
                </c:pt>
                <c:pt idx="4450">
                  <c:v>3.8507282968185855E-2</c:v>
                </c:pt>
                <c:pt idx="4451">
                  <c:v>3.8814703717081601E-2</c:v>
                </c:pt>
                <c:pt idx="4452">
                  <c:v>3.943448913047997E-2</c:v>
                </c:pt>
                <c:pt idx="4453">
                  <c:v>3.974840525582015E-2</c:v>
                </c:pt>
                <c:pt idx="4454">
                  <c:v>4.0188968506682771E-2</c:v>
                </c:pt>
                <c:pt idx="4455">
                  <c:v>4.0763579519124828E-2</c:v>
                </c:pt>
                <c:pt idx="4456">
                  <c:v>4.1145158149488936E-2</c:v>
                </c:pt>
                <c:pt idx="4457">
                  <c:v>4.1315751605020587E-2</c:v>
                </c:pt>
                <c:pt idx="4458">
                  <c:v>4.1539537866963037E-2</c:v>
                </c:pt>
                <c:pt idx="4459">
                  <c:v>4.1652024366256861E-2</c:v>
                </c:pt>
                <c:pt idx="4460">
                  <c:v>4.1526409533629051E-2</c:v>
                </c:pt>
                <c:pt idx="4461">
                  <c:v>4.0985060593497151E-2</c:v>
                </c:pt>
                <c:pt idx="4462">
                  <c:v>4.0462369008596753E-2</c:v>
                </c:pt>
                <c:pt idx="4463">
                  <c:v>3.9746091103776755E-2</c:v>
                </c:pt>
                <c:pt idx="4464">
                  <c:v>3.9212837220850172E-2</c:v>
                </c:pt>
                <c:pt idx="4465">
                  <c:v>3.8660373452632714E-2</c:v>
                </c:pt>
                <c:pt idx="4466">
                  <c:v>3.7925515588879334E-2</c:v>
                </c:pt>
                <c:pt idx="4467">
                  <c:v>3.7623164693491487E-2</c:v>
                </c:pt>
                <c:pt idx="4468">
                  <c:v>3.6928761899898244E-2</c:v>
                </c:pt>
                <c:pt idx="4469">
                  <c:v>3.6526560067446673E-2</c:v>
                </c:pt>
                <c:pt idx="4470">
                  <c:v>3.6128028730875478E-2</c:v>
                </c:pt>
                <c:pt idx="4471">
                  <c:v>3.5816723255279674E-2</c:v>
                </c:pt>
                <c:pt idx="4472">
                  <c:v>3.5853313802800282E-2</c:v>
                </c:pt>
                <c:pt idx="4473">
                  <c:v>3.5721165955870736E-2</c:v>
                </c:pt>
                <c:pt idx="4474">
                  <c:v>3.5441243704953926E-2</c:v>
                </c:pt>
                <c:pt idx="4475">
                  <c:v>3.491028352421377E-2</c:v>
                </c:pt>
                <c:pt idx="4476">
                  <c:v>3.4569046651858885E-2</c:v>
                </c:pt>
                <c:pt idx="4477">
                  <c:v>3.3942867524494984E-2</c:v>
                </c:pt>
                <c:pt idx="4478">
                  <c:v>3.2939692065608039E-2</c:v>
                </c:pt>
                <c:pt idx="4479">
                  <c:v>3.2383284426968369E-2</c:v>
                </c:pt>
                <c:pt idx="4480">
                  <c:v>3.1853781803229939E-2</c:v>
                </c:pt>
                <c:pt idx="4481">
                  <c:v>3.1189350499800792E-2</c:v>
                </c:pt>
                <c:pt idx="4482">
                  <c:v>3.0367715672010163E-2</c:v>
                </c:pt>
                <c:pt idx="4483">
                  <c:v>2.9224947266089034E-2</c:v>
                </c:pt>
                <c:pt idx="4484">
                  <c:v>2.839504534882497E-2</c:v>
                </c:pt>
                <c:pt idx="4485">
                  <c:v>2.7594607187318026E-2</c:v>
                </c:pt>
                <c:pt idx="4486">
                  <c:v>2.672614826099038E-2</c:v>
                </c:pt>
                <c:pt idx="4487">
                  <c:v>2.567437648120682E-2</c:v>
                </c:pt>
                <c:pt idx="4488">
                  <c:v>2.5186415898451539E-2</c:v>
                </c:pt>
                <c:pt idx="4489">
                  <c:v>2.4585711644845125E-2</c:v>
                </c:pt>
                <c:pt idx="4490">
                  <c:v>2.4013067272730861E-2</c:v>
                </c:pt>
                <c:pt idx="4491">
                  <c:v>2.3158046661411722E-2</c:v>
                </c:pt>
                <c:pt idx="4492">
                  <c:v>2.2622700116730933E-2</c:v>
                </c:pt>
                <c:pt idx="4493">
                  <c:v>2.2207214401449443E-2</c:v>
                </c:pt>
                <c:pt idx="4494">
                  <c:v>2.2223352073151181E-2</c:v>
                </c:pt>
                <c:pt idx="4495">
                  <c:v>2.2131549645980388E-2</c:v>
                </c:pt>
                <c:pt idx="4496">
                  <c:v>2.2054055185658242E-2</c:v>
                </c:pt>
                <c:pt idx="4497">
                  <c:v>2.2650023948899634E-2</c:v>
                </c:pt>
                <c:pt idx="4498">
                  <c:v>2.2973798222097552E-2</c:v>
                </c:pt>
                <c:pt idx="4499">
                  <c:v>2.3424221412339061E-2</c:v>
                </c:pt>
                <c:pt idx="4500">
                  <c:v>2.3616820337357992E-2</c:v>
                </c:pt>
                <c:pt idx="4501">
                  <c:v>2.4237506915297559E-2</c:v>
                </c:pt>
                <c:pt idx="4502">
                  <c:v>2.4631602941578748E-2</c:v>
                </c:pt>
                <c:pt idx="4503">
                  <c:v>2.5384751880150814E-2</c:v>
                </c:pt>
                <c:pt idx="4504">
                  <c:v>2.6358993632230217E-2</c:v>
                </c:pt>
                <c:pt idx="4505">
                  <c:v>2.7220297798348916E-2</c:v>
                </c:pt>
                <c:pt idx="4506">
                  <c:v>2.8299759926018717E-2</c:v>
                </c:pt>
                <c:pt idx="4507">
                  <c:v>2.9181424117111422E-2</c:v>
                </c:pt>
                <c:pt idx="4508">
                  <c:v>2.9822378051295135E-2</c:v>
                </c:pt>
                <c:pt idx="4509">
                  <c:v>3.0605630659081833E-2</c:v>
                </c:pt>
                <c:pt idx="4510">
                  <c:v>3.1069098602193805E-2</c:v>
                </c:pt>
                <c:pt idx="4511">
                  <c:v>3.1436406297306728E-2</c:v>
                </c:pt>
                <c:pt idx="4512">
                  <c:v>3.1785033965615189E-2</c:v>
                </c:pt>
                <c:pt idx="4513">
                  <c:v>3.3935917177328231E-2</c:v>
                </c:pt>
                <c:pt idx="4514">
                  <c:v>3.6225858814272656E-2</c:v>
                </c:pt>
                <c:pt idx="4515">
                  <c:v>3.7980759318645259E-2</c:v>
                </c:pt>
                <c:pt idx="4516">
                  <c:v>3.9341620279040694E-2</c:v>
                </c:pt>
                <c:pt idx="4517">
                  <c:v>4.0203987108659078E-2</c:v>
                </c:pt>
                <c:pt idx="4518">
                  <c:v>4.1003224869027771E-2</c:v>
                </c:pt>
                <c:pt idx="4519">
                  <c:v>4.1455515983571709E-2</c:v>
                </c:pt>
                <c:pt idx="4520">
                  <c:v>4.1744046211256061E-2</c:v>
                </c:pt>
                <c:pt idx="4521">
                  <c:v>4.2315776218937631E-2</c:v>
                </c:pt>
                <c:pt idx="4522">
                  <c:v>4.2618528048259934E-2</c:v>
                </c:pt>
                <c:pt idx="4523">
                  <c:v>4.2492568330852645E-2</c:v>
                </c:pt>
                <c:pt idx="4524">
                  <c:v>4.2300949081416205E-2</c:v>
                </c:pt>
                <c:pt idx="4525">
                  <c:v>4.1736781068180122E-2</c:v>
                </c:pt>
                <c:pt idx="4526">
                  <c:v>4.0810832582768304E-2</c:v>
                </c:pt>
                <c:pt idx="4527">
                  <c:v>4.0308783080228033E-2</c:v>
                </c:pt>
                <c:pt idx="4528">
                  <c:v>3.9574612557051171E-2</c:v>
                </c:pt>
                <c:pt idx="4529">
                  <c:v>3.867795427931401E-2</c:v>
                </c:pt>
                <c:pt idx="4530">
                  <c:v>3.7412550417275023E-2</c:v>
                </c:pt>
                <c:pt idx="4531">
                  <c:v>3.6322253754618193E-2</c:v>
                </c:pt>
                <c:pt idx="4532">
                  <c:v>3.4986656730642766E-2</c:v>
                </c:pt>
                <c:pt idx="4533">
                  <c:v>3.4019855979929813E-2</c:v>
                </c:pt>
                <c:pt idx="4534">
                  <c:v>3.3274306527625419E-2</c:v>
                </c:pt>
                <c:pt idx="4535">
                  <c:v>3.2386667291906097E-2</c:v>
                </c:pt>
                <c:pt idx="4536">
                  <c:v>3.1469370865216353E-2</c:v>
                </c:pt>
                <c:pt idx="4537">
                  <c:v>3.0342383467741759E-2</c:v>
                </c:pt>
                <c:pt idx="4538">
                  <c:v>2.9004531239290636E-2</c:v>
                </c:pt>
                <c:pt idx="4539">
                  <c:v>2.7520571703836837E-2</c:v>
                </c:pt>
                <c:pt idx="4540">
                  <c:v>2.5548475469438645E-2</c:v>
                </c:pt>
                <c:pt idx="4541">
                  <c:v>2.3397928460157882E-2</c:v>
                </c:pt>
                <c:pt idx="4542">
                  <c:v>2.0766994220967831E-2</c:v>
                </c:pt>
                <c:pt idx="4543">
                  <c:v>2.0527581368730299E-2</c:v>
                </c:pt>
                <c:pt idx="4544">
                  <c:v>2.0694111467495939E-2</c:v>
                </c:pt>
                <c:pt idx="4545">
                  <c:v>2.0866960227173936E-2</c:v>
                </c:pt>
                <c:pt idx="4546">
                  <c:v>2.0873151656954261E-2</c:v>
                </c:pt>
                <c:pt idx="4547">
                  <c:v>2.1099265190767217E-2</c:v>
                </c:pt>
                <c:pt idx="4548">
                  <c:v>2.172673279093024E-2</c:v>
                </c:pt>
                <c:pt idx="4549">
                  <c:v>2.2060200937029633E-2</c:v>
                </c:pt>
                <c:pt idx="4550">
                  <c:v>2.200938186454009E-2</c:v>
                </c:pt>
                <c:pt idx="4551">
                  <c:v>2.2428629508982997E-2</c:v>
                </c:pt>
                <c:pt idx="4552">
                  <c:v>2.2987061753941555E-2</c:v>
                </c:pt>
                <c:pt idx="4553">
                  <c:v>2.3424669409121211E-2</c:v>
                </c:pt>
                <c:pt idx="4554">
                  <c:v>2.4081351070036831E-2</c:v>
                </c:pt>
                <c:pt idx="4555">
                  <c:v>2.4892211815403468E-2</c:v>
                </c:pt>
                <c:pt idx="4556">
                  <c:v>2.5603023436543249E-2</c:v>
                </c:pt>
                <c:pt idx="4557">
                  <c:v>2.6099949505727648E-2</c:v>
                </c:pt>
                <c:pt idx="4558">
                  <c:v>2.7170535690241891E-2</c:v>
                </c:pt>
                <c:pt idx="4559">
                  <c:v>2.8229491586192479E-2</c:v>
                </c:pt>
                <c:pt idx="4560">
                  <c:v>2.9296547462017746E-2</c:v>
                </c:pt>
                <c:pt idx="4561">
                  <c:v>3.040830923243695E-2</c:v>
                </c:pt>
                <c:pt idx="4562">
                  <c:v>3.124800696277228E-2</c:v>
                </c:pt>
                <c:pt idx="4563">
                  <c:v>3.239524501782684E-2</c:v>
                </c:pt>
                <c:pt idx="4564">
                  <c:v>3.343115399868668E-2</c:v>
                </c:pt>
                <c:pt idx="4565">
                  <c:v>3.4270438290982738E-2</c:v>
                </c:pt>
                <c:pt idx="4566">
                  <c:v>3.4959317164357254E-2</c:v>
                </c:pt>
                <c:pt idx="4567">
                  <c:v>3.5367257784214262E-2</c:v>
                </c:pt>
                <c:pt idx="4568">
                  <c:v>3.5828669965356462E-2</c:v>
                </c:pt>
                <c:pt idx="4569">
                  <c:v>3.5931740286613029E-2</c:v>
                </c:pt>
                <c:pt idx="4570">
                  <c:v>3.5899052460602564E-2</c:v>
                </c:pt>
                <c:pt idx="4571">
                  <c:v>3.6154655220407415E-2</c:v>
                </c:pt>
                <c:pt idx="4572">
                  <c:v>3.6202843016378827E-2</c:v>
                </c:pt>
                <c:pt idx="4573">
                  <c:v>3.6158050749456876E-2</c:v>
                </c:pt>
                <c:pt idx="4574">
                  <c:v>3.6300404737585529E-2</c:v>
                </c:pt>
                <c:pt idx="4575">
                  <c:v>3.6533291966233221E-2</c:v>
                </c:pt>
                <c:pt idx="4576">
                  <c:v>3.6982071011764081E-2</c:v>
                </c:pt>
                <c:pt idx="4577">
                  <c:v>3.7371499976577308E-2</c:v>
                </c:pt>
                <c:pt idx="4578">
                  <c:v>3.7919640597617113E-2</c:v>
                </c:pt>
                <c:pt idx="4579">
                  <c:v>3.8130613449923419E-2</c:v>
                </c:pt>
                <c:pt idx="4580">
                  <c:v>3.7926896739900691E-2</c:v>
                </c:pt>
                <c:pt idx="4581">
                  <c:v>3.7679479993951291E-2</c:v>
                </c:pt>
                <c:pt idx="4582">
                  <c:v>3.7254257754556784E-2</c:v>
                </c:pt>
                <c:pt idx="4583">
                  <c:v>3.6826477478114163E-2</c:v>
                </c:pt>
                <c:pt idx="4584">
                  <c:v>3.6498090552293264E-2</c:v>
                </c:pt>
                <c:pt idx="4585">
                  <c:v>3.632381518304123E-2</c:v>
                </c:pt>
                <c:pt idx="4586">
                  <c:v>3.6311501703585485E-2</c:v>
                </c:pt>
                <c:pt idx="4587">
                  <c:v>3.6881981029622549E-2</c:v>
                </c:pt>
                <c:pt idx="4588">
                  <c:v>3.7801606464930387E-2</c:v>
                </c:pt>
                <c:pt idx="4589">
                  <c:v>3.8712787896069259E-2</c:v>
                </c:pt>
                <c:pt idx="4590">
                  <c:v>3.9327916821108283E-2</c:v>
                </c:pt>
                <c:pt idx="4591">
                  <c:v>3.9932522578871893E-2</c:v>
                </c:pt>
                <c:pt idx="4592">
                  <c:v>4.0615711728332553E-2</c:v>
                </c:pt>
                <c:pt idx="4593">
                  <c:v>4.1175462538029173E-2</c:v>
                </c:pt>
                <c:pt idx="4594">
                  <c:v>4.1338355246937644E-2</c:v>
                </c:pt>
                <c:pt idx="4595">
                  <c:v>4.1203787972038913E-2</c:v>
                </c:pt>
                <c:pt idx="4596">
                  <c:v>4.0763072611157476E-2</c:v>
                </c:pt>
                <c:pt idx="4597">
                  <c:v>3.9893155869781413E-2</c:v>
                </c:pt>
                <c:pt idx="4598">
                  <c:v>3.8956507081912443E-2</c:v>
                </c:pt>
                <c:pt idx="4599">
                  <c:v>3.7583914578732863E-2</c:v>
                </c:pt>
                <c:pt idx="4600">
                  <c:v>3.6058235620299445E-2</c:v>
                </c:pt>
                <c:pt idx="4601">
                  <c:v>3.4844217186072501E-2</c:v>
                </c:pt>
                <c:pt idx="4602">
                  <c:v>3.3526319204398573E-2</c:v>
                </c:pt>
                <c:pt idx="4603">
                  <c:v>3.1999094717755118E-2</c:v>
                </c:pt>
                <c:pt idx="4604">
                  <c:v>3.0543799409398196E-2</c:v>
                </c:pt>
                <c:pt idx="4605">
                  <c:v>2.9120001298887189E-2</c:v>
                </c:pt>
                <c:pt idx="4606">
                  <c:v>2.8046638183570869E-2</c:v>
                </c:pt>
                <c:pt idx="4607">
                  <c:v>2.6725209783341811E-2</c:v>
                </c:pt>
                <c:pt idx="4608">
                  <c:v>2.5280577572565948E-2</c:v>
                </c:pt>
                <c:pt idx="4609">
                  <c:v>2.3590074753207985E-2</c:v>
                </c:pt>
                <c:pt idx="4610">
                  <c:v>2.1522138524272705E-2</c:v>
                </c:pt>
                <c:pt idx="4611">
                  <c:v>1.9526778244601157E-2</c:v>
                </c:pt>
                <c:pt idx="4612">
                  <c:v>1.7045304796331141E-2</c:v>
                </c:pt>
                <c:pt idx="4613">
                  <c:v>1.4489019173755746E-2</c:v>
                </c:pt>
                <c:pt idx="4614">
                  <c:v>1.1915692347639645E-2</c:v>
                </c:pt>
                <c:pt idx="4615">
                  <c:v>9.1273890215005597E-3</c:v>
                </c:pt>
                <c:pt idx="4616">
                  <c:v>6.323234544380921E-3</c:v>
                </c:pt>
                <c:pt idx="4617">
                  <c:v>5.24303187820879E-3</c:v>
                </c:pt>
                <c:pt idx="4618">
                  <c:v>4.4107667020274717E-3</c:v>
                </c:pt>
                <c:pt idx="4619">
                  <c:v>3.8271204919505769E-3</c:v>
                </c:pt>
                <c:pt idx="4620">
                  <c:v>3.0614681760830552E-3</c:v>
                </c:pt>
                <c:pt idx="4621">
                  <c:v>2.3154143399781763E-3</c:v>
                </c:pt>
                <c:pt idx="4622">
                  <c:v>2.3196965651061966E-3</c:v>
                </c:pt>
                <c:pt idx="4623">
                  <c:v>2.3143015147992852E-3</c:v>
                </c:pt>
                <c:pt idx="4624">
                  <c:v>2.3166248113611152E-3</c:v>
                </c:pt>
                <c:pt idx="4625">
                  <c:v>2.2995620852697919E-3</c:v>
                </c:pt>
                <c:pt idx="4626">
                  <c:v>2.2649014158171248E-3</c:v>
                </c:pt>
                <c:pt idx="4627">
                  <c:v>2.2162081749020797E-3</c:v>
                </c:pt>
                <c:pt idx="4628">
                  <c:v>2.1582055817818638E-3</c:v>
                </c:pt>
                <c:pt idx="4629">
                  <c:v>2.0876222891513421E-3</c:v>
                </c:pt>
                <c:pt idx="4630">
                  <c:v>1.990648349883605E-3</c:v>
                </c:pt>
                <c:pt idx="4631">
                  <c:v>1.9112120445104453E-3</c:v>
                </c:pt>
                <c:pt idx="4632">
                  <c:v>1.8555284627395886E-3</c:v>
                </c:pt>
                <c:pt idx="4633">
                  <c:v>1.8107093331329032E-3</c:v>
                </c:pt>
                <c:pt idx="4634">
                  <c:v>1.7449034814572243E-3</c:v>
                </c:pt>
                <c:pt idx="4635">
                  <c:v>1.6653738820810262E-3</c:v>
                </c:pt>
                <c:pt idx="4636">
                  <c:v>1.5478834815180523E-3</c:v>
                </c:pt>
                <c:pt idx="4637">
                  <c:v>1.461748049801237E-3</c:v>
                </c:pt>
                <c:pt idx="4638">
                  <c:v>1.3909688810101262E-3</c:v>
                </c:pt>
                <c:pt idx="4639">
                  <c:v>1.4216367029854513E-3</c:v>
                </c:pt>
                <c:pt idx="4640">
                  <c:v>1.4397836707503342E-3</c:v>
                </c:pt>
                <c:pt idx="4641">
                  <c:v>1.4533027540750568E-3</c:v>
                </c:pt>
                <c:pt idx="4642">
                  <c:v>1.4573153625825625E-3</c:v>
                </c:pt>
                <c:pt idx="4643">
                  <c:v>1.4837216541126192E-3</c:v>
                </c:pt>
                <c:pt idx="4644">
                  <c:v>1.5041931694993391E-3</c:v>
                </c:pt>
                <c:pt idx="4645">
                  <c:v>1.5727121786774803E-3</c:v>
                </c:pt>
                <c:pt idx="4646">
                  <c:v>1.6272440778982151E-3</c:v>
                </c:pt>
                <c:pt idx="4647">
                  <c:v>1.7349328273894638E-3</c:v>
                </c:pt>
                <c:pt idx="4648">
                  <c:v>1.821720683589896E-3</c:v>
                </c:pt>
                <c:pt idx="4649">
                  <c:v>1.8823499172926589E-3</c:v>
                </c:pt>
                <c:pt idx="4650">
                  <c:v>1.9353167244668945E-3</c:v>
                </c:pt>
                <c:pt idx="4651">
                  <c:v>1.9708463891820508E-3</c:v>
                </c:pt>
                <c:pt idx="4652">
                  <c:v>2.0098477551450489E-3</c:v>
                </c:pt>
                <c:pt idx="4653">
                  <c:v>2.0385281370386126E-3</c:v>
                </c:pt>
                <c:pt idx="4654">
                  <c:v>2.0680176438728306E-3</c:v>
                </c:pt>
                <c:pt idx="4655">
                  <c:v>2.0891659308317234E-3</c:v>
                </c:pt>
                <c:pt idx="4656">
                  <c:v>2.0980819312540404E-3</c:v>
                </c:pt>
                <c:pt idx="4657">
                  <c:v>2.0878596351534473E-3</c:v>
                </c:pt>
                <c:pt idx="4658">
                  <c:v>2.0784613390035511E-3</c:v>
                </c:pt>
                <c:pt idx="4659">
                  <c:v>2.0620058730001661E-3</c:v>
                </c:pt>
                <c:pt idx="4660">
                  <c:v>2.0211525464230318E-3</c:v>
                </c:pt>
                <c:pt idx="4661">
                  <c:v>1.9634656886172298E-3</c:v>
                </c:pt>
                <c:pt idx="4662">
                  <c:v>1.9411025686123338E-3</c:v>
                </c:pt>
                <c:pt idx="4663">
                  <c:v>1.9417717413309347E-3</c:v>
                </c:pt>
                <c:pt idx="4664">
                  <c:v>1.9330500696217614E-3</c:v>
                </c:pt>
                <c:pt idx="4665">
                  <c:v>1.9151708390894577E-3</c:v>
                </c:pt>
                <c:pt idx="4666">
                  <c:v>1.8892826608448868E-3</c:v>
                </c:pt>
                <c:pt idx="4667">
                  <c:v>1.8621351179103299E-3</c:v>
                </c:pt>
                <c:pt idx="4668">
                  <c:v>1.8194666352566713E-3</c:v>
                </c:pt>
                <c:pt idx="4669">
                  <c:v>1.7811855450569501E-3</c:v>
                </c:pt>
                <c:pt idx="4670">
                  <c:v>1.741345448642645E-3</c:v>
                </c:pt>
                <c:pt idx="4671">
                  <c:v>1.6878526373228597E-3</c:v>
                </c:pt>
                <c:pt idx="4672">
                  <c:v>1.6227536471813818E-3</c:v>
                </c:pt>
                <c:pt idx="4673">
                  <c:v>1.5794395122073659E-3</c:v>
                </c:pt>
                <c:pt idx="4674">
                  <c:v>1.5303974724078019E-3</c:v>
                </c:pt>
                <c:pt idx="4675">
                  <c:v>1.4932562581948521E-3</c:v>
                </c:pt>
                <c:pt idx="4676">
                  <c:v>1.441870754582301E-3</c:v>
                </c:pt>
                <c:pt idx="4677">
                  <c:v>1.477889644631705E-3</c:v>
                </c:pt>
                <c:pt idx="4678">
                  <c:v>1.5280962104270777E-3</c:v>
                </c:pt>
                <c:pt idx="4679">
                  <c:v>1.5572618549617766E-3</c:v>
                </c:pt>
                <c:pt idx="4680">
                  <c:v>1.5797799294691374E-3</c:v>
                </c:pt>
                <c:pt idx="4681">
                  <c:v>1.5979417185974052E-3</c:v>
                </c:pt>
                <c:pt idx="4682">
                  <c:v>1.6348159010079115E-3</c:v>
                </c:pt>
                <c:pt idx="4683">
                  <c:v>1.6541104583130263E-3</c:v>
                </c:pt>
                <c:pt idx="4684">
                  <c:v>1.6951644672876579E-3</c:v>
                </c:pt>
                <c:pt idx="4685">
                  <c:v>1.7967675713843176E-3</c:v>
                </c:pt>
                <c:pt idx="4686">
                  <c:v>1.8801654004062418E-3</c:v>
                </c:pt>
                <c:pt idx="4687">
                  <c:v>1.9417475026204227E-3</c:v>
                </c:pt>
                <c:pt idx="4688">
                  <c:v>1.9960091215176761E-3</c:v>
                </c:pt>
                <c:pt idx="4689">
                  <c:v>2.0783333208651113E-3</c:v>
                </c:pt>
                <c:pt idx="4690">
                  <c:v>2.1362441649834469E-3</c:v>
                </c:pt>
                <c:pt idx="4691">
                  <c:v>2.1877996516755519E-3</c:v>
                </c:pt>
                <c:pt idx="4692">
                  <c:v>2.2732484771958439E-3</c:v>
                </c:pt>
                <c:pt idx="4693">
                  <c:v>2.3400915312661078E-3</c:v>
                </c:pt>
                <c:pt idx="4694">
                  <c:v>2.4284106006540996E-3</c:v>
                </c:pt>
                <c:pt idx="4695">
                  <c:v>2.5066717968028843E-3</c:v>
                </c:pt>
                <c:pt idx="4696">
                  <c:v>2.579524554085885E-3</c:v>
                </c:pt>
                <c:pt idx="4697">
                  <c:v>2.6306151438039681E-3</c:v>
                </c:pt>
                <c:pt idx="4698">
                  <c:v>2.6596773137599005E-3</c:v>
                </c:pt>
                <c:pt idx="4699">
                  <c:v>2.6916228727770089E-3</c:v>
                </c:pt>
                <c:pt idx="4700">
                  <c:v>2.730455387328815E-3</c:v>
                </c:pt>
                <c:pt idx="4701">
                  <c:v>2.7696421035288609E-3</c:v>
                </c:pt>
                <c:pt idx="4702">
                  <c:v>2.7906041707290454E-3</c:v>
                </c:pt>
                <c:pt idx="4703">
                  <c:v>2.7998556139146313E-3</c:v>
                </c:pt>
                <c:pt idx="4704">
                  <c:v>2.8112138949520763E-3</c:v>
                </c:pt>
                <c:pt idx="4705">
                  <c:v>2.8121115116583537E-3</c:v>
                </c:pt>
                <c:pt idx="4706">
                  <c:v>2.7793489441813521E-3</c:v>
                </c:pt>
                <c:pt idx="4707">
                  <c:v>2.7750621694954403E-3</c:v>
                </c:pt>
                <c:pt idx="4708">
                  <c:v>2.7801834940973844E-3</c:v>
                </c:pt>
                <c:pt idx="4709">
                  <c:v>2.7825119701346359E-3</c:v>
                </c:pt>
                <c:pt idx="4710">
                  <c:v>2.764281060595434E-3</c:v>
                </c:pt>
                <c:pt idx="4711">
                  <c:v>2.7275390616828474E-3</c:v>
                </c:pt>
                <c:pt idx="4712">
                  <c:v>2.6990265483692885E-3</c:v>
                </c:pt>
                <c:pt idx="4713">
                  <c:v>2.6588532608928985E-3</c:v>
                </c:pt>
                <c:pt idx="4714">
                  <c:v>2.6092802639124642E-3</c:v>
                </c:pt>
                <c:pt idx="4715">
                  <c:v>2.6118782689700487E-3</c:v>
                </c:pt>
                <c:pt idx="4716">
                  <c:v>2.5944221934921159E-3</c:v>
                </c:pt>
                <c:pt idx="4717">
                  <c:v>2.5773579882762462E-3</c:v>
                </c:pt>
                <c:pt idx="4718">
                  <c:v>2.5261742733143646E-3</c:v>
                </c:pt>
                <c:pt idx="4719">
                  <c:v>2.5091157608053455E-3</c:v>
                </c:pt>
                <c:pt idx="4720">
                  <c:v>2.4854997857755761E-3</c:v>
                </c:pt>
                <c:pt idx="4721">
                  <c:v>2.4749415417476242E-3</c:v>
                </c:pt>
                <c:pt idx="4722">
                  <c:v>2.468780066390825E-3</c:v>
                </c:pt>
                <c:pt idx="4723">
                  <c:v>2.45812987217486E-3</c:v>
                </c:pt>
                <c:pt idx="4724">
                  <c:v>2.4669228336927041E-3</c:v>
                </c:pt>
                <c:pt idx="4725">
                  <c:v>2.4622135837631216E-3</c:v>
                </c:pt>
                <c:pt idx="4726">
                  <c:v>2.4435609197351379E-3</c:v>
                </c:pt>
                <c:pt idx="4727">
                  <c:v>2.4034945275706932E-3</c:v>
                </c:pt>
                <c:pt idx="4728">
                  <c:v>2.3382945905554239E-3</c:v>
                </c:pt>
                <c:pt idx="4729">
                  <c:v>2.3018100721687025E-3</c:v>
                </c:pt>
                <c:pt idx="4730">
                  <c:v>2.2543135026759698E-3</c:v>
                </c:pt>
                <c:pt idx="4731">
                  <c:v>2.2275378899040193E-3</c:v>
                </c:pt>
                <c:pt idx="4732">
                  <c:v>2.1869264096868513E-3</c:v>
                </c:pt>
                <c:pt idx="4733">
                  <c:v>2.1479008502617836E-3</c:v>
                </c:pt>
                <c:pt idx="4734">
                  <c:v>2.117155456298567E-3</c:v>
                </c:pt>
                <c:pt idx="4735">
                  <c:v>2.1081711837394328E-3</c:v>
                </c:pt>
                <c:pt idx="4736">
                  <c:v>2.0851581903570827E-3</c:v>
                </c:pt>
                <c:pt idx="4737">
                  <c:v>2.0723678971533684E-3</c:v>
                </c:pt>
                <c:pt idx="4738">
                  <c:v>2.0561040515931022E-3</c:v>
                </c:pt>
                <c:pt idx="4739">
                  <c:v>2.0625146929540289E-3</c:v>
                </c:pt>
                <c:pt idx="4740">
                  <c:v>2.0557035723411774E-3</c:v>
                </c:pt>
                <c:pt idx="4741">
                  <c:v>2.0339432205347457E-3</c:v>
                </c:pt>
                <c:pt idx="4742">
                  <c:v>2.0116822789610811E-3</c:v>
                </c:pt>
                <c:pt idx="4743">
                  <c:v>1.9898085299254022E-3</c:v>
                </c:pt>
                <c:pt idx="4744">
                  <c:v>1.9869972265668932E-3</c:v>
                </c:pt>
                <c:pt idx="4745">
                  <c:v>2.0329281116942752E-3</c:v>
                </c:pt>
                <c:pt idx="4746">
                  <c:v>2.057128713519723E-3</c:v>
                </c:pt>
                <c:pt idx="4747">
                  <c:v>2.1182936579152247E-3</c:v>
                </c:pt>
                <c:pt idx="4748">
                  <c:v>2.1581496376334212E-3</c:v>
                </c:pt>
                <c:pt idx="4749">
                  <c:v>2.1860365327191237E-3</c:v>
                </c:pt>
                <c:pt idx="4750">
                  <c:v>2.2566084206729685E-3</c:v>
                </c:pt>
                <c:pt idx="4751">
                  <c:v>2.3494605260790898E-3</c:v>
                </c:pt>
                <c:pt idx="4752">
                  <c:v>2.4208308231130457E-3</c:v>
                </c:pt>
                <c:pt idx="4753">
                  <c:v>2.4816135105803485E-3</c:v>
                </c:pt>
                <c:pt idx="4754">
                  <c:v>2.5268441592897649E-3</c:v>
                </c:pt>
                <c:pt idx="4755">
                  <c:v>2.5464030690831316E-3</c:v>
                </c:pt>
                <c:pt idx="4756">
                  <c:v>2.5422690547339021E-3</c:v>
                </c:pt>
                <c:pt idx="4757">
                  <c:v>2.5541430035521933E-3</c:v>
                </c:pt>
                <c:pt idx="4758">
                  <c:v>2.5398724202655462E-3</c:v>
                </c:pt>
                <c:pt idx="4759">
                  <c:v>2.5308525388617236E-3</c:v>
                </c:pt>
                <c:pt idx="4760">
                  <c:v>2.4977700414728094E-3</c:v>
                </c:pt>
                <c:pt idx="4761">
                  <c:v>2.4644290950585693E-3</c:v>
                </c:pt>
                <c:pt idx="4762">
                  <c:v>2.4343182964510742E-3</c:v>
                </c:pt>
                <c:pt idx="4763">
                  <c:v>2.4049612529238418E-3</c:v>
                </c:pt>
                <c:pt idx="4764">
                  <c:v>2.3513948051044628E-3</c:v>
                </c:pt>
                <c:pt idx="4765">
                  <c:v>2.3107541000222786E-3</c:v>
                </c:pt>
                <c:pt idx="4766">
                  <c:v>2.2594378385413587E-3</c:v>
                </c:pt>
                <c:pt idx="4767">
                  <c:v>2.2112018660807899E-3</c:v>
                </c:pt>
                <c:pt idx="4768">
                  <c:v>2.1475769540127468E-3</c:v>
                </c:pt>
                <c:pt idx="4769">
                  <c:v>2.0830056273783201E-3</c:v>
                </c:pt>
                <c:pt idx="4770">
                  <c:v>1.9979540572629888E-3</c:v>
                </c:pt>
                <c:pt idx="4771">
                  <c:v>1.9030072045214646E-3</c:v>
                </c:pt>
                <c:pt idx="4772">
                  <c:v>1.7889192276695303E-3</c:v>
                </c:pt>
                <c:pt idx="4773">
                  <c:v>1.655540582954711E-3</c:v>
                </c:pt>
                <c:pt idx="4774">
                  <c:v>1.5594098537783639E-3</c:v>
                </c:pt>
                <c:pt idx="4775">
                  <c:v>1.5208977638040992E-3</c:v>
                </c:pt>
                <c:pt idx="4776">
                  <c:v>1.468012341109094E-3</c:v>
                </c:pt>
                <c:pt idx="4777">
                  <c:v>1.468444827316328E-3</c:v>
                </c:pt>
                <c:pt idx="4778">
                  <c:v>1.4856762551992736E-3</c:v>
                </c:pt>
                <c:pt idx="4779">
                  <c:v>1.4751896652298762E-3</c:v>
                </c:pt>
                <c:pt idx="4780">
                  <c:v>1.4965251007541512E-3</c:v>
                </c:pt>
                <c:pt idx="4781">
                  <c:v>1.5620358364103509E-3</c:v>
                </c:pt>
                <c:pt idx="4782">
                  <c:v>1.6453770496488208E-3</c:v>
                </c:pt>
                <c:pt idx="4783">
                  <c:v>1.7266699354884037E-3</c:v>
                </c:pt>
                <c:pt idx="4784">
                  <c:v>1.7912284995208255E-3</c:v>
                </c:pt>
                <c:pt idx="4785">
                  <c:v>1.8305208006565397E-3</c:v>
                </c:pt>
                <c:pt idx="4786">
                  <c:v>1.8529117540973209E-3</c:v>
                </c:pt>
                <c:pt idx="4787">
                  <c:v>1.9424324529770994E-3</c:v>
                </c:pt>
                <c:pt idx="4788">
                  <c:v>2.0118242281067949E-3</c:v>
                </c:pt>
                <c:pt idx="4789">
                  <c:v>2.1211201807174447E-3</c:v>
                </c:pt>
                <c:pt idx="4790">
                  <c:v>2.2619799131410258E-3</c:v>
                </c:pt>
                <c:pt idx="4791">
                  <c:v>2.4335895846978339E-3</c:v>
                </c:pt>
                <c:pt idx="4792">
                  <c:v>2.5863771726460953E-3</c:v>
                </c:pt>
                <c:pt idx="4793">
                  <c:v>2.7242324878793763E-3</c:v>
                </c:pt>
                <c:pt idx="4794">
                  <c:v>2.8379952557453935E-3</c:v>
                </c:pt>
                <c:pt idx="4795">
                  <c:v>2.94322477421764E-3</c:v>
                </c:pt>
                <c:pt idx="4796">
                  <c:v>3.0682017726563569E-3</c:v>
                </c:pt>
                <c:pt idx="4797">
                  <c:v>3.1679710199286944E-3</c:v>
                </c:pt>
                <c:pt idx="4798">
                  <c:v>3.23607805952578E-3</c:v>
                </c:pt>
                <c:pt idx="4799">
                  <c:v>3.3031425888235769E-3</c:v>
                </c:pt>
                <c:pt idx="4800">
                  <c:v>3.3421041872974786E-3</c:v>
                </c:pt>
                <c:pt idx="4801">
                  <c:v>3.3619015009964249E-3</c:v>
                </c:pt>
                <c:pt idx="4802">
                  <c:v>3.3634752527296114E-3</c:v>
                </c:pt>
                <c:pt idx="4803">
                  <c:v>3.3520857111133569E-3</c:v>
                </c:pt>
                <c:pt idx="4804">
                  <c:v>3.3162799210710607E-3</c:v>
                </c:pt>
                <c:pt idx="4805">
                  <c:v>3.272349264816165E-3</c:v>
                </c:pt>
                <c:pt idx="4806">
                  <c:v>3.209625370415354E-3</c:v>
                </c:pt>
                <c:pt idx="4807">
                  <c:v>3.1678919347405327E-3</c:v>
                </c:pt>
                <c:pt idx="4808">
                  <c:v>3.1430973547302808E-3</c:v>
                </c:pt>
                <c:pt idx="4809">
                  <c:v>3.1113865232634853E-3</c:v>
                </c:pt>
                <c:pt idx="4810">
                  <c:v>3.0487585012106675E-3</c:v>
                </c:pt>
                <c:pt idx="4811">
                  <c:v>3.0301492734345231E-3</c:v>
                </c:pt>
                <c:pt idx="4812">
                  <c:v>3.0075962245117455E-3</c:v>
                </c:pt>
                <c:pt idx="4813">
                  <c:v>2.9815351581781186E-3</c:v>
                </c:pt>
                <c:pt idx="4814">
                  <c:v>2.9372984937809207E-3</c:v>
                </c:pt>
                <c:pt idx="4815">
                  <c:v>2.8560797930176182E-3</c:v>
                </c:pt>
                <c:pt idx="4816">
                  <c:v>2.754231180686754E-3</c:v>
                </c:pt>
                <c:pt idx="4817">
                  <c:v>2.6746045841618323E-3</c:v>
                </c:pt>
                <c:pt idx="4818">
                  <c:v>2.5868402514658767E-3</c:v>
                </c:pt>
                <c:pt idx="4819">
                  <c:v>2.5270023677521612E-3</c:v>
                </c:pt>
                <c:pt idx="4820">
                  <c:v>2.4902227285517192E-3</c:v>
                </c:pt>
                <c:pt idx="4821">
                  <c:v>2.5128807376270652E-3</c:v>
                </c:pt>
                <c:pt idx="4822">
                  <c:v>2.513726372356436E-3</c:v>
                </c:pt>
                <c:pt idx="4823">
                  <c:v>2.5183606124531991E-3</c:v>
                </c:pt>
                <c:pt idx="4824">
                  <c:v>2.5024093774807803E-3</c:v>
                </c:pt>
                <c:pt idx="4825">
                  <c:v>2.494443699868727E-3</c:v>
                </c:pt>
                <c:pt idx="4826">
                  <c:v>2.5071991548948646E-3</c:v>
                </c:pt>
                <c:pt idx="4827">
                  <c:v>2.5016862056345302E-3</c:v>
                </c:pt>
                <c:pt idx="4828">
                  <c:v>2.4730518561460841E-3</c:v>
                </c:pt>
                <c:pt idx="4829">
                  <c:v>2.447432915790527E-3</c:v>
                </c:pt>
                <c:pt idx="4830">
                  <c:v>2.4054333554469889E-3</c:v>
                </c:pt>
                <c:pt idx="4831">
                  <c:v>2.3431841219328127E-3</c:v>
                </c:pt>
                <c:pt idx="4832">
                  <c:v>2.3020828628451014E-3</c:v>
                </c:pt>
                <c:pt idx="4833">
                  <c:v>2.2554534317013567E-3</c:v>
                </c:pt>
                <c:pt idx="4834">
                  <c:v>2.2011947973982443E-3</c:v>
                </c:pt>
                <c:pt idx="4835">
                  <c:v>2.1216930950968011E-3</c:v>
                </c:pt>
                <c:pt idx="4836">
                  <c:v>2.032970076358788E-3</c:v>
                </c:pt>
                <c:pt idx="4837">
                  <c:v>1.9417507850850266E-3</c:v>
                </c:pt>
                <c:pt idx="4838">
                  <c:v>1.8755750918954136E-3</c:v>
                </c:pt>
                <c:pt idx="4839">
                  <c:v>1.8472905500561763E-3</c:v>
                </c:pt>
                <c:pt idx="4840">
                  <c:v>1.8248715976676389E-3</c:v>
                </c:pt>
                <c:pt idx="4841">
                  <c:v>1.8278466682153873E-3</c:v>
                </c:pt>
                <c:pt idx="4842">
                  <c:v>1.8121355488281269E-3</c:v>
                </c:pt>
                <c:pt idx="4843">
                  <c:v>1.8616317581446021E-3</c:v>
                </c:pt>
                <c:pt idx="4844">
                  <c:v>1.8994722848040232E-3</c:v>
                </c:pt>
                <c:pt idx="4845">
                  <c:v>1.9140048772746518E-3</c:v>
                </c:pt>
                <c:pt idx="4846">
                  <c:v>1.9616462098751429E-3</c:v>
                </c:pt>
                <c:pt idx="4847">
                  <c:v>2.0453738553214448E-3</c:v>
                </c:pt>
                <c:pt idx="4848">
                  <c:v>2.125147667415477E-3</c:v>
                </c:pt>
                <c:pt idx="4849">
                  <c:v>2.199615031600476E-3</c:v>
                </c:pt>
                <c:pt idx="4850">
                  <c:v>2.2433472122216436E-3</c:v>
                </c:pt>
                <c:pt idx="4851">
                  <c:v>2.3062863828938233E-3</c:v>
                </c:pt>
                <c:pt idx="4852">
                  <c:v>2.3520514071750189E-3</c:v>
                </c:pt>
                <c:pt idx="4853">
                  <c:v>2.3918529168842411E-3</c:v>
                </c:pt>
                <c:pt idx="4854">
                  <c:v>2.455739951224107E-3</c:v>
                </c:pt>
                <c:pt idx="4855">
                  <c:v>2.5119946376130223E-3</c:v>
                </c:pt>
                <c:pt idx="4856">
                  <c:v>2.5470598479758388E-3</c:v>
                </c:pt>
                <c:pt idx="4857">
                  <c:v>2.5641141537986077E-3</c:v>
                </c:pt>
                <c:pt idx="4858">
                  <c:v>2.5635388458964087E-3</c:v>
                </c:pt>
                <c:pt idx="4859">
                  <c:v>2.5359787080606461E-3</c:v>
                </c:pt>
                <c:pt idx="4860">
                  <c:v>2.4794145792863226E-3</c:v>
                </c:pt>
                <c:pt idx="4861">
                  <c:v>2.3552048041730273E-3</c:v>
                </c:pt>
                <c:pt idx="4862">
                  <c:v>2.2417314466052847E-3</c:v>
                </c:pt>
                <c:pt idx="4863">
                  <c:v>2.1301197818631205E-3</c:v>
                </c:pt>
                <c:pt idx="4864">
                  <c:v>2.0325919752765959E-3</c:v>
                </c:pt>
                <c:pt idx="4865">
                  <c:v>1.9550725123854292E-3</c:v>
                </c:pt>
                <c:pt idx="4866">
                  <c:v>1.8914331430408353E-3</c:v>
                </c:pt>
                <c:pt idx="4867">
                  <c:v>1.9346770736989249E-3</c:v>
                </c:pt>
                <c:pt idx="4868">
                  <c:v>2.0360439523107975E-3</c:v>
                </c:pt>
                <c:pt idx="4869">
                  <c:v>2.1541476190748759E-3</c:v>
                </c:pt>
                <c:pt idx="4870">
                  <c:v>2.3025477769380983E-3</c:v>
                </c:pt>
                <c:pt idx="4871">
                  <c:v>2.4741525037536515E-3</c:v>
                </c:pt>
                <c:pt idx="4872">
                  <c:v>2.6685366932587074E-3</c:v>
                </c:pt>
                <c:pt idx="4873">
                  <c:v>2.8905892952355767E-3</c:v>
                </c:pt>
                <c:pt idx="4874">
                  <c:v>3.1816440761392793E-3</c:v>
                </c:pt>
                <c:pt idx="4875">
                  <c:v>3.5106241488925137E-3</c:v>
                </c:pt>
                <c:pt idx="4876">
                  <c:v>3.8716698576851385E-3</c:v>
                </c:pt>
                <c:pt idx="4877">
                  <c:v>4.247163630267687E-3</c:v>
                </c:pt>
                <c:pt idx="4878">
                  <c:v>4.5606820288962213E-3</c:v>
                </c:pt>
                <c:pt idx="4879">
                  <c:v>4.8546595694623782E-3</c:v>
                </c:pt>
                <c:pt idx="4880">
                  <c:v>5.1452874279985777E-3</c:v>
                </c:pt>
                <c:pt idx="4881">
                  <c:v>5.5096117520304546E-3</c:v>
                </c:pt>
                <c:pt idx="4882">
                  <c:v>5.8068529287528077E-3</c:v>
                </c:pt>
                <c:pt idx="4883">
                  <c:v>6.0833683501822777E-3</c:v>
                </c:pt>
                <c:pt idx="4884">
                  <c:v>6.3043682167362881E-3</c:v>
                </c:pt>
                <c:pt idx="4885">
                  <c:v>6.4894811247451301E-3</c:v>
                </c:pt>
                <c:pt idx="4886">
                  <c:v>6.6160114274485711E-3</c:v>
                </c:pt>
                <c:pt idx="4887">
                  <c:v>6.7281797552100802E-3</c:v>
                </c:pt>
                <c:pt idx="4888">
                  <c:v>6.9846474939682483E-3</c:v>
                </c:pt>
                <c:pt idx="4889">
                  <c:v>7.1437134644802116E-3</c:v>
                </c:pt>
                <c:pt idx="4890">
                  <c:v>7.2180772029406788E-3</c:v>
                </c:pt>
                <c:pt idx="4891">
                  <c:v>7.2760602538361804E-3</c:v>
                </c:pt>
                <c:pt idx="4892">
                  <c:v>7.4121222676557467E-3</c:v>
                </c:pt>
                <c:pt idx="4893">
                  <c:v>7.4912161505449847E-3</c:v>
                </c:pt>
                <c:pt idx="4894">
                  <c:v>7.5974261765362292E-3</c:v>
                </c:pt>
                <c:pt idx="4895">
                  <c:v>7.7711241025548846E-3</c:v>
                </c:pt>
                <c:pt idx="4896">
                  <c:v>7.9716424220916161E-3</c:v>
                </c:pt>
                <c:pt idx="4897">
                  <c:v>8.1621568084478124E-3</c:v>
                </c:pt>
                <c:pt idx="4898">
                  <c:v>8.3360222131695482E-3</c:v>
                </c:pt>
                <c:pt idx="4899">
                  <c:v>8.4584774164580597E-3</c:v>
                </c:pt>
                <c:pt idx="4900">
                  <c:v>8.6305365593402628E-3</c:v>
                </c:pt>
                <c:pt idx="4901">
                  <c:v>8.7270758904453398E-3</c:v>
                </c:pt>
                <c:pt idx="4902">
                  <c:v>8.8026742678929647E-3</c:v>
                </c:pt>
                <c:pt idx="4903">
                  <c:v>8.8212520033334168E-3</c:v>
                </c:pt>
                <c:pt idx="4904">
                  <c:v>8.8834234557817141E-3</c:v>
                </c:pt>
                <c:pt idx="4905">
                  <c:v>8.9153500874497461E-3</c:v>
                </c:pt>
                <c:pt idx="4906">
                  <c:v>8.9419895663861819E-3</c:v>
                </c:pt>
                <c:pt idx="4907">
                  <c:v>8.9423369473362792E-3</c:v>
                </c:pt>
                <c:pt idx="4908">
                  <c:v>8.8497204931220572E-3</c:v>
                </c:pt>
                <c:pt idx="4909">
                  <c:v>8.7548167836039529E-3</c:v>
                </c:pt>
                <c:pt idx="4910">
                  <c:v>8.6342645398458564E-3</c:v>
                </c:pt>
                <c:pt idx="4911">
                  <c:v>8.5765300289336634E-3</c:v>
                </c:pt>
                <c:pt idx="4912">
                  <c:v>8.4366961072143559E-3</c:v>
                </c:pt>
                <c:pt idx="4913">
                  <c:v>8.2746114154301047E-3</c:v>
                </c:pt>
                <c:pt idx="4914">
                  <c:v>8.2039744254885274E-3</c:v>
                </c:pt>
                <c:pt idx="4915">
                  <c:v>8.1713653488727188E-3</c:v>
                </c:pt>
                <c:pt idx="4916">
                  <c:v>8.0529130947098165E-3</c:v>
                </c:pt>
                <c:pt idx="4917">
                  <c:v>7.977496412319672E-3</c:v>
                </c:pt>
                <c:pt idx="4918">
                  <c:v>8.0255094722589907E-3</c:v>
                </c:pt>
                <c:pt idx="4919">
                  <c:v>8.0913349837807291E-3</c:v>
                </c:pt>
                <c:pt idx="4920">
                  <c:v>8.0582242632090337E-3</c:v>
                </c:pt>
                <c:pt idx="4921">
                  <c:v>7.9296115783489274E-3</c:v>
                </c:pt>
                <c:pt idx="4922">
                  <c:v>7.8108219724998028E-3</c:v>
                </c:pt>
                <c:pt idx="4923">
                  <c:v>7.7169335067150844E-3</c:v>
                </c:pt>
                <c:pt idx="4924">
                  <c:v>7.6356438017601584E-3</c:v>
                </c:pt>
                <c:pt idx="4925">
                  <c:v>7.6315519647685726E-3</c:v>
                </c:pt>
                <c:pt idx="4926">
                  <c:v>7.6505576438630251E-3</c:v>
                </c:pt>
                <c:pt idx="4927">
                  <c:v>7.5785657203099937E-3</c:v>
                </c:pt>
                <c:pt idx="4928">
                  <c:v>7.5340936885363525E-3</c:v>
                </c:pt>
                <c:pt idx="4929">
                  <c:v>7.4470082667195837E-3</c:v>
                </c:pt>
                <c:pt idx="4930">
                  <c:v>7.5503532670100027E-3</c:v>
                </c:pt>
                <c:pt idx="4931">
                  <c:v>7.6829940532356766E-3</c:v>
                </c:pt>
                <c:pt idx="4932">
                  <c:v>7.793042994148164E-3</c:v>
                </c:pt>
                <c:pt idx="4933">
                  <c:v>7.8561318519480925E-3</c:v>
                </c:pt>
                <c:pt idx="4934">
                  <c:v>8.0302524015749555E-3</c:v>
                </c:pt>
                <c:pt idx="4935">
                  <c:v>8.1766909662044692E-3</c:v>
                </c:pt>
                <c:pt idx="4936">
                  <c:v>8.2973029251141497E-3</c:v>
                </c:pt>
                <c:pt idx="4937">
                  <c:v>8.5195865980251181E-3</c:v>
                </c:pt>
                <c:pt idx="4938">
                  <c:v>8.6302828482152979E-3</c:v>
                </c:pt>
                <c:pt idx="4939">
                  <c:v>8.6889380958978472E-3</c:v>
                </c:pt>
                <c:pt idx="4940">
                  <c:v>8.7318439564036659E-3</c:v>
                </c:pt>
                <c:pt idx="4941">
                  <c:v>8.7153246214964151E-3</c:v>
                </c:pt>
                <c:pt idx="4942">
                  <c:v>8.6314591162789892E-3</c:v>
                </c:pt>
                <c:pt idx="4943">
                  <c:v>8.49714414397661E-3</c:v>
                </c:pt>
                <c:pt idx="4944">
                  <c:v>8.4300813137146539E-3</c:v>
                </c:pt>
                <c:pt idx="4945">
                  <c:v>8.3791709319424E-3</c:v>
                </c:pt>
                <c:pt idx="4946">
                  <c:v>8.2817241852862506E-3</c:v>
                </c:pt>
                <c:pt idx="4947">
                  <c:v>8.2154077500801205E-3</c:v>
                </c:pt>
                <c:pt idx="4948">
                  <c:v>8.1958037282993407E-3</c:v>
                </c:pt>
                <c:pt idx="4949">
                  <c:v>8.2078571514835851E-3</c:v>
                </c:pt>
                <c:pt idx="4950">
                  <c:v>8.2336005379342447E-3</c:v>
                </c:pt>
                <c:pt idx="4951">
                  <c:v>8.1850654925953031E-3</c:v>
                </c:pt>
                <c:pt idx="4952">
                  <c:v>8.1728921257767859E-3</c:v>
                </c:pt>
                <c:pt idx="4953">
                  <c:v>8.174841225676974E-3</c:v>
                </c:pt>
                <c:pt idx="4954">
                  <c:v>8.0964553101166865E-3</c:v>
                </c:pt>
                <c:pt idx="4955">
                  <c:v>7.988163540943281E-3</c:v>
                </c:pt>
                <c:pt idx="4956">
                  <c:v>7.8628667126051984E-3</c:v>
                </c:pt>
                <c:pt idx="4957">
                  <c:v>7.7160911284616523E-3</c:v>
                </c:pt>
                <c:pt idx="4958">
                  <c:v>7.5758765074525579E-3</c:v>
                </c:pt>
                <c:pt idx="4959">
                  <c:v>7.3858688172226093E-3</c:v>
                </c:pt>
                <c:pt idx="4960">
                  <c:v>7.3334348082838754E-3</c:v>
                </c:pt>
                <c:pt idx="4961">
                  <c:v>7.2963384435409317E-3</c:v>
                </c:pt>
                <c:pt idx="4962">
                  <c:v>7.2867902376724239E-3</c:v>
                </c:pt>
                <c:pt idx="4963">
                  <c:v>7.5064478391470065E-3</c:v>
                </c:pt>
                <c:pt idx="4964">
                  <c:v>7.7698085394529888E-3</c:v>
                </c:pt>
                <c:pt idx="4965">
                  <c:v>8.1045015031475029E-3</c:v>
                </c:pt>
                <c:pt idx="4966">
                  <c:v>8.3406601352785242E-3</c:v>
                </c:pt>
                <c:pt idx="4967">
                  <c:v>8.6168291341794049E-3</c:v>
                </c:pt>
                <c:pt idx="4968">
                  <c:v>8.8716901158117575E-3</c:v>
                </c:pt>
                <c:pt idx="4969">
                  <c:v>9.0358130430610636E-3</c:v>
                </c:pt>
                <c:pt idx="4970">
                  <c:v>9.2340210719340961E-3</c:v>
                </c:pt>
                <c:pt idx="4971">
                  <c:v>9.4076863251825425E-3</c:v>
                </c:pt>
                <c:pt idx="4972">
                  <c:v>9.5252177985188525E-3</c:v>
                </c:pt>
                <c:pt idx="4973">
                  <c:v>9.5749296914333631E-3</c:v>
                </c:pt>
                <c:pt idx="4974">
                  <c:v>9.5768442818042806E-3</c:v>
                </c:pt>
                <c:pt idx="4975">
                  <c:v>9.5166720867260468E-3</c:v>
                </c:pt>
                <c:pt idx="4976">
                  <c:v>9.4369811935645521E-3</c:v>
                </c:pt>
                <c:pt idx="4977">
                  <c:v>9.4292544595324535E-3</c:v>
                </c:pt>
                <c:pt idx="4978">
                  <c:v>9.4520235834962135E-3</c:v>
                </c:pt>
                <c:pt idx="4979">
                  <c:v>9.3916724506946971E-3</c:v>
                </c:pt>
                <c:pt idx="4980">
                  <c:v>9.4782205183403072E-3</c:v>
                </c:pt>
                <c:pt idx="4981">
                  <c:v>9.4735237773047494E-3</c:v>
                </c:pt>
                <c:pt idx="4982">
                  <c:v>9.4803186044996983E-3</c:v>
                </c:pt>
                <c:pt idx="4983">
                  <c:v>9.4270919297385833E-3</c:v>
                </c:pt>
                <c:pt idx="4984">
                  <c:v>9.3404140732969258E-3</c:v>
                </c:pt>
                <c:pt idx="4985">
                  <c:v>9.1956027215525302E-3</c:v>
                </c:pt>
                <c:pt idx="4986">
                  <c:v>9.0564701189626198E-3</c:v>
                </c:pt>
                <c:pt idx="4987">
                  <c:v>8.8947376366831348E-3</c:v>
                </c:pt>
                <c:pt idx="4988">
                  <c:v>8.7252945995493075E-3</c:v>
                </c:pt>
                <c:pt idx="4989">
                  <c:v>8.5431505789697118E-3</c:v>
                </c:pt>
                <c:pt idx="4990">
                  <c:v>8.394657403165225E-3</c:v>
                </c:pt>
                <c:pt idx="4991">
                  <c:v>8.2600159072480778E-3</c:v>
                </c:pt>
                <c:pt idx="4992">
                  <c:v>8.1151575215821399E-3</c:v>
                </c:pt>
                <c:pt idx="4993">
                  <c:v>8.7497946608653399E-3</c:v>
                </c:pt>
                <c:pt idx="4994">
                  <c:v>9.2321228471746418E-3</c:v>
                </c:pt>
                <c:pt idx="4995">
                  <c:v>9.7260492584000345E-3</c:v>
                </c:pt>
                <c:pt idx="4996">
                  <c:v>1.0191793709975689E-2</c:v>
                </c:pt>
                <c:pt idx="4997">
                  <c:v>1.0607907889409527E-2</c:v>
                </c:pt>
                <c:pt idx="4998">
                  <c:v>1.102261677509715E-2</c:v>
                </c:pt>
                <c:pt idx="4999">
                  <c:v>1.1298659068744631E-2</c:v>
                </c:pt>
                <c:pt idx="5000">
                  <c:v>1.1521176318664506E-2</c:v>
                </c:pt>
                <c:pt idx="5001">
                  <c:v>1.2007895919277844E-2</c:v>
                </c:pt>
                <c:pt idx="5002">
                  <c:v>1.2350333099265094E-2</c:v>
                </c:pt>
                <c:pt idx="5003">
                  <c:v>1.2542981981312122E-2</c:v>
                </c:pt>
                <c:pt idx="5004">
                  <c:v>1.2662530529657988E-2</c:v>
                </c:pt>
                <c:pt idx="5005">
                  <c:v>1.2929994730258963E-2</c:v>
                </c:pt>
                <c:pt idx="5006">
                  <c:v>1.3143108987881656E-2</c:v>
                </c:pt>
                <c:pt idx="5007">
                  <c:v>1.3438649065804302E-2</c:v>
                </c:pt>
                <c:pt idx="5008">
                  <c:v>1.3609586607391673E-2</c:v>
                </c:pt>
                <c:pt idx="5009">
                  <c:v>1.3660188603059533E-2</c:v>
                </c:pt>
                <c:pt idx="5010">
                  <c:v>1.3850479630534639E-2</c:v>
                </c:pt>
                <c:pt idx="5011">
                  <c:v>1.3908331088734382E-2</c:v>
                </c:pt>
                <c:pt idx="5012">
                  <c:v>1.3906136819806578E-2</c:v>
                </c:pt>
                <c:pt idx="5013">
                  <c:v>1.3802203968488956E-2</c:v>
                </c:pt>
                <c:pt idx="5014">
                  <c:v>1.3625689226308458E-2</c:v>
                </c:pt>
                <c:pt idx="5015">
                  <c:v>1.3410194910962419E-2</c:v>
                </c:pt>
                <c:pt idx="5016">
                  <c:v>1.3116100695099778E-2</c:v>
                </c:pt>
                <c:pt idx="5017">
                  <c:v>1.2675380032972463E-2</c:v>
                </c:pt>
                <c:pt idx="5018">
                  <c:v>1.2217445664972517E-2</c:v>
                </c:pt>
                <c:pt idx="5019">
                  <c:v>1.1652964768163349E-2</c:v>
                </c:pt>
                <c:pt idx="5020">
                  <c:v>1.1018364525225879E-2</c:v>
                </c:pt>
                <c:pt idx="5021">
                  <c:v>1.040425937697614E-2</c:v>
                </c:pt>
                <c:pt idx="5022">
                  <c:v>9.6649884819500938E-3</c:v>
                </c:pt>
                <c:pt idx="5023">
                  <c:v>9.5686068557739052E-3</c:v>
                </c:pt>
                <c:pt idx="5024">
                  <c:v>9.4355514352966949E-3</c:v>
                </c:pt>
                <c:pt idx="5025">
                  <c:v>9.3396732450435616E-3</c:v>
                </c:pt>
                <c:pt idx="5026">
                  <c:v>9.386070912238486E-3</c:v>
                </c:pt>
                <c:pt idx="5027">
                  <c:v>9.3882609873722957E-3</c:v>
                </c:pt>
                <c:pt idx="5028">
                  <c:v>9.373689601320347E-3</c:v>
                </c:pt>
                <c:pt idx="5029">
                  <c:v>9.362350798205861E-3</c:v>
                </c:pt>
                <c:pt idx="5030">
                  <c:v>9.5036649170744513E-3</c:v>
                </c:pt>
                <c:pt idx="5031">
                  <c:v>1.0185221389890116E-2</c:v>
                </c:pt>
                <c:pt idx="5032">
                  <c:v>1.0749047029345217E-2</c:v>
                </c:pt>
                <c:pt idx="5033">
                  <c:v>1.1208969515347302E-2</c:v>
                </c:pt>
                <c:pt idx="5034">
                  <c:v>1.1506886317032585E-2</c:v>
                </c:pt>
                <c:pt idx="5035">
                  <c:v>1.1886692562267948E-2</c:v>
                </c:pt>
                <c:pt idx="5036">
                  <c:v>1.2170702899927456E-2</c:v>
                </c:pt>
                <c:pt idx="5037">
                  <c:v>1.2439331931112662E-2</c:v>
                </c:pt>
                <c:pt idx="5038">
                  <c:v>1.2605170833682639E-2</c:v>
                </c:pt>
                <c:pt idx="5039">
                  <c:v>1.2786218023599562E-2</c:v>
                </c:pt>
                <c:pt idx="5040">
                  <c:v>1.2971446391617902E-2</c:v>
                </c:pt>
                <c:pt idx="5041">
                  <c:v>1.3058927453808057E-2</c:v>
                </c:pt>
                <c:pt idx="5042">
                  <c:v>1.314954443554427E-2</c:v>
                </c:pt>
                <c:pt idx="5043">
                  <c:v>1.3134720523806719E-2</c:v>
                </c:pt>
                <c:pt idx="5044">
                  <c:v>1.3013153700847957E-2</c:v>
                </c:pt>
                <c:pt idx="5045">
                  <c:v>1.2874921492147449E-2</c:v>
                </c:pt>
                <c:pt idx="5046">
                  <c:v>1.2656268682357093E-2</c:v>
                </c:pt>
                <c:pt idx="5047">
                  <c:v>1.2365360451784331E-2</c:v>
                </c:pt>
                <c:pt idx="5048">
                  <c:v>1.2029881866319019E-2</c:v>
                </c:pt>
                <c:pt idx="5049">
                  <c:v>1.16818779701353E-2</c:v>
                </c:pt>
                <c:pt idx="5050">
                  <c:v>1.1212195001163867E-2</c:v>
                </c:pt>
                <c:pt idx="5051">
                  <c:v>1.0612235227760199E-2</c:v>
                </c:pt>
                <c:pt idx="5052">
                  <c:v>1.0033383542891799E-2</c:v>
                </c:pt>
                <c:pt idx="5053">
                  <c:v>9.5457572886216892E-3</c:v>
                </c:pt>
                <c:pt idx="5054">
                  <c:v>9.0407271446259294E-3</c:v>
                </c:pt>
                <c:pt idx="5055">
                  <c:v>8.5913548317159676E-3</c:v>
                </c:pt>
                <c:pt idx="5056">
                  <c:v>8.2059560981020841E-3</c:v>
                </c:pt>
                <c:pt idx="5057">
                  <c:v>7.6810555390585192E-3</c:v>
                </c:pt>
                <c:pt idx="5058">
                  <c:v>7.0742096005328827E-3</c:v>
                </c:pt>
                <c:pt idx="5059">
                  <c:v>6.6972230703173331E-3</c:v>
                </c:pt>
                <c:pt idx="5060">
                  <c:v>6.5895012704106481E-3</c:v>
                </c:pt>
                <c:pt idx="5061">
                  <c:v>6.7225114975018969E-3</c:v>
                </c:pt>
                <c:pt idx="5062">
                  <c:v>7.0154534515679493E-3</c:v>
                </c:pt>
                <c:pt idx="5063">
                  <c:v>7.2830250635965901E-3</c:v>
                </c:pt>
                <c:pt idx="5064">
                  <c:v>7.4582675489325888E-3</c:v>
                </c:pt>
                <c:pt idx="5065">
                  <c:v>7.6041284683699834E-3</c:v>
                </c:pt>
                <c:pt idx="5066">
                  <c:v>7.7579555853565622E-3</c:v>
                </c:pt>
                <c:pt idx="5067">
                  <c:v>7.8489750954826697E-3</c:v>
                </c:pt>
                <c:pt idx="5068">
                  <c:v>7.9161302872394496E-3</c:v>
                </c:pt>
                <c:pt idx="5069">
                  <c:v>8.1644767767283643E-3</c:v>
                </c:pt>
                <c:pt idx="5070">
                  <c:v>8.7060099773828316E-3</c:v>
                </c:pt>
                <c:pt idx="5071">
                  <c:v>9.1826606224823561E-3</c:v>
                </c:pt>
                <c:pt idx="5072">
                  <c:v>9.5936669427614547E-3</c:v>
                </c:pt>
                <c:pt idx="5073">
                  <c:v>9.9743758514293616E-3</c:v>
                </c:pt>
                <c:pt idx="5074">
                  <c:v>1.0229876904336146E-2</c:v>
                </c:pt>
                <c:pt idx="5075">
                  <c:v>1.0442422971132473E-2</c:v>
                </c:pt>
                <c:pt idx="5076">
                  <c:v>1.068597545729664E-2</c:v>
                </c:pt>
                <c:pt idx="5077">
                  <c:v>1.0984815817426304E-2</c:v>
                </c:pt>
                <c:pt idx="5078">
                  <c:v>1.1153934570267662E-2</c:v>
                </c:pt>
                <c:pt idx="5079">
                  <c:v>1.1335307934185739E-2</c:v>
                </c:pt>
                <c:pt idx="5080">
                  <c:v>1.1493527430488006E-2</c:v>
                </c:pt>
                <c:pt idx="5081">
                  <c:v>1.1604122621423877E-2</c:v>
                </c:pt>
                <c:pt idx="5082">
                  <c:v>1.1703301832909584E-2</c:v>
                </c:pt>
                <c:pt idx="5083">
                  <c:v>1.1807883039396191E-2</c:v>
                </c:pt>
                <c:pt idx="5084">
                  <c:v>1.1808698907226049E-2</c:v>
                </c:pt>
                <c:pt idx="5085">
                  <c:v>1.1825634549863125E-2</c:v>
                </c:pt>
                <c:pt idx="5086">
                  <c:v>1.1819031882659351E-2</c:v>
                </c:pt>
                <c:pt idx="5087">
                  <c:v>1.1719205394878061E-2</c:v>
                </c:pt>
                <c:pt idx="5088">
                  <c:v>1.1608964091382897E-2</c:v>
                </c:pt>
                <c:pt idx="5089">
                  <c:v>1.1617102839948972E-2</c:v>
                </c:pt>
                <c:pt idx="5090">
                  <c:v>1.1544585290159467E-2</c:v>
                </c:pt>
                <c:pt idx="5091">
                  <c:v>1.1411740838091844E-2</c:v>
                </c:pt>
                <c:pt idx="5092">
                  <c:v>1.1429054411896507E-2</c:v>
                </c:pt>
                <c:pt idx="5093">
                  <c:v>1.1354002501315531E-2</c:v>
                </c:pt>
                <c:pt idx="5094">
                  <c:v>1.1157525093205474E-2</c:v>
                </c:pt>
                <c:pt idx="5095">
                  <c:v>1.0920250250327572E-2</c:v>
                </c:pt>
                <c:pt idx="5096">
                  <c:v>1.0734357126218513E-2</c:v>
                </c:pt>
                <c:pt idx="5097">
                  <c:v>1.0450618954631313E-2</c:v>
                </c:pt>
                <c:pt idx="5098">
                  <c:v>1.0086626775686412E-2</c:v>
                </c:pt>
                <c:pt idx="5099">
                  <c:v>9.7700385604594063E-3</c:v>
                </c:pt>
                <c:pt idx="5100">
                  <c:v>9.6913521069492865E-3</c:v>
                </c:pt>
                <c:pt idx="5101">
                  <c:v>9.6224085116288095E-3</c:v>
                </c:pt>
                <c:pt idx="5102">
                  <c:v>9.4884888182635609E-3</c:v>
                </c:pt>
                <c:pt idx="5103">
                  <c:v>9.3480046895374827E-3</c:v>
                </c:pt>
                <c:pt idx="5104">
                  <c:v>9.141856241394148E-3</c:v>
                </c:pt>
                <c:pt idx="5105">
                  <c:v>8.9024609999433964E-3</c:v>
                </c:pt>
                <c:pt idx="5106">
                  <c:v>8.7046976872634726E-3</c:v>
                </c:pt>
                <c:pt idx="5107">
                  <c:v>8.5345088523457961E-3</c:v>
                </c:pt>
                <c:pt idx="5108">
                  <c:v>8.3057223409468174E-3</c:v>
                </c:pt>
                <c:pt idx="5109">
                  <c:v>8.0730361092276829E-3</c:v>
                </c:pt>
                <c:pt idx="5110">
                  <c:v>7.8827443160227745E-3</c:v>
                </c:pt>
                <c:pt idx="5111">
                  <c:v>7.678729195916837E-3</c:v>
                </c:pt>
                <c:pt idx="5112">
                  <c:v>7.3837048962493304E-3</c:v>
                </c:pt>
                <c:pt idx="5113">
                  <c:v>7.3292922906641467E-3</c:v>
                </c:pt>
                <c:pt idx="5114">
                  <c:v>8.9916888370806716E-3</c:v>
                </c:pt>
                <c:pt idx="5115">
                  <c:v>1.0885843024858994E-2</c:v>
                </c:pt>
                <c:pt idx="5116">
                  <c:v>1.562416595505932E-2</c:v>
                </c:pt>
                <c:pt idx="5117">
                  <c:v>1.9026773547886483E-2</c:v>
                </c:pt>
                <c:pt idx="5118">
                  <c:v>3.1704652099719968E-2</c:v>
                </c:pt>
                <c:pt idx="5119">
                  <c:v>4.3964465579665359E-2</c:v>
                </c:pt>
                <c:pt idx="5120">
                  <c:v>5.7096328676943107E-2</c:v>
                </c:pt>
                <c:pt idx="5121">
                  <c:v>6.9952454525362098E-2</c:v>
                </c:pt>
                <c:pt idx="5122">
                  <c:v>8.5837147717580303E-2</c:v>
                </c:pt>
                <c:pt idx="5123">
                  <c:v>9.9245576995572363E-2</c:v>
                </c:pt>
                <c:pt idx="5124">
                  <c:v>0.11195405909314141</c:v>
                </c:pt>
                <c:pt idx="5125">
                  <c:v>0.12489405597859747</c:v>
                </c:pt>
                <c:pt idx="5126">
                  <c:v>0.13680951909461475</c:v>
                </c:pt>
                <c:pt idx="5127">
                  <c:v>0.1468330787993179</c:v>
                </c:pt>
                <c:pt idx="5128">
                  <c:v>0.16048136821555833</c:v>
                </c:pt>
                <c:pt idx="5129">
                  <c:v>0.17336485886108141</c:v>
                </c:pt>
                <c:pt idx="5130">
                  <c:v>0.18819466590977105</c:v>
                </c:pt>
                <c:pt idx="5131">
                  <c:v>0.2061364628407738</c:v>
                </c:pt>
                <c:pt idx="5132">
                  <c:v>0.22223347243197183</c:v>
                </c:pt>
                <c:pt idx="5133">
                  <c:v>0.2363103651642964</c:v>
                </c:pt>
                <c:pt idx="5134">
                  <c:v>0.24855034219613914</c:v>
                </c:pt>
                <c:pt idx="5135">
                  <c:v>0.26055326642650783</c:v>
                </c:pt>
                <c:pt idx="5136">
                  <c:v>0.27046374082250896</c:v>
                </c:pt>
                <c:pt idx="5137">
                  <c:v>0.27965018628922</c:v>
                </c:pt>
                <c:pt idx="5138">
                  <c:v>0.28635558862950955</c:v>
                </c:pt>
                <c:pt idx="5139">
                  <c:v>0.29114628195902015</c:v>
                </c:pt>
                <c:pt idx="5140">
                  <c:v>0.29328999204224643</c:v>
                </c:pt>
                <c:pt idx="5141">
                  <c:v>0.29280092170945549</c:v>
                </c:pt>
                <c:pt idx="5142">
                  <c:v>0.28965441982376461</c:v>
                </c:pt>
                <c:pt idx="5143">
                  <c:v>0.28397965320668722</c:v>
                </c:pt>
                <c:pt idx="5144">
                  <c:v>0.2767659239496385</c:v>
                </c:pt>
                <c:pt idx="5145">
                  <c:v>0.26706634339311397</c:v>
                </c:pt>
                <c:pt idx="5146">
                  <c:v>0.25681793467525599</c:v>
                </c:pt>
                <c:pt idx="5147">
                  <c:v>0.24330988853830668</c:v>
                </c:pt>
                <c:pt idx="5148">
                  <c:v>0.23281357897636884</c:v>
                </c:pt>
                <c:pt idx="5149">
                  <c:v>0.22461000593657829</c:v>
                </c:pt>
                <c:pt idx="5150">
                  <c:v>0.21763710220176385</c:v>
                </c:pt>
                <c:pt idx="5151">
                  <c:v>0.21180448784300909</c:v>
                </c:pt>
                <c:pt idx="5152">
                  <c:v>0.20970263624445876</c:v>
                </c:pt>
                <c:pt idx="5153">
                  <c:v>0.20703844265964724</c:v>
                </c:pt>
                <c:pt idx="5154">
                  <c:v>0.20341401345906404</c:v>
                </c:pt>
                <c:pt idx="5155">
                  <c:v>0.23833628450928676</c:v>
                </c:pt>
                <c:pt idx="5156">
                  <c:v>0.28456449379319232</c:v>
                </c:pt>
                <c:pt idx="5157">
                  <c:v>0.40028830699543033</c:v>
                </c:pt>
                <c:pt idx="5158">
                  <c:v>0.5492903249979465</c:v>
                </c:pt>
                <c:pt idx="5159">
                  <c:v>0.75856900780831027</c:v>
                </c:pt>
                <c:pt idx="5160">
                  <c:v>0.9334427645639668</c:v>
                </c:pt>
                <c:pt idx="5161">
                  <c:v>1.0708701822763773</c:v>
                </c:pt>
                <c:pt idx="5162">
                  <c:v>1.2618865143706604</c:v>
                </c:pt>
                <c:pt idx="5163">
                  <c:v>1.4237881686927027</c:v>
                </c:pt>
                <c:pt idx="5164">
                  <c:v>1.5576935218906298</c:v>
                </c:pt>
                <c:pt idx="5165">
                  <c:v>1.7022954155997183</c:v>
                </c:pt>
                <c:pt idx="5166">
                  <c:v>1.8693643632540105</c:v>
                </c:pt>
                <c:pt idx="5167">
                  <c:v>2.0538507653142868</c:v>
                </c:pt>
                <c:pt idx="5168">
                  <c:v>2.2231715967258086</c:v>
                </c:pt>
                <c:pt idx="5169">
                  <c:v>2.3806421705633758</c:v>
                </c:pt>
                <c:pt idx="5170">
                  <c:v>2.6322123461986049</c:v>
                </c:pt>
                <c:pt idx="5171">
                  <c:v>2.8394733585915795</c:v>
                </c:pt>
                <c:pt idx="5172">
                  <c:v>3.0150693465606064</c:v>
                </c:pt>
                <c:pt idx="5173">
                  <c:v>3.1531917331614565</c:v>
                </c:pt>
                <c:pt idx="5174">
                  <c:v>3.2586656381965078</c:v>
                </c:pt>
                <c:pt idx="5175">
                  <c:v>3.3344716349835526</c:v>
                </c:pt>
                <c:pt idx="5176">
                  <c:v>3.3832883004086711</c:v>
                </c:pt>
                <c:pt idx="5177">
                  <c:v>3.4055294687342941</c:v>
                </c:pt>
                <c:pt idx="5178">
                  <c:v>3.4024563764908735</c:v>
                </c:pt>
                <c:pt idx="5179">
                  <c:v>3.3771901436310556</c:v>
                </c:pt>
                <c:pt idx="5180">
                  <c:v>3.3273503638185327</c:v>
                </c:pt>
                <c:pt idx="5181">
                  <c:v>3.2528856363087764</c:v>
                </c:pt>
                <c:pt idx="5182">
                  <c:v>3.1523321433350633</c:v>
                </c:pt>
                <c:pt idx="5183">
                  <c:v>3.0222007637657158</c:v>
                </c:pt>
                <c:pt idx="5184">
                  <c:v>2.857367838174536</c:v>
                </c:pt>
                <c:pt idx="5185">
                  <c:v>2.6869828759056418</c:v>
                </c:pt>
                <c:pt idx="5186">
                  <c:v>2.4913085802756054</c:v>
                </c:pt>
                <c:pt idx="5187">
                  <c:v>2.3091802972493816</c:v>
                </c:pt>
                <c:pt idx="5188">
                  <c:v>2.1336253294300995</c:v>
                </c:pt>
                <c:pt idx="5189">
                  <c:v>1.9927072252699705</c:v>
                </c:pt>
                <c:pt idx="5190">
                  <c:v>1.8395634249382542</c:v>
                </c:pt>
                <c:pt idx="5191">
                  <c:v>1.6526677400041687</c:v>
                </c:pt>
                <c:pt idx="5192">
                  <c:v>1.509607425792769</c:v>
                </c:pt>
                <c:pt idx="5193">
                  <c:v>1.3454578236528201</c:v>
                </c:pt>
                <c:pt idx="5194">
                  <c:v>1.1416065875067447</c:v>
                </c:pt>
                <c:pt idx="5195">
                  <c:v>0.93506361783674652</c:v>
                </c:pt>
                <c:pt idx="5196">
                  <c:v>0.75074655228166753</c:v>
                </c:pt>
                <c:pt idx="5197">
                  <c:v>0.59464858883045357</c:v>
                </c:pt>
                <c:pt idx="5198">
                  <c:v>0.41616105023141275</c:v>
                </c:pt>
                <c:pt idx="5199">
                  <c:v>0.15681777993648496</c:v>
                </c:pt>
                <c:pt idx="5200">
                  <c:v>0.14109774829516172</c:v>
                </c:pt>
                <c:pt idx="5201">
                  <c:v>0.13124774519956903</c:v>
                </c:pt>
                <c:pt idx="5202">
                  <c:v>0.13131912791515474</c:v>
                </c:pt>
                <c:pt idx="5203">
                  <c:v>0.13097670528811445</c:v>
                </c:pt>
                <c:pt idx="5204">
                  <c:v>0.13022406200589862</c:v>
                </c:pt>
                <c:pt idx="5205">
                  <c:v>0.12903626224689077</c:v>
                </c:pt>
                <c:pt idx="5206">
                  <c:v>0.12835681530590312</c:v>
                </c:pt>
                <c:pt idx="5207">
                  <c:v>0.12715275910146473</c:v>
                </c:pt>
                <c:pt idx="5208">
                  <c:v>0.12539234267939178</c:v>
                </c:pt>
                <c:pt idx="5209">
                  <c:v>0.12376815171079442</c:v>
                </c:pt>
                <c:pt idx="5210">
                  <c:v>0.12199139627527393</c:v>
                </c:pt>
                <c:pt idx="5211">
                  <c:v>0.1202546535458987</c:v>
                </c:pt>
                <c:pt idx="5212">
                  <c:v>0.12179727440941361</c:v>
                </c:pt>
                <c:pt idx="5213">
                  <c:v>0.12309227812668268</c:v>
                </c:pt>
                <c:pt idx="5214">
                  <c:v>0.12349328465374997</c:v>
                </c:pt>
                <c:pt idx="5215">
                  <c:v>0.12371922754856444</c:v>
                </c:pt>
                <c:pt idx="5216">
                  <c:v>0.12736236874119111</c:v>
                </c:pt>
                <c:pt idx="5217">
                  <c:v>0.13494383227774384</c:v>
                </c:pt>
                <c:pt idx="5218">
                  <c:v>0.14363852889405446</c:v>
                </c:pt>
                <c:pt idx="5219">
                  <c:v>0.1517413148518337</c:v>
                </c:pt>
                <c:pt idx="5220">
                  <c:v>0.15889319338371261</c:v>
                </c:pt>
                <c:pt idx="5221">
                  <c:v>0.16852680589750715</c:v>
                </c:pt>
                <c:pt idx="5222">
                  <c:v>0.17885018289959906</c:v>
                </c:pt>
                <c:pt idx="5223">
                  <c:v>0.19058860104891304</c:v>
                </c:pt>
                <c:pt idx="5224">
                  <c:v>0.2003844304447914</c:v>
                </c:pt>
                <c:pt idx="5225">
                  <c:v>0.20855964192951082</c:v>
                </c:pt>
                <c:pt idx="5226">
                  <c:v>0.21494704308802851</c:v>
                </c:pt>
                <c:pt idx="5227">
                  <c:v>0.21991073979325859</c:v>
                </c:pt>
                <c:pt idx="5228">
                  <c:v>0.22359529734276934</c:v>
                </c:pt>
                <c:pt idx="5229">
                  <c:v>0.22605776840708763</c:v>
                </c:pt>
                <c:pt idx="5230">
                  <c:v>0.22838327726051638</c:v>
                </c:pt>
                <c:pt idx="5231">
                  <c:v>0.23123569677995734</c:v>
                </c:pt>
                <c:pt idx="5232">
                  <c:v>0.23462139957985095</c:v>
                </c:pt>
                <c:pt idx="5233">
                  <c:v>0.23639884725214844</c:v>
                </c:pt>
                <c:pt idx="5234">
                  <c:v>0.23662417721771092</c:v>
                </c:pt>
                <c:pt idx="5235">
                  <c:v>0.23615359330349772</c:v>
                </c:pt>
                <c:pt idx="5236">
                  <c:v>0.23468307964021995</c:v>
                </c:pt>
                <c:pt idx="5237">
                  <c:v>0.23155856011214576</c:v>
                </c:pt>
                <c:pt idx="5238">
                  <c:v>0.22721864821416418</c:v>
                </c:pt>
                <c:pt idx="5239">
                  <c:v>0.22164675942759654</c:v>
                </c:pt>
                <c:pt idx="5240">
                  <c:v>0.21599323739872225</c:v>
                </c:pt>
                <c:pt idx="5241">
                  <c:v>0.21064754604773886</c:v>
                </c:pt>
                <c:pt idx="5242">
                  <c:v>0.20713602678547358</c:v>
                </c:pt>
                <c:pt idx="5243">
                  <c:v>0.20228574246597508</c:v>
                </c:pt>
                <c:pt idx="5244">
                  <c:v>0.19545413206378362</c:v>
                </c:pt>
                <c:pt idx="5245">
                  <c:v>0.1870728027692285</c:v>
                </c:pt>
                <c:pt idx="5246">
                  <c:v>0.18058138511489488</c:v>
                </c:pt>
                <c:pt idx="5247">
                  <c:v>0.17698350711159685</c:v>
                </c:pt>
                <c:pt idx="5248">
                  <c:v>0.17314763643760325</c:v>
                </c:pt>
                <c:pt idx="5249">
                  <c:v>0.16861399991616843</c:v>
                </c:pt>
                <c:pt idx="5250">
                  <c:v>0.16336866633822794</c:v>
                </c:pt>
                <c:pt idx="5251">
                  <c:v>0.16056152691088277</c:v>
                </c:pt>
                <c:pt idx="5252">
                  <c:v>0.15692560543172135</c:v>
                </c:pt>
                <c:pt idx="5253">
                  <c:v>0.15596432556110085</c:v>
                </c:pt>
                <c:pt idx="5254">
                  <c:v>0.15423584657267256</c:v>
                </c:pt>
                <c:pt idx="5255">
                  <c:v>0.15137281411805076</c:v>
                </c:pt>
                <c:pt idx="5256">
                  <c:v>0.14942846735266793</c:v>
                </c:pt>
                <c:pt idx="5257">
                  <c:v>0.1464993616082706</c:v>
                </c:pt>
                <c:pt idx="5258">
                  <c:v>0.14631355669900781</c:v>
                </c:pt>
                <c:pt idx="5259">
                  <c:v>0.14474249448306775</c:v>
                </c:pt>
                <c:pt idx="5260">
                  <c:v>0.14326147960848837</c:v>
                </c:pt>
                <c:pt idx="5261">
                  <c:v>0.14293436483056163</c:v>
                </c:pt>
                <c:pt idx="5262">
                  <c:v>0.14556023790082268</c:v>
                </c:pt>
                <c:pt idx="5263">
                  <c:v>0.14776843699327005</c:v>
                </c:pt>
                <c:pt idx="5264">
                  <c:v>0.14898503286237569</c:v>
                </c:pt>
                <c:pt idx="5265">
                  <c:v>0.1537844105737409</c:v>
                </c:pt>
                <c:pt idx="5266">
                  <c:v>0.15682491288757486</c:v>
                </c:pt>
                <c:pt idx="5267">
                  <c:v>0.15911789540021229</c:v>
                </c:pt>
                <c:pt idx="5268">
                  <c:v>0.16068406625700193</c:v>
                </c:pt>
                <c:pt idx="5269">
                  <c:v>0.1615955990323546</c:v>
                </c:pt>
                <c:pt idx="5270">
                  <c:v>0.16300790971454812</c:v>
                </c:pt>
                <c:pt idx="5271">
                  <c:v>0.16632345911567678</c:v>
                </c:pt>
                <c:pt idx="5272">
                  <c:v>0.16897106692100619</c:v>
                </c:pt>
                <c:pt idx="5273">
                  <c:v>0.17223577693145328</c:v>
                </c:pt>
                <c:pt idx="5274">
                  <c:v>0.17448599048678853</c:v>
                </c:pt>
                <c:pt idx="5275">
                  <c:v>0.17624169913048679</c:v>
                </c:pt>
                <c:pt idx="5276">
                  <c:v>0.76782113125507145</c:v>
                </c:pt>
                <c:pt idx="5277">
                  <c:v>2.2716289954856377</c:v>
                </c:pt>
                <c:pt idx="5278">
                  <c:v>4.7994521615077739</c:v>
                </c:pt>
                <c:pt idx="5279">
                  <c:v>6.5032974691995973</c:v>
                </c:pt>
                <c:pt idx="5280">
                  <c:v>8.2919756414250507</c:v>
                </c:pt>
                <c:pt idx="5281">
                  <c:v>9.9746904395015719</c:v>
                </c:pt>
                <c:pt idx="5282">
                  <c:v>11.449244945904331</c:v>
                </c:pt>
                <c:pt idx="5283">
                  <c:v>12.964088154902766</c:v>
                </c:pt>
                <c:pt idx="5284">
                  <c:v>14.50867347143314</c:v>
                </c:pt>
                <c:pt idx="5285">
                  <c:v>16.073397676056285</c:v>
                </c:pt>
                <c:pt idx="5286">
                  <c:v>17.456971691152091</c:v>
                </c:pt>
                <c:pt idx="5287">
                  <c:v>18.685269283358085</c:v>
                </c:pt>
                <c:pt idx="5288">
                  <c:v>20.387826815287021</c:v>
                </c:pt>
                <c:pt idx="5289">
                  <c:v>22.017643751384995</c:v>
                </c:pt>
                <c:pt idx="5290">
                  <c:v>24.126652879910935</c:v>
                </c:pt>
                <c:pt idx="5291">
                  <c:v>26.353435875173773</c:v>
                </c:pt>
                <c:pt idx="5292">
                  <c:v>28.169393854066708</c:v>
                </c:pt>
                <c:pt idx="5293">
                  <c:v>29.643589771361334</c:v>
                </c:pt>
                <c:pt idx="5294">
                  <c:v>30.821005762708513</c:v>
                </c:pt>
                <c:pt idx="5295">
                  <c:v>31.732207603334363</c:v>
                </c:pt>
                <c:pt idx="5296">
                  <c:v>32.447187031056941</c:v>
                </c:pt>
                <c:pt idx="5297">
                  <c:v>32.917623143758611</c:v>
                </c:pt>
                <c:pt idx="5298">
                  <c:v>33.148705863440696</c:v>
                </c:pt>
                <c:pt idx="5299">
                  <c:v>33.186617890584209</c:v>
                </c:pt>
                <c:pt idx="5300">
                  <c:v>32.997647634904702</c:v>
                </c:pt>
                <c:pt idx="5301">
                  <c:v>32.57094205681323</c:v>
                </c:pt>
                <c:pt idx="5302">
                  <c:v>31.908045896145087</c:v>
                </c:pt>
                <c:pt idx="5303">
                  <c:v>30.982674304495294</c:v>
                </c:pt>
                <c:pt idx="5304">
                  <c:v>29.720546541130563</c:v>
                </c:pt>
                <c:pt idx="5305">
                  <c:v>28.048313738498351</c:v>
                </c:pt>
                <c:pt idx="5306">
                  <c:v>26.30265421061285</c:v>
                </c:pt>
                <c:pt idx="5307">
                  <c:v>24.728963660253477</c:v>
                </c:pt>
                <c:pt idx="5308">
                  <c:v>23.667980189471869</c:v>
                </c:pt>
                <c:pt idx="5309">
                  <c:v>22.433613385111098</c:v>
                </c:pt>
                <c:pt idx="5310">
                  <c:v>21.264061134365715</c:v>
                </c:pt>
                <c:pt idx="5311">
                  <c:v>20.200743714378277</c:v>
                </c:pt>
                <c:pt idx="5312">
                  <c:v>18.934769727419031</c:v>
                </c:pt>
                <c:pt idx="5313">
                  <c:v>17.648635666012623</c:v>
                </c:pt>
                <c:pt idx="5314">
                  <c:v>16.364721762325733</c:v>
                </c:pt>
                <c:pt idx="5315">
                  <c:v>15.204441256816237</c:v>
                </c:pt>
                <c:pt idx="5316">
                  <c:v>13.831364184953479</c:v>
                </c:pt>
                <c:pt idx="5317">
                  <c:v>12.170817591891206</c:v>
                </c:pt>
                <c:pt idx="5318">
                  <c:v>11.13887610970558</c:v>
                </c:pt>
                <c:pt idx="5319">
                  <c:v>10.249354505699101</c:v>
                </c:pt>
                <c:pt idx="5320">
                  <c:v>10.090923228604957</c:v>
                </c:pt>
                <c:pt idx="5321">
                  <c:v>10.269996045078113</c:v>
                </c:pt>
                <c:pt idx="5322">
                  <c:v>10.401344302713426</c:v>
                </c:pt>
                <c:pt idx="5323">
                  <c:v>10.438031039152882</c:v>
                </c:pt>
                <c:pt idx="5324">
                  <c:v>10.381225936824146</c:v>
                </c:pt>
                <c:pt idx="5325">
                  <c:v>10.234054570826435</c:v>
                </c:pt>
                <c:pt idx="5326">
                  <c:v>10.060675257859852</c:v>
                </c:pt>
                <c:pt idx="5327">
                  <c:v>9.808806472849545</c:v>
                </c:pt>
                <c:pt idx="5328">
                  <c:v>9.478101497505353</c:v>
                </c:pt>
                <c:pt idx="5329">
                  <c:v>9.134871026858276</c:v>
                </c:pt>
                <c:pt idx="5330">
                  <c:v>8.7511822867982403</c:v>
                </c:pt>
                <c:pt idx="5331">
                  <c:v>8.331551223187148</c:v>
                </c:pt>
                <c:pt idx="5332">
                  <c:v>7.9130285221514027</c:v>
                </c:pt>
                <c:pt idx="5333">
                  <c:v>7.5031841774310184</c:v>
                </c:pt>
                <c:pt idx="5334">
                  <c:v>7.0470028542819385</c:v>
                </c:pt>
                <c:pt idx="5335">
                  <c:v>6.4961798715445944</c:v>
                </c:pt>
                <c:pt idx="5336">
                  <c:v>6.0338202361145088</c:v>
                </c:pt>
                <c:pt idx="5337">
                  <c:v>5.5271379925655451</c:v>
                </c:pt>
                <c:pt idx="5338">
                  <c:v>4.9691924378798333</c:v>
                </c:pt>
                <c:pt idx="5339">
                  <c:v>4.3515083812492836</c:v>
                </c:pt>
                <c:pt idx="5340">
                  <c:v>3.6440737049871732</c:v>
                </c:pt>
                <c:pt idx="5341">
                  <c:v>3.2707106232487391</c:v>
                </c:pt>
                <c:pt idx="5342">
                  <c:v>2.8285946847922032</c:v>
                </c:pt>
                <c:pt idx="5343">
                  <c:v>2.3388282737904662</c:v>
                </c:pt>
                <c:pt idx="5344">
                  <c:v>1.8060100340916176</c:v>
                </c:pt>
                <c:pt idx="5345">
                  <c:v>1.5616382535406683</c:v>
                </c:pt>
                <c:pt idx="5346">
                  <c:v>1.3696996800973524</c:v>
                </c:pt>
                <c:pt idx="5347">
                  <c:v>1.2398642851509063</c:v>
                </c:pt>
                <c:pt idx="5348">
                  <c:v>1.179076280855738</c:v>
                </c:pt>
                <c:pt idx="5349">
                  <c:v>1.2437938200126908</c:v>
                </c:pt>
                <c:pt idx="5350">
                  <c:v>1.3114184941041398</c:v>
                </c:pt>
                <c:pt idx="5351">
                  <c:v>1.3610536542029099</c:v>
                </c:pt>
                <c:pt idx="5352">
                  <c:v>1.3692375742575833</c:v>
                </c:pt>
                <c:pt idx="5353">
                  <c:v>1.3704381371639074</c:v>
                </c:pt>
                <c:pt idx="5354">
                  <c:v>1.3708136790472989</c:v>
                </c:pt>
                <c:pt idx="5355">
                  <c:v>1.3639994457660505</c:v>
                </c:pt>
                <c:pt idx="5356">
                  <c:v>1.3565709868032139</c:v>
                </c:pt>
                <c:pt idx="5357">
                  <c:v>1.3606702590058528</c:v>
                </c:pt>
                <c:pt idx="5358">
                  <c:v>1.364661186719383</c:v>
                </c:pt>
                <c:pt idx="5359">
                  <c:v>1.3690199312923332</c:v>
                </c:pt>
                <c:pt idx="5360">
                  <c:v>1.3742903648104314</c:v>
                </c:pt>
                <c:pt idx="5361">
                  <c:v>1.3804790478807207</c:v>
                </c:pt>
                <c:pt idx="5362">
                  <c:v>1.3869442115604051</c:v>
                </c:pt>
                <c:pt idx="5363">
                  <c:v>1.3938304770472278</c:v>
                </c:pt>
                <c:pt idx="5364">
                  <c:v>1.4012959143007186</c:v>
                </c:pt>
                <c:pt idx="5365">
                  <c:v>1.4096189650007809</c:v>
                </c:pt>
                <c:pt idx="5366">
                  <c:v>1.4188112844343659</c:v>
                </c:pt>
                <c:pt idx="5367">
                  <c:v>1.4282414111905897</c:v>
                </c:pt>
                <c:pt idx="5368">
                  <c:v>1.4381875346886326</c:v>
                </c:pt>
                <c:pt idx="5369">
                  <c:v>1.4410350723219274</c:v>
                </c:pt>
                <c:pt idx="5370">
                  <c:v>1.4348023982060332</c:v>
                </c:pt>
                <c:pt idx="5371">
                  <c:v>1.4272075413185838</c:v>
                </c:pt>
                <c:pt idx="5372">
                  <c:v>1.4204060804411136</c:v>
                </c:pt>
                <c:pt idx="5373">
                  <c:v>1.4148904515758822</c:v>
                </c:pt>
                <c:pt idx="5374">
                  <c:v>1.4091956583756522</c:v>
                </c:pt>
                <c:pt idx="5375">
                  <c:v>1.4038504433544667</c:v>
                </c:pt>
                <c:pt idx="5376">
                  <c:v>1.3994093093887179</c:v>
                </c:pt>
                <c:pt idx="5377">
                  <c:v>1.3958664174797628</c:v>
                </c:pt>
                <c:pt idx="5378">
                  <c:v>1.3926122018260649</c:v>
                </c:pt>
                <c:pt idx="5379">
                  <c:v>1.3898133001118667</c:v>
                </c:pt>
                <c:pt idx="5380">
                  <c:v>1.3876224615659889</c:v>
                </c:pt>
                <c:pt idx="5381">
                  <c:v>1.3863561459988161</c:v>
                </c:pt>
                <c:pt idx="5382">
                  <c:v>1.3860127863340754</c:v>
                </c:pt>
                <c:pt idx="5383">
                  <c:v>1.3859701801113871</c:v>
                </c:pt>
                <c:pt idx="5384">
                  <c:v>1.3865427183482297</c:v>
                </c:pt>
                <c:pt idx="5385">
                  <c:v>1.3795670806659388</c:v>
                </c:pt>
                <c:pt idx="5386">
                  <c:v>1.3631520722621604</c:v>
                </c:pt>
                <c:pt idx="5387">
                  <c:v>1.3565604166313348</c:v>
                </c:pt>
                <c:pt idx="5388">
                  <c:v>1.3505315882220268</c:v>
                </c:pt>
                <c:pt idx="5389">
                  <c:v>1.3463680438095711</c:v>
                </c:pt>
                <c:pt idx="5390">
                  <c:v>1.3427430254395771</c:v>
                </c:pt>
                <c:pt idx="5391">
                  <c:v>1.3488962352283227</c:v>
                </c:pt>
                <c:pt idx="5392">
                  <c:v>1.3643907884153739</c:v>
                </c:pt>
                <c:pt idx="5393">
                  <c:v>1.3896443780151766</c:v>
                </c:pt>
                <c:pt idx="5394">
                  <c:v>1.4232203845711304</c:v>
                </c:pt>
                <c:pt idx="5395">
                  <c:v>1.4446156218018924</c:v>
                </c:pt>
                <c:pt idx="5396">
                  <c:v>1.4742730648188251</c:v>
                </c:pt>
                <c:pt idx="5397">
                  <c:v>1.511788827664128</c:v>
                </c:pt>
                <c:pt idx="5398">
                  <c:v>1.5559463818116066</c:v>
                </c:pt>
                <c:pt idx="5399">
                  <c:v>1.6073337197472168</c:v>
                </c:pt>
                <c:pt idx="5400">
                  <c:v>1.6567383182446154</c:v>
                </c:pt>
                <c:pt idx="5401">
                  <c:v>1.7084362733761507</c:v>
                </c:pt>
                <c:pt idx="5402">
                  <c:v>1.7641022469499341</c:v>
                </c:pt>
                <c:pt idx="5403">
                  <c:v>1.8068836521829634</c:v>
                </c:pt>
                <c:pt idx="5404">
                  <c:v>1.8492879534868745</c:v>
                </c:pt>
                <c:pt idx="5405">
                  <c:v>1.894510343841638</c:v>
                </c:pt>
                <c:pt idx="5406">
                  <c:v>1.9439637932743201</c:v>
                </c:pt>
                <c:pt idx="5407">
                  <c:v>1.9944041271750574</c:v>
                </c:pt>
                <c:pt idx="5408">
                  <c:v>2.0276735596514701</c:v>
                </c:pt>
                <c:pt idx="5409">
                  <c:v>2.0626065430813769</c:v>
                </c:pt>
                <c:pt idx="5410">
                  <c:v>2.099209070106248</c:v>
                </c:pt>
                <c:pt idx="5411">
                  <c:v>2.1378054266046798</c:v>
                </c:pt>
                <c:pt idx="5412">
                  <c:v>2.1603073627170213</c:v>
                </c:pt>
                <c:pt idx="5413">
                  <c:v>2.1830633295142863</c:v>
                </c:pt>
                <c:pt idx="5414">
                  <c:v>2.2061460114388947</c:v>
                </c:pt>
                <c:pt idx="5415">
                  <c:v>2.2297033673519508</c:v>
                </c:pt>
                <c:pt idx="5416">
                  <c:v>2.2453907999100555</c:v>
                </c:pt>
                <c:pt idx="5417">
                  <c:v>2.258692031446071</c:v>
                </c:pt>
                <c:pt idx="5418">
                  <c:v>2.2693910830961532</c:v>
                </c:pt>
                <c:pt idx="5419">
                  <c:v>2.2607735743469286</c:v>
                </c:pt>
                <c:pt idx="5420">
                  <c:v>2.2486903221872923</c:v>
                </c:pt>
                <c:pt idx="5421">
                  <c:v>2.2427490718848873</c:v>
                </c:pt>
                <c:pt idx="5422">
                  <c:v>2.2426948104049416</c:v>
                </c:pt>
                <c:pt idx="5423">
                  <c:v>2.2491314546755423</c:v>
                </c:pt>
                <c:pt idx="5424">
                  <c:v>2.262031494254547</c:v>
                </c:pt>
                <c:pt idx="5425">
                  <c:v>2.2454835577113124</c:v>
                </c:pt>
                <c:pt idx="5426">
                  <c:v>2.2331573196208487</c:v>
                </c:pt>
                <c:pt idx="5427">
                  <c:v>2.2267441733250957</c:v>
                </c:pt>
                <c:pt idx="5428">
                  <c:v>2.2261407187954414</c:v>
                </c:pt>
                <c:pt idx="5429">
                  <c:v>2.2330871874948706</c:v>
                </c:pt>
                <c:pt idx="5430">
                  <c:v>2.2456523993444919</c:v>
                </c:pt>
                <c:pt idx="5431">
                  <c:v>2.246209645842109</c:v>
                </c:pt>
                <c:pt idx="5432">
                  <c:v>2.2537388677722396</c:v>
                </c:pt>
                <c:pt idx="5433">
                  <c:v>2.2535214244961255</c:v>
                </c:pt>
                <c:pt idx="5434">
                  <c:v>2.2560445248819416</c:v>
                </c:pt>
                <c:pt idx="5435">
                  <c:v>2.2650218432230544</c:v>
                </c:pt>
                <c:pt idx="5436">
                  <c:v>2.2813113252450248</c:v>
                </c:pt>
                <c:pt idx="5437">
                  <c:v>2.3019459362133436</c:v>
                </c:pt>
                <c:pt idx="5438">
                  <c:v>2.3108464032541791</c:v>
                </c:pt>
                <c:pt idx="5439">
                  <c:v>2.3095333371666351</c:v>
                </c:pt>
                <c:pt idx="5440">
                  <c:v>2.3106509090515859</c:v>
                </c:pt>
                <c:pt idx="5441">
                  <c:v>2.3384186456628622</c:v>
                </c:pt>
                <c:pt idx="5442">
                  <c:v>2.3767959646816403</c:v>
                </c:pt>
                <c:pt idx="5443">
                  <c:v>2.3981884602627499</c:v>
                </c:pt>
                <c:pt idx="5444">
                  <c:v>2.4417335833996869</c:v>
                </c:pt>
                <c:pt idx="5445">
                  <c:v>2.4675885750853666</c:v>
                </c:pt>
                <c:pt idx="5446">
                  <c:v>2.5167994871490831</c:v>
                </c:pt>
                <c:pt idx="5447">
                  <c:v>2.5898209567039157</c:v>
                </c:pt>
                <c:pt idx="5448">
                  <c:v>2.6861933895655135</c:v>
                </c:pt>
                <c:pt idx="5449">
                  <c:v>2.7853707667309142</c:v>
                </c:pt>
                <c:pt idx="5450">
                  <c:v>2.9002456571876838</c:v>
                </c:pt>
                <c:pt idx="5451">
                  <c:v>3.030856803146404</c:v>
                </c:pt>
                <c:pt idx="5452">
                  <c:v>3.1737286896467976</c:v>
                </c:pt>
                <c:pt idx="5453">
                  <c:v>3.3286842443637807</c:v>
                </c:pt>
                <c:pt idx="5454">
                  <c:v>3.491718932943972</c:v>
                </c:pt>
                <c:pt idx="5455">
                  <c:v>3.6035523583231628</c:v>
                </c:pt>
                <c:pt idx="5456">
                  <c:v>3.7222588972534392</c:v>
                </c:pt>
                <c:pt idx="5457">
                  <c:v>3.8494018618568906</c:v>
                </c:pt>
                <c:pt idx="5458">
                  <c:v>3.9439972584491194</c:v>
                </c:pt>
                <c:pt idx="5459">
                  <c:v>4.043795262087289</c:v>
                </c:pt>
                <c:pt idx="5460">
                  <c:v>4.1489850574705587</c:v>
                </c:pt>
                <c:pt idx="5461">
                  <c:v>4.7489272526726181</c:v>
                </c:pt>
                <c:pt idx="5462">
                  <c:v>5.5194220160388134</c:v>
                </c:pt>
                <c:pt idx="5463">
                  <c:v>7.3896648836323768</c:v>
                </c:pt>
                <c:pt idx="5464">
                  <c:v>9.7419680723209208</c:v>
                </c:pt>
                <c:pt idx="5465">
                  <c:v>11.752258389816392</c:v>
                </c:pt>
                <c:pt idx="5466">
                  <c:v>13.559742731181517</c:v>
                </c:pt>
                <c:pt idx="5467">
                  <c:v>15.344459388902033</c:v>
                </c:pt>
                <c:pt idx="5468">
                  <c:v>16.879668441185693</c:v>
                </c:pt>
                <c:pt idx="5469">
                  <c:v>18.207984573063069</c:v>
                </c:pt>
                <c:pt idx="5470">
                  <c:v>19.464053710447093</c:v>
                </c:pt>
                <c:pt idx="5471">
                  <c:v>20.575015574941091</c:v>
                </c:pt>
                <c:pt idx="5472">
                  <c:v>21.915515867093909</c:v>
                </c:pt>
                <c:pt idx="5473">
                  <c:v>23.200823453882485</c:v>
                </c:pt>
                <c:pt idx="5474">
                  <c:v>24.222698351989205</c:v>
                </c:pt>
                <c:pt idx="5475">
                  <c:v>25.039994261535252</c:v>
                </c:pt>
                <c:pt idx="5476">
                  <c:v>25.692807198543974</c:v>
                </c:pt>
                <c:pt idx="5477">
                  <c:v>26.276970078413189</c:v>
                </c:pt>
                <c:pt idx="5478">
                  <c:v>26.742230145258588</c:v>
                </c:pt>
                <c:pt idx="5479">
                  <c:v>27.342089976782429</c:v>
                </c:pt>
                <c:pt idx="5480">
                  <c:v>27.867641940981795</c:v>
                </c:pt>
                <c:pt idx="5481">
                  <c:v>28.203189843926175</c:v>
                </c:pt>
                <c:pt idx="5482">
                  <c:v>28.680429643124725</c:v>
                </c:pt>
                <c:pt idx="5483">
                  <c:v>29.101592212923073</c:v>
                </c:pt>
                <c:pt idx="5484">
                  <c:v>29.317102915597378</c:v>
                </c:pt>
                <c:pt idx="5485">
                  <c:v>29.22039101705127</c:v>
                </c:pt>
                <c:pt idx="5486">
                  <c:v>28.84564003069455</c:v>
                </c:pt>
                <c:pt idx="5487">
                  <c:v>28.189589395679281</c:v>
                </c:pt>
                <c:pt idx="5488">
                  <c:v>27.202060794644378</c:v>
                </c:pt>
                <c:pt idx="5489">
                  <c:v>25.87839378668194</c:v>
                </c:pt>
                <c:pt idx="5490">
                  <c:v>24.17244037937607</c:v>
                </c:pt>
                <c:pt idx="5491">
                  <c:v>22.575342243907013</c:v>
                </c:pt>
                <c:pt idx="5492">
                  <c:v>20.808119989935825</c:v>
                </c:pt>
                <c:pt idx="5493">
                  <c:v>19.60616231779759</c:v>
                </c:pt>
                <c:pt idx="5494">
                  <c:v>18.775393382470234</c:v>
                </c:pt>
                <c:pt idx="5495">
                  <c:v>17.914051074475946</c:v>
                </c:pt>
                <c:pt idx="5496">
                  <c:v>17.055713803044192</c:v>
                </c:pt>
                <c:pt idx="5497">
                  <c:v>16.274508132504518</c:v>
                </c:pt>
                <c:pt idx="5498">
                  <c:v>15.403955367214959</c:v>
                </c:pt>
                <c:pt idx="5499">
                  <c:v>14.423746530127247</c:v>
                </c:pt>
                <c:pt idx="5500">
                  <c:v>13.436312985217176</c:v>
                </c:pt>
                <c:pt idx="5501">
                  <c:v>12.363914355530182</c:v>
                </c:pt>
                <c:pt idx="5502">
                  <c:v>11.617653540529339</c:v>
                </c:pt>
                <c:pt idx="5503">
                  <c:v>10.962952966572873</c:v>
                </c:pt>
                <c:pt idx="5504">
                  <c:v>10.147216785701323</c:v>
                </c:pt>
                <c:pt idx="5505">
                  <c:v>9.196804259464912</c:v>
                </c:pt>
                <c:pt idx="5506">
                  <c:v>8.073391543321442</c:v>
                </c:pt>
                <c:pt idx="5507">
                  <c:v>6.9048430719151339</c:v>
                </c:pt>
                <c:pt idx="5508">
                  <c:v>5.5424680123875634</c:v>
                </c:pt>
                <c:pt idx="5509">
                  <c:v>4.6075878601039753</c:v>
                </c:pt>
                <c:pt idx="5510">
                  <c:v>3.7496189219717588</c:v>
                </c:pt>
                <c:pt idx="5511">
                  <c:v>2.6453087805666211</c:v>
                </c:pt>
                <c:pt idx="5512">
                  <c:v>2.2467112930591195</c:v>
                </c:pt>
                <c:pt idx="5513">
                  <c:v>2.1409057368478766</c:v>
                </c:pt>
                <c:pt idx="5514">
                  <c:v>2.100000980872109</c:v>
                </c:pt>
                <c:pt idx="5515">
                  <c:v>2.0473428982515212</c:v>
                </c:pt>
                <c:pt idx="5516">
                  <c:v>1.9827517271435329</c:v>
                </c:pt>
                <c:pt idx="5517">
                  <c:v>1.9057105753172561</c:v>
                </c:pt>
                <c:pt idx="5518">
                  <c:v>1.8272207504246087</c:v>
                </c:pt>
                <c:pt idx="5519">
                  <c:v>1.7363637341159881</c:v>
                </c:pt>
                <c:pt idx="5520">
                  <c:v>1.6316589691849828</c:v>
                </c:pt>
                <c:pt idx="5521">
                  <c:v>1.5186468391975805</c:v>
                </c:pt>
                <c:pt idx="5522">
                  <c:v>1.3878419322975537</c:v>
                </c:pt>
                <c:pt idx="5523">
                  <c:v>1.2435598772059786</c:v>
                </c:pt>
                <c:pt idx="5524">
                  <c:v>1.0917608060279098</c:v>
                </c:pt>
                <c:pt idx="5525">
                  <c:v>0.90766168189328933</c:v>
                </c:pt>
                <c:pt idx="5526">
                  <c:v>0.78192549952940482</c:v>
                </c:pt>
                <c:pt idx="5527">
                  <c:v>0.62920522078978336</c:v>
                </c:pt>
                <c:pt idx="5528">
                  <c:v>0.4877044372352245</c:v>
                </c:pt>
                <c:pt idx="5529">
                  <c:v>0.32699100882018622</c:v>
                </c:pt>
                <c:pt idx="5530">
                  <c:v>0.11408003416370004</c:v>
                </c:pt>
                <c:pt idx="5531">
                  <c:v>8.2634576951209529E-2</c:v>
                </c:pt>
                <c:pt idx="5532">
                  <c:v>5.2395690094019287E-2</c:v>
                </c:pt>
                <c:pt idx="5533">
                  <c:v>1.7334321847043997E-2</c:v>
                </c:pt>
                <c:pt idx="5534">
                  <c:v>6.2605632177724975E-4</c:v>
                </c:pt>
                <c:pt idx="5535">
                  <c:v>6.2154292279189129E-4</c:v>
                </c:pt>
                <c:pt idx="5536">
                  <c:v>6.2087203800229019E-4</c:v>
                </c:pt>
                <c:pt idx="5537">
                  <c:v>6.184090542476927E-4</c:v>
                </c:pt>
                <c:pt idx="5538">
                  <c:v>6.1432335776505191E-4</c:v>
                </c:pt>
                <c:pt idx="5539">
                  <c:v>6.1705188002232603E-4</c:v>
                </c:pt>
                <c:pt idx="5540">
                  <c:v>6.2351402210112554E-4</c:v>
                </c:pt>
                <c:pt idx="5541">
                  <c:v>6.3349254736604337E-4</c:v>
                </c:pt>
                <c:pt idx="5542">
                  <c:v>6.3662202616968804E-4</c:v>
                </c:pt>
                <c:pt idx="5543">
                  <c:v>6.3640475887590615E-4</c:v>
                </c:pt>
                <c:pt idx="5544">
                  <c:v>6.3951281617285528E-4</c:v>
                </c:pt>
                <c:pt idx="5545">
                  <c:v>6.4565507647313552E-4</c:v>
                </c:pt>
                <c:pt idx="5546">
                  <c:v>6.5498595598494395E-4</c:v>
                </c:pt>
                <c:pt idx="5547">
                  <c:v>6.7321021414632626E-4</c:v>
                </c:pt>
                <c:pt idx="5548">
                  <c:v>6.882186777428822E-4</c:v>
                </c:pt>
                <c:pt idx="5549">
                  <c:v>6.9990065296726114E-4</c:v>
                </c:pt>
                <c:pt idx="5550">
                  <c:v>7.0841921534220247E-4</c:v>
                </c:pt>
                <c:pt idx="5551">
                  <c:v>7.1704802398957527E-4</c:v>
                </c:pt>
                <c:pt idx="5552">
                  <c:v>7.2552161305612997E-4</c:v>
                </c:pt>
                <c:pt idx="5553">
                  <c:v>7.3339988401023169E-4</c:v>
                </c:pt>
                <c:pt idx="5554">
                  <c:v>7.4060687957709919E-4</c:v>
                </c:pt>
                <c:pt idx="5555">
                  <c:v>7.4740385855860767E-4</c:v>
                </c:pt>
                <c:pt idx="5556">
                  <c:v>7.5654820187710033E-4</c:v>
                </c:pt>
                <c:pt idx="5557">
                  <c:v>7.618502541788904E-4</c:v>
                </c:pt>
                <c:pt idx="5558">
                  <c:v>7.6599263259859683E-4</c:v>
                </c:pt>
                <c:pt idx="5559">
                  <c:v>7.7222529194394881E-4</c:v>
                </c:pt>
                <c:pt idx="5560">
                  <c:v>8.4826778636392232E-4</c:v>
                </c:pt>
                <c:pt idx="5561">
                  <c:v>9.0975963173574358E-4</c:v>
                </c:pt>
                <c:pt idx="5562">
                  <c:v>9.7963680102879092E-4</c:v>
                </c:pt>
                <c:pt idx="5563">
                  <c:v>1.0438291503795276E-3</c:v>
                </c:pt>
                <c:pt idx="5564">
                  <c:v>1.1102486098879061E-3</c:v>
                </c:pt>
                <c:pt idx="5565">
                  <c:v>1.1633172289582108E-3</c:v>
                </c:pt>
                <c:pt idx="5566">
                  <c:v>1.2081437990126731E-3</c:v>
                </c:pt>
                <c:pt idx="5567">
                  <c:v>1.2453823551995533E-3</c:v>
                </c:pt>
                <c:pt idx="5568">
                  <c:v>1.274907714970581E-3</c:v>
                </c:pt>
                <c:pt idx="5569">
                  <c:v>1.3020639176625892E-3</c:v>
                </c:pt>
                <c:pt idx="5570">
                  <c:v>1.3250206879172792E-3</c:v>
                </c:pt>
                <c:pt idx="5571">
                  <c:v>1.3444561990481965E-3</c:v>
                </c:pt>
                <c:pt idx="5572">
                  <c:v>1.4128174571217114E-3</c:v>
                </c:pt>
                <c:pt idx="5573">
                  <c:v>1.4942051653850867E-3</c:v>
                </c:pt>
                <c:pt idx="5574">
                  <c:v>1.5596644473946171E-3</c:v>
                </c:pt>
                <c:pt idx="5575">
                  <c:v>1.6114526983499106E-3</c:v>
                </c:pt>
                <c:pt idx="5576">
                  <c:v>1.6512804236464508E-3</c:v>
                </c:pt>
                <c:pt idx="5577">
                  <c:v>1.7203513323674918E-3</c:v>
                </c:pt>
                <c:pt idx="5578">
                  <c:v>1.7721581600323554E-3</c:v>
                </c:pt>
                <c:pt idx="5579">
                  <c:v>1.8080722108512338E-3</c:v>
                </c:pt>
                <c:pt idx="5580">
                  <c:v>1.8291829840328747E-3</c:v>
                </c:pt>
                <c:pt idx="5581">
                  <c:v>1.838626375320172E-3</c:v>
                </c:pt>
                <c:pt idx="5582">
                  <c:v>1.8369800880739023E-3</c:v>
                </c:pt>
                <c:pt idx="5583">
                  <c:v>1.8244526857201827E-3</c:v>
                </c:pt>
                <c:pt idx="5584">
                  <c:v>1.8007561573026071E-3</c:v>
                </c:pt>
                <c:pt idx="5585">
                  <c:v>1.7682776503361634E-3</c:v>
                </c:pt>
                <c:pt idx="5586">
                  <c:v>1.7295303739872394E-3</c:v>
                </c:pt>
                <c:pt idx="5587">
                  <c:v>1.6925337680680445E-3</c:v>
                </c:pt>
                <c:pt idx="5588">
                  <c:v>1.6374195178628791E-3</c:v>
                </c:pt>
                <c:pt idx="5589">
                  <c:v>1.5714871155905437E-3</c:v>
                </c:pt>
                <c:pt idx="5590">
                  <c:v>1.5562135793088972E-3</c:v>
                </c:pt>
                <c:pt idx="5591">
                  <c:v>1.5283768932720647E-3</c:v>
                </c:pt>
                <c:pt idx="5592">
                  <c:v>1.5036839814606196E-3</c:v>
                </c:pt>
                <c:pt idx="5593">
                  <c:v>1.4736445698726953E-3</c:v>
                </c:pt>
                <c:pt idx="5594">
                  <c:v>1.4448219965428758E-3</c:v>
                </c:pt>
                <c:pt idx="5595">
                  <c:v>1.4053835074852655E-3</c:v>
                </c:pt>
                <c:pt idx="5596">
                  <c:v>1.3602017995201366E-3</c:v>
                </c:pt>
                <c:pt idx="5597">
                  <c:v>1.3087326871862809E-3</c:v>
                </c:pt>
                <c:pt idx="5598">
                  <c:v>1.2474794106252312E-3</c:v>
                </c:pt>
                <c:pt idx="5599">
                  <c:v>1.1738683103589902E-3</c:v>
                </c:pt>
                <c:pt idx="5600">
                  <c:v>1.0822357903647534E-3</c:v>
                </c:pt>
                <c:pt idx="5601">
                  <c:v>9.6761879148024967E-4</c:v>
                </c:pt>
                <c:pt idx="5602">
                  <c:v>9.2157888955497497E-4</c:v>
                </c:pt>
                <c:pt idx="5603">
                  <c:v>8.9916715426103318E-4</c:v>
                </c:pt>
                <c:pt idx="5604">
                  <c:v>8.9600194024564317E-4</c:v>
                </c:pt>
                <c:pt idx="5605">
                  <c:v>8.8720596095423032E-4</c:v>
                </c:pt>
                <c:pt idx="5606">
                  <c:v>8.689474718564683E-4</c:v>
                </c:pt>
                <c:pt idx="5607">
                  <c:v>8.8294020282742665E-4</c:v>
                </c:pt>
                <c:pt idx="5608">
                  <c:v>8.914132533714E-4</c:v>
                </c:pt>
                <c:pt idx="5609">
                  <c:v>8.9745516237082438E-4</c:v>
                </c:pt>
                <c:pt idx="5610">
                  <c:v>9.009454695631246E-4</c:v>
                </c:pt>
                <c:pt idx="5611">
                  <c:v>8.9875357949442561E-4</c:v>
                </c:pt>
                <c:pt idx="5612">
                  <c:v>9.1215968198883135E-4</c:v>
                </c:pt>
                <c:pt idx="5613">
                  <c:v>9.311436196754281E-4</c:v>
                </c:pt>
                <c:pt idx="5614">
                  <c:v>9.6591954639648338E-4</c:v>
                </c:pt>
                <c:pt idx="5615">
                  <c:v>9.9979674037333215E-4</c:v>
                </c:pt>
                <c:pt idx="5616">
                  <c:v>1.0363369651781881E-3</c:v>
                </c:pt>
                <c:pt idx="5617">
                  <c:v>1.1316132044428321E-3</c:v>
                </c:pt>
                <c:pt idx="5618">
                  <c:v>1.2081756573098354E-3</c:v>
                </c:pt>
                <c:pt idx="5619">
                  <c:v>1.2775685388761932E-3</c:v>
                </c:pt>
                <c:pt idx="5620">
                  <c:v>1.3359660133614502E-3</c:v>
                </c:pt>
                <c:pt idx="5621">
                  <c:v>1.4205338125926454E-3</c:v>
                </c:pt>
                <c:pt idx="5622">
                  <c:v>1.499020209416645E-3</c:v>
                </c:pt>
                <c:pt idx="5623">
                  <c:v>1.5895341163881219E-3</c:v>
                </c:pt>
                <c:pt idx="5624">
                  <c:v>1.668189269808636E-3</c:v>
                </c:pt>
                <c:pt idx="5625">
                  <c:v>1.7325915927250866E-3</c:v>
                </c:pt>
                <c:pt idx="5626">
                  <c:v>1.7861323531859568E-3</c:v>
                </c:pt>
                <c:pt idx="5627">
                  <c:v>1.8268108862837323E-3</c:v>
                </c:pt>
                <c:pt idx="5628">
                  <c:v>1.8563315072542596E-3</c:v>
                </c:pt>
                <c:pt idx="5629">
                  <c:v>1.8746397419684157E-3</c:v>
                </c:pt>
                <c:pt idx="5630">
                  <c:v>1.8798233555348291E-3</c:v>
                </c:pt>
                <c:pt idx="5631">
                  <c:v>1.8720476431525251E-3</c:v>
                </c:pt>
                <c:pt idx="5632">
                  <c:v>1.8512656421634159E-3</c:v>
                </c:pt>
                <c:pt idx="5633">
                  <c:v>1.8200883966418434E-3</c:v>
                </c:pt>
                <c:pt idx="5634">
                  <c:v>1.8013241606828533E-3</c:v>
                </c:pt>
                <c:pt idx="5635">
                  <c:v>1.7743916491535611E-3</c:v>
                </c:pt>
                <c:pt idx="5636">
                  <c:v>1.7383017397514676E-3</c:v>
                </c:pt>
                <c:pt idx="5637">
                  <c:v>1.6903522994848187E-3</c:v>
                </c:pt>
                <c:pt idx="5638">
                  <c:v>1.6292040496445298E-3</c:v>
                </c:pt>
                <c:pt idx="5639">
                  <c:v>1.5570202107556405E-3</c:v>
                </c:pt>
                <c:pt idx="5640">
                  <c:v>1.4725528786313107E-3</c:v>
                </c:pt>
                <c:pt idx="5641">
                  <c:v>1.3779169007616511E-3</c:v>
                </c:pt>
                <c:pt idx="5642">
                  <c:v>1.2967318642926645E-3</c:v>
                </c:pt>
                <c:pt idx="5643">
                  <c:v>1.2137201697615342E-3</c:v>
                </c:pt>
                <c:pt idx="5644">
                  <c:v>1.1383581276885075E-3</c:v>
                </c:pt>
                <c:pt idx="5645">
                  <c:v>1.0568458962002046E-3</c:v>
                </c:pt>
                <c:pt idx="5646">
                  <c:v>9.7055247554854766E-4</c:v>
                </c:pt>
                <c:pt idx="5647">
                  <c:v>9.2550476249741239E-4</c:v>
                </c:pt>
                <c:pt idx="5648">
                  <c:v>8.7511562797332177E-4</c:v>
                </c:pt>
                <c:pt idx="5649">
                  <c:v>8.1672417234515205E-4</c:v>
                </c:pt>
                <c:pt idx="5650">
                  <c:v>7.4426790051081138E-4</c:v>
                </c:pt>
                <c:pt idx="5651">
                  <c:v>7.1006921202868163E-4</c:v>
                </c:pt>
                <c:pt idx="5652">
                  <c:v>6.8103349772665682E-4</c:v>
                </c:pt>
                <c:pt idx="5653">
                  <c:v>6.7876921954924713E-4</c:v>
                </c:pt>
                <c:pt idx="5654">
                  <c:v>6.7965567504468761E-4</c:v>
                </c:pt>
                <c:pt idx="5655">
                  <c:v>6.8359354750001735E-4</c:v>
                </c:pt>
                <c:pt idx="5656">
                  <c:v>6.8771773052507252E-4</c:v>
                </c:pt>
                <c:pt idx="5657">
                  <c:v>6.9500222342842172E-4</c:v>
                </c:pt>
                <c:pt idx="5658">
                  <c:v>7.023126242769283E-4</c:v>
                </c:pt>
                <c:pt idx="5659">
                  <c:v>7.0965346459494301E-4</c:v>
                </c:pt>
                <c:pt idx="5660">
                  <c:v>7.1417210251018231E-4</c:v>
                </c:pt>
                <c:pt idx="5661">
                  <c:v>7.3440170736785491E-4</c:v>
                </c:pt>
                <c:pt idx="5662">
                  <c:v>7.8762852442950629E-4</c:v>
                </c:pt>
                <c:pt idx="5663">
                  <c:v>8.385792455314412E-4</c:v>
                </c:pt>
                <c:pt idx="5664">
                  <c:v>8.9104724219831908E-4</c:v>
                </c:pt>
                <c:pt idx="5665">
                  <c:v>1.0218907884004807E-3</c:v>
                </c:pt>
                <c:pt idx="5666">
                  <c:v>1.1318849795175648E-3</c:v>
                </c:pt>
                <c:pt idx="5667">
                  <c:v>1.224695485719842E-3</c:v>
                </c:pt>
                <c:pt idx="5668">
                  <c:v>1.3353657008893785E-3</c:v>
                </c:pt>
                <c:pt idx="5669">
                  <c:v>1.4204705377329652E-3</c:v>
                </c:pt>
                <c:pt idx="5670">
                  <c:v>1.5253211857765296E-3</c:v>
                </c:pt>
                <c:pt idx="5671">
                  <c:v>1.6211024560372227E-3</c:v>
                </c:pt>
                <c:pt idx="5672">
                  <c:v>1.723573017981408E-3</c:v>
                </c:pt>
                <c:pt idx="5673">
                  <c:v>1.8068392439162333E-3</c:v>
                </c:pt>
                <c:pt idx="5674">
                  <c:v>1.8734301974164379E-3</c:v>
                </c:pt>
                <c:pt idx="5675">
                  <c:v>1.927356569840464E-3</c:v>
                </c:pt>
                <c:pt idx="5676">
                  <c:v>1.9676752894179895E-3</c:v>
                </c:pt>
                <c:pt idx="5677">
                  <c:v>1.9951912344054511E-3</c:v>
                </c:pt>
                <c:pt idx="5678">
                  <c:v>2.0150743031651227E-3</c:v>
                </c:pt>
                <c:pt idx="5679">
                  <c:v>2.0282454489900796E-3</c:v>
                </c:pt>
                <c:pt idx="5680">
                  <c:v>2.0297252687629091E-3</c:v>
                </c:pt>
                <c:pt idx="5681">
                  <c:v>2.019405784365966E-3</c:v>
                </c:pt>
                <c:pt idx="5682">
                  <c:v>2.0059431464242469E-3</c:v>
                </c:pt>
                <c:pt idx="5683">
                  <c:v>1.9842275698495867E-3</c:v>
                </c:pt>
                <c:pt idx="5684">
                  <c:v>2.00272476302325E-3</c:v>
                </c:pt>
                <c:pt idx="5685">
                  <c:v>2.0103267568548893E-3</c:v>
                </c:pt>
                <c:pt idx="5686">
                  <c:v>1.9980512738239564E-3</c:v>
                </c:pt>
                <c:pt idx="5687">
                  <c:v>1.9719603636764813E-3</c:v>
                </c:pt>
                <c:pt idx="5688">
                  <c:v>1.9257044604154359E-3</c:v>
                </c:pt>
                <c:pt idx="5689">
                  <c:v>1.8612487388104909E-3</c:v>
                </c:pt>
                <c:pt idx="5690">
                  <c:v>1.7783807968307899E-3</c:v>
                </c:pt>
                <c:pt idx="5691">
                  <c:v>1.6940225890274682E-3</c:v>
                </c:pt>
                <c:pt idx="5692">
                  <c:v>1.6255594723893275E-3</c:v>
                </c:pt>
                <c:pt idx="5693">
                  <c:v>1.5486725315569836E-3</c:v>
                </c:pt>
                <c:pt idx="5694">
                  <c:v>1.4691049114475894E-3</c:v>
                </c:pt>
                <c:pt idx="5695">
                  <c:v>1.4452463925482128E-3</c:v>
                </c:pt>
                <c:pt idx="5696">
                  <c:v>1.4141909534155543E-3</c:v>
                </c:pt>
                <c:pt idx="5697">
                  <c:v>1.3732312191617876E-3</c:v>
                </c:pt>
                <c:pt idx="5698">
                  <c:v>1.3494287434895477E-3</c:v>
                </c:pt>
                <c:pt idx="5699">
                  <c:v>1.3114771256966589E-3</c:v>
                </c:pt>
                <c:pt idx="5700">
                  <c:v>1.2968441943934494E-3</c:v>
                </c:pt>
                <c:pt idx="5701">
                  <c:v>1.276852531958878E-3</c:v>
                </c:pt>
                <c:pt idx="5702">
                  <c:v>1.2683760309360182E-3</c:v>
                </c:pt>
                <c:pt idx="5703">
                  <c:v>1.2531211340182607E-3</c:v>
                </c:pt>
                <c:pt idx="5704">
                  <c:v>1.2307358293482816E-3</c:v>
                </c:pt>
                <c:pt idx="5705">
                  <c:v>1.2011106242314209E-3</c:v>
                </c:pt>
                <c:pt idx="5706">
                  <c:v>1.1614543955093609E-3</c:v>
                </c:pt>
                <c:pt idx="5707">
                  <c:v>1.1128965937753166E-3</c:v>
                </c:pt>
                <c:pt idx="5708">
                  <c:v>1.0544214253038005E-3</c:v>
                </c:pt>
                <c:pt idx="5709">
                  <c:v>9.9272947604073626E-4</c:v>
                </c:pt>
                <c:pt idx="5710">
                  <c:v>9.2550704911824235E-4</c:v>
                </c:pt>
                <c:pt idx="5711">
                  <c:v>9.0133628075408608E-4</c:v>
                </c:pt>
                <c:pt idx="5712">
                  <c:v>8.7843622852664869E-4</c:v>
                </c:pt>
                <c:pt idx="5713">
                  <c:v>8.7352617826870081E-4</c:v>
                </c:pt>
                <c:pt idx="5714">
                  <c:v>9.7032819188362001E-4</c:v>
                </c:pt>
                <c:pt idx="5715">
                  <c:v>1.0788327381273399E-3</c:v>
                </c:pt>
                <c:pt idx="5716">
                  <c:v>1.2057709301259783E-3</c:v>
                </c:pt>
                <c:pt idx="5717">
                  <c:v>1.3118739375360421E-3</c:v>
                </c:pt>
                <c:pt idx="5718">
                  <c:v>1.3978853092615515E-3</c:v>
                </c:pt>
                <c:pt idx="5719">
                  <c:v>1.4670995022727791E-3</c:v>
                </c:pt>
                <c:pt idx="5720">
                  <c:v>1.5262034627498439E-3</c:v>
                </c:pt>
                <c:pt idx="5721">
                  <c:v>1.5728716605081321E-3</c:v>
                </c:pt>
                <c:pt idx="5722">
                  <c:v>1.6138395742532066E-3</c:v>
                </c:pt>
                <c:pt idx="5723">
                  <c:v>1.6505350203650632E-3</c:v>
                </c:pt>
                <c:pt idx="5724">
                  <c:v>1.6830896718775274E-3</c:v>
                </c:pt>
                <c:pt idx="5725">
                  <c:v>1.7059903029330761E-3</c:v>
                </c:pt>
                <c:pt idx="5726">
                  <c:v>1.7217741196627031E-3</c:v>
                </c:pt>
                <c:pt idx="5727">
                  <c:v>1.7312109429062806E-3</c:v>
                </c:pt>
                <c:pt idx="5728">
                  <c:v>1.731637647054125E-3</c:v>
                </c:pt>
                <c:pt idx="5729">
                  <c:v>1.723243619576017E-3</c:v>
                </c:pt>
                <c:pt idx="5730">
                  <c:v>1.7083347182430986E-3</c:v>
                </c:pt>
                <c:pt idx="5731">
                  <c:v>1.6843290265003278E-3</c:v>
                </c:pt>
                <c:pt idx="5732">
                  <c:v>1.6538304469879209E-3</c:v>
                </c:pt>
                <c:pt idx="5733">
                  <c:v>1.6156022247339368E-3</c:v>
                </c:pt>
                <c:pt idx="5734">
                  <c:v>1.5687301097714159E-3</c:v>
                </c:pt>
                <c:pt idx="5735">
                  <c:v>1.510390816345951E-3</c:v>
                </c:pt>
                <c:pt idx="5736">
                  <c:v>1.4354190681751401E-3</c:v>
                </c:pt>
                <c:pt idx="5737">
                  <c:v>1.3444241481606564E-3</c:v>
                </c:pt>
                <c:pt idx="5738">
                  <c:v>1.232255494170133E-3</c:v>
                </c:pt>
                <c:pt idx="5739">
                  <c:v>1.0965425610198862E-3</c:v>
                </c:pt>
                <c:pt idx="5740">
                  <c:v>9.4566006994114768E-4</c:v>
                </c:pt>
                <c:pt idx="5741">
                  <c:v>8.6217505944405414E-4</c:v>
                </c:pt>
                <c:pt idx="5742">
                  <c:v>7.6617877448624983E-4</c:v>
                </c:pt>
                <c:pt idx="5743">
                  <c:v>6.8745255441683337E-4</c:v>
                </c:pt>
                <c:pt idx="5744">
                  <c:v>6.4559516599266373E-4</c:v>
                </c:pt>
                <c:pt idx="5745">
                  <c:v>6.2228485398145897E-4</c:v>
                </c:pt>
                <c:pt idx="5746">
                  <c:v>6.3028506424389001E-4</c:v>
                </c:pt>
                <c:pt idx="5747">
                  <c:v>6.3837769165317872E-4</c:v>
                </c:pt>
                <c:pt idx="5748">
                  <c:v>6.5350284141810764E-4</c:v>
                </c:pt>
                <c:pt idx="5749">
                  <c:v>6.6481872709039935E-4</c:v>
                </c:pt>
                <c:pt idx="5750">
                  <c:v>6.7274347253775952E-4</c:v>
                </c:pt>
                <c:pt idx="5751">
                  <c:v>6.7723171553595279E-4</c:v>
                </c:pt>
                <c:pt idx="5752">
                  <c:v>6.8437133186044453E-4</c:v>
                </c:pt>
                <c:pt idx="5753">
                  <c:v>6.9165532240798085E-4</c:v>
                </c:pt>
                <c:pt idx="5754">
                  <c:v>7.0224195833172446E-4</c:v>
                </c:pt>
                <c:pt idx="5755">
                  <c:v>7.0987707040982698E-4</c:v>
                </c:pt>
                <c:pt idx="5756">
                  <c:v>7.1739202392004907E-4</c:v>
                </c:pt>
                <c:pt idx="5757">
                  <c:v>7.2462414314568345E-4</c:v>
                </c:pt>
                <c:pt idx="5758">
                  <c:v>7.2889839143788369E-4</c:v>
                </c:pt>
                <c:pt idx="5759">
                  <c:v>7.3342296095336968E-4</c:v>
                </c:pt>
                <c:pt idx="5760">
                  <c:v>7.3470734675879911E-4</c:v>
                </c:pt>
                <c:pt idx="5761">
                  <c:v>7.5454029913446367E-4</c:v>
                </c:pt>
                <c:pt idx="5762">
                  <c:v>7.7601017248112697E-4</c:v>
                </c:pt>
                <c:pt idx="5763">
                  <c:v>8.0132218048462316E-4</c:v>
                </c:pt>
                <c:pt idx="5764">
                  <c:v>8.2319456776528755E-4</c:v>
                </c:pt>
                <c:pt idx="5765">
                  <c:v>8.9719943397167207E-4</c:v>
                </c:pt>
                <c:pt idx="5766">
                  <c:v>9.5648506612908103E-4</c:v>
                </c:pt>
                <c:pt idx="5767">
                  <c:v>1.0275503000631509E-3</c:v>
                </c:pt>
                <c:pt idx="5768">
                  <c:v>1.0856651883512454E-3</c:v>
                </c:pt>
                <c:pt idx="5769">
                  <c:v>1.1521105106855364E-3</c:v>
                </c:pt>
                <c:pt idx="5770">
                  <c:v>1.2104574298630729E-3</c:v>
                </c:pt>
                <c:pt idx="5771">
                  <c:v>1.2558171684378271E-3</c:v>
                </c:pt>
                <c:pt idx="5772">
                  <c:v>1.2970432192976138E-3</c:v>
                </c:pt>
                <c:pt idx="5773">
                  <c:v>1.3282971401510223E-3</c:v>
                </c:pt>
                <c:pt idx="5774">
                  <c:v>1.3548948737632683E-3</c:v>
                </c:pt>
                <c:pt idx="5775">
                  <c:v>1.3730746688070535E-3</c:v>
                </c:pt>
                <c:pt idx="5776">
                  <c:v>1.3854915512738241E-3</c:v>
                </c:pt>
                <c:pt idx="5777">
                  <c:v>1.3929669173760697E-3</c:v>
                </c:pt>
                <c:pt idx="5778">
                  <c:v>1.459260870018313E-3</c:v>
                </c:pt>
                <c:pt idx="5779">
                  <c:v>1.527599661389575E-3</c:v>
                </c:pt>
                <c:pt idx="5780">
                  <c:v>1.5800711357821105E-3</c:v>
                </c:pt>
                <c:pt idx="5781">
                  <c:v>1.6181139866989749E-3</c:v>
                </c:pt>
                <c:pt idx="5782">
                  <c:v>1.6456998332019417E-3</c:v>
                </c:pt>
                <c:pt idx="5783">
                  <c:v>1.6629419983302347E-3</c:v>
                </c:pt>
                <c:pt idx="5784">
                  <c:v>1.6725502044816693E-3</c:v>
                </c:pt>
                <c:pt idx="5785">
                  <c:v>1.6673907196145194E-3</c:v>
                </c:pt>
                <c:pt idx="5786">
                  <c:v>1.6552243686537046E-3</c:v>
                </c:pt>
                <c:pt idx="5787">
                  <c:v>1.6330217627534332E-3</c:v>
                </c:pt>
                <c:pt idx="5788">
                  <c:v>1.6000811498381817E-3</c:v>
                </c:pt>
                <c:pt idx="5789">
                  <c:v>1.5541796556830232E-3</c:v>
                </c:pt>
                <c:pt idx="5790">
                  <c:v>1.4932484642030848E-3</c:v>
                </c:pt>
                <c:pt idx="5791">
                  <c:v>1.4466297931671407E-3</c:v>
                </c:pt>
                <c:pt idx="5792">
                  <c:v>1.3933086110980287E-3</c:v>
                </c:pt>
                <c:pt idx="5793">
                  <c:v>1.33303541091642E-3</c:v>
                </c:pt>
                <c:pt idx="5794">
                  <c:v>1.2572034338697528E-3</c:v>
                </c:pt>
                <c:pt idx="5795">
                  <c:v>1.2228458077062022E-3</c:v>
                </c:pt>
                <c:pt idx="5796">
                  <c:v>1.1812923748760874E-3</c:v>
                </c:pt>
                <c:pt idx="5797">
                  <c:v>1.1483831470635261E-3</c:v>
                </c:pt>
                <c:pt idx="5798">
                  <c:v>1.1107554425267825E-3</c:v>
                </c:pt>
                <c:pt idx="5799">
                  <c:v>1.0907520425612598E-3</c:v>
                </c:pt>
                <c:pt idx="5800">
                  <c:v>1.076662711328828E-3</c:v>
                </c:pt>
                <c:pt idx="5801">
                  <c:v>1.0599231353902606E-3</c:v>
                </c:pt>
                <c:pt idx="5802">
                  <c:v>1.0860830842813933E-3</c:v>
                </c:pt>
                <c:pt idx="5803">
                  <c:v>1.1210947175245456E-3</c:v>
                </c:pt>
                <c:pt idx="5804">
                  <c:v>1.1395621780783717E-3</c:v>
                </c:pt>
                <c:pt idx="5805">
                  <c:v>1.1422215821306409E-3</c:v>
                </c:pt>
                <c:pt idx="5806">
                  <c:v>1.1294356341434426E-3</c:v>
                </c:pt>
                <c:pt idx="5807">
                  <c:v>1.1083189628360091E-3</c:v>
                </c:pt>
                <c:pt idx="5808">
                  <c:v>1.1434159853501806E-3</c:v>
                </c:pt>
                <c:pt idx="5809">
                  <c:v>1.1810840276386847E-3</c:v>
                </c:pt>
                <c:pt idx="5810">
                  <c:v>1.2109841650915175E-3</c:v>
                </c:pt>
                <c:pt idx="5811">
                  <c:v>1.2362676941369292E-3</c:v>
                </c:pt>
                <c:pt idx="5812">
                  <c:v>1.2594699806581905E-3</c:v>
                </c:pt>
                <c:pt idx="5813">
                  <c:v>1.2778187891341903E-3</c:v>
                </c:pt>
                <c:pt idx="5814">
                  <c:v>1.2949026412077441E-3</c:v>
                </c:pt>
                <c:pt idx="5815">
                  <c:v>1.3027642322362572E-3</c:v>
                </c:pt>
                <c:pt idx="5816">
                  <c:v>1.3059444382863767E-3</c:v>
                </c:pt>
                <c:pt idx="5817">
                  <c:v>1.3073121804745753E-3</c:v>
                </c:pt>
                <c:pt idx="5818">
                  <c:v>1.3068947997876815E-3</c:v>
                </c:pt>
                <c:pt idx="5819">
                  <c:v>1.3094136797904465E-3</c:v>
                </c:pt>
                <c:pt idx="5820">
                  <c:v>1.3033995382829078E-3</c:v>
                </c:pt>
                <c:pt idx="5821">
                  <c:v>1.2946814100905655E-3</c:v>
                </c:pt>
                <c:pt idx="5822">
                  <c:v>1.2781498208588296E-3</c:v>
                </c:pt>
                <c:pt idx="5823">
                  <c:v>1.2532000951845175E-3</c:v>
                </c:pt>
                <c:pt idx="5824">
                  <c:v>1.2215612906813706E-3</c:v>
                </c:pt>
                <c:pt idx="5825">
                  <c:v>1.2903675260689522E-3</c:v>
                </c:pt>
                <c:pt idx="5826">
                  <c:v>1.3397247682688609E-3</c:v>
                </c:pt>
                <c:pt idx="5827">
                  <c:v>1.3655000861757215E-3</c:v>
                </c:pt>
                <c:pt idx="5828">
                  <c:v>1.3718953662277841E-3</c:v>
                </c:pt>
                <c:pt idx="5829">
                  <c:v>1.371113307348916E-3</c:v>
                </c:pt>
                <c:pt idx="5830">
                  <c:v>1.3738068751273562E-3</c:v>
                </c:pt>
                <c:pt idx="5831">
                  <c:v>1.3676091124046514E-3</c:v>
                </c:pt>
                <c:pt idx="5832">
                  <c:v>1.3949000033490924E-3</c:v>
                </c:pt>
                <c:pt idx="5833">
                  <c:v>1.426362648607088E-3</c:v>
                </c:pt>
                <c:pt idx="5834">
                  <c:v>1.449306241942074E-3</c:v>
                </c:pt>
                <c:pt idx="5835">
                  <c:v>1.4641013967697525E-3</c:v>
                </c:pt>
                <c:pt idx="5836">
                  <c:v>1.4712569628016895E-3</c:v>
                </c:pt>
                <c:pt idx="5837">
                  <c:v>1.4708609000851818E-3</c:v>
                </c:pt>
                <c:pt idx="5838">
                  <c:v>1.4656912835926703E-3</c:v>
                </c:pt>
                <c:pt idx="5839">
                  <c:v>1.4556286411030583E-3</c:v>
                </c:pt>
                <c:pt idx="5840">
                  <c:v>1.4382240285703901E-3</c:v>
                </c:pt>
                <c:pt idx="5841">
                  <c:v>1.415818434784941E-3</c:v>
                </c:pt>
                <c:pt idx="5842">
                  <c:v>1.3886378111270421E-3</c:v>
                </c:pt>
                <c:pt idx="5843">
                  <c:v>1.3536920568391765E-3</c:v>
                </c:pt>
                <c:pt idx="5844">
                  <c:v>1.3185304220925424E-3</c:v>
                </c:pt>
                <c:pt idx="5845">
                  <c:v>1.2770064443469861E-3</c:v>
                </c:pt>
                <c:pt idx="5846">
                  <c:v>1.2280560406263447E-3</c:v>
                </c:pt>
                <c:pt idx="5847">
                  <c:v>1.1721968424195429E-3</c:v>
                </c:pt>
                <c:pt idx="5848">
                  <c:v>1.1086482814006784E-3</c:v>
                </c:pt>
                <c:pt idx="5849">
                  <c:v>1.0527250517200005E-3</c:v>
                </c:pt>
                <c:pt idx="5850">
                  <c:v>9.8569537315826663E-4</c:v>
                </c:pt>
                <c:pt idx="5851">
                  <c:v>9.0524995868974804E-4</c:v>
                </c:pt>
                <c:pt idx="5852">
                  <c:v>8.0744576000828759E-4</c:v>
                </c:pt>
                <c:pt idx="5853">
                  <c:v>6.8465804355252984E-4</c:v>
                </c:pt>
                <c:pt idx="5854">
                  <c:v>5.3110919893261668E-4</c:v>
                </c:pt>
                <c:pt idx="5855">
                  <c:v>5.380364715673212E-4</c:v>
                </c:pt>
                <c:pt idx="5856">
                  <c:v>5.4360444860934796E-4</c:v>
                </c:pt>
                <c:pt idx="5857">
                  <c:v>5.4782406787596118E-4</c:v>
                </c:pt>
                <c:pt idx="5858">
                  <c:v>5.7895548691708166E-4</c:v>
                </c:pt>
                <c:pt idx="5859">
                  <c:v>6.0288696879393794E-4</c:v>
                </c:pt>
                <c:pt idx="5860">
                  <c:v>6.3522205046834951E-4</c:v>
                </c:pt>
                <c:pt idx="5861">
                  <c:v>6.6293024206087704E-4</c:v>
                </c:pt>
                <c:pt idx="5862">
                  <c:v>6.8664620053090174E-4</c:v>
                </c:pt>
                <c:pt idx="5863">
                  <c:v>7.0994529197059486E-4</c:v>
                </c:pt>
                <c:pt idx="5864">
                  <c:v>7.2936840133627518E-4</c:v>
                </c:pt>
                <c:pt idx="5865">
                  <c:v>7.4538754148898822E-4</c:v>
                </c:pt>
                <c:pt idx="5866">
                  <c:v>8.2650287343586889E-4</c:v>
                </c:pt>
                <c:pt idx="5867">
                  <c:v>9.361056436258178E-4</c:v>
                </c:pt>
                <c:pt idx="5868">
                  <c:v>1.0331368356737676E-3</c:v>
                </c:pt>
                <c:pt idx="5869">
                  <c:v>1.1180400286159812E-3</c:v>
                </c:pt>
                <c:pt idx="5870">
                  <c:v>1.1879662744867889E-3</c:v>
                </c:pt>
                <c:pt idx="5871">
                  <c:v>1.248436346176053E-3</c:v>
                </c:pt>
                <c:pt idx="5872">
                  <c:v>1.297406004480688E-3</c:v>
                </c:pt>
                <c:pt idx="5873">
                  <c:v>1.3362278488418602E-3</c:v>
                </c:pt>
                <c:pt idx="5874">
                  <c:v>1.3680304256407777E-3</c:v>
                </c:pt>
                <c:pt idx="5875">
                  <c:v>1.3908493333897763E-3</c:v>
                </c:pt>
                <c:pt idx="5876">
                  <c:v>1.4107747387043445E-3</c:v>
                </c:pt>
                <c:pt idx="5877">
                  <c:v>1.423193053301275E-3</c:v>
                </c:pt>
                <c:pt idx="5878">
                  <c:v>1.42856190530213E-3</c:v>
                </c:pt>
                <c:pt idx="5879">
                  <c:v>1.4467368509554694E-3</c:v>
                </c:pt>
                <c:pt idx="5880">
                  <c:v>1.4555370652661491E-3</c:v>
                </c:pt>
                <c:pt idx="5881">
                  <c:v>1.5023393017736468E-3</c:v>
                </c:pt>
                <c:pt idx="5882">
                  <c:v>1.5405612522355566E-3</c:v>
                </c:pt>
                <c:pt idx="5883">
                  <c:v>1.561154106270571E-3</c:v>
                </c:pt>
                <c:pt idx="5884">
                  <c:v>1.576718113431832E-3</c:v>
                </c:pt>
                <c:pt idx="5885">
                  <c:v>1.6830310882674187E-3</c:v>
                </c:pt>
                <c:pt idx="5886">
                  <c:v>1.7689259019626352E-3</c:v>
                </c:pt>
                <c:pt idx="5887">
                  <c:v>1.8289863867839277E-3</c:v>
                </c:pt>
                <c:pt idx="5888">
                  <c:v>1.8881517863777928E-3</c:v>
                </c:pt>
                <c:pt idx="5889">
                  <c:v>1.9278307704891054E-3</c:v>
                </c:pt>
                <c:pt idx="5890">
                  <c:v>1.9543744584604944E-3</c:v>
                </c:pt>
                <c:pt idx="5891">
                  <c:v>1.9637936311265639E-3</c:v>
                </c:pt>
                <c:pt idx="5892">
                  <c:v>1.9537677307114921E-3</c:v>
                </c:pt>
                <c:pt idx="5893">
                  <c:v>1.9297325440252471E-3</c:v>
                </c:pt>
                <c:pt idx="5894">
                  <c:v>1.888422409879719E-3</c:v>
                </c:pt>
                <c:pt idx="5895">
                  <c:v>1.8288799855758603E-3</c:v>
                </c:pt>
                <c:pt idx="5896">
                  <c:v>1.8067987674958731E-3</c:v>
                </c:pt>
                <c:pt idx="5897">
                  <c:v>1.7997348879433843E-3</c:v>
                </c:pt>
                <c:pt idx="5898">
                  <c:v>1.788560738671718E-3</c:v>
                </c:pt>
                <c:pt idx="5899">
                  <c:v>1.7709633266176162E-3</c:v>
                </c:pt>
                <c:pt idx="5900">
                  <c:v>1.7448552096947488E-3</c:v>
                </c:pt>
                <c:pt idx="5901">
                  <c:v>1.7121525767473719E-3</c:v>
                </c:pt>
                <c:pt idx="5902">
                  <c:v>1.6719620336829546E-3</c:v>
                </c:pt>
                <c:pt idx="5903">
                  <c:v>1.6417052602254506E-3</c:v>
                </c:pt>
                <c:pt idx="5904">
                  <c:v>1.6011331170256941E-3</c:v>
                </c:pt>
                <c:pt idx="5905">
                  <c:v>1.542924886461045E-3</c:v>
                </c:pt>
                <c:pt idx="5906">
                  <c:v>1.4720942422475139E-3</c:v>
                </c:pt>
                <c:pt idx="5907">
                  <c:v>1.3876084135122202E-3</c:v>
                </c:pt>
                <c:pt idx="5908">
                  <c:v>1.2814013737239606E-3</c:v>
                </c:pt>
                <c:pt idx="5909">
                  <c:v>1.2340041282973562E-3</c:v>
                </c:pt>
                <c:pt idx="5910">
                  <c:v>1.1807588682679669E-3</c:v>
                </c:pt>
                <c:pt idx="5911">
                  <c:v>1.1861642502641744E-3</c:v>
                </c:pt>
                <c:pt idx="5912">
                  <c:v>1.184974744937011E-3</c:v>
                </c:pt>
                <c:pt idx="5913">
                  <c:v>1.2051138547079937E-3</c:v>
                </c:pt>
                <c:pt idx="5914">
                  <c:v>1.3117697792644604E-3</c:v>
                </c:pt>
                <c:pt idx="5915">
                  <c:v>1.50163722971137E-3</c:v>
                </c:pt>
                <c:pt idx="5916">
                  <c:v>1.6791671695607303E-3</c:v>
                </c:pt>
                <c:pt idx="5917">
                  <c:v>1.8321736940416535E-3</c:v>
                </c:pt>
                <c:pt idx="5918">
                  <c:v>1.9695020908899845E-3</c:v>
                </c:pt>
                <c:pt idx="5919">
                  <c:v>2.0829402831314932E-3</c:v>
                </c:pt>
                <c:pt idx="5920">
                  <c:v>2.2056735100058067E-3</c:v>
                </c:pt>
                <c:pt idx="5921">
                  <c:v>2.3123309633667718E-3</c:v>
                </c:pt>
                <c:pt idx="5922">
                  <c:v>2.396531089806172E-3</c:v>
                </c:pt>
                <c:pt idx="5923">
                  <c:v>2.4618478690539812E-3</c:v>
                </c:pt>
                <c:pt idx="5924">
                  <c:v>2.5124431135528751E-3</c:v>
                </c:pt>
                <c:pt idx="5925">
                  <c:v>2.5463659840485537E-3</c:v>
                </c:pt>
                <c:pt idx="5926">
                  <c:v>2.5621299387010316E-3</c:v>
                </c:pt>
                <c:pt idx="5927">
                  <c:v>2.5619935382076207E-3</c:v>
                </c:pt>
                <c:pt idx="5928">
                  <c:v>2.5458518543073098E-3</c:v>
                </c:pt>
                <c:pt idx="5929">
                  <c:v>2.5134130761254292E-3</c:v>
                </c:pt>
                <c:pt idx="5930">
                  <c:v>2.4642803409767027E-3</c:v>
                </c:pt>
                <c:pt idx="5931">
                  <c:v>2.3971298179006192E-3</c:v>
                </c:pt>
                <c:pt idx="5932">
                  <c:v>2.3157802776475845E-3</c:v>
                </c:pt>
                <c:pt idx="5933">
                  <c:v>2.2465684049880318E-3</c:v>
                </c:pt>
                <c:pt idx="5934">
                  <c:v>2.1703317659489563E-3</c:v>
                </c:pt>
                <c:pt idx="5935">
                  <c:v>2.083793592356832E-3</c:v>
                </c:pt>
                <c:pt idx="5936">
                  <c:v>1.9797368664015917E-3</c:v>
                </c:pt>
                <c:pt idx="5937">
                  <c:v>1.8607860030992675E-3</c:v>
                </c:pt>
                <c:pt idx="5938">
                  <c:v>1.709477631306106E-3</c:v>
                </c:pt>
                <c:pt idx="5939">
                  <c:v>1.5992912073417077E-3</c:v>
                </c:pt>
                <c:pt idx="5940">
                  <c:v>1.5092649342256612E-3</c:v>
                </c:pt>
                <c:pt idx="5941">
                  <c:v>1.4318425812399563E-3</c:v>
                </c:pt>
                <c:pt idx="5942">
                  <c:v>1.3363239816795694E-3</c:v>
                </c:pt>
                <c:pt idx="5943">
                  <c:v>1.2774180544131064E-3</c:v>
                </c:pt>
                <c:pt idx="5944">
                  <c:v>1.2835937037135865E-3</c:v>
                </c:pt>
                <c:pt idx="5945">
                  <c:v>1.3008792386156635E-3</c:v>
                </c:pt>
                <c:pt idx="5946">
                  <c:v>1.3198646840963508E-3</c:v>
                </c:pt>
                <c:pt idx="5947">
                  <c:v>1.3328789870599835E-3</c:v>
                </c:pt>
                <c:pt idx="5948">
                  <c:v>1.3436130518151932E-3</c:v>
                </c:pt>
                <c:pt idx="5949">
                  <c:v>1.344612936103293E-3</c:v>
                </c:pt>
                <c:pt idx="5950">
                  <c:v>1.401673794824721E-3</c:v>
                </c:pt>
                <c:pt idx="5951">
                  <c:v>1.4502467538124661E-3</c:v>
                </c:pt>
                <c:pt idx="5952">
                  <c:v>1.4875265434597556E-3</c:v>
                </c:pt>
                <c:pt idx="5953">
                  <c:v>1.5143921893442226E-3</c:v>
                </c:pt>
                <c:pt idx="5954">
                  <c:v>1.533625365353177E-3</c:v>
                </c:pt>
                <c:pt idx="5955">
                  <c:v>1.5434459367791521E-3</c:v>
                </c:pt>
                <c:pt idx="5956">
                  <c:v>1.5442702717144746E-3</c:v>
                </c:pt>
                <c:pt idx="5957">
                  <c:v>1.540569609570679E-3</c:v>
                </c:pt>
                <c:pt idx="5958">
                  <c:v>1.5270323594337135E-3</c:v>
                </c:pt>
                <c:pt idx="5959">
                  <c:v>1.5057491402999854E-3</c:v>
                </c:pt>
                <c:pt idx="5960">
                  <c:v>1.473803605344895E-3</c:v>
                </c:pt>
                <c:pt idx="5961">
                  <c:v>1.4304399473470256E-3</c:v>
                </c:pt>
                <c:pt idx="5962">
                  <c:v>1.3781812960858735E-3</c:v>
                </c:pt>
                <c:pt idx="5963">
                  <c:v>1.3123918352183905E-3</c:v>
                </c:pt>
                <c:pt idx="5964">
                  <c:v>1.2473343267570159E-3</c:v>
                </c:pt>
                <c:pt idx="5965">
                  <c:v>1.1881266074001979E-3</c:v>
                </c:pt>
                <c:pt idx="5966">
                  <c:v>1.1277304334168089E-3</c:v>
                </c:pt>
                <c:pt idx="5967">
                  <c:v>1.0695610464957076E-3</c:v>
                </c:pt>
                <c:pt idx="5968">
                  <c:v>9.9727333976553745E-4</c:v>
                </c:pt>
                <c:pt idx="5969">
                  <c:v>9.1288045805916116E-4</c:v>
                </c:pt>
                <c:pt idx="5970">
                  <c:v>8.5848593363836267E-4</c:v>
                </c:pt>
                <c:pt idx="5971">
                  <c:v>8.3047182651844445E-4</c:v>
                </c:pt>
                <c:pt idx="5972">
                  <c:v>8.0688276728221246E-4</c:v>
                </c:pt>
                <c:pt idx="5973">
                  <c:v>7.9170320524306174E-4</c:v>
                </c:pt>
                <c:pt idx="5974">
                  <c:v>7.7177663568569349E-4</c:v>
                </c:pt>
                <c:pt idx="5975">
                  <c:v>7.5217216246752322E-4</c:v>
                </c:pt>
                <c:pt idx="5976">
                  <c:v>7.2690925175968762E-4</c:v>
                </c:pt>
                <c:pt idx="5977">
                  <c:v>7.4036840080597059E-4</c:v>
                </c:pt>
                <c:pt idx="5978">
                  <c:v>7.6020222652903541E-4</c:v>
                </c:pt>
                <c:pt idx="5979">
                  <c:v>7.8149413106821052E-4</c:v>
                </c:pt>
                <c:pt idx="5980">
                  <c:v>8.4059433475413658E-4</c:v>
                </c:pt>
                <c:pt idx="5981">
                  <c:v>9.4002992149401152E-4</c:v>
                </c:pt>
                <c:pt idx="5982">
                  <c:v>1.0208876872027869E-3</c:v>
                </c:pt>
                <c:pt idx="5983">
                  <c:v>1.0876472661197868E-3</c:v>
                </c:pt>
                <c:pt idx="5984">
                  <c:v>1.1424679556448112E-3</c:v>
                </c:pt>
                <c:pt idx="5985">
                  <c:v>1.1870077854620638E-3</c:v>
                </c:pt>
                <c:pt idx="5986">
                  <c:v>1.2320050475175832E-3</c:v>
                </c:pt>
                <c:pt idx="5987">
                  <c:v>1.2749423073452689E-3</c:v>
                </c:pt>
                <c:pt idx="5988">
                  <c:v>1.3089529622025522E-3</c:v>
                </c:pt>
                <c:pt idx="5989">
                  <c:v>1.3370067965720585E-3</c:v>
                </c:pt>
                <c:pt idx="5990">
                  <c:v>1.3966193259020987E-3</c:v>
                </c:pt>
                <c:pt idx="5991">
                  <c:v>1.4438756124532639E-3</c:v>
                </c:pt>
                <c:pt idx="5992">
                  <c:v>1.4797517919304237E-3</c:v>
                </c:pt>
                <c:pt idx="5993">
                  <c:v>1.5052130893457533E-3</c:v>
                </c:pt>
                <c:pt idx="5994">
                  <c:v>1.5180916085691541E-3</c:v>
                </c:pt>
                <c:pt idx="5995">
                  <c:v>1.5215842128092109E-3</c:v>
                </c:pt>
                <c:pt idx="5996">
                  <c:v>1.5231051031012017E-3</c:v>
                </c:pt>
                <c:pt idx="5997">
                  <c:v>1.5226905653485555E-3</c:v>
                </c:pt>
                <c:pt idx="5998">
                  <c:v>1.5129537737024043E-3</c:v>
                </c:pt>
                <c:pt idx="5999">
                  <c:v>1.4937028380307088E-3</c:v>
                </c:pt>
                <c:pt idx="6000">
                  <c:v>1.4645014367248574E-3</c:v>
                </c:pt>
                <c:pt idx="6001">
                  <c:v>1.4228572478468121E-3</c:v>
                </c:pt>
                <c:pt idx="6002">
                  <c:v>1.3700006470471753E-3</c:v>
                </c:pt>
                <c:pt idx="6003">
                  <c:v>1.3044564844900443E-3</c:v>
                </c:pt>
                <c:pt idx="6004">
                  <c:v>1.2286709241909372E-3</c:v>
                </c:pt>
                <c:pt idx="6005">
                  <c:v>1.1471964997952372E-3</c:v>
                </c:pt>
                <c:pt idx="6006">
                  <c:v>1.0982961688372666E-3</c:v>
                </c:pt>
                <c:pt idx="6007">
                  <c:v>1.1317881384168209E-3</c:v>
                </c:pt>
                <c:pt idx="6008">
                  <c:v>1.1689574969439228E-3</c:v>
                </c:pt>
                <c:pt idx="6009">
                  <c:v>1.2185361688106457E-3</c:v>
                </c:pt>
                <c:pt idx="6010">
                  <c:v>1.2568849739885732E-3</c:v>
                </c:pt>
                <c:pt idx="6011">
                  <c:v>1.3474826422384307E-3</c:v>
                </c:pt>
                <c:pt idx="6012">
                  <c:v>1.4754653944966613E-3</c:v>
                </c:pt>
                <c:pt idx="6013">
                  <c:v>1.5762389104860385E-3</c:v>
                </c:pt>
                <c:pt idx="6014">
                  <c:v>1.658807465047012E-3</c:v>
                </c:pt>
                <c:pt idx="6015">
                  <c:v>1.7283142668592958E-3</c:v>
                </c:pt>
                <c:pt idx="6016">
                  <c:v>1.8103881264537258E-3</c:v>
                </c:pt>
                <c:pt idx="6017">
                  <c:v>1.9132135787017666E-3</c:v>
                </c:pt>
                <c:pt idx="6018">
                  <c:v>2.0096360867047857E-3</c:v>
                </c:pt>
                <c:pt idx="6019">
                  <c:v>2.0853131172901287E-3</c:v>
                </c:pt>
                <c:pt idx="6020">
                  <c:v>2.1743037299662149E-3</c:v>
                </c:pt>
                <c:pt idx="6021">
                  <c:v>2.2475420568806967E-3</c:v>
                </c:pt>
                <c:pt idx="6022">
                  <c:v>2.3270842203110841E-3</c:v>
                </c:pt>
                <c:pt idx="6023">
                  <c:v>2.3929577419803255E-3</c:v>
                </c:pt>
                <c:pt idx="6024">
                  <c:v>2.440817621423111E-3</c:v>
                </c:pt>
                <c:pt idx="6025">
                  <c:v>2.4679253285469762E-3</c:v>
                </c:pt>
                <c:pt idx="6026">
                  <c:v>2.4873667130827838E-3</c:v>
                </c:pt>
                <c:pt idx="6027">
                  <c:v>2.4881650389874466E-3</c:v>
                </c:pt>
                <c:pt idx="6028">
                  <c:v>2.4727267059235251E-3</c:v>
                </c:pt>
                <c:pt idx="6029">
                  <c:v>2.4428706128043591E-3</c:v>
                </c:pt>
                <c:pt idx="6030">
                  <c:v>2.3957563451707984E-3</c:v>
                </c:pt>
                <c:pt idx="6031">
                  <c:v>2.3290678738556673E-3</c:v>
                </c:pt>
                <c:pt idx="6032">
                  <c:v>2.245799812644866E-3</c:v>
                </c:pt>
                <c:pt idx="6033">
                  <c:v>2.138999785227213E-3</c:v>
                </c:pt>
                <c:pt idx="6034">
                  <c:v>2.0049340850631526E-3</c:v>
                </c:pt>
                <c:pt idx="6035">
                  <c:v>1.8427602538094964E-3</c:v>
                </c:pt>
                <c:pt idx="6036">
                  <c:v>1.7256570555532521E-3</c:v>
                </c:pt>
                <c:pt idx="6037">
                  <c:v>1.632677842192612E-3</c:v>
                </c:pt>
                <c:pt idx="6038">
                  <c:v>1.527140628640914E-3</c:v>
                </c:pt>
                <c:pt idx="6039">
                  <c:v>1.4243055574350517E-3</c:v>
                </c:pt>
                <c:pt idx="6040">
                  <c:v>1.3019082300697567E-3</c:v>
                </c:pt>
                <c:pt idx="6041">
                  <c:v>1.1959773487393542E-3</c:v>
                </c:pt>
                <c:pt idx="6042">
                  <c:v>1.1310125569295906E-3</c:v>
                </c:pt>
                <c:pt idx="6043">
                  <c:v>1.0517748802916361E-3</c:v>
                </c:pt>
                <c:pt idx="6044">
                  <c:v>9.6249462524118992E-4</c:v>
                </c:pt>
                <c:pt idx="6045">
                  <c:v>8.6256940205474756E-4</c:v>
                </c:pt>
                <c:pt idx="6046">
                  <c:v>7.8876718650273362E-4</c:v>
                </c:pt>
                <c:pt idx="6047">
                  <c:v>7.6473694523852571E-4</c:v>
                </c:pt>
                <c:pt idx="6048">
                  <c:v>7.5221644249742639E-4</c:v>
                </c:pt>
                <c:pt idx="6049">
                  <c:v>7.5002976880531762E-4</c:v>
                </c:pt>
                <c:pt idx="6050">
                  <c:v>7.5855340215840545E-4</c:v>
                </c:pt>
                <c:pt idx="6051">
                  <c:v>7.778447210631922E-4</c:v>
                </c:pt>
                <c:pt idx="6052">
                  <c:v>8.2114750956110213E-4</c:v>
                </c:pt>
                <c:pt idx="6053">
                  <c:v>8.6106886401029017E-4</c:v>
                </c:pt>
                <c:pt idx="6054">
                  <c:v>8.961611030947642E-4</c:v>
                </c:pt>
                <c:pt idx="6055">
                  <c:v>9.2259230067377848E-4</c:v>
                </c:pt>
                <c:pt idx="6056">
                  <c:v>9.4575308623262425E-4</c:v>
                </c:pt>
                <c:pt idx="6057">
                  <c:v>9.6381988425026717E-4</c:v>
                </c:pt>
                <c:pt idx="6058">
                  <c:v>1.0240539231825888E-3</c:v>
                </c:pt>
                <c:pt idx="6059">
                  <c:v>1.1181269152480096E-3</c:v>
                </c:pt>
                <c:pt idx="6060">
                  <c:v>1.1900169120098222E-3</c:v>
                </c:pt>
                <c:pt idx="6061">
                  <c:v>1.260870348974959E-3</c:v>
                </c:pt>
                <c:pt idx="6062">
                  <c:v>1.322025759695183E-3</c:v>
                </c:pt>
                <c:pt idx="6063">
                  <c:v>1.3710475000662168E-3</c:v>
                </c:pt>
                <c:pt idx="6064">
                  <c:v>1.4093726241345261E-3</c:v>
                </c:pt>
                <c:pt idx="6065">
                  <c:v>1.4377760506329262E-3</c:v>
                </c:pt>
                <c:pt idx="6066">
                  <c:v>1.4567500304725259E-3</c:v>
                </c:pt>
                <c:pt idx="6067">
                  <c:v>1.4694135690777258E-3</c:v>
                </c:pt>
                <c:pt idx="6068">
                  <c:v>1.475425549581908E-3</c:v>
                </c:pt>
                <c:pt idx="6069">
                  <c:v>1.4774512739042245E-3</c:v>
                </c:pt>
                <c:pt idx="6070">
                  <c:v>1.4708416879851401E-3</c:v>
                </c:pt>
                <c:pt idx="6071">
                  <c:v>1.4551910491942116E-3</c:v>
                </c:pt>
                <c:pt idx="6072">
                  <c:v>1.4305883563820372E-3</c:v>
                </c:pt>
                <c:pt idx="6073">
                  <c:v>1.3984104276084052E-3</c:v>
                </c:pt>
                <c:pt idx="6074">
                  <c:v>1.3590298545247035E-3</c:v>
                </c:pt>
                <c:pt idx="6075">
                  <c:v>1.3086363035751632E-3</c:v>
                </c:pt>
                <c:pt idx="6076">
                  <c:v>1.2606594361700943E-3</c:v>
                </c:pt>
                <c:pt idx="6077">
                  <c:v>1.2182146550492106E-3</c:v>
                </c:pt>
                <c:pt idx="6078">
                  <c:v>1.1653393036944047E-3</c:v>
                </c:pt>
                <c:pt idx="6079">
                  <c:v>1.1164359667020951E-3</c:v>
                </c:pt>
                <c:pt idx="6080">
                  <c:v>1.0684520592444528E-3</c:v>
                </c:pt>
                <c:pt idx="6081">
                  <c:v>1.025924904042767E-3</c:v>
                </c:pt>
                <c:pt idx="6082">
                  <c:v>9.821303410915568E-4</c:v>
                </c:pt>
                <c:pt idx="6083">
                  <c:v>9.2795840598241944E-4</c:v>
                </c:pt>
                <c:pt idx="6084">
                  <c:v>8.6374041501287204E-4</c:v>
                </c:pt>
                <c:pt idx="6085">
                  <c:v>7.9148880901946754E-4</c:v>
                </c:pt>
                <c:pt idx="6086">
                  <c:v>7.0344905871196485E-4</c:v>
                </c:pt>
                <c:pt idx="6087">
                  <c:v>6.0744187653060245E-4</c:v>
                </c:pt>
                <c:pt idx="6088">
                  <c:v>5.7144511072880423E-4</c:v>
                </c:pt>
                <c:pt idx="6089">
                  <c:v>5.7695268837439561E-4</c:v>
                </c:pt>
                <c:pt idx="6090">
                  <c:v>5.7370012158374721E-4</c:v>
                </c:pt>
                <c:pt idx="6091">
                  <c:v>5.8074273892519586E-4</c:v>
                </c:pt>
                <c:pt idx="6092">
                  <c:v>6.8129176876367261E-4</c:v>
                </c:pt>
                <c:pt idx="6093">
                  <c:v>7.6154637215659991E-4</c:v>
                </c:pt>
                <c:pt idx="6094">
                  <c:v>8.4037877938460159E-4</c:v>
                </c:pt>
                <c:pt idx="6095">
                  <c:v>9.0523815777621499E-4</c:v>
                </c:pt>
                <c:pt idx="6096">
                  <c:v>9.6244624868676166E-4</c:v>
                </c:pt>
                <c:pt idx="6097">
                  <c:v>1.0120206974181872E-3</c:v>
                </c:pt>
                <c:pt idx="6098">
                  <c:v>1.0552972948672328E-3</c:v>
                </c:pt>
                <c:pt idx="6099">
                  <c:v>1.0909979984052504E-3</c:v>
                </c:pt>
                <c:pt idx="6100">
                  <c:v>1.1199490217721729E-3</c:v>
                </c:pt>
                <c:pt idx="6101">
                  <c:v>1.1427537647919421E-3</c:v>
                </c:pt>
                <c:pt idx="6102">
                  <c:v>1.2071209895748959E-3</c:v>
                </c:pt>
                <c:pt idx="6103">
                  <c:v>1.2938352106401543E-3</c:v>
                </c:pt>
                <c:pt idx="6104">
                  <c:v>1.37563059076428E-3</c:v>
                </c:pt>
                <c:pt idx="6105">
                  <c:v>1.4385047388711482E-3</c:v>
                </c:pt>
                <c:pt idx="6106">
                  <c:v>1.537169151391042E-3</c:v>
                </c:pt>
                <c:pt idx="6107">
                  <c:v>1.61861370915063E-3</c:v>
                </c:pt>
                <c:pt idx="6108">
                  <c:v>1.6800719623952937E-3</c:v>
                </c:pt>
                <c:pt idx="6109">
                  <c:v>1.736171143136673E-3</c:v>
                </c:pt>
                <c:pt idx="6110">
                  <c:v>1.7778104352617144E-3</c:v>
                </c:pt>
                <c:pt idx="6111">
                  <c:v>1.8060331654829761E-3</c:v>
                </c:pt>
                <c:pt idx="6112">
                  <c:v>1.8187961117390676E-3</c:v>
                </c:pt>
                <c:pt idx="6113">
                  <c:v>1.8165677092461029E-3</c:v>
                </c:pt>
                <c:pt idx="6114">
                  <c:v>1.8017005715240055E-3</c:v>
                </c:pt>
                <c:pt idx="6115">
                  <c:v>1.7821054717873028E-3</c:v>
                </c:pt>
                <c:pt idx="6116">
                  <c:v>1.7497351960982458E-3</c:v>
                </c:pt>
                <c:pt idx="6117">
                  <c:v>1.7134371311470493E-3</c:v>
                </c:pt>
                <c:pt idx="6118">
                  <c:v>1.6618813401374566E-3</c:v>
                </c:pt>
                <c:pt idx="6119">
                  <c:v>1.5995842984556903E-3</c:v>
                </c:pt>
                <c:pt idx="6120">
                  <c:v>1.5202143832912113E-3</c:v>
                </c:pt>
                <c:pt idx="6121">
                  <c:v>1.4260094359136329E-3</c:v>
                </c:pt>
                <c:pt idx="6122">
                  <c:v>1.3942233358318267E-3</c:v>
                </c:pt>
                <c:pt idx="6123">
                  <c:v>1.3600890025479747E-3</c:v>
                </c:pt>
                <c:pt idx="6124">
                  <c:v>1.3279403597299554E-3</c:v>
                </c:pt>
                <c:pt idx="6125">
                  <c:v>1.2866211958667976E-3</c:v>
                </c:pt>
                <c:pt idx="6126">
                  <c:v>1.2405511903511156E-3</c:v>
                </c:pt>
                <c:pt idx="6127">
                  <c:v>1.1835744625998642E-3</c:v>
                </c:pt>
                <c:pt idx="6128">
                  <c:v>1.114144940750983E-3</c:v>
                </c:pt>
                <c:pt idx="6129">
                  <c:v>1.0273425428977902E-3</c:v>
                </c:pt>
                <c:pt idx="6130">
                  <c:v>9.231340574681285E-4</c:v>
                </c:pt>
                <c:pt idx="6131">
                  <c:v>7.9446757233455224E-4</c:v>
                </c:pt>
                <c:pt idx="6132">
                  <c:v>7.2333733395155587E-4</c:v>
                </c:pt>
                <c:pt idx="6133">
                  <c:v>6.8199886807226409E-4</c:v>
                </c:pt>
                <c:pt idx="6134">
                  <c:v>6.516569760708959E-4</c:v>
                </c:pt>
                <c:pt idx="6135">
                  <c:v>6.1563610590856591E-4</c:v>
                </c:pt>
                <c:pt idx="6136">
                  <c:v>6.3354864042318817E-4</c:v>
                </c:pt>
                <c:pt idx="6137">
                  <c:v>6.5152044386233821E-4</c:v>
                </c:pt>
                <c:pt idx="6138">
                  <c:v>6.5991827785261592E-4</c:v>
                </c:pt>
                <c:pt idx="6139">
                  <c:v>6.7340232684891634E-4</c:v>
                </c:pt>
                <c:pt idx="6140">
                  <c:v>6.8725541639820401E-4</c:v>
                </c:pt>
                <c:pt idx="6141">
                  <c:v>6.9862980663877681E-4</c:v>
                </c:pt>
                <c:pt idx="6142">
                  <c:v>7.0206117899143357E-4</c:v>
                </c:pt>
                <c:pt idx="6143">
                  <c:v>7.0283110050478148E-4</c:v>
                </c:pt>
                <c:pt idx="6144">
                  <c:v>6.9867622699306428E-4</c:v>
                </c:pt>
                <c:pt idx="6145">
                  <c:v>6.9504073994419051E-4</c:v>
                </c:pt>
                <c:pt idx="6146">
                  <c:v>6.8961383570651891E-4</c:v>
                </c:pt>
                <c:pt idx="6147">
                  <c:v>6.8205731170742942E-4</c:v>
                </c:pt>
                <c:pt idx="6148">
                  <c:v>6.6930850759212965E-4</c:v>
                </c:pt>
                <c:pt idx="6149">
                  <c:v>6.538085251121162E-4</c:v>
                </c:pt>
                <c:pt idx="6150">
                  <c:v>6.4162311067835474E-4</c:v>
                </c:pt>
                <c:pt idx="6151">
                  <c:v>6.2941497109533057E-4</c:v>
                </c:pt>
                <c:pt idx="6152">
                  <c:v>6.1176227463179188E-4</c:v>
                </c:pt>
                <c:pt idx="6153">
                  <c:v>6.0154467420217551E-4</c:v>
                </c:pt>
                <c:pt idx="6154">
                  <c:v>5.9252549193151191E-4</c:v>
                </c:pt>
                <c:pt idx="6155">
                  <c:v>5.8190509975096852E-4</c:v>
                </c:pt>
                <c:pt idx="6156">
                  <c:v>5.727780242748983E-4</c:v>
                </c:pt>
                <c:pt idx="6157">
                  <c:v>5.6482641222571975E-4</c:v>
                </c:pt>
                <c:pt idx="6158">
                  <c:v>5.5792723123538484E-4</c:v>
                </c:pt>
                <c:pt idx="6159">
                  <c:v>5.454557902964017E-4</c:v>
                </c:pt>
                <c:pt idx="6160">
                  <c:v>5.3416600652950283E-4</c:v>
                </c:pt>
                <c:pt idx="6161">
                  <c:v>5.243003261144331E-4</c:v>
                </c:pt>
                <c:pt idx="6162">
                  <c:v>5.0984509508899558E-4</c:v>
                </c:pt>
                <c:pt idx="6163">
                  <c:v>4.9330803238920994E-4</c:v>
                </c:pt>
                <c:pt idx="6164">
                  <c:v>4.823769250319006E-4</c:v>
                </c:pt>
                <c:pt idx="6165">
                  <c:v>4.7739170599566142E-4</c:v>
                </c:pt>
                <c:pt idx="6166">
                  <c:v>4.9104607797578954E-4</c:v>
                </c:pt>
                <c:pt idx="6167">
                  <c:v>5.1309942814741654E-4</c:v>
                </c:pt>
                <c:pt idx="6168">
                  <c:v>5.3020255086259156E-4</c:v>
                </c:pt>
                <c:pt idx="6169">
                  <c:v>5.4519965965719877E-4</c:v>
                </c:pt>
                <c:pt idx="6170">
                  <c:v>5.6435205319114556E-4</c:v>
                </c:pt>
                <c:pt idx="6171">
                  <c:v>5.78560689565843E-4</c:v>
                </c:pt>
                <c:pt idx="6172">
                  <c:v>5.886468216060246E-4</c:v>
                </c:pt>
                <c:pt idx="6173">
                  <c:v>6.1342355476565267E-4</c:v>
                </c:pt>
                <c:pt idx="6174">
                  <c:v>6.3243141010729559E-4</c:v>
                </c:pt>
                <c:pt idx="6175">
                  <c:v>6.4805924356861524E-4</c:v>
                </c:pt>
                <c:pt idx="6176">
                  <c:v>6.6081193878702585E-4</c:v>
                </c:pt>
                <c:pt idx="6177">
                  <c:v>6.7088634970208141E-4</c:v>
                </c:pt>
                <c:pt idx="6178">
                  <c:v>6.782227900525411E-4</c:v>
                </c:pt>
                <c:pt idx="6179">
                  <c:v>6.8587529125949587E-4</c:v>
                </c:pt>
                <c:pt idx="6180">
                  <c:v>6.9367129099847833E-4</c:v>
                </c:pt>
                <c:pt idx="6181">
                  <c:v>6.9905760837531551E-4</c:v>
                </c:pt>
                <c:pt idx="6182">
                  <c:v>6.99654746068671E-4</c:v>
                </c:pt>
                <c:pt idx="6183">
                  <c:v>6.980689446425373E-4</c:v>
                </c:pt>
                <c:pt idx="6184">
                  <c:v>6.996414445444081E-4</c:v>
                </c:pt>
                <c:pt idx="6185">
                  <c:v>7.0129988288422142E-4</c:v>
                </c:pt>
                <c:pt idx="6186">
                  <c:v>7.1212209331840263E-4</c:v>
                </c:pt>
                <c:pt idx="6187">
                  <c:v>7.2173166206840279E-4</c:v>
                </c:pt>
                <c:pt idx="6188">
                  <c:v>7.3053495373812919E-4</c:v>
                </c:pt>
                <c:pt idx="6189">
                  <c:v>7.3591107243840272E-4</c:v>
                </c:pt>
                <c:pt idx="6190">
                  <c:v>7.4709020940825284E-4</c:v>
                </c:pt>
                <c:pt idx="6191">
                  <c:v>7.5411019866170471E-4</c:v>
                </c:pt>
                <c:pt idx="6192">
                  <c:v>7.5131093726754996E-4</c:v>
                </c:pt>
                <c:pt idx="6193">
                  <c:v>7.441117988356968E-4</c:v>
                </c:pt>
                <c:pt idx="6194">
                  <c:v>7.3296293695572815E-4</c:v>
                </c:pt>
                <c:pt idx="6195">
                  <c:v>7.1733429372242282E-4</c:v>
                </c:pt>
                <c:pt idx="6196">
                  <c:v>7.2580576657275671E-4</c:v>
                </c:pt>
                <c:pt idx="6197">
                  <c:v>7.5670325366983769E-4</c:v>
                </c:pt>
                <c:pt idx="6198">
                  <c:v>8.4849549763696484E-4</c:v>
                </c:pt>
                <c:pt idx="6199">
                  <c:v>9.2190901846332055E-4</c:v>
                </c:pt>
                <c:pt idx="6200">
                  <c:v>9.8330831716814896E-4</c:v>
                </c:pt>
                <c:pt idx="6201">
                  <c:v>1.0379987527803227E-3</c:v>
                </c:pt>
                <c:pt idx="6202">
                  <c:v>1.0810531706318149E-3</c:v>
                </c:pt>
                <c:pt idx="6203">
                  <c:v>1.1259560738755793E-3</c:v>
                </c:pt>
                <c:pt idx="6204">
                  <c:v>1.1626374603436961E-3</c:v>
                </c:pt>
                <c:pt idx="6205">
                  <c:v>1.1888019666787422E-3</c:v>
                </c:pt>
                <c:pt idx="6206">
                  <c:v>1.2081857914558796E-3</c:v>
                </c:pt>
                <c:pt idx="6207">
                  <c:v>1.2238821374615134E-3</c:v>
                </c:pt>
                <c:pt idx="6208">
                  <c:v>1.2329678095734857E-3</c:v>
                </c:pt>
                <c:pt idx="6209">
                  <c:v>1.2379893325049414E-3</c:v>
                </c:pt>
                <c:pt idx="6210">
                  <c:v>1.2395393962071964E-3</c:v>
                </c:pt>
                <c:pt idx="6211">
                  <c:v>1.2320541496022035E-3</c:v>
                </c:pt>
                <c:pt idx="6212">
                  <c:v>1.2178404140158348E-3</c:v>
                </c:pt>
                <c:pt idx="6213">
                  <c:v>1.196777558047823E-3</c:v>
                </c:pt>
                <c:pt idx="6214">
                  <c:v>1.1745351480524698E-3</c:v>
                </c:pt>
                <c:pt idx="6215">
                  <c:v>1.1485466354758719E-3</c:v>
                </c:pt>
                <c:pt idx="6216">
                  <c:v>1.1367479971748033E-3</c:v>
                </c:pt>
                <c:pt idx="6217">
                  <c:v>1.1182369127318427E-3</c:v>
                </c:pt>
                <c:pt idx="6218">
                  <c:v>1.0929333813993578E-3</c:v>
                </c:pt>
                <c:pt idx="6219">
                  <c:v>1.0750180448348067E-3</c:v>
                </c:pt>
                <c:pt idx="6220">
                  <c:v>1.0610502871475969E-3</c:v>
                </c:pt>
                <c:pt idx="6221">
                  <c:v>1.041501854854382E-3</c:v>
                </c:pt>
                <c:pt idx="6222">
                  <c:v>1.009433475945334E-3</c:v>
                </c:pt>
                <c:pt idx="6223">
                  <c:v>9.6934484682517034E-4</c:v>
                </c:pt>
                <c:pt idx="6224">
                  <c:v>9.1738509729184369E-4</c:v>
                </c:pt>
                <c:pt idx="6225">
                  <c:v>8.598414820012207E-4</c:v>
                </c:pt>
                <c:pt idx="6226">
                  <c:v>8.138623488184593E-4</c:v>
                </c:pt>
                <c:pt idx="6227">
                  <c:v>7.7967582050307018E-4</c:v>
                </c:pt>
                <c:pt idx="6228">
                  <c:v>7.9982262550965476E-4</c:v>
                </c:pt>
                <c:pt idx="6229">
                  <c:v>8.1542410584646249E-4</c:v>
                </c:pt>
                <c:pt idx="6230">
                  <c:v>8.2385047060378629E-4</c:v>
                </c:pt>
                <c:pt idx="6231">
                  <c:v>8.3381398301889413E-4</c:v>
                </c:pt>
                <c:pt idx="6232">
                  <c:v>8.4035279774818321E-4</c:v>
                </c:pt>
                <c:pt idx="6233">
                  <c:v>8.4398185999339068E-4</c:v>
                </c:pt>
                <c:pt idx="6234">
                  <c:v>8.4454257864252267E-4</c:v>
                </c:pt>
                <c:pt idx="6235">
                  <c:v>8.3921670448859696E-4</c:v>
                </c:pt>
                <c:pt idx="6236">
                  <c:v>8.4372940503496334E-4</c:v>
                </c:pt>
                <c:pt idx="6237">
                  <c:v>8.4658471097885798E-4</c:v>
                </c:pt>
                <c:pt idx="6238">
                  <c:v>8.4488334650537067E-4</c:v>
                </c:pt>
                <c:pt idx="6239">
                  <c:v>8.38636105009985E-4</c:v>
                </c:pt>
                <c:pt idx="6240">
                  <c:v>8.3403015408162434E-4</c:v>
                </c:pt>
                <c:pt idx="6241">
                  <c:v>8.2476203954044388E-4</c:v>
                </c:pt>
                <c:pt idx="6242">
                  <c:v>8.1087404632285468E-4</c:v>
                </c:pt>
                <c:pt idx="6243">
                  <c:v>7.9225284268083355E-4</c:v>
                </c:pt>
                <c:pt idx="6244">
                  <c:v>7.6822353492838767E-4</c:v>
                </c:pt>
                <c:pt idx="6245">
                  <c:v>7.414632584749213E-4</c:v>
                </c:pt>
                <c:pt idx="6246">
                  <c:v>7.2360045228694349E-4</c:v>
                </c:pt>
                <c:pt idx="6247">
                  <c:v>7.006467047813937E-4</c:v>
                </c:pt>
                <c:pt idx="6248">
                  <c:v>6.7277060909379314E-4</c:v>
                </c:pt>
                <c:pt idx="6249">
                  <c:v>6.6210345583594054E-4</c:v>
                </c:pt>
                <c:pt idx="6250">
                  <c:v>6.5158657933442137E-4</c:v>
                </c:pt>
                <c:pt idx="6251">
                  <c:v>6.4157918128674492E-4</c:v>
                </c:pt>
                <c:pt idx="6252">
                  <c:v>6.3463730108289187E-4</c:v>
                </c:pt>
                <c:pt idx="6253">
                  <c:v>6.2823876760090941E-4</c:v>
                </c:pt>
                <c:pt idx="6254">
                  <c:v>6.1904228632708974E-4</c:v>
                </c:pt>
                <c:pt idx="6255">
                  <c:v>6.1663902611736857E-4</c:v>
                </c:pt>
                <c:pt idx="6256">
                  <c:v>6.1838007249034378E-4</c:v>
                </c:pt>
                <c:pt idx="6257">
                  <c:v>6.1497309711963882E-4</c:v>
                </c:pt>
                <c:pt idx="6258">
                  <c:v>6.1594056947910237E-4</c:v>
                </c:pt>
                <c:pt idx="6259">
                  <c:v>6.1490574399199779E-4</c:v>
                </c:pt>
                <c:pt idx="6260">
                  <c:v>6.0889066529737227E-4</c:v>
                </c:pt>
                <c:pt idx="6261">
                  <c:v>6.0103346048868229E-4</c:v>
                </c:pt>
                <c:pt idx="6262">
                  <c:v>5.9080974854945211E-4</c:v>
                </c:pt>
                <c:pt idx="6263">
                  <c:v>5.7847937040644587E-4</c:v>
                </c:pt>
                <c:pt idx="6264">
                  <c:v>5.6369924526788518E-4</c:v>
                </c:pt>
                <c:pt idx="6265">
                  <c:v>5.4638505469823166E-4</c:v>
                </c:pt>
                <c:pt idx="6266">
                  <c:v>5.4406560084802763E-4</c:v>
                </c:pt>
                <c:pt idx="6267">
                  <c:v>5.4062344485663846E-4</c:v>
                </c:pt>
                <c:pt idx="6268">
                  <c:v>5.3625826510109425E-4</c:v>
                </c:pt>
                <c:pt idx="6269">
                  <c:v>5.3078964573836018E-4</c:v>
                </c:pt>
                <c:pt idx="6270">
                  <c:v>5.2757817092432017E-4</c:v>
                </c:pt>
                <c:pt idx="6271">
                  <c:v>5.2340434813481459E-4</c:v>
                </c:pt>
                <c:pt idx="6272">
                  <c:v>5.1840467977326186E-4</c:v>
                </c:pt>
                <c:pt idx="6273">
                  <c:v>5.1271264675570077E-4</c:v>
                </c:pt>
                <c:pt idx="6274">
                  <c:v>5.0598531944821346E-4</c:v>
                </c:pt>
                <c:pt idx="6275">
                  <c:v>5.0182756291207095E-4</c:v>
                </c:pt>
                <c:pt idx="6276">
                  <c:v>4.9704803987615244E-4</c:v>
                </c:pt>
                <c:pt idx="6277">
                  <c:v>4.9129767306781862E-4</c:v>
                </c:pt>
                <c:pt idx="6278">
                  <c:v>4.8529380364666997E-4</c:v>
                </c:pt>
                <c:pt idx="6279">
                  <c:v>4.8135564658485764E-4</c:v>
                </c:pt>
                <c:pt idx="6280">
                  <c:v>4.7942734001426803E-4</c:v>
                </c:pt>
                <c:pt idx="6281">
                  <c:v>4.7645938344719846E-4</c:v>
                </c:pt>
                <c:pt idx="6282">
                  <c:v>4.7903761461128751E-4</c:v>
                </c:pt>
                <c:pt idx="6283">
                  <c:v>4.8107665466977091E-4</c:v>
                </c:pt>
                <c:pt idx="6284">
                  <c:v>4.8231263551141621E-4</c:v>
                </c:pt>
                <c:pt idx="6285">
                  <c:v>4.8294573489238347E-4</c:v>
                </c:pt>
                <c:pt idx="6286">
                  <c:v>4.8621656263169724E-4</c:v>
                </c:pt>
                <c:pt idx="6287">
                  <c:v>4.8889984119820256E-4</c:v>
                </c:pt>
                <c:pt idx="6288">
                  <c:v>4.912962843076614E-4</c:v>
                </c:pt>
                <c:pt idx="6289">
                  <c:v>5.0256727436016945E-4</c:v>
                </c:pt>
                <c:pt idx="6290">
                  <c:v>5.1258253015156602E-4</c:v>
                </c:pt>
                <c:pt idx="6291">
                  <c:v>5.2140214028398519E-4</c:v>
                </c:pt>
                <c:pt idx="6292">
                  <c:v>5.2925016677317068E-4</c:v>
                </c:pt>
                <c:pt idx="6293">
                  <c:v>5.3583148558265705E-4</c:v>
                </c:pt>
                <c:pt idx="6294">
                  <c:v>5.4119586327988569E-4</c:v>
                </c:pt>
                <c:pt idx="6295">
                  <c:v>5.4582389880996935E-4</c:v>
                </c:pt>
                <c:pt idx="6296">
                  <c:v>5.4948790836249078E-4</c:v>
                </c:pt>
                <c:pt idx="6297">
                  <c:v>5.5182518976197798E-4</c:v>
                </c:pt>
                <c:pt idx="6298">
                  <c:v>5.5363935626759223E-4</c:v>
                </c:pt>
                <c:pt idx="6299">
                  <c:v>5.5444960359368278E-4</c:v>
                </c:pt>
                <c:pt idx="6300">
                  <c:v>5.540811887021495E-4</c:v>
                </c:pt>
                <c:pt idx="6301">
                  <c:v>5.5276628985897623E-4</c:v>
                </c:pt>
                <c:pt idx="6302">
                  <c:v>5.5065659803946263E-4</c:v>
                </c:pt>
                <c:pt idx="6303">
                  <c:v>5.4741666918735733E-4</c:v>
                </c:pt>
                <c:pt idx="6304">
                  <c:v>5.4301596068962658E-4</c:v>
                </c:pt>
                <c:pt idx="6305">
                  <c:v>5.3790955833664942E-4</c:v>
                </c:pt>
                <c:pt idx="6306">
                  <c:v>5.3165113514982662E-4</c:v>
                </c:pt>
                <c:pt idx="6307">
                  <c:v>5.2428048339141567E-4</c:v>
                </c:pt>
                <c:pt idx="6308">
                  <c:v>5.1610408046939837E-4</c:v>
                </c:pt>
                <c:pt idx="6309">
                  <c:v>5.0986345683485287E-4</c:v>
                </c:pt>
                <c:pt idx="6310">
                  <c:v>5.0597572707827224E-4</c:v>
                </c:pt>
                <c:pt idx="6311">
                  <c:v>5.0176336050320553E-4</c:v>
                </c:pt>
                <c:pt idx="6312">
                  <c:v>4.9669029072803511E-4</c:v>
                </c:pt>
                <c:pt idx="6313">
                  <c:v>4.9395514103940576E-4</c:v>
                </c:pt>
                <c:pt idx="6314">
                  <c:v>4.899631295320067E-4</c:v>
                </c:pt>
                <c:pt idx="6315">
                  <c:v>4.8547924556380072E-4</c:v>
                </c:pt>
                <c:pt idx="6316">
                  <c:v>4.8293837632272437E-4</c:v>
                </c:pt>
                <c:pt idx="6317">
                  <c:v>4.7928636923753306E-4</c:v>
                </c:pt>
                <c:pt idx="6318">
                  <c:v>4.8452830804260783E-4</c:v>
                </c:pt>
                <c:pt idx="6319">
                  <c:v>5.0105787811653951E-4</c:v>
                </c:pt>
                <c:pt idx="6320">
                  <c:v>5.159554172616249E-4</c:v>
                </c:pt>
                <c:pt idx="6321">
                  <c:v>5.3247042474732808E-4</c:v>
                </c:pt>
                <c:pt idx="6322">
                  <c:v>5.5063460699192833E-4</c:v>
                </c:pt>
                <c:pt idx="6323">
                  <c:v>5.6638087000599943E-4</c:v>
                </c:pt>
                <c:pt idx="6324">
                  <c:v>5.801999109319863E-4</c:v>
                </c:pt>
                <c:pt idx="6325">
                  <c:v>6.0947681641850102E-4</c:v>
                </c:pt>
                <c:pt idx="6326">
                  <c:v>6.3484836240526848E-4</c:v>
                </c:pt>
                <c:pt idx="6327">
                  <c:v>6.5965153507390763E-4</c:v>
                </c:pt>
                <c:pt idx="6328">
                  <c:v>6.8454665343270385E-4</c:v>
                </c:pt>
                <c:pt idx="6329">
                  <c:v>7.0879578592376608E-4</c:v>
                </c:pt>
                <c:pt idx="6330">
                  <c:v>7.5816008150784173E-4</c:v>
                </c:pt>
                <c:pt idx="6331">
                  <c:v>7.9977250937384727E-4</c:v>
                </c:pt>
                <c:pt idx="6332">
                  <c:v>8.344486644280614E-4</c:v>
                </c:pt>
                <c:pt idx="6333">
                  <c:v>8.63268086277556E-4</c:v>
                </c:pt>
                <c:pt idx="6334">
                  <c:v>8.8672835693116207E-4</c:v>
                </c:pt>
                <c:pt idx="6335">
                  <c:v>9.0839656881225501E-4</c:v>
                </c:pt>
                <c:pt idx="6336">
                  <c:v>9.2495327798982881E-4</c:v>
                </c:pt>
                <c:pt idx="6337">
                  <c:v>9.3675792119610397E-4</c:v>
                </c:pt>
                <c:pt idx="6338">
                  <c:v>9.4430431396350404E-4</c:v>
                </c:pt>
                <c:pt idx="6339">
                  <c:v>9.4700770025386751E-4</c:v>
                </c:pt>
                <c:pt idx="6340">
                  <c:v>9.5080741242287647E-4</c:v>
                </c:pt>
                <c:pt idx="6341">
                  <c:v>9.4982267664045397E-4</c:v>
                </c:pt>
                <c:pt idx="6342">
                  <c:v>9.4362356331589099E-4</c:v>
                </c:pt>
                <c:pt idx="6343">
                  <c:v>9.3563894300529541E-4</c:v>
                </c:pt>
                <c:pt idx="6344">
                  <c:v>9.224573438967351E-4</c:v>
                </c:pt>
                <c:pt idx="6345">
                  <c:v>9.0457593043239814E-4</c:v>
                </c:pt>
                <c:pt idx="6346">
                  <c:v>8.8690039957021191E-4</c:v>
                </c:pt>
                <c:pt idx="6347">
                  <c:v>8.6625079978449216E-4</c:v>
                </c:pt>
                <c:pt idx="6348">
                  <c:v>8.5014639280248713E-4</c:v>
                </c:pt>
                <c:pt idx="6349">
                  <c:v>8.347466764610594E-4</c:v>
                </c:pt>
                <c:pt idx="6350">
                  <c:v>8.1969043524438619E-4</c:v>
                </c:pt>
                <c:pt idx="6351">
                  <c:v>8.0229748557931796E-4</c:v>
                </c:pt>
                <c:pt idx="6352">
                  <c:v>7.8308091764712681E-4</c:v>
                </c:pt>
                <c:pt idx="6353">
                  <c:v>7.6051391777788753E-4</c:v>
                </c:pt>
                <c:pt idx="6354">
                  <c:v>7.3758527042186331E-4</c:v>
                </c:pt>
                <c:pt idx="6355">
                  <c:v>7.3015523281601139E-4</c:v>
                </c:pt>
                <c:pt idx="6356">
                  <c:v>7.1744589337523245E-4</c:v>
                </c:pt>
                <c:pt idx="6357">
                  <c:v>7.0309088236681434E-4</c:v>
                </c:pt>
                <c:pt idx="6358">
                  <c:v>6.9016856757981475E-4</c:v>
                </c:pt>
                <c:pt idx="6359">
                  <c:v>6.7572698648474695E-4</c:v>
                </c:pt>
                <c:pt idx="6360">
                  <c:v>6.8645174878594485E-4</c:v>
                </c:pt>
                <c:pt idx="6361">
                  <c:v>7.2135870454441431E-4</c:v>
                </c:pt>
                <c:pt idx="6362">
                  <c:v>7.5332359708368162E-4</c:v>
                </c:pt>
                <c:pt idx="6363">
                  <c:v>7.7941412892119954E-4</c:v>
                </c:pt>
                <c:pt idx="6364">
                  <c:v>8.2936199570918961E-4</c:v>
                </c:pt>
                <c:pt idx="6365">
                  <c:v>8.7272250479657339E-4</c:v>
                </c:pt>
                <c:pt idx="6366">
                  <c:v>9.0799665070535895E-4</c:v>
                </c:pt>
                <c:pt idx="6367">
                  <c:v>9.3284164147559867E-4</c:v>
                </c:pt>
                <c:pt idx="6368">
                  <c:v>9.5172142057052837E-4</c:v>
                </c:pt>
                <c:pt idx="6369">
                  <c:v>9.7075605643195007E-4</c:v>
                </c:pt>
                <c:pt idx="6370">
                  <c:v>1.0077095765732467E-3</c:v>
                </c:pt>
                <c:pt idx="6371">
                  <c:v>1.0572753019427368E-3</c:v>
                </c:pt>
                <c:pt idx="6372">
                  <c:v>1.096759543727951E-3</c:v>
                </c:pt>
                <c:pt idx="6373">
                  <c:v>1.1301594949145529E-3</c:v>
                </c:pt>
                <c:pt idx="6374">
                  <c:v>1.1516457537245762E-3</c:v>
                </c:pt>
                <c:pt idx="6375">
                  <c:v>1.165199933743074E-3</c:v>
                </c:pt>
                <c:pt idx="6376">
                  <c:v>1.1739338408437562E-3</c:v>
                </c:pt>
                <c:pt idx="6377">
                  <c:v>1.1756371517842271E-3</c:v>
                </c:pt>
                <c:pt idx="6378">
                  <c:v>1.1867413060309595E-3</c:v>
                </c:pt>
                <c:pt idx="6379">
                  <c:v>1.1976516971340327E-3</c:v>
                </c:pt>
                <c:pt idx="6380">
                  <c:v>1.2059437721675321E-3</c:v>
                </c:pt>
                <c:pt idx="6381">
                  <c:v>1.214457264460437E-3</c:v>
                </c:pt>
                <c:pt idx="6382">
                  <c:v>1.21442118037145E-3</c:v>
                </c:pt>
                <c:pt idx="6383">
                  <c:v>1.2111553432112014E-3</c:v>
                </c:pt>
                <c:pt idx="6384">
                  <c:v>1.2078413645020892E-3</c:v>
                </c:pt>
                <c:pt idx="6385">
                  <c:v>1.218933220761112E-3</c:v>
                </c:pt>
                <c:pt idx="6386">
                  <c:v>1.2195566533752165E-3</c:v>
                </c:pt>
                <c:pt idx="6387">
                  <c:v>1.2100797789725271E-3</c:v>
                </c:pt>
                <c:pt idx="6388">
                  <c:v>1.1933268622301161E-3</c:v>
                </c:pt>
                <c:pt idx="6389">
                  <c:v>1.1894828307191321E-3</c:v>
                </c:pt>
                <c:pt idx="6390">
                  <c:v>1.1765220776072229E-3</c:v>
                </c:pt>
                <c:pt idx="6391">
                  <c:v>1.1905263918700192E-3</c:v>
                </c:pt>
                <c:pt idx="6392">
                  <c:v>1.1961323078967584E-3</c:v>
                </c:pt>
                <c:pt idx="6393">
                  <c:v>1.1910678879773534E-3</c:v>
                </c:pt>
                <c:pt idx="6394">
                  <c:v>1.2117893282518584E-3</c:v>
                </c:pt>
                <c:pt idx="6395">
                  <c:v>1.2259295125941982E-3</c:v>
                </c:pt>
                <c:pt idx="6396">
                  <c:v>1.2304470543528609E-3</c:v>
                </c:pt>
                <c:pt idx="6397">
                  <c:v>1.2223477174993648E-3</c:v>
                </c:pt>
                <c:pt idx="6398">
                  <c:v>1.2041545265020651E-3</c:v>
                </c:pt>
                <c:pt idx="6399">
                  <c:v>1.1825205543781374E-3</c:v>
                </c:pt>
                <c:pt idx="6400">
                  <c:v>1.1703312880652521E-3</c:v>
                </c:pt>
                <c:pt idx="6401">
                  <c:v>1.1677946744716224E-3</c:v>
                </c:pt>
                <c:pt idx="6402">
                  <c:v>1.1642324052307167E-3</c:v>
                </c:pt>
                <c:pt idx="6403">
                  <c:v>1.1590563388738943E-3</c:v>
                </c:pt>
                <c:pt idx="6404">
                  <c:v>1.1441799584991723E-3</c:v>
                </c:pt>
                <c:pt idx="6405">
                  <c:v>1.1216305493013095E-3</c:v>
                </c:pt>
                <c:pt idx="6406">
                  <c:v>1.0915510305915255E-3</c:v>
                </c:pt>
                <c:pt idx="6407">
                  <c:v>1.0491326048416069E-3</c:v>
                </c:pt>
                <c:pt idx="6408">
                  <c:v>1.0188506099061481E-3</c:v>
                </c:pt>
                <c:pt idx="6409">
                  <c:v>9.8574881441608106E-4</c:v>
                </c:pt>
                <c:pt idx="6410">
                  <c:v>9.4783667127274905E-4</c:v>
                </c:pt>
                <c:pt idx="6411">
                  <c:v>9.1098668061045365E-4</c:v>
                </c:pt>
                <c:pt idx="6412">
                  <c:v>8.668648572616748E-4</c:v>
                </c:pt>
                <c:pt idx="6413">
                  <c:v>8.185314163852396E-4</c:v>
                </c:pt>
                <c:pt idx="6414">
                  <c:v>7.6567018538064246E-4</c:v>
                </c:pt>
                <c:pt idx="6415">
                  <c:v>7.3305548813051076E-4</c:v>
                </c:pt>
                <c:pt idx="6416">
                  <c:v>6.9489636443384602E-4</c:v>
                </c:pt>
                <c:pt idx="6417">
                  <c:v>6.4771309824589542E-4</c:v>
                </c:pt>
                <c:pt idx="6418">
                  <c:v>5.9500055074699222E-4</c:v>
                </c:pt>
                <c:pt idx="6419">
                  <c:v>5.7272702716665389E-4</c:v>
                </c:pt>
                <c:pt idx="6420">
                  <c:v>5.4700368539869592E-4</c:v>
                </c:pt>
                <c:pt idx="6421">
                  <c:v>5.3919110434210273E-4</c:v>
                </c:pt>
                <c:pt idx="6422">
                  <c:v>5.2893207588494142E-4</c:v>
                </c:pt>
                <c:pt idx="6423">
                  <c:v>5.162508070010118E-4</c:v>
                </c:pt>
                <c:pt idx="6424">
                  <c:v>5.1557158862603717E-4</c:v>
                </c:pt>
                <c:pt idx="6425">
                  <c:v>5.1684493960736601E-4</c:v>
                </c:pt>
                <c:pt idx="6426">
                  <c:v>5.2019414719058229E-4</c:v>
                </c:pt>
                <c:pt idx="6427">
                  <c:v>5.1925588868043972E-4</c:v>
                </c:pt>
                <c:pt idx="6428">
                  <c:v>5.1737748408365615E-4</c:v>
                </c:pt>
                <c:pt idx="6429">
                  <c:v>5.1434210875988715E-4</c:v>
                </c:pt>
                <c:pt idx="6430">
                  <c:v>5.1014695112574279E-4</c:v>
                </c:pt>
                <c:pt idx="6431">
                  <c:v>5.0798786130058511E-4</c:v>
                </c:pt>
                <c:pt idx="6432">
                  <c:v>5.2802469482777766E-4</c:v>
                </c:pt>
                <c:pt idx="6433">
                  <c:v>5.4798343410915101E-4</c:v>
                </c:pt>
                <c:pt idx="6434">
                  <c:v>5.6580426728432959E-4</c:v>
                </c:pt>
                <c:pt idx="6435">
                  <c:v>5.8825553153280604E-4</c:v>
                </c:pt>
                <c:pt idx="6436">
                  <c:v>6.1488303142030059E-4</c:v>
                </c:pt>
                <c:pt idx="6437">
                  <c:v>6.4141651178690378E-4</c:v>
                </c:pt>
                <c:pt idx="6438">
                  <c:v>6.6111940109579899E-4</c:v>
                </c:pt>
                <c:pt idx="6439">
                  <c:v>6.7537276979416931E-4</c:v>
                </c:pt>
                <c:pt idx="6440">
                  <c:v>6.8959039064440519E-4</c:v>
                </c:pt>
                <c:pt idx="6441">
                  <c:v>6.986258676435162E-4</c:v>
                </c:pt>
                <c:pt idx="6442">
                  <c:v>7.0522940349410437E-4</c:v>
                </c:pt>
                <c:pt idx="6443">
                  <c:v>7.0933489539799516E-4</c:v>
                </c:pt>
                <c:pt idx="6444">
                  <c:v>7.1100819172043982E-4</c:v>
                </c:pt>
                <c:pt idx="6445">
                  <c:v>7.1044816232890609E-4</c:v>
                </c:pt>
                <c:pt idx="6446">
                  <c:v>7.0751411343320024E-4</c:v>
                </c:pt>
                <c:pt idx="6447">
                  <c:v>7.2674191814672785E-4</c:v>
                </c:pt>
                <c:pt idx="6448">
                  <c:v>7.4324828830562325E-4</c:v>
                </c:pt>
                <c:pt idx="6449">
                  <c:v>7.5800275124518197E-4</c:v>
                </c:pt>
                <c:pt idx="6450">
                  <c:v>7.6830932486653266E-4</c:v>
                </c:pt>
                <c:pt idx="6451">
                  <c:v>8.0690925531716202E-4</c:v>
                </c:pt>
                <c:pt idx="6452">
                  <c:v>8.381008647418603E-4</c:v>
                </c:pt>
                <c:pt idx="6453">
                  <c:v>8.7674288375271252E-4</c:v>
                </c:pt>
                <c:pt idx="6454">
                  <c:v>9.0756661605540705E-4</c:v>
                </c:pt>
                <c:pt idx="6455">
                  <c:v>9.3139794753402437E-4</c:v>
                </c:pt>
                <c:pt idx="6456">
                  <c:v>9.6428067657848874E-4</c:v>
                </c:pt>
                <c:pt idx="6457">
                  <c:v>9.8673263389761488E-4</c:v>
                </c:pt>
                <c:pt idx="6458">
                  <c:v>9.9889233265072807E-4</c:v>
                </c:pt>
                <c:pt idx="6459">
                  <c:v>1.004121982854412E-3</c:v>
                </c:pt>
                <c:pt idx="6460">
                  <c:v>1.0028259952820403E-3</c:v>
                </c:pt>
                <c:pt idx="6461">
                  <c:v>9.9563279182492224E-4</c:v>
                </c:pt>
                <c:pt idx="6462">
                  <c:v>9.9937766277471865E-4</c:v>
                </c:pt>
                <c:pt idx="6463">
                  <c:v>9.9811120664611351E-4</c:v>
                </c:pt>
                <c:pt idx="6464">
                  <c:v>1.005294349572493E-3</c:v>
                </c:pt>
                <c:pt idx="6465">
                  <c:v>1.0118225410855573E-3</c:v>
                </c:pt>
                <c:pt idx="6466">
                  <c:v>1.0154273357618924E-3</c:v>
                </c:pt>
                <c:pt idx="6467">
                  <c:v>1.0169181305594705E-3</c:v>
                </c:pt>
                <c:pt idx="6468">
                  <c:v>1.0088114095653758E-3</c:v>
                </c:pt>
                <c:pt idx="6469">
                  <c:v>9.9568758797055168E-4</c:v>
                </c:pt>
                <c:pt idx="6470">
                  <c:v>9.7776458565284469E-4</c:v>
                </c:pt>
                <c:pt idx="6471">
                  <c:v>9.5456464348517029E-4</c:v>
                </c:pt>
                <c:pt idx="6472">
                  <c:v>9.2599624434018719E-4</c:v>
                </c:pt>
                <c:pt idx="6473">
                  <c:v>8.9118796113956224E-4</c:v>
                </c:pt>
                <c:pt idx="6474">
                  <c:v>8.4945029938964976E-4</c:v>
                </c:pt>
                <c:pt idx="6475">
                  <c:v>7.9996404729181631E-4</c:v>
                </c:pt>
                <c:pt idx="6476">
                  <c:v>7.4331400350997889E-4</c:v>
                </c:pt>
                <c:pt idx="6477">
                  <c:v>7.1777752456797842E-4</c:v>
                </c:pt>
                <c:pt idx="6478">
                  <c:v>6.9495844082428492E-4</c:v>
                </c:pt>
                <c:pt idx="6479">
                  <c:v>6.7530303348898202E-4</c:v>
                </c:pt>
                <c:pt idx="6480">
                  <c:v>6.5854455109242197E-4</c:v>
                </c:pt>
                <c:pt idx="6481">
                  <c:v>6.7345737411610184E-4</c:v>
                </c:pt>
                <c:pt idx="6482">
                  <c:v>6.8247584583237006E-4</c:v>
                </c:pt>
                <c:pt idx="6483">
                  <c:v>7.2137611817642896E-4</c:v>
                </c:pt>
                <c:pt idx="6484">
                  <c:v>7.526646276966168E-4</c:v>
                </c:pt>
                <c:pt idx="6485">
                  <c:v>7.7742321415169493E-4</c:v>
                </c:pt>
                <c:pt idx="6486">
                  <c:v>8.0693525466157042E-4</c:v>
                </c:pt>
                <c:pt idx="6487">
                  <c:v>8.3149836633171915E-4</c:v>
                </c:pt>
                <c:pt idx="6488">
                  <c:v>8.4898818361264403E-4</c:v>
                </c:pt>
                <c:pt idx="6489">
                  <c:v>8.621670034941241E-4</c:v>
                </c:pt>
                <c:pt idx="6490">
                  <c:v>8.7118774546156947E-4</c:v>
                </c:pt>
                <c:pt idx="6491">
                  <c:v>8.7342594635879671E-4</c:v>
                </c:pt>
                <c:pt idx="6492">
                  <c:v>8.7436693378638861E-4</c:v>
                </c:pt>
                <c:pt idx="6493">
                  <c:v>8.7124133288296298E-4</c:v>
                </c:pt>
                <c:pt idx="6494">
                  <c:v>8.7752485505085713E-4</c:v>
                </c:pt>
                <c:pt idx="6495">
                  <c:v>8.8343252115142428E-4</c:v>
                </c:pt>
                <c:pt idx="6496">
                  <c:v>8.83935179651546E-4</c:v>
                </c:pt>
                <c:pt idx="6497">
                  <c:v>8.8115546269076689E-4</c:v>
                </c:pt>
                <c:pt idx="6498">
                  <c:v>8.7239557295076603E-4</c:v>
                </c:pt>
                <c:pt idx="6499">
                  <c:v>8.5999203239076972E-4</c:v>
                </c:pt>
                <c:pt idx="6500">
                  <c:v>8.437854489450684E-4</c:v>
                </c:pt>
                <c:pt idx="6501">
                  <c:v>8.2370254099601301E-4</c:v>
                </c:pt>
                <c:pt idx="6502">
                  <c:v>7.9941286749963863E-4</c:v>
                </c:pt>
                <c:pt idx="6503">
                  <c:v>7.7011982784601699E-4</c:v>
                </c:pt>
                <c:pt idx="6504">
                  <c:v>7.3589854989888751E-4</c:v>
                </c:pt>
                <c:pt idx="6505">
                  <c:v>6.9568401070347523E-4</c:v>
                </c:pt>
                <c:pt idx="6506">
                  <c:v>6.5274467922914181E-4</c:v>
                </c:pt>
                <c:pt idx="6507">
                  <c:v>6.0704123393913489E-4</c:v>
                </c:pt>
                <c:pt idx="6508">
                  <c:v>5.6786065203159083E-4</c:v>
                </c:pt>
                <c:pt idx="6509">
                  <c:v>5.4156739676277982E-4</c:v>
                </c:pt>
                <c:pt idx="6510">
                  <c:v>5.6932603572655983E-4</c:v>
                </c:pt>
                <c:pt idx="6511">
                  <c:v>6.2463250332880514E-4</c:v>
                </c:pt>
                <c:pt idx="6512">
                  <c:v>6.923835484191202E-4</c:v>
                </c:pt>
                <c:pt idx="6513">
                  <c:v>7.7544915982852725E-4</c:v>
                </c:pt>
                <c:pt idx="6514">
                  <c:v>8.6159682643736002E-4</c:v>
                </c:pt>
                <c:pt idx="6515">
                  <c:v>9.5433535867842328E-4</c:v>
                </c:pt>
                <c:pt idx="6516">
                  <c:v>1.0311807005653072E-3</c:v>
                </c:pt>
                <c:pt idx="6517">
                  <c:v>1.095743401311399E-3</c:v>
                </c:pt>
                <c:pt idx="6518">
                  <c:v>1.1498253380403251E-3</c:v>
                </c:pt>
                <c:pt idx="6519">
                  <c:v>1.1949283499445773E-3</c:v>
                </c:pt>
                <c:pt idx="6520">
                  <c:v>1.2353401680698034E-3</c:v>
                </c:pt>
                <c:pt idx="6521">
                  <c:v>1.2678036179137183E-3</c:v>
                </c:pt>
                <c:pt idx="6522">
                  <c:v>1.2906606655305292E-3</c:v>
                </c:pt>
                <c:pt idx="6523">
                  <c:v>1.3094615360104579E-3</c:v>
                </c:pt>
                <c:pt idx="6524">
                  <c:v>1.3246646026254063E-3</c:v>
                </c:pt>
                <c:pt idx="6525">
                  <c:v>1.3380590168728507E-3</c:v>
                </c:pt>
                <c:pt idx="6526">
                  <c:v>1.3473269677889443E-3</c:v>
                </c:pt>
                <c:pt idx="6527">
                  <c:v>1.3650501202561564E-3</c:v>
                </c:pt>
                <c:pt idx="6528">
                  <c:v>1.3827396640009935E-3</c:v>
                </c:pt>
                <c:pt idx="6529">
                  <c:v>1.4055317822759604E-3</c:v>
                </c:pt>
                <c:pt idx="6530">
                  <c:v>1.4179164756484963E-3</c:v>
                </c:pt>
                <c:pt idx="6531">
                  <c:v>1.420436820261307E-3</c:v>
                </c:pt>
                <c:pt idx="6532">
                  <c:v>1.4541293883953913E-3</c:v>
                </c:pt>
                <c:pt idx="6533">
                  <c:v>1.4729432436710562E-3</c:v>
                </c:pt>
                <c:pt idx="6534">
                  <c:v>1.4997602511391637E-3</c:v>
                </c:pt>
                <c:pt idx="6535">
                  <c:v>1.5134749025044738E-3</c:v>
                </c:pt>
                <c:pt idx="6536">
                  <c:v>1.5367396201698858E-3</c:v>
                </c:pt>
                <c:pt idx="6537">
                  <c:v>1.5407634643498076E-3</c:v>
                </c:pt>
                <c:pt idx="6538">
                  <c:v>1.567228829451453E-3</c:v>
                </c:pt>
                <c:pt idx="6539">
                  <c:v>1.5842066336930918E-3</c:v>
                </c:pt>
                <c:pt idx="6540">
                  <c:v>1.6397466467289676E-3</c:v>
                </c:pt>
                <c:pt idx="6541">
                  <c:v>1.6981705727551141E-3</c:v>
                </c:pt>
                <c:pt idx="6542">
                  <c:v>1.7507515469827159E-3</c:v>
                </c:pt>
                <c:pt idx="6543">
                  <c:v>1.796927024967955E-3</c:v>
                </c:pt>
                <c:pt idx="6544">
                  <c:v>1.8401076478487509E-3</c:v>
                </c:pt>
                <c:pt idx="6545">
                  <c:v>1.8832287761667409E-3</c:v>
                </c:pt>
                <c:pt idx="6546">
                  <c:v>1.9544106410031817E-3</c:v>
                </c:pt>
                <c:pt idx="6547">
                  <c:v>2.0080770571378305E-3</c:v>
                </c:pt>
                <c:pt idx="6548">
                  <c:v>2.0452669942857583E-3</c:v>
                </c:pt>
                <c:pt idx="6549">
                  <c:v>2.066827046836227E-3</c:v>
                </c:pt>
                <c:pt idx="6550">
                  <c:v>2.0787143202010369E-3</c:v>
                </c:pt>
                <c:pt idx="6551">
                  <c:v>2.0757393198743653E-3</c:v>
                </c:pt>
                <c:pt idx="6552">
                  <c:v>2.0527904820661917E-3</c:v>
                </c:pt>
                <c:pt idx="6553">
                  <c:v>2.0172269434114904E-3</c:v>
                </c:pt>
                <c:pt idx="6554">
                  <c:v>1.985155697210003E-3</c:v>
                </c:pt>
                <c:pt idx="6555">
                  <c:v>1.975285313476155E-3</c:v>
                </c:pt>
                <c:pt idx="6556">
                  <c:v>1.9465818424270604E-3</c:v>
                </c:pt>
                <c:pt idx="6557">
                  <c:v>1.9277384926169525E-3</c:v>
                </c:pt>
                <c:pt idx="6558">
                  <c:v>1.8978861581962975E-3</c:v>
                </c:pt>
                <c:pt idx="6559">
                  <c:v>1.86438444838794E-3</c:v>
                </c:pt>
                <c:pt idx="6560">
                  <c:v>1.8107826102540785E-3</c:v>
                </c:pt>
                <c:pt idx="6561">
                  <c:v>1.7543945597655478E-3</c:v>
                </c:pt>
                <c:pt idx="6562">
                  <c:v>1.7758134865643999E-3</c:v>
                </c:pt>
                <c:pt idx="6563">
                  <c:v>1.787213022227809E-3</c:v>
                </c:pt>
                <c:pt idx="6564">
                  <c:v>1.8149040665631289E-3</c:v>
                </c:pt>
                <c:pt idx="6565">
                  <c:v>1.8358522494378159E-3</c:v>
                </c:pt>
                <c:pt idx="6566">
                  <c:v>1.8895065698886775E-3</c:v>
                </c:pt>
                <c:pt idx="6567">
                  <c:v>1.9425739372117051E-3</c:v>
                </c:pt>
                <c:pt idx="6568">
                  <c:v>2.0042266512488244E-3</c:v>
                </c:pt>
                <c:pt idx="6569">
                  <c:v>2.0552536752527972E-3</c:v>
                </c:pt>
                <c:pt idx="6570">
                  <c:v>2.1008230249987977E-3</c:v>
                </c:pt>
                <c:pt idx="6571">
                  <c:v>2.1326647145768359E-3</c:v>
                </c:pt>
                <c:pt idx="6572">
                  <c:v>2.1472385162485353E-3</c:v>
                </c:pt>
                <c:pt idx="6573">
                  <c:v>2.1450592599187891E-3</c:v>
                </c:pt>
                <c:pt idx="6574">
                  <c:v>2.1341746881103148E-3</c:v>
                </c:pt>
                <c:pt idx="6575">
                  <c:v>2.1091956713175973E-3</c:v>
                </c:pt>
                <c:pt idx="6576">
                  <c:v>2.1061443108341786E-3</c:v>
                </c:pt>
                <c:pt idx="6577">
                  <c:v>2.0949434578106316E-3</c:v>
                </c:pt>
                <c:pt idx="6578">
                  <c:v>2.0814725189861345E-3</c:v>
                </c:pt>
                <c:pt idx="6579">
                  <c:v>2.0529226766418203E-3</c:v>
                </c:pt>
                <c:pt idx="6580">
                  <c:v>2.0139796121234903E-3</c:v>
                </c:pt>
                <c:pt idx="6581">
                  <c:v>1.9747222971570285E-3</c:v>
                </c:pt>
                <c:pt idx="6582">
                  <c:v>1.9127794852745927E-3</c:v>
                </c:pt>
                <c:pt idx="6583">
                  <c:v>1.82935678327913E-3</c:v>
                </c:pt>
                <c:pt idx="6584">
                  <c:v>1.7497435583954332E-3</c:v>
                </c:pt>
                <c:pt idx="6585">
                  <c:v>1.700446435067886E-3</c:v>
                </c:pt>
                <c:pt idx="6586">
                  <c:v>1.6353258226123586E-3</c:v>
                </c:pt>
                <c:pt idx="6587">
                  <c:v>1.5678738650644149E-3</c:v>
                </c:pt>
                <c:pt idx="6588">
                  <c:v>1.4854055583432943E-3</c:v>
                </c:pt>
                <c:pt idx="6589">
                  <c:v>1.3938134504558547E-3</c:v>
                </c:pt>
                <c:pt idx="6590">
                  <c:v>1.2768073379654772E-3</c:v>
                </c:pt>
                <c:pt idx="6591">
                  <c:v>1.1654275136654825E-3</c:v>
                </c:pt>
                <c:pt idx="6592">
                  <c:v>1.1044828686237603E-3</c:v>
                </c:pt>
                <c:pt idx="6593">
                  <c:v>1.0453387152915472E-3</c:v>
                </c:pt>
                <c:pt idx="6594">
                  <c:v>9.9069819023261865E-4</c:v>
                </c:pt>
                <c:pt idx="6595">
                  <c:v>9.4289118889514872E-4</c:v>
                </c:pt>
                <c:pt idx="6596">
                  <c:v>9.2196483916003426E-4</c:v>
                </c:pt>
                <c:pt idx="6597">
                  <c:v>9.3063759972204113E-4</c:v>
                </c:pt>
                <c:pt idx="6598">
                  <c:v>9.392982840412445E-4</c:v>
                </c:pt>
                <c:pt idx="6599">
                  <c:v>9.4728538020635237E-4</c:v>
                </c:pt>
                <c:pt idx="6600">
                  <c:v>9.8523480546135861E-4</c:v>
                </c:pt>
                <c:pt idx="6601">
                  <c:v>1.0312013710467732E-3</c:v>
                </c:pt>
                <c:pt idx="6602">
                  <c:v>1.0763743700225126E-3</c:v>
                </c:pt>
                <c:pt idx="6603">
                  <c:v>1.1065406483948222E-3</c:v>
                </c:pt>
                <c:pt idx="6604">
                  <c:v>1.1416153273146933E-3</c:v>
                </c:pt>
                <c:pt idx="6605">
                  <c:v>1.1787574310376703E-3</c:v>
                </c:pt>
                <c:pt idx="6606">
                  <c:v>1.2100789495708805E-3</c:v>
                </c:pt>
                <c:pt idx="6607">
                  <c:v>1.234488371865362E-3</c:v>
                </c:pt>
                <c:pt idx="6608">
                  <c:v>1.2611425536712606E-3</c:v>
                </c:pt>
                <c:pt idx="6609">
                  <c:v>1.2779399094642017E-3</c:v>
                </c:pt>
                <c:pt idx="6610">
                  <c:v>1.2879681564834937E-3</c:v>
                </c:pt>
                <c:pt idx="6611">
                  <c:v>1.3921566507446861E-3</c:v>
                </c:pt>
                <c:pt idx="6612">
                  <c:v>1.4756724752218399E-3</c:v>
                </c:pt>
                <c:pt idx="6613">
                  <c:v>1.5419053623455235E-3</c:v>
                </c:pt>
                <c:pt idx="6614">
                  <c:v>1.593260238447554E-3</c:v>
                </c:pt>
                <c:pt idx="6615">
                  <c:v>1.6343506658603329E-3</c:v>
                </c:pt>
                <c:pt idx="6616">
                  <c:v>1.6649218535193615E-3</c:v>
                </c:pt>
                <c:pt idx="6617">
                  <c:v>1.6825861043597711E-3</c:v>
                </c:pt>
                <c:pt idx="6618">
                  <c:v>1.7073243397881075E-3</c:v>
                </c:pt>
                <c:pt idx="6619">
                  <c:v>1.7338497310278728E-3</c:v>
                </c:pt>
                <c:pt idx="6620">
                  <c:v>1.7478710543091117E-3</c:v>
                </c:pt>
                <c:pt idx="6621">
                  <c:v>1.7522423929979994E-3</c:v>
                </c:pt>
                <c:pt idx="6622">
                  <c:v>1.7625167801348341E-3</c:v>
                </c:pt>
                <c:pt idx="6623">
                  <c:v>1.7583625762580823E-3</c:v>
                </c:pt>
                <c:pt idx="6624">
                  <c:v>1.7340802583973947E-3</c:v>
                </c:pt>
                <c:pt idx="6625">
                  <c:v>1.6978587216539679E-3</c:v>
                </c:pt>
                <c:pt idx="6626">
                  <c:v>1.6471559797890329E-3</c:v>
                </c:pt>
                <c:pt idx="6627">
                  <c:v>1.5998744259685031E-3</c:v>
                </c:pt>
                <c:pt idx="6628">
                  <c:v>1.5466643684667544E-3</c:v>
                </c:pt>
                <c:pt idx="6629">
                  <c:v>1.4867989163318098E-3</c:v>
                </c:pt>
                <c:pt idx="6630">
                  <c:v>1.4498871832326098E-3</c:v>
                </c:pt>
                <c:pt idx="6631">
                  <c:v>1.4457310253311003E-3</c:v>
                </c:pt>
                <c:pt idx="6632">
                  <c:v>1.4461350609133183E-3</c:v>
                </c:pt>
                <c:pt idx="6633">
                  <c:v>1.4411255224183336E-3</c:v>
                </c:pt>
                <c:pt idx="6634">
                  <c:v>1.4310446985084059E-3</c:v>
                </c:pt>
                <c:pt idx="6635">
                  <c:v>1.4198145731338329E-3</c:v>
                </c:pt>
                <c:pt idx="6636">
                  <c:v>1.4020451671577182E-3</c:v>
                </c:pt>
                <c:pt idx="6637">
                  <c:v>1.3711528959754072E-3</c:v>
                </c:pt>
                <c:pt idx="6638">
                  <c:v>1.331351378891004E-3</c:v>
                </c:pt>
                <c:pt idx="6639">
                  <c:v>1.2786306595285093E-3</c:v>
                </c:pt>
                <c:pt idx="6640">
                  <c:v>1.2079185381220277E-3</c:v>
                </c:pt>
                <c:pt idx="6641">
                  <c:v>1.2138953566057135E-3</c:v>
                </c:pt>
                <c:pt idx="6642">
                  <c:v>1.2123290154178422E-3</c:v>
                </c:pt>
                <c:pt idx="6643">
                  <c:v>1.2107551642819539E-3</c:v>
                </c:pt>
                <c:pt idx="6644">
                  <c:v>1.1983116716951974E-3</c:v>
                </c:pt>
                <c:pt idx="6645">
                  <c:v>1.1808630350795424E-3</c:v>
                </c:pt>
                <c:pt idx="6646">
                  <c:v>1.157996321560462E-3</c:v>
                </c:pt>
                <c:pt idx="6647">
                  <c:v>1.1265535965904998E-3</c:v>
                </c:pt>
                <c:pt idx="6648">
                  <c:v>1.1160865939071373E-3</c:v>
                </c:pt>
                <c:pt idx="6649">
                  <c:v>1.1009795547464818E-3</c:v>
                </c:pt>
                <c:pt idx="6650">
                  <c:v>1.1096982158373711E-3</c:v>
                </c:pt>
                <c:pt idx="6651">
                  <c:v>1.1108614339986631E-3</c:v>
                </c:pt>
                <c:pt idx="6652">
                  <c:v>1.1236212972695679E-3</c:v>
                </c:pt>
                <c:pt idx="6653">
                  <c:v>1.1280595035163543E-3</c:v>
                </c:pt>
                <c:pt idx="6654">
                  <c:v>1.1212556678638378E-3</c:v>
                </c:pt>
                <c:pt idx="6655">
                  <c:v>1.1086947044907374E-3</c:v>
                </c:pt>
                <c:pt idx="6656">
                  <c:v>1.0835215614835808E-3</c:v>
                </c:pt>
                <c:pt idx="6657">
                  <c:v>1.0515254644635544E-3</c:v>
                </c:pt>
                <c:pt idx="6658">
                  <c:v>1.0129611314691703E-3</c:v>
                </c:pt>
                <c:pt idx="6659">
                  <c:v>9.7915836082957904E-4</c:v>
                </c:pt>
                <c:pt idx="6660">
                  <c:v>9.3564381467878309E-4</c:v>
                </c:pt>
                <c:pt idx="6661">
                  <c:v>9.2234546813935289E-4</c:v>
                </c:pt>
                <c:pt idx="6662">
                  <c:v>9.1578604948154443E-4</c:v>
                </c:pt>
                <c:pt idx="6663">
                  <c:v>9.3897920939660221E-4</c:v>
                </c:pt>
                <c:pt idx="6664">
                  <c:v>9.943602553828606E-4</c:v>
                </c:pt>
                <c:pt idx="6665">
                  <c:v>1.0528081194704914E-3</c:v>
                </c:pt>
                <c:pt idx="6666">
                  <c:v>1.1647235771020043E-3</c:v>
                </c:pt>
                <c:pt idx="6667">
                  <c:v>1.2529159212757077E-3</c:v>
                </c:pt>
                <c:pt idx="6668">
                  <c:v>1.3269222176106243E-3</c:v>
                </c:pt>
                <c:pt idx="6669">
                  <c:v>1.387408271456034E-3</c:v>
                </c:pt>
                <c:pt idx="6670">
                  <c:v>1.4340278162498909E-3</c:v>
                </c:pt>
                <c:pt idx="6671">
                  <c:v>1.4705855887312291E-3</c:v>
                </c:pt>
                <c:pt idx="6672">
                  <c:v>1.4956745060541229E-3</c:v>
                </c:pt>
                <c:pt idx="6673">
                  <c:v>1.5173930335547691E-3</c:v>
                </c:pt>
                <c:pt idx="6674">
                  <c:v>1.5554844405921244E-3</c:v>
                </c:pt>
                <c:pt idx="6675">
                  <c:v>1.5832318496892717E-3</c:v>
                </c:pt>
                <c:pt idx="6676">
                  <c:v>1.6067652199447122E-3</c:v>
                </c:pt>
                <c:pt idx="6677">
                  <c:v>1.6138110417100928E-3</c:v>
                </c:pt>
                <c:pt idx="6678">
                  <c:v>1.6191665138471948E-3</c:v>
                </c:pt>
                <c:pt idx="6679">
                  <c:v>1.6125916848025055E-3</c:v>
                </c:pt>
                <c:pt idx="6680">
                  <c:v>1.6233151183861745E-3</c:v>
                </c:pt>
                <c:pt idx="6681">
                  <c:v>1.6252930301476713E-3</c:v>
                </c:pt>
                <c:pt idx="6682">
                  <c:v>1.6187789416010504E-3</c:v>
                </c:pt>
                <c:pt idx="6683">
                  <c:v>1.6032851601506237E-3</c:v>
                </c:pt>
                <c:pt idx="6684">
                  <c:v>1.5786675363168151E-3</c:v>
                </c:pt>
                <c:pt idx="6685">
                  <c:v>1.5537591540146537E-3</c:v>
                </c:pt>
                <c:pt idx="6686">
                  <c:v>1.5322307750443372E-3</c:v>
                </c:pt>
                <c:pt idx="6687">
                  <c:v>1.505731998464543E-3</c:v>
                </c:pt>
                <c:pt idx="6688">
                  <c:v>1.4659400559027787E-3</c:v>
                </c:pt>
                <c:pt idx="6689">
                  <c:v>1.4164402636563695E-3</c:v>
                </c:pt>
                <c:pt idx="6690">
                  <c:v>1.3503057802343667E-3</c:v>
                </c:pt>
                <c:pt idx="6691">
                  <c:v>1.269910724823472E-3</c:v>
                </c:pt>
                <c:pt idx="6692">
                  <c:v>1.1855684840976852E-3</c:v>
                </c:pt>
                <c:pt idx="6693">
                  <c:v>1.1227235052196384E-3</c:v>
                </c:pt>
                <c:pt idx="6694">
                  <c:v>1.08889827159561E-3</c:v>
                </c:pt>
                <c:pt idx="6695">
                  <c:v>1.0729300073019357E-3</c:v>
                </c:pt>
                <c:pt idx="6696">
                  <c:v>1.1283950283490116E-3</c:v>
                </c:pt>
                <c:pt idx="6697">
                  <c:v>1.1785380658816905E-3</c:v>
                </c:pt>
                <c:pt idx="6698">
                  <c:v>1.2163393417552015E-3</c:v>
                </c:pt>
                <c:pt idx="6699">
                  <c:v>1.2398906152888626E-3</c:v>
                </c:pt>
                <c:pt idx="6700">
                  <c:v>1.2535027167870298E-3</c:v>
                </c:pt>
                <c:pt idx="6701">
                  <c:v>1.2573490395402715E-3</c:v>
                </c:pt>
                <c:pt idx="6702">
                  <c:v>1.251482413861352E-3</c:v>
                </c:pt>
                <c:pt idx="6703">
                  <c:v>1.2358845754804279E-3</c:v>
                </c:pt>
                <c:pt idx="6704">
                  <c:v>1.242927021748279E-3</c:v>
                </c:pt>
                <c:pt idx="6705">
                  <c:v>1.2558938872715825E-3</c:v>
                </c:pt>
                <c:pt idx="6706">
                  <c:v>1.2767213536670984E-3</c:v>
                </c:pt>
                <c:pt idx="6707">
                  <c:v>1.2871875899216987E-3</c:v>
                </c:pt>
                <c:pt idx="6708">
                  <c:v>1.2895953321870391E-3</c:v>
                </c:pt>
                <c:pt idx="6709">
                  <c:v>1.2891196097076266E-3</c:v>
                </c:pt>
                <c:pt idx="6710">
                  <c:v>1.2879229623023328E-3</c:v>
                </c:pt>
                <c:pt idx="6711">
                  <c:v>1.2800313527627503E-3</c:v>
                </c:pt>
                <c:pt idx="6712">
                  <c:v>1.2623763213338599E-3</c:v>
                </c:pt>
                <c:pt idx="6713">
                  <c:v>1.256560849937105E-3</c:v>
                </c:pt>
                <c:pt idx="6714">
                  <c:v>1.2379444147450466E-3</c:v>
                </c:pt>
                <c:pt idx="6715">
                  <c:v>1.2168986132301636E-3</c:v>
                </c:pt>
                <c:pt idx="6716">
                  <c:v>1.2044665605764903E-3</c:v>
                </c:pt>
                <c:pt idx="6717">
                  <c:v>1.1916504961291985E-3</c:v>
                </c:pt>
                <c:pt idx="6718">
                  <c:v>1.169420938166994E-3</c:v>
                </c:pt>
                <c:pt idx="6719">
                  <c:v>1.1441710506473141E-3</c:v>
                </c:pt>
                <c:pt idx="6720">
                  <c:v>1.1091874396057235E-3</c:v>
                </c:pt>
                <c:pt idx="6721">
                  <c:v>1.0737490468309607E-3</c:v>
                </c:pt>
                <c:pt idx="6722">
                  <c:v>1.0885081353087986E-3</c:v>
                </c:pt>
                <c:pt idx="6723">
                  <c:v>1.1123010347919666E-3</c:v>
                </c:pt>
                <c:pt idx="6724">
                  <c:v>1.1291407052450412E-3</c:v>
                </c:pt>
                <c:pt idx="6725">
                  <c:v>1.1524354912354955E-3</c:v>
                </c:pt>
                <c:pt idx="6726">
                  <c:v>1.1958632863347605E-3</c:v>
                </c:pt>
                <c:pt idx="6727">
                  <c:v>1.2335278839900002E-3</c:v>
                </c:pt>
                <c:pt idx="6728">
                  <c:v>1.2618475853442607E-3</c:v>
                </c:pt>
                <c:pt idx="6729">
                  <c:v>1.2875327471598037E-3</c:v>
                </c:pt>
                <c:pt idx="6730">
                  <c:v>1.3035262119050236E-3</c:v>
                </c:pt>
                <c:pt idx="6731">
                  <c:v>1.3186441356068596E-3</c:v>
                </c:pt>
                <c:pt idx="6732">
                  <c:v>1.3235433990751787E-3</c:v>
                </c:pt>
                <c:pt idx="6733">
                  <c:v>1.3239460425882698E-3</c:v>
                </c:pt>
                <c:pt idx="6734">
                  <c:v>1.3170059138164195E-3</c:v>
                </c:pt>
                <c:pt idx="6735">
                  <c:v>1.3169486548882941E-3</c:v>
                </c:pt>
                <c:pt idx="6736">
                  <c:v>1.3185467614444391E-3</c:v>
                </c:pt>
                <c:pt idx="6737">
                  <c:v>1.308538254818034E-3</c:v>
                </c:pt>
                <c:pt idx="6738">
                  <c:v>1.2893056894158848E-3</c:v>
                </c:pt>
                <c:pt idx="6739">
                  <c:v>1.2693649142300749E-3</c:v>
                </c:pt>
                <c:pt idx="6740">
                  <c:v>1.2472861930654575E-3</c:v>
                </c:pt>
                <c:pt idx="6741">
                  <c:v>1.2271244954319895E-3</c:v>
                </c:pt>
                <c:pt idx="6742">
                  <c:v>1.2250435326458969E-3</c:v>
                </c:pt>
                <c:pt idx="6743">
                  <c:v>1.2362955747541298E-3</c:v>
                </c:pt>
                <c:pt idx="6744">
                  <c:v>1.2499325855846453E-3</c:v>
                </c:pt>
                <c:pt idx="6745">
                  <c:v>1.2530919369916781E-3</c:v>
                </c:pt>
                <c:pt idx="6746">
                  <c:v>1.2459421290513012E-3</c:v>
                </c:pt>
                <c:pt idx="6747">
                  <c:v>1.2256262530230403E-3</c:v>
                </c:pt>
                <c:pt idx="6748">
                  <c:v>1.1971931828720446E-3</c:v>
                </c:pt>
                <c:pt idx="6749">
                  <c:v>1.157018934384482E-3</c:v>
                </c:pt>
                <c:pt idx="6750">
                  <c:v>1.103753568003026E-3</c:v>
                </c:pt>
                <c:pt idx="6751">
                  <c:v>1.0480895192082587E-3</c:v>
                </c:pt>
                <c:pt idx="6752">
                  <c:v>1.0610597234774993E-3</c:v>
                </c:pt>
                <c:pt idx="6753">
                  <c:v>1.1112948746255567E-3</c:v>
                </c:pt>
                <c:pt idx="6754">
                  <c:v>1.1533799286853473E-3</c:v>
                </c:pt>
                <c:pt idx="6755">
                  <c:v>1.1862810499483757E-3</c:v>
                </c:pt>
                <c:pt idx="6756">
                  <c:v>1.2138549899677667E-3</c:v>
                </c:pt>
                <c:pt idx="6757">
                  <c:v>1.2315575296101011E-3</c:v>
                </c:pt>
                <c:pt idx="6758">
                  <c:v>1.2400387321951864E-3</c:v>
                </c:pt>
                <c:pt idx="6759">
                  <c:v>1.2478118230425952E-3</c:v>
                </c:pt>
                <c:pt idx="6760">
                  <c:v>1.2473374794441611E-3</c:v>
                </c:pt>
                <c:pt idx="6761">
                  <c:v>1.2694121610945205E-3</c:v>
                </c:pt>
                <c:pt idx="6762">
                  <c:v>1.2817023531361425E-3</c:v>
                </c:pt>
                <c:pt idx="6763">
                  <c:v>1.2901501541048286E-3</c:v>
                </c:pt>
                <c:pt idx="6764">
                  <c:v>1.3007183350646995E-3</c:v>
                </c:pt>
                <c:pt idx="6765">
                  <c:v>1.3127602015187308E-3</c:v>
                </c:pt>
                <c:pt idx="6766">
                  <c:v>1.3178498889518844E-3</c:v>
                </c:pt>
                <c:pt idx="6767">
                  <c:v>1.3400611268305773E-3</c:v>
                </c:pt>
                <c:pt idx="6768">
                  <c:v>1.3586441234785525E-3</c:v>
                </c:pt>
                <c:pt idx="6769">
                  <c:v>1.3728151469285673E-3</c:v>
                </c:pt>
                <c:pt idx="6770">
                  <c:v>1.3824370712196029E-3</c:v>
                </c:pt>
                <c:pt idx="6771">
                  <c:v>1.3865139026429834E-3</c:v>
                </c:pt>
                <c:pt idx="6772">
                  <c:v>1.4322401175648671E-3</c:v>
                </c:pt>
                <c:pt idx="6773">
                  <c:v>1.4767137116948343E-3</c:v>
                </c:pt>
                <c:pt idx="6774">
                  <c:v>1.5584704775947194E-3</c:v>
                </c:pt>
                <c:pt idx="6775">
                  <c:v>1.6654799542570788E-3</c:v>
                </c:pt>
                <c:pt idx="6776">
                  <c:v>1.7475717321636356E-3</c:v>
                </c:pt>
                <c:pt idx="6777">
                  <c:v>1.8053715880810362E-3</c:v>
                </c:pt>
                <c:pt idx="6778">
                  <c:v>1.8459358518400735E-3</c:v>
                </c:pt>
                <c:pt idx="6779">
                  <c:v>1.8684076034247953E-3</c:v>
                </c:pt>
                <c:pt idx="6780">
                  <c:v>1.8732265752990965E-3</c:v>
                </c:pt>
                <c:pt idx="6781">
                  <c:v>1.8726112801416728E-3</c:v>
                </c:pt>
                <c:pt idx="6782">
                  <c:v>1.8809109031757616E-3</c:v>
                </c:pt>
                <c:pt idx="6783">
                  <c:v>1.9058427481817935E-3</c:v>
                </c:pt>
                <c:pt idx="6784">
                  <c:v>1.9186166557015559E-3</c:v>
                </c:pt>
                <c:pt idx="6785">
                  <c:v>1.9292836129810723E-3</c:v>
                </c:pt>
                <c:pt idx="6786">
                  <c:v>1.9294762941216785E-3</c:v>
                </c:pt>
                <c:pt idx="6787">
                  <c:v>1.9163177196098312E-3</c:v>
                </c:pt>
                <c:pt idx="6788">
                  <c:v>1.8897721211023804E-3</c:v>
                </c:pt>
                <c:pt idx="6789">
                  <c:v>1.851327067828119E-3</c:v>
                </c:pt>
                <c:pt idx="6790">
                  <c:v>1.7976095532828257E-3</c:v>
                </c:pt>
                <c:pt idx="6791">
                  <c:v>1.7563657674987071E-3</c:v>
                </c:pt>
                <c:pt idx="6792">
                  <c:v>1.7032241301531646E-3</c:v>
                </c:pt>
                <c:pt idx="6793">
                  <c:v>1.6455528351760694E-3</c:v>
                </c:pt>
                <c:pt idx="6794">
                  <c:v>1.5893796316842439E-3</c:v>
                </c:pt>
                <c:pt idx="6795">
                  <c:v>1.5231767239413131E-3</c:v>
                </c:pt>
                <c:pt idx="6796">
                  <c:v>1.4378043653555923E-3</c:v>
                </c:pt>
                <c:pt idx="6797">
                  <c:v>1.3730051098196474E-3</c:v>
                </c:pt>
                <c:pt idx="6798">
                  <c:v>1.3035059152747643E-3</c:v>
                </c:pt>
                <c:pt idx="6799">
                  <c:v>1.2250979485357819E-3</c:v>
                </c:pt>
                <c:pt idx="6800">
                  <c:v>1.1458975671974861E-3</c:v>
                </c:pt>
                <c:pt idx="6801">
                  <c:v>1.0473912636449847E-3</c:v>
                </c:pt>
                <c:pt idx="6802">
                  <c:v>9.6870243528541253E-4</c:v>
                </c:pt>
                <c:pt idx="6803">
                  <c:v>8.9101667427119976E-4</c:v>
                </c:pt>
                <c:pt idx="6804">
                  <c:v>8.5216644503874155E-4</c:v>
                </c:pt>
                <c:pt idx="6805">
                  <c:v>8.5015579697564521E-4</c:v>
                </c:pt>
                <c:pt idx="6806">
                  <c:v>8.4411450484678252E-4</c:v>
                </c:pt>
                <c:pt idx="6807">
                  <c:v>8.3930385464188516E-4</c:v>
                </c:pt>
                <c:pt idx="6808">
                  <c:v>8.3528840599272122E-4</c:v>
                </c:pt>
                <c:pt idx="6809">
                  <c:v>8.3812343957313947E-4</c:v>
                </c:pt>
                <c:pt idx="6810">
                  <c:v>8.3474181270467619E-4</c:v>
                </c:pt>
                <c:pt idx="6811">
                  <c:v>8.2871787032876606E-4</c:v>
                </c:pt>
                <c:pt idx="6812">
                  <c:v>8.1679477150424235E-4</c:v>
                </c:pt>
                <c:pt idx="6813">
                  <c:v>8.1478447870864416E-4</c:v>
                </c:pt>
                <c:pt idx="6814">
                  <c:v>8.1313968458374608E-4</c:v>
                </c:pt>
                <c:pt idx="6815">
                  <c:v>8.2453073168106618E-4</c:v>
                </c:pt>
                <c:pt idx="6816">
                  <c:v>8.3016207843836785E-4</c:v>
                </c:pt>
                <c:pt idx="6817">
                  <c:v>8.3370994497556673E-4</c:v>
                </c:pt>
                <c:pt idx="6818">
                  <c:v>8.3207195711289034E-4</c:v>
                </c:pt>
                <c:pt idx="6819">
                  <c:v>8.4044415057804871E-4</c:v>
                </c:pt>
                <c:pt idx="6820">
                  <c:v>8.5232003426159698E-4</c:v>
                </c:pt>
                <c:pt idx="6821">
                  <c:v>9.0110593535368841E-4</c:v>
                </c:pt>
                <c:pt idx="6822">
                  <c:v>9.4074886765629592E-4</c:v>
                </c:pt>
                <c:pt idx="6823">
                  <c:v>9.8368892896824622E-4</c:v>
                </c:pt>
                <c:pt idx="6824">
                  <c:v>1.0226155159175033E-3</c:v>
                </c:pt>
                <c:pt idx="6825">
                  <c:v>1.0670560248509074E-3</c:v>
                </c:pt>
                <c:pt idx="6826">
                  <c:v>1.1127280580341575E-3</c:v>
                </c:pt>
                <c:pt idx="6827">
                  <c:v>1.1489937091414076E-3</c:v>
                </c:pt>
                <c:pt idx="6828">
                  <c:v>1.1891888213670064E-3</c:v>
                </c:pt>
                <c:pt idx="6829">
                  <c:v>1.2196513578121603E-3</c:v>
                </c:pt>
                <c:pt idx="6830">
                  <c:v>1.2441294069779447E-3</c:v>
                </c:pt>
                <c:pt idx="6831">
                  <c:v>1.2654982820163477E-3</c:v>
                </c:pt>
                <c:pt idx="6832">
                  <c:v>1.280559480163567E-3</c:v>
                </c:pt>
                <c:pt idx="6833">
                  <c:v>1.2869319597025039E-3</c:v>
                </c:pt>
                <c:pt idx="6834">
                  <c:v>1.2900743768808666E-3</c:v>
                </c:pt>
                <c:pt idx="6835">
                  <c:v>1.2874183253886561E-3</c:v>
                </c:pt>
                <c:pt idx="6836">
                  <c:v>1.275593021323154E-3</c:v>
                </c:pt>
                <c:pt idx="6837">
                  <c:v>1.2712204440242295E-3</c:v>
                </c:pt>
                <c:pt idx="6838">
                  <c:v>1.2893940025587626E-3</c:v>
                </c:pt>
                <c:pt idx="6839">
                  <c:v>1.3367585261056345E-3</c:v>
                </c:pt>
                <c:pt idx="6840">
                  <c:v>1.3732915495659088E-3</c:v>
                </c:pt>
                <c:pt idx="6841">
                  <c:v>1.3962989351392805E-3</c:v>
                </c:pt>
                <c:pt idx="6842">
                  <c:v>1.4066697753357343E-3</c:v>
                </c:pt>
                <c:pt idx="6843">
                  <c:v>1.428467125193019E-3</c:v>
                </c:pt>
                <c:pt idx="6844">
                  <c:v>1.4517201385488216E-3</c:v>
                </c:pt>
                <c:pt idx="6845">
                  <c:v>1.4698104744061621E-3</c:v>
                </c:pt>
                <c:pt idx="6846">
                  <c:v>1.5103587037802913E-3</c:v>
                </c:pt>
                <c:pt idx="6847">
                  <c:v>1.5603770674048035E-3</c:v>
                </c:pt>
                <c:pt idx="6848">
                  <c:v>1.5898094041974099E-3</c:v>
                </c:pt>
                <c:pt idx="6849">
                  <c:v>1.6128493361351887E-3</c:v>
                </c:pt>
                <c:pt idx="6850">
                  <c:v>1.6277670201585183E-3</c:v>
                </c:pt>
                <c:pt idx="6851">
                  <c:v>1.6574838868442052E-3</c:v>
                </c:pt>
                <c:pt idx="6852">
                  <c:v>1.6747064919890077E-3</c:v>
                </c:pt>
                <c:pt idx="6853">
                  <c:v>1.6799270433276812E-3</c:v>
                </c:pt>
                <c:pt idx="6854">
                  <c:v>1.6781757905860964E-3</c:v>
                </c:pt>
                <c:pt idx="6855">
                  <c:v>1.7115054699178005E-3</c:v>
                </c:pt>
                <c:pt idx="6856">
                  <c:v>1.7373764500320187E-3</c:v>
                </c:pt>
                <c:pt idx="6857">
                  <c:v>1.7574630393206981E-3</c:v>
                </c:pt>
                <c:pt idx="6858">
                  <c:v>1.7761317151700753E-3</c:v>
                </c:pt>
                <c:pt idx="6859">
                  <c:v>1.806652725735664E-3</c:v>
                </c:pt>
                <c:pt idx="6860">
                  <c:v>1.8261683735582555E-3</c:v>
                </c:pt>
                <c:pt idx="6861">
                  <c:v>1.8379435326928851E-3</c:v>
                </c:pt>
                <c:pt idx="6862">
                  <c:v>1.8366872420902721E-3</c:v>
                </c:pt>
                <c:pt idx="6863">
                  <c:v>1.819260773326952E-3</c:v>
                </c:pt>
                <c:pt idx="6864">
                  <c:v>1.7967051205522988E-3</c:v>
                </c:pt>
                <c:pt idx="6865">
                  <c:v>1.7623287117004085E-3</c:v>
                </c:pt>
                <c:pt idx="6866">
                  <c:v>1.70939336602073E-3</c:v>
                </c:pt>
                <c:pt idx="6867">
                  <c:v>1.651544936678663E-3</c:v>
                </c:pt>
                <c:pt idx="6868">
                  <c:v>1.6052556308076E-3</c:v>
                </c:pt>
                <c:pt idx="6869">
                  <c:v>1.5760910021260204E-3</c:v>
                </c:pt>
                <c:pt idx="6870">
                  <c:v>1.5376695835444241E-3</c:v>
                </c:pt>
                <c:pt idx="6871">
                  <c:v>1.4860815787057999E-3</c:v>
                </c:pt>
                <c:pt idx="6872">
                  <c:v>1.4197333562129372E-3</c:v>
                </c:pt>
                <c:pt idx="6873">
                  <c:v>1.362617415236344E-3</c:v>
                </c:pt>
                <c:pt idx="6874">
                  <c:v>1.300414028841277E-3</c:v>
                </c:pt>
                <c:pt idx="6875">
                  <c:v>1.2278305095684608E-3</c:v>
                </c:pt>
                <c:pt idx="6876">
                  <c:v>1.1864310165139917E-3</c:v>
                </c:pt>
                <c:pt idx="6877">
                  <c:v>1.1590526001739989E-3</c:v>
                </c:pt>
                <c:pt idx="6878">
                  <c:v>1.1247841700501083E-3</c:v>
                </c:pt>
                <c:pt idx="6879">
                  <c:v>1.0855083761458523E-3</c:v>
                </c:pt>
                <c:pt idx="6880">
                  <c:v>1.037619115033493E-3</c:v>
                </c:pt>
                <c:pt idx="6881">
                  <c:v>9.8007015773481283E-4</c:v>
                </c:pt>
                <c:pt idx="6882">
                  <c:v>9.131995327868427E-4</c:v>
                </c:pt>
                <c:pt idx="6883">
                  <c:v>8.4198272989397362E-4</c:v>
                </c:pt>
                <c:pt idx="6884">
                  <c:v>7.7908002465037389E-4</c:v>
                </c:pt>
                <c:pt idx="6885">
                  <c:v>7.6538607560931531E-4</c:v>
                </c:pt>
                <c:pt idx="6886">
                  <c:v>7.5382217483718425E-4</c:v>
                </c:pt>
                <c:pt idx="6887">
                  <c:v>7.4546550745209971E-4</c:v>
                </c:pt>
                <c:pt idx="6888">
                  <c:v>7.4002992510791064E-4</c:v>
                </c:pt>
                <c:pt idx="6889">
                  <c:v>7.8916799591246807E-4</c:v>
                </c:pt>
                <c:pt idx="6890">
                  <c:v>8.3101120794026244E-4</c:v>
                </c:pt>
                <c:pt idx="6891">
                  <c:v>8.6709870218602771E-4</c:v>
                </c:pt>
                <c:pt idx="6892">
                  <c:v>8.9825263394119727E-4</c:v>
                </c:pt>
                <c:pt idx="6893">
                  <c:v>9.6725441520159139E-4</c:v>
                </c:pt>
                <c:pt idx="6894">
                  <c:v>1.0516523774589848E-3</c:v>
                </c:pt>
                <c:pt idx="6895">
                  <c:v>1.1212507148576339E-3</c:v>
                </c:pt>
                <c:pt idx="6896">
                  <c:v>1.1789633882639339E-3</c:v>
                </c:pt>
                <c:pt idx="6897">
                  <c:v>1.2265734573182663E-3</c:v>
                </c:pt>
                <c:pt idx="6898">
                  <c:v>1.2630485827394512E-3</c:v>
                </c:pt>
                <c:pt idx="6899">
                  <c:v>1.2992479146737056E-3</c:v>
                </c:pt>
                <c:pt idx="6900">
                  <c:v>1.3329761154939222E-3</c:v>
                </c:pt>
                <c:pt idx="6901">
                  <c:v>1.3580340739427731E-3</c:v>
                </c:pt>
                <c:pt idx="6902">
                  <c:v>1.3748858463226272E-3</c:v>
                </c:pt>
                <c:pt idx="6903">
                  <c:v>1.3863719240788169E-3</c:v>
                </c:pt>
                <c:pt idx="6904">
                  <c:v>1.3880474025411418E-3</c:v>
                </c:pt>
                <c:pt idx="6905">
                  <c:v>1.3821479247457518E-3</c:v>
                </c:pt>
                <c:pt idx="6906">
                  <c:v>1.3684819368619827E-3</c:v>
                </c:pt>
                <c:pt idx="6907">
                  <c:v>1.3467512525925296E-3</c:v>
                </c:pt>
                <c:pt idx="6908">
                  <c:v>1.3188322736786115E-3</c:v>
                </c:pt>
                <c:pt idx="6909">
                  <c:v>1.2854302511117431E-3</c:v>
                </c:pt>
                <c:pt idx="6910">
                  <c:v>1.2424487839018388E-3</c:v>
                </c:pt>
                <c:pt idx="6911">
                  <c:v>1.188968131051876E-3</c:v>
                </c:pt>
                <c:pt idx="6912">
                  <c:v>1.1275876114189552E-3</c:v>
                </c:pt>
                <c:pt idx="6913">
                  <c:v>1.0718085645837366E-3</c:v>
                </c:pt>
                <c:pt idx="6914">
                  <c:v>1.0245244423773261E-3</c:v>
                </c:pt>
                <c:pt idx="6915">
                  <c:v>9.7090304418871308E-4</c:v>
                </c:pt>
                <c:pt idx="6916">
                  <c:v>9.2598653076816299E-4</c:v>
                </c:pt>
                <c:pt idx="6917">
                  <c:v>8.7049245747949791E-4</c:v>
                </c:pt>
                <c:pt idx="6918">
                  <c:v>8.1443565110941917E-4</c:v>
                </c:pt>
                <c:pt idx="6919">
                  <c:v>7.8995954408786159E-4</c:v>
                </c:pt>
                <c:pt idx="6920">
                  <c:v>7.957385731873892E-4</c:v>
                </c:pt>
                <c:pt idx="6921">
                  <c:v>7.9436965505933128E-4</c:v>
                </c:pt>
                <c:pt idx="6922">
                  <c:v>7.8915889757486121E-4</c:v>
                </c:pt>
                <c:pt idx="6923">
                  <c:v>8.1802090874014523E-4</c:v>
                </c:pt>
                <c:pt idx="6924">
                  <c:v>8.5193796755848904E-4</c:v>
                </c:pt>
                <c:pt idx="6925">
                  <c:v>8.7740517247352737E-4</c:v>
                </c:pt>
                <c:pt idx="6926">
                  <c:v>8.9418446277578884E-4</c:v>
                </c:pt>
                <c:pt idx="6927">
                  <c:v>9.0608641031164508E-4</c:v>
                </c:pt>
                <c:pt idx="6928">
                  <c:v>9.1605372301925428E-4</c:v>
                </c:pt>
                <c:pt idx="6929">
                  <c:v>9.8088819187379318E-4</c:v>
                </c:pt>
                <c:pt idx="6930">
                  <c:v>1.0420414489643256E-3</c:v>
                </c:pt>
                <c:pt idx="6931">
                  <c:v>1.0993680209668076E-3</c:v>
                </c:pt>
                <c:pt idx="6932">
                  <c:v>1.1532073377779745E-3</c:v>
                </c:pt>
                <c:pt idx="6933">
                  <c:v>1.196691720127614E-3</c:v>
                </c:pt>
                <c:pt idx="6934">
                  <c:v>1.2437994872377014E-3</c:v>
                </c:pt>
                <c:pt idx="6935">
                  <c:v>1.2872654396788199E-3</c:v>
                </c:pt>
                <c:pt idx="6936">
                  <c:v>1.3201253845839364E-3</c:v>
                </c:pt>
                <c:pt idx="6937">
                  <c:v>1.3717186125283853E-3</c:v>
                </c:pt>
                <c:pt idx="6938">
                  <c:v>1.4193787845626145E-3</c:v>
                </c:pt>
                <c:pt idx="6939">
                  <c:v>1.4609056822275216E-3</c:v>
                </c:pt>
                <c:pt idx="6940">
                  <c:v>1.493049742985472E-3</c:v>
                </c:pt>
                <c:pt idx="6941">
                  <c:v>1.5161041396497146E-3</c:v>
                </c:pt>
                <c:pt idx="6942">
                  <c:v>1.5271970928247957E-3</c:v>
                </c:pt>
                <c:pt idx="6943">
                  <c:v>1.5269552700145613E-3</c:v>
                </c:pt>
                <c:pt idx="6944">
                  <c:v>1.5207955995207864E-3</c:v>
                </c:pt>
                <c:pt idx="6945">
                  <c:v>1.5053854560080539E-3</c:v>
                </c:pt>
                <c:pt idx="6946">
                  <c:v>1.4948390002292224E-3</c:v>
                </c:pt>
                <c:pt idx="6947">
                  <c:v>1.4880372016276777E-3</c:v>
                </c:pt>
                <c:pt idx="6948">
                  <c:v>1.4674641615445201E-3</c:v>
                </c:pt>
                <c:pt idx="6949">
                  <c:v>1.4431337642702843E-3</c:v>
                </c:pt>
                <c:pt idx="6950">
                  <c:v>1.4450367675912295E-3</c:v>
                </c:pt>
                <c:pt idx="6951">
                  <c:v>1.4398071168294372E-3</c:v>
                </c:pt>
                <c:pt idx="6952">
                  <c:v>1.435283054267857E-3</c:v>
                </c:pt>
                <c:pt idx="6953">
                  <c:v>1.4184476350062782E-3</c:v>
                </c:pt>
                <c:pt idx="6954">
                  <c:v>1.3885132549308085E-3</c:v>
                </c:pt>
                <c:pt idx="6955">
                  <c:v>1.3452727635993047E-3</c:v>
                </c:pt>
                <c:pt idx="6956">
                  <c:v>1.2862234878727149E-3</c:v>
                </c:pt>
                <c:pt idx="6957">
                  <c:v>1.2105976539684309E-3</c:v>
                </c:pt>
                <c:pt idx="6958">
                  <c:v>1.1417210435581951E-3</c:v>
                </c:pt>
                <c:pt idx="6959">
                  <c:v>1.1201563333401504E-3</c:v>
                </c:pt>
                <c:pt idx="6960">
                  <c:v>1.1357556977924477E-3</c:v>
                </c:pt>
                <c:pt idx="6961">
                  <c:v>1.1586898336922535E-3</c:v>
                </c:pt>
                <c:pt idx="6962">
                  <c:v>1.1999769315402297E-3</c:v>
                </c:pt>
                <c:pt idx="6963">
                  <c:v>1.235973335334822E-3</c:v>
                </c:pt>
                <c:pt idx="6964">
                  <c:v>1.2718319281201662E-3</c:v>
                </c:pt>
                <c:pt idx="6965">
                  <c:v>1.2989171443422585E-3</c:v>
                </c:pt>
                <c:pt idx="6966">
                  <c:v>1.311729603424075E-3</c:v>
                </c:pt>
                <c:pt idx="6967">
                  <c:v>1.3440904509903204E-3</c:v>
                </c:pt>
                <c:pt idx="6968">
                  <c:v>1.3763812909954921E-3</c:v>
                </c:pt>
                <c:pt idx="6969">
                  <c:v>1.3556257861036991E-3</c:v>
                </c:pt>
                <c:pt idx="6970">
                  <c:v>1.334936116387093E-3</c:v>
                </c:pt>
                <c:pt idx="6971">
                  <c:v>1.3142915458161583E-3</c:v>
                </c:pt>
                <c:pt idx="6972">
                  <c:v>1.2906983621879019E-3</c:v>
                </c:pt>
                <c:pt idx="6973">
                  <c:v>1.2604083087621304E-3</c:v>
                </c:pt>
                <c:pt idx="6974">
                  <c:v>1.2318654377313923E-3</c:v>
                </c:pt>
                <c:pt idx="6975">
                  <c:v>1.2018792865389795E-3</c:v>
                </c:pt>
                <c:pt idx="6976">
                  <c:v>1.1772450294126441E-3</c:v>
                </c:pt>
                <c:pt idx="6977">
                  <c:v>1.1681305620836067E-3</c:v>
                </c:pt>
                <c:pt idx="6978">
                  <c:v>1.1539512200281603E-3</c:v>
                </c:pt>
                <c:pt idx="6979">
                  <c:v>1.1366673836314103E-3</c:v>
                </c:pt>
                <c:pt idx="6980">
                  <c:v>1.1227297800769235E-3</c:v>
                </c:pt>
                <c:pt idx="6981">
                  <c:v>1.1050993569791169E-3</c:v>
                </c:pt>
                <c:pt idx="6982">
                  <c:v>1.0907790836511707E-3</c:v>
                </c:pt>
                <c:pt idx="6983">
                  <c:v>1.066802668965473E-3</c:v>
                </c:pt>
                <c:pt idx="6984">
                  <c:v>1.0340567564251096E-3</c:v>
                </c:pt>
                <c:pt idx="6985">
                  <c:v>9.8135888468358842E-4</c:v>
                </c:pt>
                <c:pt idx="6986">
                  <c:v>9.0411925568832359E-4</c:v>
                </c:pt>
                <c:pt idx="6987">
                  <c:v>7.7221974898118739E-4</c:v>
                </c:pt>
                <c:pt idx="6988">
                  <c:v>6.6156205616237605E-4</c:v>
                </c:pt>
                <c:pt idx="6989">
                  <c:v>4.5179710426302279E-4</c:v>
                </c:pt>
                <c:pt idx="6990">
                  <c:v>3.4960802593208325E-4</c:v>
                </c:pt>
                <c:pt idx="6991">
                  <c:v>2.3391738242837512E-4</c:v>
                </c:pt>
                <c:pt idx="6992">
                  <c:v>1.8531229013282247E-4</c:v>
                </c:pt>
                <c:pt idx="6993">
                  <c:v>1.6764061406682101E-4</c:v>
                </c:pt>
                <c:pt idx="6994">
                  <c:v>1.6207793230932338E-4</c:v>
                </c:pt>
                <c:pt idx="6995">
                  <c:v>1.5375804555318236E-4</c:v>
                </c:pt>
                <c:pt idx="6996">
                  <c:v>1.0857836757159731E-4</c:v>
                </c:pt>
              </c:numCache>
            </c:numRef>
          </c:val>
          <c:smooth val="0"/>
          <c:extLst>
            <c:ext xmlns:c16="http://schemas.microsoft.com/office/drawing/2014/chart" uri="{C3380CC4-5D6E-409C-BE32-E72D297353CC}">
              <c16:uniqueId val="{00000000-34E5-0744-AA2C-554353F9D891}"/>
            </c:ext>
          </c:extLst>
        </c:ser>
        <c:ser>
          <c:idx val="1"/>
          <c:order val="1"/>
          <c:tx>
            <c:strRef>
              <c:f>'Rolling Stdev Data'!$B$1:$B$2</c:f>
              <c:strCache>
                <c:ptCount val="2"/>
                <c:pt idx="0">
                  <c:v>m3/d</c:v>
                </c:pt>
                <c:pt idx="1">
                  <c:v>SURJEK_FLOW_METER_2</c:v>
                </c:pt>
              </c:strCache>
            </c:strRef>
          </c:tx>
          <c:spPr>
            <a:ln w="28575" cap="rnd">
              <a:solidFill>
                <a:schemeClr val="accent2"/>
              </a:solidFill>
              <a:round/>
            </a:ln>
            <a:effectLst/>
          </c:spPr>
          <c:marker>
            <c:symbol val="none"/>
          </c:marker>
          <c:val>
            <c:numRef>
              <c:f>'Rolling Stdev Data'!$B$3:$B$7000</c:f>
              <c:numCache>
                <c:formatCode>General</c:formatCode>
                <c:ptCount val="6998"/>
                <c:pt idx="0">
                  <c:v>1.685192837828202</c:v>
                </c:pt>
                <c:pt idx="1">
                  <c:v>1.7537178904128494</c:v>
                </c:pt>
                <c:pt idx="2">
                  <c:v>1.8446034913548017</c:v>
                </c:pt>
                <c:pt idx="3">
                  <c:v>1.8970245059239439</c:v>
                </c:pt>
                <c:pt idx="4">
                  <c:v>1.872835666087977</c:v>
                </c:pt>
                <c:pt idx="5">
                  <c:v>1.9804583783740486</c:v>
                </c:pt>
                <c:pt idx="6">
                  <c:v>2.0110728885478282</c:v>
                </c:pt>
                <c:pt idx="7">
                  <c:v>2.0035192334292313</c:v>
                </c:pt>
                <c:pt idx="8">
                  <c:v>1.9943634037287861</c:v>
                </c:pt>
                <c:pt idx="9">
                  <c:v>1.9825241652076968</c:v>
                </c:pt>
                <c:pt idx="10">
                  <c:v>1.9705846542028485</c:v>
                </c:pt>
                <c:pt idx="11">
                  <c:v>1.9822233455565661</c:v>
                </c:pt>
                <c:pt idx="12">
                  <c:v>2.0471384353884563</c:v>
                </c:pt>
                <c:pt idx="13">
                  <c:v>2.0435658354694701</c:v>
                </c:pt>
                <c:pt idx="14">
                  <c:v>2.0236251895395103</c:v>
                </c:pt>
                <c:pt idx="15">
                  <c:v>2.0370902777485269</c:v>
                </c:pt>
                <c:pt idx="16">
                  <c:v>2.1675958908768367</c:v>
                </c:pt>
                <c:pt idx="17">
                  <c:v>2.2008330734967347</c:v>
                </c:pt>
                <c:pt idx="18">
                  <c:v>2.2176693975385531</c:v>
                </c:pt>
                <c:pt idx="19">
                  <c:v>2.2280683947446565</c:v>
                </c:pt>
                <c:pt idx="20">
                  <c:v>2.1341264679043106</c:v>
                </c:pt>
                <c:pt idx="21">
                  <c:v>2.0870029479021883</c:v>
                </c:pt>
                <c:pt idx="22">
                  <c:v>2.0953504633343969</c:v>
                </c:pt>
                <c:pt idx="23">
                  <c:v>2.1060659512727526</c:v>
                </c:pt>
                <c:pt idx="24">
                  <c:v>2.0835726656006375</c:v>
                </c:pt>
                <c:pt idx="25">
                  <c:v>2.0454393826264887</c:v>
                </c:pt>
                <c:pt idx="26">
                  <c:v>2.025195921879182</c:v>
                </c:pt>
                <c:pt idx="27">
                  <c:v>2.0309426246245472</c:v>
                </c:pt>
                <c:pt idx="28">
                  <c:v>2.0468938724989538</c:v>
                </c:pt>
                <c:pt idx="29">
                  <c:v>2.0676388699743291</c:v>
                </c:pt>
                <c:pt idx="30">
                  <c:v>2.0905039819011586</c:v>
                </c:pt>
                <c:pt idx="31">
                  <c:v>2.016249948653245</c:v>
                </c:pt>
                <c:pt idx="32">
                  <c:v>1.9013295925568328</c:v>
                </c:pt>
                <c:pt idx="33">
                  <c:v>1.7679850576276035</c:v>
                </c:pt>
                <c:pt idx="34">
                  <c:v>1.6023606588009305</c:v>
                </c:pt>
                <c:pt idx="35">
                  <c:v>1.5199980791659984</c:v>
                </c:pt>
                <c:pt idx="36">
                  <c:v>1.5013538240999835</c:v>
                </c:pt>
                <c:pt idx="37">
                  <c:v>1.582825186376061</c:v>
                </c:pt>
                <c:pt idx="38">
                  <c:v>1.5922923067154078</c:v>
                </c:pt>
                <c:pt idx="39">
                  <c:v>1.5845509317090223</c:v>
                </c:pt>
                <c:pt idx="40">
                  <c:v>1.5633416751711637</c:v>
                </c:pt>
                <c:pt idx="41">
                  <c:v>1.5935453108238058</c:v>
                </c:pt>
                <c:pt idx="42">
                  <c:v>1.3191169611826561</c:v>
                </c:pt>
                <c:pt idx="43">
                  <c:v>1.5528742657899528</c:v>
                </c:pt>
                <c:pt idx="44">
                  <c:v>1.5869699495187759</c:v>
                </c:pt>
                <c:pt idx="45">
                  <c:v>1.4876941411486428</c:v>
                </c:pt>
                <c:pt idx="46">
                  <c:v>1.4391537662232707</c:v>
                </c:pt>
                <c:pt idx="47">
                  <c:v>1.4951863203907141</c:v>
                </c:pt>
                <c:pt idx="48">
                  <c:v>1.4949707623258111</c:v>
                </c:pt>
                <c:pt idx="49">
                  <c:v>1.4940589046314845</c:v>
                </c:pt>
                <c:pt idx="50">
                  <c:v>1.5132559691557987</c:v>
                </c:pt>
                <c:pt idx="51">
                  <c:v>1.5346337829882211</c:v>
                </c:pt>
                <c:pt idx="52">
                  <c:v>1.5427163662414702</c:v>
                </c:pt>
                <c:pt idx="53">
                  <c:v>1.5819292582381306</c:v>
                </c:pt>
                <c:pt idx="54">
                  <c:v>1.5637044371933604</c:v>
                </c:pt>
                <c:pt idx="55">
                  <c:v>1.5252810946065112</c:v>
                </c:pt>
                <c:pt idx="56">
                  <c:v>1.5317392053576555</c:v>
                </c:pt>
                <c:pt idx="57">
                  <c:v>1.4401751761148218</c:v>
                </c:pt>
                <c:pt idx="58">
                  <c:v>1.4384778737238246</c:v>
                </c:pt>
                <c:pt idx="59">
                  <c:v>1.455026294226003</c:v>
                </c:pt>
                <c:pt idx="60">
                  <c:v>1.517812364143492</c:v>
                </c:pt>
                <c:pt idx="61">
                  <c:v>1.5203018120963598</c:v>
                </c:pt>
                <c:pt idx="62">
                  <c:v>1.5598681506108294</c:v>
                </c:pt>
                <c:pt idx="63">
                  <c:v>1.6146193598158249</c:v>
                </c:pt>
                <c:pt idx="64">
                  <c:v>1.6239045497980897</c:v>
                </c:pt>
                <c:pt idx="65">
                  <c:v>1.6296541935474596</c:v>
                </c:pt>
                <c:pt idx="66">
                  <c:v>1.6198724155141913</c:v>
                </c:pt>
                <c:pt idx="67">
                  <c:v>1.5742755182898309</c:v>
                </c:pt>
                <c:pt idx="68">
                  <c:v>1.580210764962573</c:v>
                </c:pt>
                <c:pt idx="69">
                  <c:v>1.5819313701620863</c:v>
                </c:pt>
                <c:pt idx="70">
                  <c:v>1.5865730684268711</c:v>
                </c:pt>
                <c:pt idx="71">
                  <c:v>1.5582295286766472</c:v>
                </c:pt>
                <c:pt idx="72">
                  <c:v>1.6047786925783405</c:v>
                </c:pt>
                <c:pt idx="73">
                  <c:v>1.4135307022004671</c:v>
                </c:pt>
                <c:pt idx="74">
                  <c:v>1.3948620437888748</c:v>
                </c:pt>
                <c:pt idx="75">
                  <c:v>1.3776746813515395</c:v>
                </c:pt>
                <c:pt idx="76">
                  <c:v>1.3735244296125064</c:v>
                </c:pt>
                <c:pt idx="77">
                  <c:v>1.3085526811280899</c:v>
                </c:pt>
                <c:pt idx="78">
                  <c:v>1.304665002861811</c:v>
                </c:pt>
                <c:pt idx="79">
                  <c:v>1.3294457913130562</c:v>
                </c:pt>
                <c:pt idx="80">
                  <c:v>1.3233673708325882</c:v>
                </c:pt>
                <c:pt idx="81">
                  <c:v>1.3014020413353802</c:v>
                </c:pt>
                <c:pt idx="82">
                  <c:v>1.2913489665669526</c:v>
                </c:pt>
                <c:pt idx="83">
                  <c:v>1.2671894407333981</c:v>
                </c:pt>
                <c:pt idx="84">
                  <c:v>1.2219981955954082</c:v>
                </c:pt>
                <c:pt idx="85">
                  <c:v>1.5109725713821214</c:v>
                </c:pt>
                <c:pt idx="86">
                  <c:v>1.503421526296248</c:v>
                </c:pt>
                <c:pt idx="87">
                  <c:v>1.5056058515805606</c:v>
                </c:pt>
                <c:pt idx="88">
                  <c:v>1.5088290726480313</c:v>
                </c:pt>
                <c:pt idx="89">
                  <c:v>1.5656592420137336</c:v>
                </c:pt>
                <c:pt idx="90">
                  <c:v>1.4846996191349919</c:v>
                </c:pt>
                <c:pt idx="91">
                  <c:v>1.4940365769498403</c:v>
                </c:pt>
                <c:pt idx="92">
                  <c:v>1.4603041040789169</c:v>
                </c:pt>
                <c:pt idx="93">
                  <c:v>1.5298420760992901</c:v>
                </c:pt>
                <c:pt idx="94">
                  <c:v>1.6013554367336733</c:v>
                </c:pt>
                <c:pt idx="95">
                  <c:v>1.5854962796970486</c:v>
                </c:pt>
                <c:pt idx="96">
                  <c:v>1.5961734547225657</c:v>
                </c:pt>
                <c:pt idx="97">
                  <c:v>1.6090487850772963</c:v>
                </c:pt>
                <c:pt idx="98">
                  <c:v>1.6540747436176042</c:v>
                </c:pt>
                <c:pt idx="99">
                  <c:v>1.6522657293144538</c:v>
                </c:pt>
                <c:pt idx="100">
                  <c:v>1.7216804575103928</c:v>
                </c:pt>
                <c:pt idx="101">
                  <c:v>1.7553277698801977</c:v>
                </c:pt>
                <c:pt idx="102">
                  <c:v>1.7295954760572392</c:v>
                </c:pt>
                <c:pt idx="103">
                  <c:v>1.6687734434562678</c:v>
                </c:pt>
                <c:pt idx="104">
                  <c:v>1.6785450852148693</c:v>
                </c:pt>
                <c:pt idx="105">
                  <c:v>1.7304568809497733</c:v>
                </c:pt>
                <c:pt idx="106">
                  <c:v>1.7348031801017836</c:v>
                </c:pt>
                <c:pt idx="107">
                  <c:v>1.7908404529480095</c:v>
                </c:pt>
                <c:pt idx="108">
                  <c:v>1.8213233563117999</c:v>
                </c:pt>
                <c:pt idx="109">
                  <c:v>1.8248359322596843</c:v>
                </c:pt>
                <c:pt idx="110">
                  <c:v>1.8283754679776483</c:v>
                </c:pt>
                <c:pt idx="111">
                  <c:v>1.8322844533750484</c:v>
                </c:pt>
                <c:pt idx="112">
                  <c:v>1.8337919499343476</c:v>
                </c:pt>
                <c:pt idx="113">
                  <c:v>1.823466557890697</c:v>
                </c:pt>
                <c:pt idx="114">
                  <c:v>1.8241926345594965</c:v>
                </c:pt>
                <c:pt idx="115">
                  <c:v>1.5665599245712793</c:v>
                </c:pt>
                <c:pt idx="116">
                  <c:v>1.6097559638223209</c:v>
                </c:pt>
                <c:pt idx="117">
                  <c:v>1.6205067382790272</c:v>
                </c:pt>
                <c:pt idx="118">
                  <c:v>1.6131897266863366</c:v>
                </c:pt>
                <c:pt idx="119">
                  <c:v>1.515379205003182</c:v>
                </c:pt>
                <c:pt idx="120">
                  <c:v>1.4949101165747511</c:v>
                </c:pt>
                <c:pt idx="121">
                  <c:v>1.4672236403870993</c:v>
                </c:pt>
                <c:pt idx="122">
                  <c:v>1.3925594756797399</c:v>
                </c:pt>
                <c:pt idx="123">
                  <c:v>1.4036015340155239</c:v>
                </c:pt>
                <c:pt idx="124">
                  <c:v>1.361149985037611</c:v>
                </c:pt>
                <c:pt idx="125">
                  <c:v>1.4271882646446576</c:v>
                </c:pt>
                <c:pt idx="126">
                  <c:v>1.4769905219703567</c:v>
                </c:pt>
                <c:pt idx="127">
                  <c:v>1.5035340031584177</c:v>
                </c:pt>
                <c:pt idx="128">
                  <c:v>1.4873821263456561</c:v>
                </c:pt>
                <c:pt idx="129">
                  <c:v>1.6340464497203446</c:v>
                </c:pt>
                <c:pt idx="130">
                  <c:v>1.6362574157868448</c:v>
                </c:pt>
                <c:pt idx="131">
                  <c:v>1.6040963125636689</c:v>
                </c:pt>
                <c:pt idx="132">
                  <c:v>1.5836005952733865</c:v>
                </c:pt>
                <c:pt idx="133">
                  <c:v>1.5957223817687622</c:v>
                </c:pt>
                <c:pt idx="134">
                  <c:v>1.5964507774503769</c:v>
                </c:pt>
                <c:pt idx="135">
                  <c:v>1.7647424304874542</c:v>
                </c:pt>
                <c:pt idx="136">
                  <c:v>1.814531523106967</c:v>
                </c:pt>
                <c:pt idx="137">
                  <c:v>1.7838753575680737</c:v>
                </c:pt>
                <c:pt idx="138">
                  <c:v>1.7757175090128405</c:v>
                </c:pt>
                <c:pt idx="139">
                  <c:v>1.7638384349224594</c:v>
                </c:pt>
                <c:pt idx="140">
                  <c:v>1.7567896990956153</c:v>
                </c:pt>
                <c:pt idx="141">
                  <c:v>1.7725131637724896</c:v>
                </c:pt>
                <c:pt idx="142">
                  <c:v>1.790891946697345</c:v>
                </c:pt>
                <c:pt idx="143">
                  <c:v>1.7945161575148496</c:v>
                </c:pt>
                <c:pt idx="144">
                  <c:v>1.8575513619838433</c:v>
                </c:pt>
                <c:pt idx="145">
                  <c:v>1.8915481919167398</c:v>
                </c:pt>
                <c:pt idx="146">
                  <c:v>1.9452265178072941</c:v>
                </c:pt>
                <c:pt idx="147">
                  <c:v>1.9322266390793916</c:v>
                </c:pt>
                <c:pt idx="148">
                  <c:v>1.9810900611381179</c:v>
                </c:pt>
                <c:pt idx="149">
                  <c:v>1.9984718622731896</c:v>
                </c:pt>
                <c:pt idx="150">
                  <c:v>2.0220982723975469</c:v>
                </c:pt>
                <c:pt idx="151">
                  <c:v>2.0431460978044385</c:v>
                </c:pt>
                <c:pt idx="152">
                  <c:v>2.0611413538413652</c:v>
                </c:pt>
                <c:pt idx="153">
                  <c:v>1.9700851308381575</c:v>
                </c:pt>
                <c:pt idx="154">
                  <c:v>1.9610721910851454</c:v>
                </c:pt>
                <c:pt idx="155">
                  <c:v>1.9172931114758121</c:v>
                </c:pt>
                <c:pt idx="156">
                  <c:v>1.8768942033349503</c:v>
                </c:pt>
                <c:pt idx="157">
                  <c:v>1.8476610044526245</c:v>
                </c:pt>
                <c:pt idx="158">
                  <c:v>1.8477371847169868</c:v>
                </c:pt>
                <c:pt idx="159">
                  <c:v>1.7883116884814094</c:v>
                </c:pt>
                <c:pt idx="160">
                  <c:v>1.760079705873469</c:v>
                </c:pt>
                <c:pt idx="161">
                  <c:v>1.7989911215927927</c:v>
                </c:pt>
                <c:pt idx="162">
                  <c:v>1.8137914739177767</c:v>
                </c:pt>
                <c:pt idx="163">
                  <c:v>1.8162279804763224</c:v>
                </c:pt>
                <c:pt idx="164">
                  <c:v>1.8198828881972497</c:v>
                </c:pt>
                <c:pt idx="165">
                  <c:v>1.5387555091530061</c:v>
                </c:pt>
                <c:pt idx="166">
                  <c:v>1.5923049891828469</c:v>
                </c:pt>
                <c:pt idx="167">
                  <c:v>2.3223471436379612</c:v>
                </c:pt>
                <c:pt idx="168">
                  <c:v>2.3430906689913065</c:v>
                </c:pt>
                <c:pt idx="169">
                  <c:v>2.3322720315827641</c:v>
                </c:pt>
                <c:pt idx="170">
                  <c:v>2.3573756774825254</c:v>
                </c:pt>
                <c:pt idx="171">
                  <c:v>2.3554786092866022</c:v>
                </c:pt>
                <c:pt idx="172">
                  <c:v>2.3624544330618065</c:v>
                </c:pt>
                <c:pt idx="173">
                  <c:v>2.3705318867172438</c:v>
                </c:pt>
                <c:pt idx="174">
                  <c:v>2.3507020774601144</c:v>
                </c:pt>
                <c:pt idx="175">
                  <c:v>2.3662636677584503</c:v>
                </c:pt>
                <c:pt idx="176">
                  <c:v>2.3058734197225887</c:v>
                </c:pt>
                <c:pt idx="177">
                  <c:v>2.3163476847626892</c:v>
                </c:pt>
                <c:pt idx="178">
                  <c:v>2.2999860446500491</c:v>
                </c:pt>
                <c:pt idx="179">
                  <c:v>2.2935598923135019</c:v>
                </c:pt>
                <c:pt idx="180">
                  <c:v>2.6366665192021363</c:v>
                </c:pt>
                <c:pt idx="181">
                  <c:v>2.6370541319306033</c:v>
                </c:pt>
                <c:pt idx="182">
                  <c:v>2.6110896068229481</c:v>
                </c:pt>
                <c:pt idx="183">
                  <c:v>2.5687854663277108</c:v>
                </c:pt>
                <c:pt idx="184">
                  <c:v>2.5673919817933131</c:v>
                </c:pt>
                <c:pt idx="185">
                  <c:v>2.5625830170024821</c:v>
                </c:pt>
                <c:pt idx="186">
                  <c:v>2.5561879004482626</c:v>
                </c:pt>
                <c:pt idx="187">
                  <c:v>2.544816524294395</c:v>
                </c:pt>
                <c:pt idx="188">
                  <c:v>2.5025660003494008</c:v>
                </c:pt>
                <c:pt idx="189">
                  <c:v>2.4629506202505871</c:v>
                </c:pt>
                <c:pt idx="190">
                  <c:v>2.4518292608233234</c:v>
                </c:pt>
                <c:pt idx="191">
                  <c:v>2.4716595078284462</c:v>
                </c:pt>
                <c:pt idx="192">
                  <c:v>2.4566226120264867</c:v>
                </c:pt>
                <c:pt idx="193">
                  <c:v>2.5098453900756366</c:v>
                </c:pt>
                <c:pt idx="194">
                  <c:v>2.550618136851635</c:v>
                </c:pt>
                <c:pt idx="195">
                  <c:v>2.4902526010079398</c:v>
                </c:pt>
                <c:pt idx="196">
                  <c:v>2.4788896139861381</c:v>
                </c:pt>
                <c:pt idx="197">
                  <c:v>1.9360519358026029</c:v>
                </c:pt>
                <c:pt idx="198">
                  <c:v>1.9061993701443734</c:v>
                </c:pt>
                <c:pt idx="199">
                  <c:v>1.9205564336527181</c:v>
                </c:pt>
                <c:pt idx="200">
                  <c:v>1.8729353406392983</c:v>
                </c:pt>
                <c:pt idx="201">
                  <c:v>1.8875659482488618</c:v>
                </c:pt>
                <c:pt idx="202">
                  <c:v>1.9117819040589414</c:v>
                </c:pt>
                <c:pt idx="203">
                  <c:v>2.1649846925085114</c:v>
                </c:pt>
                <c:pt idx="204">
                  <c:v>2.16403856950101</c:v>
                </c:pt>
                <c:pt idx="205">
                  <c:v>2.0976885049158072</c:v>
                </c:pt>
                <c:pt idx="206">
                  <c:v>2.0754113846599949</c:v>
                </c:pt>
                <c:pt idx="207">
                  <c:v>2.129297615826558</c:v>
                </c:pt>
                <c:pt idx="208">
                  <c:v>2.1421000233063809</c:v>
                </c:pt>
                <c:pt idx="209">
                  <c:v>2.1419442612840047</c:v>
                </c:pt>
                <c:pt idx="210">
                  <c:v>1.7699527395725507</c:v>
                </c:pt>
                <c:pt idx="211">
                  <c:v>2.0952703808470834</c:v>
                </c:pt>
                <c:pt idx="212">
                  <c:v>2.0956213577937679</c:v>
                </c:pt>
                <c:pt idx="213">
                  <c:v>2.2419180497450739</c:v>
                </c:pt>
                <c:pt idx="214">
                  <c:v>2.2512646549745257</c:v>
                </c:pt>
                <c:pt idx="215">
                  <c:v>2.2548408523479404</c:v>
                </c:pt>
                <c:pt idx="216">
                  <c:v>2.2437893294677371</c:v>
                </c:pt>
                <c:pt idx="217">
                  <c:v>2.2752239722603873</c:v>
                </c:pt>
                <c:pt idx="218">
                  <c:v>2.2852912860045009</c:v>
                </c:pt>
                <c:pt idx="219">
                  <c:v>2.3518526391976402</c:v>
                </c:pt>
                <c:pt idx="220">
                  <c:v>2.4336621051743341</c:v>
                </c:pt>
                <c:pt idx="221">
                  <c:v>2.4407155025878144</c:v>
                </c:pt>
                <c:pt idx="222">
                  <c:v>2.4498059064995732</c:v>
                </c:pt>
                <c:pt idx="223">
                  <c:v>2.4663189639379715</c:v>
                </c:pt>
                <c:pt idx="224">
                  <c:v>2.4678567283808013</c:v>
                </c:pt>
                <c:pt idx="225">
                  <c:v>2.4835581866833802</c:v>
                </c:pt>
                <c:pt idx="226">
                  <c:v>2.4880095666776985</c:v>
                </c:pt>
                <c:pt idx="227">
                  <c:v>2.4817029417962071</c:v>
                </c:pt>
                <c:pt idx="228">
                  <c:v>2.4959813208098645</c:v>
                </c:pt>
                <c:pt idx="229">
                  <c:v>2.4839129804221898</c:v>
                </c:pt>
                <c:pt idx="230">
                  <c:v>2.4881322099568686</c:v>
                </c:pt>
                <c:pt idx="231">
                  <c:v>2.5363015759260898</c:v>
                </c:pt>
                <c:pt idx="232">
                  <c:v>2.5043964604130884</c:v>
                </c:pt>
                <c:pt idx="233">
                  <c:v>2.3514466005384214</c:v>
                </c:pt>
                <c:pt idx="234">
                  <c:v>2.3595654827789465</c:v>
                </c:pt>
                <c:pt idx="235">
                  <c:v>2.3576829117208402</c:v>
                </c:pt>
                <c:pt idx="236">
                  <c:v>2.2977405540205171</c:v>
                </c:pt>
                <c:pt idx="237">
                  <c:v>2.283121935065672</c:v>
                </c:pt>
                <c:pt idx="238">
                  <c:v>2.2801585688545312</c:v>
                </c:pt>
                <c:pt idx="239">
                  <c:v>2.3032782762762496</c:v>
                </c:pt>
                <c:pt idx="240">
                  <c:v>2.3029706829118042</c:v>
                </c:pt>
                <c:pt idx="241">
                  <c:v>2.0592299343408107</c:v>
                </c:pt>
                <c:pt idx="242">
                  <c:v>2.0664430291280387</c:v>
                </c:pt>
                <c:pt idx="243">
                  <c:v>1.9353962863014544</c:v>
                </c:pt>
                <c:pt idx="244">
                  <c:v>1.9280858737477176</c:v>
                </c:pt>
                <c:pt idx="245">
                  <c:v>1.9194202206656772</c:v>
                </c:pt>
                <c:pt idx="246">
                  <c:v>1.9260796881670492</c:v>
                </c:pt>
                <c:pt idx="247">
                  <c:v>1.8833444116213691</c:v>
                </c:pt>
                <c:pt idx="248">
                  <c:v>1.8892119705950767</c:v>
                </c:pt>
                <c:pt idx="249">
                  <c:v>1.8188765995481866</c:v>
                </c:pt>
                <c:pt idx="250">
                  <c:v>1.7637533158219998</c:v>
                </c:pt>
                <c:pt idx="251">
                  <c:v>1.7579437242551841</c:v>
                </c:pt>
                <c:pt idx="252">
                  <c:v>1.6286958940747922</c:v>
                </c:pt>
                <c:pt idx="253">
                  <c:v>1.5751865453134422</c:v>
                </c:pt>
                <c:pt idx="254">
                  <c:v>1.603671871457669</c:v>
                </c:pt>
                <c:pt idx="255">
                  <c:v>1.6578429495425755</c:v>
                </c:pt>
                <c:pt idx="256">
                  <c:v>1.6720445439905025</c:v>
                </c:pt>
                <c:pt idx="257">
                  <c:v>1.6430840977376677</c:v>
                </c:pt>
                <c:pt idx="258">
                  <c:v>1.6314775482368351</c:v>
                </c:pt>
                <c:pt idx="259">
                  <c:v>1.6275587956291904</c:v>
                </c:pt>
                <c:pt idx="260">
                  <c:v>1.5225275048717934</c:v>
                </c:pt>
                <c:pt idx="261">
                  <c:v>1.4491071777287368</c:v>
                </c:pt>
                <c:pt idx="262">
                  <c:v>1.4533309769020133</c:v>
                </c:pt>
                <c:pt idx="263">
                  <c:v>1.3798792261768749</c:v>
                </c:pt>
                <c:pt idx="264">
                  <c:v>1.3778140254817288</c:v>
                </c:pt>
                <c:pt idx="265">
                  <c:v>1.3801859391637463</c:v>
                </c:pt>
                <c:pt idx="266">
                  <c:v>1.4114693578460094</c:v>
                </c:pt>
                <c:pt idx="267">
                  <c:v>1.3305287245634652</c:v>
                </c:pt>
                <c:pt idx="268">
                  <c:v>1.2368621512334961</c:v>
                </c:pt>
                <c:pt idx="269">
                  <c:v>1.1277975224655186</c:v>
                </c:pt>
                <c:pt idx="270">
                  <c:v>1.0961147408534355</c:v>
                </c:pt>
                <c:pt idx="271">
                  <c:v>1.0828787484908398</c:v>
                </c:pt>
                <c:pt idx="272">
                  <c:v>1.0806475960224688</c:v>
                </c:pt>
                <c:pt idx="273">
                  <c:v>1.2309669353622195</c:v>
                </c:pt>
                <c:pt idx="274">
                  <c:v>1.2758667380691531</c:v>
                </c:pt>
                <c:pt idx="275">
                  <c:v>1.2761543700283395</c:v>
                </c:pt>
                <c:pt idx="276">
                  <c:v>1.2936720996199089</c:v>
                </c:pt>
                <c:pt idx="277">
                  <c:v>1.3012168770718859</c:v>
                </c:pt>
                <c:pt idx="278">
                  <c:v>1.3767808025129391</c:v>
                </c:pt>
                <c:pt idx="279">
                  <c:v>1.2655129839432144</c:v>
                </c:pt>
                <c:pt idx="280">
                  <c:v>1.2916193510253691</c:v>
                </c:pt>
                <c:pt idx="281">
                  <c:v>1.3608797173081972</c:v>
                </c:pt>
                <c:pt idx="282">
                  <c:v>1.4097699818958551</c:v>
                </c:pt>
                <c:pt idx="283">
                  <c:v>1.466478841809584</c:v>
                </c:pt>
                <c:pt idx="284">
                  <c:v>1.4534984957421082</c:v>
                </c:pt>
                <c:pt idx="285">
                  <c:v>1.4324218601166407</c:v>
                </c:pt>
                <c:pt idx="286">
                  <c:v>1.4399730806331612</c:v>
                </c:pt>
                <c:pt idx="287">
                  <c:v>1.4284212819029805</c:v>
                </c:pt>
                <c:pt idx="288">
                  <c:v>1.4184379549382977</c:v>
                </c:pt>
                <c:pt idx="289">
                  <c:v>1.4215571021533147</c:v>
                </c:pt>
                <c:pt idx="290">
                  <c:v>1.4627921414406251</c:v>
                </c:pt>
                <c:pt idx="291">
                  <c:v>1.5416657268499951</c:v>
                </c:pt>
                <c:pt idx="292">
                  <c:v>1.5430646154140668</c:v>
                </c:pt>
                <c:pt idx="293">
                  <c:v>1.5554233472054326</c:v>
                </c:pt>
                <c:pt idx="294">
                  <c:v>1.5595231136528003</c:v>
                </c:pt>
                <c:pt idx="295">
                  <c:v>1.5610424856029348</c:v>
                </c:pt>
                <c:pt idx="296">
                  <c:v>1.5373875649776596</c:v>
                </c:pt>
                <c:pt idx="297">
                  <c:v>1.575174009238427</c:v>
                </c:pt>
                <c:pt idx="298">
                  <c:v>1.6573872234175246</c:v>
                </c:pt>
                <c:pt idx="299">
                  <c:v>1.6494602800546103</c:v>
                </c:pt>
                <c:pt idx="300">
                  <c:v>1.6621627441931066</c:v>
                </c:pt>
                <c:pt idx="301">
                  <c:v>1.7117333668751589</c:v>
                </c:pt>
                <c:pt idx="302">
                  <c:v>1.7280617856974985</c:v>
                </c:pt>
                <c:pt idx="303">
                  <c:v>1.6605316286629384</c:v>
                </c:pt>
                <c:pt idx="304">
                  <c:v>1.6045281779896645</c:v>
                </c:pt>
                <c:pt idx="305">
                  <c:v>1.6452441821052479</c:v>
                </c:pt>
                <c:pt idx="306">
                  <c:v>1.6583446282150112</c:v>
                </c:pt>
                <c:pt idx="307">
                  <c:v>1.6520021840897645</c:v>
                </c:pt>
                <c:pt idx="308">
                  <c:v>1.6083087330461863</c:v>
                </c:pt>
                <c:pt idx="309">
                  <c:v>1.596031011286611</c:v>
                </c:pt>
                <c:pt idx="310">
                  <c:v>1.5568417717300942</c:v>
                </c:pt>
                <c:pt idx="311">
                  <c:v>1.6149841511916618</c:v>
                </c:pt>
                <c:pt idx="312">
                  <c:v>1.5458283346703545</c:v>
                </c:pt>
                <c:pt idx="313">
                  <c:v>1.5261153492039765</c:v>
                </c:pt>
                <c:pt idx="314">
                  <c:v>1.4998711119288599</c:v>
                </c:pt>
                <c:pt idx="315">
                  <c:v>1.4926835949039474</c:v>
                </c:pt>
                <c:pt idx="316">
                  <c:v>1.5955164401754958</c:v>
                </c:pt>
                <c:pt idx="317">
                  <c:v>1.6027371179403425</c:v>
                </c:pt>
                <c:pt idx="318">
                  <c:v>1.6072302808816856</c:v>
                </c:pt>
                <c:pt idx="319">
                  <c:v>1.6083042600877493</c:v>
                </c:pt>
                <c:pt idx="320">
                  <c:v>1.567594422235036</c:v>
                </c:pt>
                <c:pt idx="321">
                  <c:v>1.4794936135065624</c:v>
                </c:pt>
                <c:pt idx="322">
                  <c:v>1.4827648368818218</c:v>
                </c:pt>
                <c:pt idx="323">
                  <c:v>1.5783259983422009</c:v>
                </c:pt>
                <c:pt idx="324">
                  <c:v>1.6365169332110512</c:v>
                </c:pt>
                <c:pt idx="325">
                  <c:v>1.8443451017909624</c:v>
                </c:pt>
                <c:pt idx="326">
                  <c:v>1.845301980130277</c:v>
                </c:pt>
                <c:pt idx="327">
                  <c:v>1.7832261834988468</c:v>
                </c:pt>
                <c:pt idx="328">
                  <c:v>1.8306702478954218</c:v>
                </c:pt>
                <c:pt idx="329">
                  <c:v>1.8811021621052666</c:v>
                </c:pt>
                <c:pt idx="330">
                  <c:v>1.8858081498539876</c:v>
                </c:pt>
                <c:pt idx="331">
                  <c:v>1.913395812272265</c:v>
                </c:pt>
                <c:pt idx="332">
                  <c:v>1.8863602479719621</c:v>
                </c:pt>
                <c:pt idx="333">
                  <c:v>1.8879764649316901</c:v>
                </c:pt>
                <c:pt idx="334">
                  <c:v>2.1201757769642309</c:v>
                </c:pt>
                <c:pt idx="335">
                  <c:v>2.1015726901157525</c:v>
                </c:pt>
                <c:pt idx="336">
                  <c:v>2.1868800422772861</c:v>
                </c:pt>
                <c:pt idx="337">
                  <c:v>2.2737196747307724</c:v>
                </c:pt>
                <c:pt idx="338">
                  <c:v>2.3197957802189797</c:v>
                </c:pt>
                <c:pt idx="339">
                  <c:v>2.3538750265840807</c:v>
                </c:pt>
                <c:pt idx="340">
                  <c:v>2.3667165029788717</c:v>
                </c:pt>
                <c:pt idx="341">
                  <c:v>2.4251470812219487</c:v>
                </c:pt>
                <c:pt idx="342">
                  <c:v>2.5125729842720248</c:v>
                </c:pt>
                <c:pt idx="343">
                  <c:v>2.5098011614953801</c:v>
                </c:pt>
                <c:pt idx="344">
                  <c:v>2.4932047516933151</c:v>
                </c:pt>
                <c:pt idx="345">
                  <c:v>2.5823555565191332</c:v>
                </c:pt>
                <c:pt idx="346">
                  <c:v>2.5729147360556959</c:v>
                </c:pt>
                <c:pt idx="347">
                  <c:v>2.5834541793721093</c:v>
                </c:pt>
                <c:pt idx="348">
                  <c:v>2.6485646224464028</c:v>
                </c:pt>
                <c:pt idx="349">
                  <c:v>2.7170073990336556</c:v>
                </c:pt>
                <c:pt idx="350">
                  <c:v>2.7066559225887392</c:v>
                </c:pt>
                <c:pt idx="351">
                  <c:v>2.7139688715254309</c:v>
                </c:pt>
                <c:pt idx="352">
                  <c:v>2.7166376878303189</c:v>
                </c:pt>
                <c:pt idx="353">
                  <c:v>2.6835044208595495</c:v>
                </c:pt>
                <c:pt idx="354">
                  <c:v>2.6601522399052233</c:v>
                </c:pt>
                <c:pt idx="355">
                  <c:v>2.5700972545352414</c:v>
                </c:pt>
                <c:pt idx="356">
                  <c:v>2.6139633355865168</c:v>
                </c:pt>
                <c:pt idx="357">
                  <c:v>2.6401655017425729</c:v>
                </c:pt>
                <c:pt idx="358">
                  <c:v>2.6282808957512644</c:v>
                </c:pt>
                <c:pt idx="359">
                  <c:v>2.57942176417541</c:v>
                </c:pt>
                <c:pt idx="360">
                  <c:v>2.5779672446203175</c:v>
                </c:pt>
                <c:pt idx="361">
                  <c:v>2.531316284136929</c:v>
                </c:pt>
                <c:pt idx="362">
                  <c:v>2.53112292752615</c:v>
                </c:pt>
                <c:pt idx="363">
                  <c:v>2.5746036471340075</c:v>
                </c:pt>
                <c:pt idx="364">
                  <c:v>2.4221888023603086</c:v>
                </c:pt>
                <c:pt idx="365">
                  <c:v>2.4354964057102477</c:v>
                </c:pt>
                <c:pt idx="366">
                  <c:v>2.2872251234776702</c:v>
                </c:pt>
                <c:pt idx="367">
                  <c:v>2.2872251234776666</c:v>
                </c:pt>
                <c:pt idx="368">
                  <c:v>2.2625797177413429</c:v>
                </c:pt>
                <c:pt idx="369">
                  <c:v>2.1615046308777024</c:v>
                </c:pt>
                <c:pt idx="370">
                  <c:v>2.1607742024370826</c:v>
                </c:pt>
                <c:pt idx="371">
                  <c:v>2.1700702194697201</c:v>
                </c:pt>
                <c:pt idx="372">
                  <c:v>2.1963222592314549</c:v>
                </c:pt>
                <c:pt idx="373">
                  <c:v>2.1964171115400415</c:v>
                </c:pt>
                <c:pt idx="374">
                  <c:v>2.2121431969645129</c:v>
                </c:pt>
                <c:pt idx="375">
                  <c:v>2.030881647062456</c:v>
                </c:pt>
                <c:pt idx="376">
                  <c:v>2.0614618834738607</c:v>
                </c:pt>
                <c:pt idx="377">
                  <c:v>2.0770733163971205</c:v>
                </c:pt>
                <c:pt idx="378">
                  <c:v>2.0138687424533912</c:v>
                </c:pt>
                <c:pt idx="379">
                  <c:v>2.0127734214650967</c:v>
                </c:pt>
                <c:pt idx="380">
                  <c:v>2.0255953248247036</c:v>
                </c:pt>
                <c:pt idx="381">
                  <c:v>2.0284475236159261</c:v>
                </c:pt>
                <c:pt idx="382">
                  <c:v>2.0282281324659124</c:v>
                </c:pt>
                <c:pt idx="383">
                  <c:v>2.0207950938307655</c:v>
                </c:pt>
                <c:pt idx="384">
                  <c:v>2.0119014036053784</c:v>
                </c:pt>
                <c:pt idx="385">
                  <c:v>1.991816524746626</c:v>
                </c:pt>
                <c:pt idx="386">
                  <c:v>1.9941833148361026</c:v>
                </c:pt>
                <c:pt idx="387">
                  <c:v>2.0827496977696676</c:v>
                </c:pt>
                <c:pt idx="388">
                  <c:v>2.0087648058458289</c:v>
                </c:pt>
                <c:pt idx="389">
                  <c:v>1.9881105244753217</c:v>
                </c:pt>
                <c:pt idx="390">
                  <c:v>2.012719081965185</c:v>
                </c:pt>
                <c:pt idx="391">
                  <c:v>2.0473538409633316</c:v>
                </c:pt>
                <c:pt idx="392">
                  <c:v>2.0969201649764879</c:v>
                </c:pt>
                <c:pt idx="393">
                  <c:v>2.06412529746961</c:v>
                </c:pt>
                <c:pt idx="394">
                  <c:v>2.0322544656560155</c:v>
                </c:pt>
                <c:pt idx="395">
                  <c:v>1.998118449660149</c:v>
                </c:pt>
                <c:pt idx="396">
                  <c:v>2.0035097134770936</c:v>
                </c:pt>
                <c:pt idx="397">
                  <c:v>1.9820066251595321</c:v>
                </c:pt>
                <c:pt idx="398">
                  <c:v>1.8888366400939676</c:v>
                </c:pt>
                <c:pt idx="399">
                  <c:v>1.8913280352290402</c:v>
                </c:pt>
                <c:pt idx="400">
                  <c:v>1.8805203525364118</c:v>
                </c:pt>
                <c:pt idx="401">
                  <c:v>1.8284353184919562</c:v>
                </c:pt>
                <c:pt idx="402">
                  <c:v>1.7119097452477006</c:v>
                </c:pt>
                <c:pt idx="403">
                  <c:v>1.7018732510964827</c:v>
                </c:pt>
                <c:pt idx="404">
                  <c:v>1.6884711722881958</c:v>
                </c:pt>
                <c:pt idx="405">
                  <c:v>1.6124751059596225</c:v>
                </c:pt>
                <c:pt idx="406">
                  <c:v>1.5406273326959703</c:v>
                </c:pt>
                <c:pt idx="407">
                  <c:v>1.6243735236340997</c:v>
                </c:pt>
                <c:pt idx="408">
                  <c:v>1.6287804510703332</c:v>
                </c:pt>
                <c:pt idx="409">
                  <c:v>1.5894579235393953</c:v>
                </c:pt>
                <c:pt idx="410">
                  <c:v>1.5910025467651046</c:v>
                </c:pt>
                <c:pt idx="411">
                  <c:v>1.7260453645607909</c:v>
                </c:pt>
                <c:pt idx="412">
                  <c:v>1.7540326845627703</c:v>
                </c:pt>
                <c:pt idx="413">
                  <c:v>1.7540232674544221</c:v>
                </c:pt>
                <c:pt idx="414">
                  <c:v>1.8827736623094937</c:v>
                </c:pt>
                <c:pt idx="415">
                  <c:v>1.8765648657141303</c:v>
                </c:pt>
                <c:pt idx="416">
                  <c:v>1.83405655393415</c:v>
                </c:pt>
                <c:pt idx="417">
                  <c:v>1.6909202884062189</c:v>
                </c:pt>
                <c:pt idx="418">
                  <c:v>1.6960933781734497</c:v>
                </c:pt>
                <c:pt idx="419">
                  <c:v>1.6969592256506614</c:v>
                </c:pt>
                <c:pt idx="420">
                  <c:v>1.6838227428648225</c:v>
                </c:pt>
                <c:pt idx="421">
                  <c:v>1.7052777605846434</c:v>
                </c:pt>
                <c:pt idx="422">
                  <c:v>1.7939355202179408</c:v>
                </c:pt>
                <c:pt idx="423">
                  <c:v>1.74859515334688</c:v>
                </c:pt>
                <c:pt idx="424">
                  <c:v>1.7592214485432753</c:v>
                </c:pt>
                <c:pt idx="425">
                  <c:v>1.7560910158175278</c:v>
                </c:pt>
                <c:pt idx="426">
                  <c:v>1.7490795821799021</c:v>
                </c:pt>
                <c:pt idx="427">
                  <c:v>1.7259919863002413</c:v>
                </c:pt>
                <c:pt idx="428">
                  <c:v>1.703880547658478</c:v>
                </c:pt>
                <c:pt idx="429">
                  <c:v>1.693186475087056</c:v>
                </c:pt>
                <c:pt idx="430">
                  <c:v>1.7693696354675352</c:v>
                </c:pt>
                <c:pt idx="431">
                  <c:v>1.7711987119936923</c:v>
                </c:pt>
                <c:pt idx="432">
                  <c:v>1.7753505767541062</c:v>
                </c:pt>
                <c:pt idx="433">
                  <c:v>1.7829543201871454</c:v>
                </c:pt>
                <c:pt idx="434">
                  <c:v>1.7825442628301231</c:v>
                </c:pt>
                <c:pt idx="435">
                  <c:v>1.963894300075042</c:v>
                </c:pt>
                <c:pt idx="436">
                  <c:v>1.9636245404849506</c:v>
                </c:pt>
                <c:pt idx="437">
                  <c:v>1.8665970218663717</c:v>
                </c:pt>
                <c:pt idx="438">
                  <c:v>2.2538008187975946</c:v>
                </c:pt>
                <c:pt idx="439">
                  <c:v>2.2560783023014093</c:v>
                </c:pt>
                <c:pt idx="440">
                  <c:v>2.1988637354862561</c:v>
                </c:pt>
                <c:pt idx="441">
                  <c:v>2.1338770140728243</c:v>
                </c:pt>
                <c:pt idx="442">
                  <c:v>2.0758717767319714</c:v>
                </c:pt>
                <c:pt idx="443">
                  <c:v>2.1401089096704715</c:v>
                </c:pt>
                <c:pt idx="444">
                  <c:v>2.0687333425139709</c:v>
                </c:pt>
                <c:pt idx="445">
                  <c:v>2.0680906235037502</c:v>
                </c:pt>
                <c:pt idx="446">
                  <c:v>2.1261467108687158</c:v>
                </c:pt>
                <c:pt idx="447">
                  <c:v>2.105547917551696</c:v>
                </c:pt>
                <c:pt idx="448">
                  <c:v>2.1174341409129682</c:v>
                </c:pt>
                <c:pt idx="449">
                  <c:v>2.1300874805756917</c:v>
                </c:pt>
                <c:pt idx="450">
                  <c:v>2.1338650791518585</c:v>
                </c:pt>
                <c:pt idx="451">
                  <c:v>2.0749756844906577</c:v>
                </c:pt>
                <c:pt idx="452">
                  <c:v>2.0104560670749576</c:v>
                </c:pt>
                <c:pt idx="453">
                  <c:v>2.0334554039283339</c:v>
                </c:pt>
                <c:pt idx="454">
                  <c:v>2.215649171288991</c:v>
                </c:pt>
                <c:pt idx="455">
                  <c:v>2.2279555265670687</c:v>
                </c:pt>
                <c:pt idx="456">
                  <c:v>2.2265619794393023</c:v>
                </c:pt>
                <c:pt idx="457">
                  <c:v>2.2203609994409357</c:v>
                </c:pt>
                <c:pt idx="458">
                  <c:v>2.2348010585813283</c:v>
                </c:pt>
                <c:pt idx="459">
                  <c:v>2.2485420232340894</c:v>
                </c:pt>
                <c:pt idx="460">
                  <c:v>2.2426429015312253</c:v>
                </c:pt>
                <c:pt idx="461">
                  <c:v>2.2463446414983701</c:v>
                </c:pt>
                <c:pt idx="462">
                  <c:v>2.2361638067923995</c:v>
                </c:pt>
                <c:pt idx="463">
                  <c:v>2.2083420132143954</c:v>
                </c:pt>
                <c:pt idx="464">
                  <c:v>2.2003890736706921</c:v>
                </c:pt>
                <c:pt idx="465">
                  <c:v>2.0811360360988909</c:v>
                </c:pt>
                <c:pt idx="466">
                  <c:v>2.1373803102699149</c:v>
                </c:pt>
                <c:pt idx="467">
                  <c:v>2.196868582816859</c:v>
                </c:pt>
                <c:pt idx="468">
                  <c:v>1.8542064929169801</c:v>
                </c:pt>
                <c:pt idx="469">
                  <c:v>1.903040537182044</c:v>
                </c:pt>
                <c:pt idx="470">
                  <c:v>1.9381959690750161</c:v>
                </c:pt>
                <c:pt idx="471">
                  <c:v>1.9132114628135377</c:v>
                </c:pt>
                <c:pt idx="472">
                  <c:v>1.9156571078852345</c:v>
                </c:pt>
                <c:pt idx="473">
                  <c:v>1.8603484473325693</c:v>
                </c:pt>
                <c:pt idx="474">
                  <c:v>1.8749060909222601</c:v>
                </c:pt>
                <c:pt idx="475">
                  <c:v>1.9217414237460451</c:v>
                </c:pt>
                <c:pt idx="476">
                  <c:v>1.8711043128006901</c:v>
                </c:pt>
                <c:pt idx="477">
                  <c:v>1.9123673375850909</c:v>
                </c:pt>
                <c:pt idx="478">
                  <c:v>1.9135008302608711</c:v>
                </c:pt>
                <c:pt idx="479">
                  <c:v>2.1289423600942197</c:v>
                </c:pt>
                <c:pt idx="480">
                  <c:v>2.1513185419276422</c:v>
                </c:pt>
                <c:pt idx="481">
                  <c:v>2.1641026523842726</c:v>
                </c:pt>
                <c:pt idx="482">
                  <c:v>2.1648087558283704</c:v>
                </c:pt>
                <c:pt idx="483">
                  <c:v>2.1751746618590548</c:v>
                </c:pt>
                <c:pt idx="484">
                  <c:v>1.9216028161584306</c:v>
                </c:pt>
                <c:pt idx="485">
                  <c:v>1.9317723832319225</c:v>
                </c:pt>
                <c:pt idx="486">
                  <c:v>1.9231615111645894</c:v>
                </c:pt>
                <c:pt idx="487">
                  <c:v>1.9720785561699086</c:v>
                </c:pt>
                <c:pt idx="488">
                  <c:v>1.9488286027844599</c:v>
                </c:pt>
                <c:pt idx="489">
                  <c:v>1.931233397347724</c:v>
                </c:pt>
                <c:pt idx="490">
                  <c:v>1.961076733265863</c:v>
                </c:pt>
                <c:pt idx="491">
                  <c:v>1.9571816239625384</c:v>
                </c:pt>
                <c:pt idx="492">
                  <c:v>1.916291101206995</c:v>
                </c:pt>
                <c:pt idx="493">
                  <c:v>2.2081167056845779</c:v>
                </c:pt>
                <c:pt idx="494">
                  <c:v>2.2471214914836652</c:v>
                </c:pt>
                <c:pt idx="495">
                  <c:v>2.2673836047191562</c:v>
                </c:pt>
                <c:pt idx="496">
                  <c:v>2.3312197316643757</c:v>
                </c:pt>
                <c:pt idx="497">
                  <c:v>2.3555941283241415</c:v>
                </c:pt>
                <c:pt idx="498">
                  <c:v>2.3030869157881551</c:v>
                </c:pt>
                <c:pt idx="499">
                  <c:v>2.2427522086573086</c:v>
                </c:pt>
                <c:pt idx="500">
                  <c:v>2.2399500083383495</c:v>
                </c:pt>
                <c:pt idx="501">
                  <c:v>2.2436069194357366</c:v>
                </c:pt>
                <c:pt idx="502">
                  <c:v>2.2956187617852484</c:v>
                </c:pt>
                <c:pt idx="503">
                  <c:v>2.3366345545762344</c:v>
                </c:pt>
                <c:pt idx="504">
                  <c:v>2.3349858649755402</c:v>
                </c:pt>
                <c:pt idx="505">
                  <c:v>2.2930505956602674</c:v>
                </c:pt>
                <c:pt idx="506">
                  <c:v>2.2885020616626091</c:v>
                </c:pt>
                <c:pt idx="507">
                  <c:v>2.3087504453027634</c:v>
                </c:pt>
                <c:pt idx="508">
                  <c:v>2.2768544377780628</c:v>
                </c:pt>
                <c:pt idx="509">
                  <c:v>2.1158428350013718</c:v>
                </c:pt>
                <c:pt idx="510">
                  <c:v>2.1604006693714317</c:v>
                </c:pt>
                <c:pt idx="511">
                  <c:v>2.1744243997478532</c:v>
                </c:pt>
                <c:pt idx="512">
                  <c:v>2.1687340867662934</c:v>
                </c:pt>
                <c:pt idx="513">
                  <c:v>2.1735123203319398</c:v>
                </c:pt>
                <c:pt idx="514">
                  <c:v>2.1555400978915125</c:v>
                </c:pt>
                <c:pt idx="515">
                  <c:v>2.1374602529541247</c:v>
                </c:pt>
                <c:pt idx="516">
                  <c:v>2.1287745922397536</c:v>
                </c:pt>
                <c:pt idx="517">
                  <c:v>2.1710971287269101</c:v>
                </c:pt>
                <c:pt idx="518">
                  <c:v>2.2395784908446279</c:v>
                </c:pt>
                <c:pt idx="519">
                  <c:v>2.4061381669090327</c:v>
                </c:pt>
                <c:pt idx="520">
                  <c:v>2.4103567196629823</c:v>
                </c:pt>
                <c:pt idx="521">
                  <c:v>2.4363741206892358</c:v>
                </c:pt>
                <c:pt idx="522">
                  <c:v>2.4483592650840196</c:v>
                </c:pt>
                <c:pt idx="523">
                  <c:v>2.2561017442992837</c:v>
                </c:pt>
                <c:pt idx="524">
                  <c:v>2.2190781495980287</c:v>
                </c:pt>
                <c:pt idx="525">
                  <c:v>2.2637407742970326</c:v>
                </c:pt>
                <c:pt idx="526">
                  <c:v>2.19010991356746</c:v>
                </c:pt>
                <c:pt idx="527">
                  <c:v>2.146118793825051</c:v>
                </c:pt>
                <c:pt idx="528">
                  <c:v>2.192266107707141</c:v>
                </c:pt>
                <c:pt idx="529">
                  <c:v>2.1908881424001154</c:v>
                </c:pt>
                <c:pt idx="530">
                  <c:v>2.5535280205331006</c:v>
                </c:pt>
                <c:pt idx="531">
                  <c:v>2.5466681938274656</c:v>
                </c:pt>
                <c:pt idx="532">
                  <c:v>2.5481807252062176</c:v>
                </c:pt>
                <c:pt idx="533">
                  <c:v>2.6622623379997439</c:v>
                </c:pt>
                <c:pt idx="534">
                  <c:v>2.7031398417840484</c:v>
                </c:pt>
                <c:pt idx="535">
                  <c:v>2.7111219101520811</c:v>
                </c:pt>
                <c:pt idx="536">
                  <c:v>2.7425060542721575</c:v>
                </c:pt>
                <c:pt idx="537">
                  <c:v>2.7381085052597491</c:v>
                </c:pt>
                <c:pt idx="538">
                  <c:v>2.7376671229033347</c:v>
                </c:pt>
                <c:pt idx="539">
                  <c:v>2.7369117874084385</c:v>
                </c:pt>
                <c:pt idx="540">
                  <c:v>2.7038269814765648</c:v>
                </c:pt>
                <c:pt idx="541">
                  <c:v>2.6805888079738933</c:v>
                </c:pt>
                <c:pt idx="542">
                  <c:v>2.6501020815456129</c:v>
                </c:pt>
                <c:pt idx="543">
                  <c:v>2.6474378063608457</c:v>
                </c:pt>
                <c:pt idx="544">
                  <c:v>2.6801277834092478</c:v>
                </c:pt>
                <c:pt idx="545">
                  <c:v>2.7105529346461332</c:v>
                </c:pt>
                <c:pt idx="546">
                  <c:v>2.7157511257884739</c:v>
                </c:pt>
                <c:pt idx="547">
                  <c:v>2.668576868635129</c:v>
                </c:pt>
                <c:pt idx="548">
                  <c:v>2.6374283815907846</c:v>
                </c:pt>
                <c:pt idx="549">
                  <c:v>2.509397416976161</c:v>
                </c:pt>
                <c:pt idx="550">
                  <c:v>2.5103462779447723</c:v>
                </c:pt>
                <c:pt idx="551">
                  <c:v>2.5030063914312235</c:v>
                </c:pt>
                <c:pt idx="552">
                  <c:v>2.5311377235917889</c:v>
                </c:pt>
                <c:pt idx="553">
                  <c:v>2.4894798821107109</c:v>
                </c:pt>
                <c:pt idx="554">
                  <c:v>2.4722334666265962</c:v>
                </c:pt>
                <c:pt idx="555">
                  <c:v>2.4618808216482075</c:v>
                </c:pt>
                <c:pt idx="556">
                  <c:v>2.4575968312541492</c:v>
                </c:pt>
                <c:pt idx="557">
                  <c:v>2.5032515908824253</c:v>
                </c:pt>
                <c:pt idx="558">
                  <c:v>2.4948269747787104</c:v>
                </c:pt>
                <c:pt idx="559">
                  <c:v>2.5124474584901346</c:v>
                </c:pt>
                <c:pt idx="560">
                  <c:v>2.0725611425959363</c:v>
                </c:pt>
                <c:pt idx="561">
                  <c:v>2.0944263058598493</c:v>
                </c:pt>
                <c:pt idx="562">
                  <c:v>2.0918241295363385</c:v>
                </c:pt>
                <c:pt idx="563">
                  <c:v>1.8040546793663892</c:v>
                </c:pt>
                <c:pt idx="564">
                  <c:v>1.7783131405549371</c:v>
                </c:pt>
                <c:pt idx="565">
                  <c:v>1.7116817541845792</c:v>
                </c:pt>
                <c:pt idx="566">
                  <c:v>1.7086407716933962</c:v>
                </c:pt>
                <c:pt idx="567">
                  <c:v>1.7027856451534626</c:v>
                </c:pt>
                <c:pt idx="568">
                  <c:v>1.6787766136129114</c:v>
                </c:pt>
                <c:pt idx="569">
                  <c:v>1.6608219875996955</c:v>
                </c:pt>
                <c:pt idx="570">
                  <c:v>1.7368719917210165</c:v>
                </c:pt>
                <c:pt idx="571">
                  <c:v>1.8023560299882659</c:v>
                </c:pt>
                <c:pt idx="572">
                  <c:v>1.8201337871705878</c:v>
                </c:pt>
                <c:pt idx="573">
                  <c:v>1.8064477729354684</c:v>
                </c:pt>
                <c:pt idx="574">
                  <c:v>1.9700684138079416</c:v>
                </c:pt>
                <c:pt idx="575">
                  <c:v>1.9754198977619428</c:v>
                </c:pt>
                <c:pt idx="576">
                  <c:v>1.9364600680785691</c:v>
                </c:pt>
                <c:pt idx="577">
                  <c:v>1.9206152495187996</c:v>
                </c:pt>
                <c:pt idx="578">
                  <c:v>1.917772304763999</c:v>
                </c:pt>
                <c:pt idx="579">
                  <c:v>1.9276963996859913</c:v>
                </c:pt>
                <c:pt idx="580">
                  <c:v>1.9079261780531658</c:v>
                </c:pt>
                <c:pt idx="581">
                  <c:v>1.8880581260523372</c:v>
                </c:pt>
                <c:pt idx="582">
                  <c:v>1.870872591586128</c:v>
                </c:pt>
                <c:pt idx="583">
                  <c:v>1.8632216021287074</c:v>
                </c:pt>
                <c:pt idx="584">
                  <c:v>1.8576114832279098</c:v>
                </c:pt>
                <c:pt idx="585">
                  <c:v>1.8563346942770873</c:v>
                </c:pt>
                <c:pt idx="586">
                  <c:v>1.8712819623224559</c:v>
                </c:pt>
                <c:pt idx="587">
                  <c:v>1.733304344412844</c:v>
                </c:pt>
                <c:pt idx="588">
                  <c:v>2.3516037095271543</c:v>
                </c:pt>
                <c:pt idx="589">
                  <c:v>2.3307792708857091</c:v>
                </c:pt>
                <c:pt idx="590">
                  <c:v>2.3994155935285333</c:v>
                </c:pt>
                <c:pt idx="591">
                  <c:v>2.3892891517959018</c:v>
                </c:pt>
                <c:pt idx="592">
                  <c:v>2.3650217556146593</c:v>
                </c:pt>
                <c:pt idx="593">
                  <c:v>2.3689242032311486</c:v>
                </c:pt>
                <c:pt idx="594">
                  <c:v>2.3855680380119186</c:v>
                </c:pt>
                <c:pt idx="595">
                  <c:v>2.40973986460514</c:v>
                </c:pt>
                <c:pt idx="596">
                  <c:v>2.4057613806000466</c:v>
                </c:pt>
                <c:pt idx="597">
                  <c:v>2.3830789332172331</c:v>
                </c:pt>
                <c:pt idx="598">
                  <c:v>2.4714913460543331</c:v>
                </c:pt>
                <c:pt idx="599">
                  <c:v>2.4788998803323059</c:v>
                </c:pt>
                <c:pt idx="600">
                  <c:v>2.5587770519295723</c:v>
                </c:pt>
                <c:pt idx="601">
                  <c:v>2.5424592329146711</c:v>
                </c:pt>
                <c:pt idx="602">
                  <c:v>2.7274842004658071</c:v>
                </c:pt>
                <c:pt idx="603">
                  <c:v>2.7642700249356968</c:v>
                </c:pt>
                <c:pt idx="604">
                  <c:v>2.646151463639193</c:v>
                </c:pt>
                <c:pt idx="605">
                  <c:v>2.611033557970948</c:v>
                </c:pt>
                <c:pt idx="606">
                  <c:v>2.608519578069576</c:v>
                </c:pt>
                <c:pt idx="607">
                  <c:v>2.6329565519365712</c:v>
                </c:pt>
                <c:pt idx="608">
                  <c:v>2.6654855411514227</c:v>
                </c:pt>
                <c:pt idx="609">
                  <c:v>2.6978842206420341</c:v>
                </c:pt>
                <c:pt idx="610">
                  <c:v>2.685100747526858</c:v>
                </c:pt>
                <c:pt idx="611">
                  <c:v>2.66549843113199</c:v>
                </c:pt>
                <c:pt idx="612">
                  <c:v>2.6552517051326627</c:v>
                </c:pt>
                <c:pt idx="613">
                  <c:v>2.6406676577083554</c:v>
                </c:pt>
                <c:pt idx="614">
                  <c:v>2.6416706946103701</c:v>
                </c:pt>
                <c:pt idx="615">
                  <c:v>2.6018210303828786</c:v>
                </c:pt>
                <c:pt idx="616">
                  <c:v>2.6150409465100921</c:v>
                </c:pt>
                <c:pt idx="617">
                  <c:v>2.6326706524327199</c:v>
                </c:pt>
                <c:pt idx="618">
                  <c:v>2.2575056996905554</c:v>
                </c:pt>
                <c:pt idx="619">
                  <c:v>2.3134163292977936</c:v>
                </c:pt>
                <c:pt idx="620">
                  <c:v>2.3013219006185515</c:v>
                </c:pt>
                <c:pt idx="621">
                  <c:v>2.3281928954539284</c:v>
                </c:pt>
                <c:pt idx="622">
                  <c:v>2.3272039997202452</c:v>
                </c:pt>
                <c:pt idx="623">
                  <c:v>2.3449732365491931</c:v>
                </c:pt>
                <c:pt idx="624">
                  <c:v>2.3664765522092988</c:v>
                </c:pt>
                <c:pt idx="625">
                  <c:v>2.6525184897080987</c:v>
                </c:pt>
                <c:pt idx="626">
                  <c:v>3.2025728128520896</c:v>
                </c:pt>
                <c:pt idx="627">
                  <c:v>3.2463775699754231</c:v>
                </c:pt>
                <c:pt idx="628">
                  <c:v>3.2340919139981268</c:v>
                </c:pt>
                <c:pt idx="629">
                  <c:v>3.2655543361583081</c:v>
                </c:pt>
                <c:pt idx="630">
                  <c:v>3.2353239827170146</c:v>
                </c:pt>
                <c:pt idx="631">
                  <c:v>3.2613532617148255</c:v>
                </c:pt>
                <c:pt idx="632">
                  <c:v>3.0899904409037546</c:v>
                </c:pt>
                <c:pt idx="633">
                  <c:v>3.0905327577228729</c:v>
                </c:pt>
                <c:pt idx="634">
                  <c:v>3.0928758292036838</c:v>
                </c:pt>
                <c:pt idx="635">
                  <c:v>3.0953620298945737</c:v>
                </c:pt>
                <c:pt idx="636">
                  <c:v>3.0931626518881328</c:v>
                </c:pt>
                <c:pt idx="637">
                  <c:v>3.0733434239244608</c:v>
                </c:pt>
                <c:pt idx="638">
                  <c:v>3.0314685959820449</c:v>
                </c:pt>
                <c:pt idx="639">
                  <c:v>3.0314685959820449</c:v>
                </c:pt>
                <c:pt idx="640">
                  <c:v>3.0314685959820449</c:v>
                </c:pt>
                <c:pt idx="641">
                  <c:v>3.050760661754663</c:v>
                </c:pt>
                <c:pt idx="642">
                  <c:v>3.0474519724041298</c:v>
                </c:pt>
                <c:pt idx="643">
                  <c:v>3.057464577680753</c:v>
                </c:pt>
                <c:pt idx="644">
                  <c:v>3.0027595553767852</c:v>
                </c:pt>
                <c:pt idx="645">
                  <c:v>3.0928838931022957</c:v>
                </c:pt>
                <c:pt idx="646">
                  <c:v>3.0963659987234529</c:v>
                </c:pt>
                <c:pt idx="647">
                  <c:v>3.0953455188142818</c:v>
                </c:pt>
                <c:pt idx="648">
                  <c:v>3.0577771370248734</c:v>
                </c:pt>
                <c:pt idx="649">
                  <c:v>3.0563078416619032</c:v>
                </c:pt>
                <c:pt idx="650">
                  <c:v>3.0349066381837857</c:v>
                </c:pt>
                <c:pt idx="651">
                  <c:v>3.0163131722755652</c:v>
                </c:pt>
                <c:pt idx="652">
                  <c:v>3.1740919537203802</c:v>
                </c:pt>
                <c:pt idx="653">
                  <c:v>3.1598278502756978</c:v>
                </c:pt>
                <c:pt idx="654">
                  <c:v>3.1383233478919679</c:v>
                </c:pt>
                <c:pt idx="655">
                  <c:v>2.8398146066523573</c:v>
                </c:pt>
                <c:pt idx="656">
                  <c:v>1.9972710312411346</c:v>
                </c:pt>
                <c:pt idx="657">
                  <c:v>1.9708663248009435</c:v>
                </c:pt>
                <c:pt idx="658">
                  <c:v>1.9609668029777569</c:v>
                </c:pt>
                <c:pt idx="659">
                  <c:v>1.9611408497917426</c:v>
                </c:pt>
                <c:pt idx="660">
                  <c:v>1.9317479898026182</c:v>
                </c:pt>
                <c:pt idx="661">
                  <c:v>1.9126834649182214</c:v>
                </c:pt>
                <c:pt idx="662">
                  <c:v>1.8988437064953767</c:v>
                </c:pt>
                <c:pt idx="663">
                  <c:v>2.031202155461945</c:v>
                </c:pt>
                <c:pt idx="664">
                  <c:v>1.9818793272235511</c:v>
                </c:pt>
                <c:pt idx="665">
                  <c:v>2.0123907565322265</c:v>
                </c:pt>
                <c:pt idx="666">
                  <c:v>2.0369234904905826</c:v>
                </c:pt>
                <c:pt idx="667">
                  <c:v>2.1081283349449418</c:v>
                </c:pt>
                <c:pt idx="668">
                  <c:v>2.1485624782254251</c:v>
                </c:pt>
                <c:pt idx="669">
                  <c:v>2.1412610612236609</c:v>
                </c:pt>
                <c:pt idx="670">
                  <c:v>2.1770825264612195</c:v>
                </c:pt>
                <c:pt idx="671">
                  <c:v>2.1688019238799097</c:v>
                </c:pt>
                <c:pt idx="672">
                  <c:v>2.1407985677348047</c:v>
                </c:pt>
                <c:pt idx="673">
                  <c:v>2.2665703766862912</c:v>
                </c:pt>
                <c:pt idx="674">
                  <c:v>2.3218107070167773</c:v>
                </c:pt>
                <c:pt idx="675">
                  <c:v>2.2745492070858342</c:v>
                </c:pt>
                <c:pt idx="676">
                  <c:v>2.3576512274038794</c:v>
                </c:pt>
                <c:pt idx="677">
                  <c:v>2.3051468643523059</c:v>
                </c:pt>
                <c:pt idx="678">
                  <c:v>2.3033387834312231</c:v>
                </c:pt>
                <c:pt idx="679">
                  <c:v>2.5104983922020754</c:v>
                </c:pt>
                <c:pt idx="680">
                  <c:v>2.5631893446632312</c:v>
                </c:pt>
                <c:pt idx="681">
                  <c:v>2.6035478948819843</c:v>
                </c:pt>
                <c:pt idx="682">
                  <c:v>2.8850899391250482</c:v>
                </c:pt>
                <c:pt idx="683">
                  <c:v>2.9241157194729888</c:v>
                </c:pt>
                <c:pt idx="684">
                  <c:v>2.9236604700371056</c:v>
                </c:pt>
                <c:pt idx="685">
                  <c:v>2.9661572935292089</c:v>
                </c:pt>
                <c:pt idx="686">
                  <c:v>2.9718668036925124</c:v>
                </c:pt>
                <c:pt idx="687">
                  <c:v>2.9659130222436274</c:v>
                </c:pt>
                <c:pt idx="688">
                  <c:v>2.9382203966662042</c:v>
                </c:pt>
                <c:pt idx="689">
                  <c:v>2.9209877903761683</c:v>
                </c:pt>
                <c:pt idx="690">
                  <c:v>2.9266701734047662</c:v>
                </c:pt>
                <c:pt idx="691">
                  <c:v>2.9167541191644357</c:v>
                </c:pt>
                <c:pt idx="692">
                  <c:v>2.922870540906493</c:v>
                </c:pt>
                <c:pt idx="693">
                  <c:v>2.8717037074396856</c:v>
                </c:pt>
                <c:pt idx="694">
                  <c:v>2.8947893224421271</c:v>
                </c:pt>
                <c:pt idx="695">
                  <c:v>2.918085557956426</c:v>
                </c:pt>
                <c:pt idx="696">
                  <c:v>2.9201878412771505</c:v>
                </c:pt>
                <c:pt idx="697">
                  <c:v>2.9170810374726934</c:v>
                </c:pt>
                <c:pt idx="698">
                  <c:v>2.9162782994710716</c:v>
                </c:pt>
                <c:pt idx="699">
                  <c:v>2.9110013231103649</c:v>
                </c:pt>
                <c:pt idx="700">
                  <c:v>2.892477482891187</c:v>
                </c:pt>
                <c:pt idx="701">
                  <c:v>2.8540895999212266</c:v>
                </c:pt>
                <c:pt idx="702">
                  <c:v>2.8561152182522145</c:v>
                </c:pt>
                <c:pt idx="703">
                  <c:v>2.941238956944781</c:v>
                </c:pt>
                <c:pt idx="704">
                  <c:v>2.96875502333633</c:v>
                </c:pt>
                <c:pt idx="705">
                  <c:v>2.943763659805644</c:v>
                </c:pt>
                <c:pt idx="706">
                  <c:v>2.9210474300310016</c:v>
                </c:pt>
                <c:pt idx="707">
                  <c:v>3.0048755109407104</c:v>
                </c:pt>
                <c:pt idx="708">
                  <c:v>3.0567312351690918</c:v>
                </c:pt>
                <c:pt idx="709">
                  <c:v>2.8930278739618696</c:v>
                </c:pt>
                <c:pt idx="710">
                  <c:v>2.8516742572058975</c:v>
                </c:pt>
                <c:pt idx="711">
                  <c:v>2.8485148790339521</c:v>
                </c:pt>
                <c:pt idx="712">
                  <c:v>2.423471228102839</c:v>
                </c:pt>
                <c:pt idx="713">
                  <c:v>2.3755446343662161</c:v>
                </c:pt>
                <c:pt idx="714">
                  <c:v>2.3785490307240544</c:v>
                </c:pt>
                <c:pt idx="715">
                  <c:v>2.3755579903204933</c:v>
                </c:pt>
                <c:pt idx="716">
                  <c:v>2.3738728086374823</c:v>
                </c:pt>
                <c:pt idx="717">
                  <c:v>2.3630834629027073</c:v>
                </c:pt>
                <c:pt idx="718">
                  <c:v>2.4266100008504337</c:v>
                </c:pt>
                <c:pt idx="719">
                  <c:v>2.4252648326816866</c:v>
                </c:pt>
                <c:pt idx="720">
                  <c:v>2.4435552619521266</c:v>
                </c:pt>
                <c:pt idx="721">
                  <c:v>2.4190149451569005</c:v>
                </c:pt>
                <c:pt idx="722">
                  <c:v>2.4050394996751767</c:v>
                </c:pt>
                <c:pt idx="723">
                  <c:v>2.4016288241443764</c:v>
                </c:pt>
                <c:pt idx="724">
                  <c:v>2.3610641729743498</c:v>
                </c:pt>
                <c:pt idx="725">
                  <c:v>2.3551952726281744</c:v>
                </c:pt>
                <c:pt idx="726">
                  <c:v>2.3671187074560427</c:v>
                </c:pt>
                <c:pt idx="727">
                  <c:v>2.6322962232558926</c:v>
                </c:pt>
                <c:pt idx="728">
                  <c:v>2.5909315244793643</c:v>
                </c:pt>
                <c:pt idx="729">
                  <c:v>2.7192555566312522</c:v>
                </c:pt>
                <c:pt idx="730">
                  <c:v>2.753318383763705</c:v>
                </c:pt>
                <c:pt idx="731">
                  <c:v>2.766458626962375</c:v>
                </c:pt>
                <c:pt idx="732">
                  <c:v>2.7606093843253934</c:v>
                </c:pt>
                <c:pt idx="733">
                  <c:v>2.5771704404291476</c:v>
                </c:pt>
                <c:pt idx="734">
                  <c:v>2.5432903658969366</c:v>
                </c:pt>
                <c:pt idx="735">
                  <c:v>2.5282916831496225</c:v>
                </c:pt>
                <c:pt idx="736">
                  <c:v>2.510403163263613</c:v>
                </c:pt>
                <c:pt idx="737">
                  <c:v>2.3848819044488487</c:v>
                </c:pt>
                <c:pt idx="738">
                  <c:v>2.3543792071890044</c:v>
                </c:pt>
                <c:pt idx="739">
                  <c:v>2.3188421008449289</c:v>
                </c:pt>
                <c:pt idx="740">
                  <c:v>2.3589047060607733</c:v>
                </c:pt>
                <c:pt idx="741">
                  <c:v>2.3005575375279523</c:v>
                </c:pt>
                <c:pt idx="742">
                  <c:v>2.2904739993687686</c:v>
                </c:pt>
                <c:pt idx="743">
                  <c:v>2.2979156696622653</c:v>
                </c:pt>
                <c:pt idx="744">
                  <c:v>2.3295753044502745</c:v>
                </c:pt>
                <c:pt idx="745">
                  <c:v>2.3055568061969307</c:v>
                </c:pt>
                <c:pt idx="746">
                  <c:v>2.2971894932274455</c:v>
                </c:pt>
                <c:pt idx="747">
                  <c:v>2.3661062449420309</c:v>
                </c:pt>
                <c:pt idx="748">
                  <c:v>2.2647902735176322</c:v>
                </c:pt>
                <c:pt idx="749">
                  <c:v>2.2476748749149729</c:v>
                </c:pt>
                <c:pt idx="750">
                  <c:v>2.2306503468632219</c:v>
                </c:pt>
                <c:pt idx="751">
                  <c:v>2.2204484684172203</c:v>
                </c:pt>
                <c:pt idx="752">
                  <c:v>2.2124143486526462</c:v>
                </c:pt>
                <c:pt idx="753">
                  <c:v>2.2133478545921386</c:v>
                </c:pt>
                <c:pt idx="754">
                  <c:v>2.3357471579133189</c:v>
                </c:pt>
                <c:pt idx="755">
                  <c:v>2.3654432070853626</c:v>
                </c:pt>
                <c:pt idx="756">
                  <c:v>2.3267798354367684</c:v>
                </c:pt>
                <c:pt idx="757">
                  <c:v>1.9356833071863306</c:v>
                </c:pt>
                <c:pt idx="758">
                  <c:v>1.91601305716758</c:v>
                </c:pt>
                <c:pt idx="759">
                  <c:v>1.7262096209924074</c:v>
                </c:pt>
                <c:pt idx="760">
                  <c:v>1.7021617917758083</c:v>
                </c:pt>
                <c:pt idx="761">
                  <c:v>1.6682715017673924</c:v>
                </c:pt>
                <c:pt idx="762">
                  <c:v>2.5515253394361341</c:v>
                </c:pt>
                <c:pt idx="763">
                  <c:v>2.5387991788091795</c:v>
                </c:pt>
                <c:pt idx="764">
                  <c:v>2.5292356532622642</c:v>
                </c:pt>
                <c:pt idx="765">
                  <c:v>2.5306997581421848</c:v>
                </c:pt>
                <c:pt idx="766">
                  <c:v>2.5148296358943387</c:v>
                </c:pt>
                <c:pt idx="767">
                  <c:v>2.4937046065810313</c:v>
                </c:pt>
                <c:pt idx="768">
                  <c:v>2.4886022272748454</c:v>
                </c:pt>
                <c:pt idx="769">
                  <c:v>2.5310292628844193</c:v>
                </c:pt>
                <c:pt idx="770">
                  <c:v>2.4918545903765001</c:v>
                </c:pt>
                <c:pt idx="771">
                  <c:v>2.5103245638492289</c:v>
                </c:pt>
                <c:pt idx="772">
                  <c:v>2.5394600038839839</c:v>
                </c:pt>
                <c:pt idx="773">
                  <c:v>2.5339234239016575</c:v>
                </c:pt>
                <c:pt idx="774">
                  <c:v>2.4820370890977812</c:v>
                </c:pt>
                <c:pt idx="775">
                  <c:v>2.531119160627314</c:v>
                </c:pt>
                <c:pt idx="776">
                  <c:v>2.5273679443509955</c:v>
                </c:pt>
                <c:pt idx="777">
                  <c:v>2.5211244732200586</c:v>
                </c:pt>
                <c:pt idx="778">
                  <c:v>2.5295601004322443</c:v>
                </c:pt>
                <c:pt idx="779">
                  <c:v>3.0222341846731315</c:v>
                </c:pt>
                <c:pt idx="780">
                  <c:v>3.0194634363107307</c:v>
                </c:pt>
                <c:pt idx="781">
                  <c:v>3.0052761109666268</c:v>
                </c:pt>
                <c:pt idx="782">
                  <c:v>3.0602876033541015</c:v>
                </c:pt>
                <c:pt idx="783">
                  <c:v>3.0989087872896723</c:v>
                </c:pt>
                <c:pt idx="784">
                  <c:v>3.0431391175577525</c:v>
                </c:pt>
                <c:pt idx="785">
                  <c:v>3.0431391175577538</c:v>
                </c:pt>
                <c:pt idx="786">
                  <c:v>3.0734434742099115</c:v>
                </c:pt>
                <c:pt idx="787">
                  <c:v>3.0892729752929613</c:v>
                </c:pt>
                <c:pt idx="788">
                  <c:v>3.0920978290030554</c:v>
                </c:pt>
                <c:pt idx="789">
                  <c:v>3.1192773913266483</c:v>
                </c:pt>
                <c:pt idx="790">
                  <c:v>3.1117458640607869</c:v>
                </c:pt>
                <c:pt idx="791">
                  <c:v>3.1559327474398904</c:v>
                </c:pt>
                <c:pt idx="792">
                  <c:v>2.5635080106347816</c:v>
                </c:pt>
                <c:pt idx="793">
                  <c:v>2.5857348434654002</c:v>
                </c:pt>
                <c:pt idx="794">
                  <c:v>2.6252862694134844</c:v>
                </c:pt>
                <c:pt idx="795">
                  <c:v>2.600507844639619</c:v>
                </c:pt>
                <c:pt idx="796">
                  <c:v>2.6047961976632541</c:v>
                </c:pt>
                <c:pt idx="797">
                  <c:v>2.8515215861060654</c:v>
                </c:pt>
                <c:pt idx="798">
                  <c:v>2.8850006690977512</c:v>
                </c:pt>
                <c:pt idx="799">
                  <c:v>3.0844191152195135</c:v>
                </c:pt>
                <c:pt idx="800">
                  <c:v>3.1307315623257215</c:v>
                </c:pt>
                <c:pt idx="801">
                  <c:v>3.1141425034815162</c:v>
                </c:pt>
                <c:pt idx="802">
                  <c:v>3.0977440931935596</c:v>
                </c:pt>
                <c:pt idx="803">
                  <c:v>3.0849165892151711</c:v>
                </c:pt>
                <c:pt idx="804">
                  <c:v>3.0953884790087969</c:v>
                </c:pt>
                <c:pt idx="805">
                  <c:v>3.0549273827678189</c:v>
                </c:pt>
                <c:pt idx="806">
                  <c:v>3.0601427866296596</c:v>
                </c:pt>
                <c:pt idx="807">
                  <c:v>3.0369902655978351</c:v>
                </c:pt>
                <c:pt idx="808">
                  <c:v>3.0023545718495526</c:v>
                </c:pt>
                <c:pt idx="809">
                  <c:v>2.5409060173300566</c:v>
                </c:pt>
                <c:pt idx="810">
                  <c:v>2.5839707054229586</c:v>
                </c:pt>
                <c:pt idx="811">
                  <c:v>2.5827412172898314</c:v>
                </c:pt>
                <c:pt idx="812">
                  <c:v>2.4956781503719294</c:v>
                </c:pt>
                <c:pt idx="813">
                  <c:v>2.4586876798574608</c:v>
                </c:pt>
                <c:pt idx="814">
                  <c:v>2.4665439309897743</c:v>
                </c:pt>
                <c:pt idx="815">
                  <c:v>2.4212721890687314</c:v>
                </c:pt>
                <c:pt idx="816">
                  <c:v>2.4230532382367027</c:v>
                </c:pt>
                <c:pt idx="817">
                  <c:v>2.4534476084107331</c:v>
                </c:pt>
                <c:pt idx="818">
                  <c:v>2.4603124777812062</c:v>
                </c:pt>
                <c:pt idx="819">
                  <c:v>2.4097858881848326</c:v>
                </c:pt>
                <c:pt idx="820">
                  <c:v>2.4213650951370687</c:v>
                </c:pt>
                <c:pt idx="821">
                  <c:v>2.3798292388208275</c:v>
                </c:pt>
                <c:pt idx="822">
                  <c:v>2.3827935784605119</c:v>
                </c:pt>
                <c:pt idx="823">
                  <c:v>2.3497514025993067</c:v>
                </c:pt>
                <c:pt idx="824">
                  <c:v>2.3007671984596514</c:v>
                </c:pt>
                <c:pt idx="825">
                  <c:v>2.286669840975998</c:v>
                </c:pt>
                <c:pt idx="826">
                  <c:v>2.3224082057387849</c:v>
                </c:pt>
                <c:pt idx="827">
                  <c:v>2.0232265445891828</c:v>
                </c:pt>
                <c:pt idx="828">
                  <c:v>2.0014858954858785</c:v>
                </c:pt>
                <c:pt idx="829">
                  <c:v>1.4545306017930562</c:v>
                </c:pt>
                <c:pt idx="830">
                  <c:v>1.6166202732890014</c:v>
                </c:pt>
                <c:pt idx="831">
                  <c:v>1.613503127508592</c:v>
                </c:pt>
                <c:pt idx="832">
                  <c:v>1.618524669609035</c:v>
                </c:pt>
                <c:pt idx="833">
                  <c:v>1.6129255665358786</c:v>
                </c:pt>
                <c:pt idx="834">
                  <c:v>1.6065161722344166</c:v>
                </c:pt>
                <c:pt idx="835">
                  <c:v>1.60325219382272</c:v>
                </c:pt>
                <c:pt idx="836">
                  <c:v>1.6561517396067269</c:v>
                </c:pt>
                <c:pt idx="837">
                  <c:v>1.8653481996951726</c:v>
                </c:pt>
                <c:pt idx="838">
                  <c:v>1.8673006323152674</c:v>
                </c:pt>
                <c:pt idx="839">
                  <c:v>1.8135868487829505</c:v>
                </c:pt>
                <c:pt idx="840">
                  <c:v>1.7750738423406125</c:v>
                </c:pt>
                <c:pt idx="841">
                  <c:v>1.8523663364444765</c:v>
                </c:pt>
                <c:pt idx="842">
                  <c:v>1.9012192127564371</c:v>
                </c:pt>
                <c:pt idx="843">
                  <c:v>2.0301376686235755</c:v>
                </c:pt>
                <c:pt idx="844">
                  <c:v>2.016345472702473</c:v>
                </c:pt>
                <c:pt idx="845">
                  <c:v>2.0632239675375659</c:v>
                </c:pt>
                <c:pt idx="846">
                  <c:v>2.0254914973935838</c:v>
                </c:pt>
                <c:pt idx="847">
                  <c:v>2.0029331470299323</c:v>
                </c:pt>
                <c:pt idx="848">
                  <c:v>2.0220233300339454</c:v>
                </c:pt>
                <c:pt idx="849">
                  <c:v>2.0622917068539204</c:v>
                </c:pt>
                <c:pt idx="850">
                  <c:v>2.1084142977857829</c:v>
                </c:pt>
                <c:pt idx="851">
                  <c:v>2.10775272933054</c:v>
                </c:pt>
                <c:pt idx="852">
                  <c:v>2.1183252041270979</c:v>
                </c:pt>
                <c:pt idx="853">
                  <c:v>2.1373073986675699</c:v>
                </c:pt>
                <c:pt idx="854">
                  <c:v>2.1759021490832948</c:v>
                </c:pt>
                <c:pt idx="855">
                  <c:v>2.2414440107820335</c:v>
                </c:pt>
                <c:pt idx="856">
                  <c:v>2.2358803092815296</c:v>
                </c:pt>
                <c:pt idx="857">
                  <c:v>2.2891703038630196</c:v>
                </c:pt>
                <c:pt idx="858">
                  <c:v>2.2891703038630182</c:v>
                </c:pt>
                <c:pt idx="859">
                  <c:v>2.2944872714120716</c:v>
                </c:pt>
                <c:pt idx="860">
                  <c:v>2.1685441712805598</c:v>
                </c:pt>
                <c:pt idx="861">
                  <c:v>2.1445688115897408</c:v>
                </c:pt>
                <c:pt idx="862">
                  <c:v>2.2211770257775791</c:v>
                </c:pt>
                <c:pt idx="863">
                  <c:v>2.2523762850375926</c:v>
                </c:pt>
                <c:pt idx="864">
                  <c:v>2.2716317364015119</c:v>
                </c:pt>
                <c:pt idx="865">
                  <c:v>2.3003138455733918</c:v>
                </c:pt>
                <c:pt idx="866">
                  <c:v>2.2931034136522315</c:v>
                </c:pt>
                <c:pt idx="867">
                  <c:v>2.1418282729841307</c:v>
                </c:pt>
                <c:pt idx="868">
                  <c:v>2.169130729792752</c:v>
                </c:pt>
                <c:pt idx="869">
                  <c:v>2.1967780972444708</c:v>
                </c:pt>
                <c:pt idx="870">
                  <c:v>2.1925454306393322</c:v>
                </c:pt>
                <c:pt idx="871">
                  <c:v>2.1227693541281325</c:v>
                </c:pt>
                <c:pt idx="872">
                  <c:v>2.1039447294095663</c:v>
                </c:pt>
                <c:pt idx="873">
                  <c:v>1.9136051957576707</c:v>
                </c:pt>
                <c:pt idx="874">
                  <c:v>1.91349685486103</c:v>
                </c:pt>
                <c:pt idx="875">
                  <c:v>1.888216187511639</c:v>
                </c:pt>
                <c:pt idx="876">
                  <c:v>2.1170762241893097</c:v>
                </c:pt>
                <c:pt idx="877">
                  <c:v>2.1106438118638109</c:v>
                </c:pt>
                <c:pt idx="878">
                  <c:v>2.1002899638784389</c:v>
                </c:pt>
                <c:pt idx="879">
                  <c:v>2.113655050782731</c:v>
                </c:pt>
                <c:pt idx="880">
                  <c:v>2.075334950839423</c:v>
                </c:pt>
                <c:pt idx="881">
                  <c:v>2.0901414688444531</c:v>
                </c:pt>
                <c:pt idx="882">
                  <c:v>2.0919931866349168</c:v>
                </c:pt>
                <c:pt idx="883">
                  <c:v>2.0864361023059934</c:v>
                </c:pt>
                <c:pt idx="884">
                  <c:v>2.0686450444360243</c:v>
                </c:pt>
                <c:pt idx="885">
                  <c:v>2.022679170754035</c:v>
                </c:pt>
                <c:pt idx="886">
                  <c:v>2.0137477318060886</c:v>
                </c:pt>
                <c:pt idx="887">
                  <c:v>1.8995979548215838</c:v>
                </c:pt>
                <c:pt idx="888">
                  <c:v>1.8952335025694247</c:v>
                </c:pt>
                <c:pt idx="889">
                  <c:v>1.9210450022265575</c:v>
                </c:pt>
                <c:pt idx="890">
                  <c:v>1.9886826270700109</c:v>
                </c:pt>
                <c:pt idx="891">
                  <c:v>2.0095292138736705</c:v>
                </c:pt>
                <c:pt idx="892">
                  <c:v>1.8786661297623872</c:v>
                </c:pt>
                <c:pt idx="893">
                  <c:v>1.9760006158787742</c:v>
                </c:pt>
                <c:pt idx="894">
                  <c:v>1.9572374749248751</c:v>
                </c:pt>
                <c:pt idx="895">
                  <c:v>1.9623048272327093</c:v>
                </c:pt>
                <c:pt idx="896">
                  <c:v>1.9677710032162328</c:v>
                </c:pt>
                <c:pt idx="897">
                  <c:v>1.970375954890613</c:v>
                </c:pt>
                <c:pt idx="898">
                  <c:v>2.1410100574232414</c:v>
                </c:pt>
                <c:pt idx="899">
                  <c:v>2.1163317117080518</c:v>
                </c:pt>
                <c:pt idx="900">
                  <c:v>2.1194836644395512</c:v>
                </c:pt>
                <c:pt idx="901">
                  <c:v>2.0889574146823429</c:v>
                </c:pt>
                <c:pt idx="902">
                  <c:v>2.1967225360965705</c:v>
                </c:pt>
                <c:pt idx="903">
                  <c:v>2.2174288666911948</c:v>
                </c:pt>
                <c:pt idx="904">
                  <c:v>2.3236554722735785</c:v>
                </c:pt>
                <c:pt idx="905">
                  <c:v>2.35188973214288</c:v>
                </c:pt>
                <c:pt idx="906">
                  <c:v>2.1023146215107404</c:v>
                </c:pt>
                <c:pt idx="907">
                  <c:v>2.1199119852586379</c:v>
                </c:pt>
                <c:pt idx="908">
                  <c:v>2.1535016270292502</c:v>
                </c:pt>
                <c:pt idx="909">
                  <c:v>2.1420514424715429</c:v>
                </c:pt>
                <c:pt idx="910">
                  <c:v>2.117215934521429</c:v>
                </c:pt>
                <c:pt idx="911">
                  <c:v>2.1206485919632949</c:v>
                </c:pt>
                <c:pt idx="912">
                  <c:v>2.1481361309158142</c:v>
                </c:pt>
                <c:pt idx="913">
                  <c:v>2.1396536508641808</c:v>
                </c:pt>
                <c:pt idx="914">
                  <c:v>2.1492627562050948</c:v>
                </c:pt>
                <c:pt idx="915">
                  <c:v>2.1424454063607175</c:v>
                </c:pt>
                <c:pt idx="916">
                  <c:v>2.1550891363032871</c:v>
                </c:pt>
                <c:pt idx="917">
                  <c:v>2.1702759669869263</c:v>
                </c:pt>
                <c:pt idx="918">
                  <c:v>2.1341756269637262</c:v>
                </c:pt>
                <c:pt idx="919">
                  <c:v>2.1126589621879339</c:v>
                </c:pt>
                <c:pt idx="920">
                  <c:v>2.0887443728069566</c:v>
                </c:pt>
                <c:pt idx="921">
                  <c:v>2.054551819994674</c:v>
                </c:pt>
                <c:pt idx="922">
                  <c:v>2.0673185112499119</c:v>
                </c:pt>
                <c:pt idx="923">
                  <c:v>2.0115125471993411</c:v>
                </c:pt>
                <c:pt idx="924">
                  <c:v>1.9706844994795796</c:v>
                </c:pt>
                <c:pt idx="925">
                  <c:v>1.9977682812417896</c:v>
                </c:pt>
                <c:pt idx="926">
                  <c:v>1.9995215131795463</c:v>
                </c:pt>
                <c:pt idx="927">
                  <c:v>1.9988709781904179</c:v>
                </c:pt>
                <c:pt idx="928">
                  <c:v>1.8694863842191836</c:v>
                </c:pt>
                <c:pt idx="929">
                  <c:v>1.9122030887870802</c:v>
                </c:pt>
                <c:pt idx="930">
                  <c:v>1.9002196235633084</c:v>
                </c:pt>
                <c:pt idx="931">
                  <c:v>1.9290936095063491</c:v>
                </c:pt>
                <c:pt idx="932">
                  <c:v>1.8452419085804788</c:v>
                </c:pt>
                <c:pt idx="933">
                  <c:v>1.860023358630098</c:v>
                </c:pt>
                <c:pt idx="934">
                  <c:v>1.721791944744866</c:v>
                </c:pt>
                <c:pt idx="935">
                  <c:v>1.7314277137086351</c:v>
                </c:pt>
                <c:pt idx="936">
                  <c:v>1.7375405124485057</c:v>
                </c:pt>
                <c:pt idx="937">
                  <c:v>1.713226239225552</c:v>
                </c:pt>
                <c:pt idx="938">
                  <c:v>1.6578121174865568</c:v>
                </c:pt>
                <c:pt idx="939">
                  <c:v>1.6270809191507918</c:v>
                </c:pt>
                <c:pt idx="940">
                  <c:v>1.6148770149654454</c:v>
                </c:pt>
                <c:pt idx="941">
                  <c:v>1.5688923576415692</c:v>
                </c:pt>
                <c:pt idx="942">
                  <c:v>1.5400611357430538</c:v>
                </c:pt>
                <c:pt idx="943">
                  <c:v>1.5420234475077681</c:v>
                </c:pt>
                <c:pt idx="944">
                  <c:v>1.4821618071295422</c:v>
                </c:pt>
                <c:pt idx="945">
                  <c:v>1.4064481244676124</c:v>
                </c:pt>
                <c:pt idx="946">
                  <c:v>1.3943912305120063</c:v>
                </c:pt>
                <c:pt idx="947">
                  <c:v>1.4394175098105637</c:v>
                </c:pt>
                <c:pt idx="948">
                  <c:v>1.4575622265457635</c:v>
                </c:pt>
                <c:pt idx="949">
                  <c:v>1.3893084516820182</c:v>
                </c:pt>
                <c:pt idx="950">
                  <c:v>1.3962226111879421</c:v>
                </c:pt>
                <c:pt idx="951">
                  <c:v>1.7976502940149894</c:v>
                </c:pt>
                <c:pt idx="952">
                  <c:v>1.8218010472194284</c:v>
                </c:pt>
                <c:pt idx="953">
                  <c:v>1.8747354804964826</c:v>
                </c:pt>
                <c:pt idx="954">
                  <c:v>1.8998844918084501</c:v>
                </c:pt>
                <c:pt idx="955">
                  <c:v>1.8454660489240862</c:v>
                </c:pt>
                <c:pt idx="956">
                  <c:v>1.8217719237257299</c:v>
                </c:pt>
                <c:pt idx="957">
                  <c:v>1.7258933759828605</c:v>
                </c:pt>
                <c:pt idx="958">
                  <c:v>1.713208924444384</c:v>
                </c:pt>
                <c:pt idx="959">
                  <c:v>1.6036986724786648</c:v>
                </c:pt>
                <c:pt idx="960">
                  <c:v>1.6042948822848055</c:v>
                </c:pt>
                <c:pt idx="961">
                  <c:v>1.5916146831358804</c:v>
                </c:pt>
                <c:pt idx="962">
                  <c:v>1.5715696167743429</c:v>
                </c:pt>
                <c:pt idx="963">
                  <c:v>1.547187406242323</c:v>
                </c:pt>
                <c:pt idx="964">
                  <c:v>1.8208967741747386</c:v>
                </c:pt>
                <c:pt idx="965">
                  <c:v>1.7948632199314096</c:v>
                </c:pt>
                <c:pt idx="966">
                  <c:v>1.7936952847682546</c:v>
                </c:pt>
                <c:pt idx="967">
                  <c:v>1.7964032786619839</c:v>
                </c:pt>
                <c:pt idx="968">
                  <c:v>1.7986926382556798</c:v>
                </c:pt>
                <c:pt idx="969">
                  <c:v>1.8003752856904629</c:v>
                </c:pt>
                <c:pt idx="970">
                  <c:v>1.8095633584701036</c:v>
                </c:pt>
                <c:pt idx="971">
                  <c:v>1.8238534774987385</c:v>
                </c:pt>
                <c:pt idx="972">
                  <c:v>1.8523094041926362</c:v>
                </c:pt>
                <c:pt idx="973">
                  <c:v>1.8739610214271269</c:v>
                </c:pt>
                <c:pt idx="974">
                  <c:v>1.8762534596174996</c:v>
                </c:pt>
                <c:pt idx="975">
                  <c:v>1.9272325635075822</c:v>
                </c:pt>
                <c:pt idx="976">
                  <c:v>1.9369934497009942</c:v>
                </c:pt>
                <c:pt idx="977">
                  <c:v>1.9211896556501156</c:v>
                </c:pt>
                <c:pt idx="978">
                  <c:v>1.977226083964388</c:v>
                </c:pt>
                <c:pt idx="979">
                  <c:v>1.9904394489279558</c:v>
                </c:pt>
                <c:pt idx="980">
                  <c:v>1.9902858240721646</c:v>
                </c:pt>
                <c:pt idx="981">
                  <c:v>1.676871115991764</c:v>
                </c:pt>
                <c:pt idx="982">
                  <c:v>1.6633589329781104</c:v>
                </c:pt>
                <c:pt idx="983">
                  <c:v>1.6002768084531129</c:v>
                </c:pt>
                <c:pt idx="984">
                  <c:v>1.5752170696827055</c:v>
                </c:pt>
                <c:pt idx="985">
                  <c:v>1.5687106422812409</c:v>
                </c:pt>
                <c:pt idx="986">
                  <c:v>1.5733161711276924</c:v>
                </c:pt>
                <c:pt idx="987">
                  <c:v>1.5710307120020379</c:v>
                </c:pt>
                <c:pt idx="988">
                  <c:v>1.7596559424025093</c:v>
                </c:pt>
                <c:pt idx="989">
                  <c:v>1.7549950455770817</c:v>
                </c:pt>
                <c:pt idx="990">
                  <c:v>1.7498635209807247</c:v>
                </c:pt>
                <c:pt idx="991">
                  <c:v>1.7462118424402899</c:v>
                </c:pt>
                <c:pt idx="992">
                  <c:v>1.810105816432275</c:v>
                </c:pt>
                <c:pt idx="993">
                  <c:v>1.8159068191269327</c:v>
                </c:pt>
                <c:pt idx="994">
                  <c:v>1.6495758850501736</c:v>
                </c:pt>
                <c:pt idx="995">
                  <c:v>1.673243767352615</c:v>
                </c:pt>
                <c:pt idx="996">
                  <c:v>1.6843708961916881</c:v>
                </c:pt>
                <c:pt idx="997">
                  <c:v>1.6863707783113542</c:v>
                </c:pt>
                <c:pt idx="998">
                  <c:v>1.7476171545445101</c:v>
                </c:pt>
                <c:pt idx="999">
                  <c:v>1.7561023823096511</c:v>
                </c:pt>
                <c:pt idx="1000">
                  <c:v>1.8189287934915348</c:v>
                </c:pt>
                <c:pt idx="1001">
                  <c:v>1.865027016378082</c:v>
                </c:pt>
                <c:pt idx="1002">
                  <c:v>1.8226175077976319</c:v>
                </c:pt>
                <c:pt idx="1003">
                  <c:v>1.7745050119067074</c:v>
                </c:pt>
                <c:pt idx="1004">
                  <c:v>1.8215931909942307</c:v>
                </c:pt>
                <c:pt idx="1005">
                  <c:v>1.8146514219520402</c:v>
                </c:pt>
                <c:pt idx="1006">
                  <c:v>1.7886553882139975</c:v>
                </c:pt>
                <c:pt idx="1007">
                  <c:v>1.7260150381857819</c:v>
                </c:pt>
                <c:pt idx="1008">
                  <c:v>1.686501252238521</c:v>
                </c:pt>
                <c:pt idx="1009">
                  <c:v>1.6853424500964342</c:v>
                </c:pt>
                <c:pt idx="1010">
                  <c:v>1.6834546398802046</c:v>
                </c:pt>
                <c:pt idx="1011">
                  <c:v>1.6348300798460902</c:v>
                </c:pt>
                <c:pt idx="1012">
                  <c:v>1.6362730755780794</c:v>
                </c:pt>
                <c:pt idx="1013">
                  <c:v>1.6359176798224775</c:v>
                </c:pt>
                <c:pt idx="1014">
                  <c:v>1.6139125219217079</c:v>
                </c:pt>
                <c:pt idx="1015">
                  <c:v>1.6126063341042012</c:v>
                </c:pt>
                <c:pt idx="1016">
                  <c:v>1.6355214221319923</c:v>
                </c:pt>
                <c:pt idx="1017">
                  <c:v>1.634046307033107</c:v>
                </c:pt>
                <c:pt idx="1018">
                  <c:v>1.5030759531868574</c:v>
                </c:pt>
                <c:pt idx="1019">
                  <c:v>1.536905200134649</c:v>
                </c:pt>
                <c:pt idx="1020">
                  <c:v>1.5963323841364883</c:v>
                </c:pt>
                <c:pt idx="1021">
                  <c:v>1.7019800124405933</c:v>
                </c:pt>
                <c:pt idx="1022">
                  <c:v>1.6457480883319493</c:v>
                </c:pt>
                <c:pt idx="1023">
                  <c:v>1.9276814999173073</c:v>
                </c:pt>
                <c:pt idx="1024">
                  <c:v>1.9228793479639905</c:v>
                </c:pt>
                <c:pt idx="1025">
                  <c:v>2.2694236733543347</c:v>
                </c:pt>
                <c:pt idx="1026">
                  <c:v>2.2601928342266797</c:v>
                </c:pt>
                <c:pt idx="1027">
                  <c:v>2.2608505001170052</c:v>
                </c:pt>
                <c:pt idx="1028">
                  <c:v>2.2648290499967008</c:v>
                </c:pt>
                <c:pt idx="1029">
                  <c:v>2.2516430529948397</c:v>
                </c:pt>
                <c:pt idx="1030">
                  <c:v>2.3399467357193999</c:v>
                </c:pt>
                <c:pt idx="1031">
                  <c:v>2.2901841236525211</c:v>
                </c:pt>
                <c:pt idx="1032">
                  <c:v>2.2770680100672349</c:v>
                </c:pt>
                <c:pt idx="1033">
                  <c:v>2.3089148321928143</c:v>
                </c:pt>
                <c:pt idx="1034">
                  <c:v>2.2876374747569521</c:v>
                </c:pt>
                <c:pt idx="1035">
                  <c:v>2.2731614089067969</c:v>
                </c:pt>
                <c:pt idx="1036">
                  <c:v>2.2859565601492968</c:v>
                </c:pt>
                <c:pt idx="1037">
                  <c:v>2.3314688820353959</c:v>
                </c:pt>
                <c:pt idx="1038">
                  <c:v>2.3869739832018739</c:v>
                </c:pt>
                <c:pt idx="1039">
                  <c:v>2.3514932775954875</c:v>
                </c:pt>
                <c:pt idx="1040">
                  <c:v>2.3383149002977808</c:v>
                </c:pt>
                <c:pt idx="1041">
                  <c:v>2.351676521541163</c:v>
                </c:pt>
                <c:pt idx="1042">
                  <c:v>2.3693196874007749</c:v>
                </c:pt>
                <c:pt idx="1043">
                  <c:v>2.3764325922486731</c:v>
                </c:pt>
                <c:pt idx="1044">
                  <c:v>2.387476771239375</c:v>
                </c:pt>
                <c:pt idx="1045">
                  <c:v>2.3878971718026665</c:v>
                </c:pt>
                <c:pt idx="1046">
                  <c:v>2.4293782252845864</c:v>
                </c:pt>
                <c:pt idx="1047">
                  <c:v>2.4304449999974396</c:v>
                </c:pt>
                <c:pt idx="1048">
                  <c:v>2.4584444384315352</c:v>
                </c:pt>
                <c:pt idx="1049">
                  <c:v>2.589398692559588</c:v>
                </c:pt>
                <c:pt idx="1050">
                  <c:v>2.5497097084455254</c:v>
                </c:pt>
                <c:pt idx="1051">
                  <c:v>2.5591244627415572</c:v>
                </c:pt>
                <c:pt idx="1052">
                  <c:v>2.6191401964518821</c:v>
                </c:pt>
                <c:pt idx="1053">
                  <c:v>2.4655933194932484</c:v>
                </c:pt>
                <c:pt idx="1054">
                  <c:v>2.4273026107756852</c:v>
                </c:pt>
                <c:pt idx="1055">
                  <c:v>2.2025145237555446</c:v>
                </c:pt>
                <c:pt idx="1056">
                  <c:v>2.2043643756190039</c:v>
                </c:pt>
                <c:pt idx="1057">
                  <c:v>2.1879630807144803</c:v>
                </c:pt>
                <c:pt idx="1058">
                  <c:v>2.2880938727003817</c:v>
                </c:pt>
                <c:pt idx="1059">
                  <c:v>2.3469862232285452</c:v>
                </c:pt>
                <c:pt idx="1060">
                  <c:v>2.2548090318887302</c:v>
                </c:pt>
                <c:pt idx="1061">
                  <c:v>2.2377849356842208</c:v>
                </c:pt>
                <c:pt idx="1062">
                  <c:v>2.2622833305466203</c:v>
                </c:pt>
                <c:pt idx="1063">
                  <c:v>2.2107012360622815</c:v>
                </c:pt>
                <c:pt idx="1064">
                  <c:v>2.2083369613055495</c:v>
                </c:pt>
                <c:pt idx="1065">
                  <c:v>2.210640193637964</c:v>
                </c:pt>
                <c:pt idx="1066">
                  <c:v>2.2009721665041373</c:v>
                </c:pt>
                <c:pt idx="1067">
                  <c:v>2.1697761880020998</c:v>
                </c:pt>
                <c:pt idx="1068">
                  <c:v>2.1151959193477183</c:v>
                </c:pt>
                <c:pt idx="1069">
                  <c:v>2.118045057431849</c:v>
                </c:pt>
                <c:pt idx="1070">
                  <c:v>2.120375213578241</c:v>
                </c:pt>
                <c:pt idx="1071">
                  <c:v>2.1132365822375783</c:v>
                </c:pt>
                <c:pt idx="1072">
                  <c:v>2.1011894796368553</c:v>
                </c:pt>
                <c:pt idx="1073">
                  <c:v>2.1204964784879925</c:v>
                </c:pt>
                <c:pt idx="1074">
                  <c:v>2.1704512629583967</c:v>
                </c:pt>
                <c:pt idx="1075">
                  <c:v>2.226521812558186</c:v>
                </c:pt>
                <c:pt idx="1076">
                  <c:v>2.1768302007222164</c:v>
                </c:pt>
                <c:pt idx="1077">
                  <c:v>2.2947348825181022</c:v>
                </c:pt>
                <c:pt idx="1078">
                  <c:v>2.2696732506516053</c:v>
                </c:pt>
                <c:pt idx="1079">
                  <c:v>2.1580891202863342</c:v>
                </c:pt>
                <c:pt idx="1080">
                  <c:v>2.1293853508549372</c:v>
                </c:pt>
                <c:pt idx="1081">
                  <c:v>2.0867489527082737</c:v>
                </c:pt>
                <c:pt idx="1082">
                  <c:v>2.1231427073281366</c:v>
                </c:pt>
                <c:pt idx="1083">
                  <c:v>2.122374042376967</c:v>
                </c:pt>
                <c:pt idx="1084">
                  <c:v>2.2153141857737442</c:v>
                </c:pt>
                <c:pt idx="1085">
                  <c:v>2.165267536840326</c:v>
                </c:pt>
                <c:pt idx="1086">
                  <c:v>2.1617133285928198</c:v>
                </c:pt>
                <c:pt idx="1087">
                  <c:v>2.1636394734446251</c:v>
                </c:pt>
                <c:pt idx="1088">
                  <c:v>2.1014762365290856</c:v>
                </c:pt>
                <c:pt idx="1089">
                  <c:v>2.0388342163345148</c:v>
                </c:pt>
                <c:pt idx="1090">
                  <c:v>2.0193732384447518</c:v>
                </c:pt>
                <c:pt idx="1091">
                  <c:v>2.0143858884537367</c:v>
                </c:pt>
                <c:pt idx="1092">
                  <c:v>2.0264718313058712</c:v>
                </c:pt>
                <c:pt idx="1093">
                  <c:v>2.1026124046141179</c:v>
                </c:pt>
                <c:pt idx="1094">
                  <c:v>2.1677704549776591</c:v>
                </c:pt>
                <c:pt idx="1095">
                  <c:v>2.1717380604726673</c:v>
                </c:pt>
                <c:pt idx="1096">
                  <c:v>2.1562792106891169</c:v>
                </c:pt>
                <c:pt idx="1097">
                  <c:v>2.1616836028378965</c:v>
                </c:pt>
                <c:pt idx="1098">
                  <c:v>2.2117511994223804</c:v>
                </c:pt>
                <c:pt idx="1099">
                  <c:v>2.1794038964288625</c:v>
                </c:pt>
                <c:pt idx="1100">
                  <c:v>2.2483087591736859</c:v>
                </c:pt>
                <c:pt idx="1101">
                  <c:v>2.2868059666129126</c:v>
                </c:pt>
                <c:pt idx="1102">
                  <c:v>2.2880252933205756</c:v>
                </c:pt>
                <c:pt idx="1103">
                  <c:v>2.3279955630609126</c:v>
                </c:pt>
                <c:pt idx="1104">
                  <c:v>2.2660326974760157</c:v>
                </c:pt>
                <c:pt idx="1105">
                  <c:v>2.2129763880685478</c:v>
                </c:pt>
                <c:pt idx="1106">
                  <c:v>2.1983233186057647</c:v>
                </c:pt>
                <c:pt idx="1107">
                  <c:v>2.0500507611212435</c:v>
                </c:pt>
                <c:pt idx="1108">
                  <c:v>2.0470363685112334</c:v>
                </c:pt>
                <c:pt idx="1109">
                  <c:v>1.9936967401337853</c:v>
                </c:pt>
                <c:pt idx="1110">
                  <c:v>1.9963165204528954</c:v>
                </c:pt>
                <c:pt idx="1111">
                  <c:v>1.9712213878221081</c:v>
                </c:pt>
                <c:pt idx="1112">
                  <c:v>1.8326988326580875</c:v>
                </c:pt>
                <c:pt idx="1113">
                  <c:v>1.8150070108209799</c:v>
                </c:pt>
                <c:pt idx="1114">
                  <c:v>1.6447024591084649</c:v>
                </c:pt>
                <c:pt idx="1115">
                  <c:v>1.6459575255571566</c:v>
                </c:pt>
                <c:pt idx="1116">
                  <c:v>1.6753061508423053</c:v>
                </c:pt>
                <c:pt idx="1117">
                  <c:v>1.6553909584201314</c:v>
                </c:pt>
                <c:pt idx="1118">
                  <c:v>1.6188052670319457</c:v>
                </c:pt>
                <c:pt idx="1119">
                  <c:v>1.6171668348833192</c:v>
                </c:pt>
                <c:pt idx="1120">
                  <c:v>1.6374908081588595</c:v>
                </c:pt>
                <c:pt idx="1121">
                  <c:v>1.6277446395951745</c:v>
                </c:pt>
                <c:pt idx="1122">
                  <c:v>1.6144638574075312</c:v>
                </c:pt>
                <c:pt idx="1123">
                  <c:v>1.4561213765192904</c:v>
                </c:pt>
                <c:pt idx="1124">
                  <c:v>1.3923552050807992</c:v>
                </c:pt>
                <c:pt idx="1125">
                  <c:v>1.3688144111735892</c:v>
                </c:pt>
                <c:pt idx="1126">
                  <c:v>1.3798239865629387</c:v>
                </c:pt>
                <c:pt idx="1127">
                  <c:v>1.3251433445411205</c:v>
                </c:pt>
                <c:pt idx="1128">
                  <c:v>1.3486173397689216</c:v>
                </c:pt>
                <c:pt idx="1129">
                  <c:v>1.3767981544804446</c:v>
                </c:pt>
                <c:pt idx="1130">
                  <c:v>1.3012176549929986</c:v>
                </c:pt>
                <c:pt idx="1131">
                  <c:v>1.2452661957373456</c:v>
                </c:pt>
                <c:pt idx="1132">
                  <c:v>1.2306940311531149</c:v>
                </c:pt>
                <c:pt idx="1133">
                  <c:v>1.1398618543889676</c:v>
                </c:pt>
                <c:pt idx="1134">
                  <c:v>1.1396064723028836</c:v>
                </c:pt>
                <c:pt idx="1135">
                  <c:v>1.1336828282349922</c:v>
                </c:pt>
                <c:pt idx="1136">
                  <c:v>1.1277106089767615</c:v>
                </c:pt>
                <c:pt idx="1137">
                  <c:v>1.1493776730482197</c:v>
                </c:pt>
                <c:pt idx="1138">
                  <c:v>1.1553934453768111</c:v>
                </c:pt>
                <c:pt idx="1139">
                  <c:v>1.0433563133059767</c:v>
                </c:pt>
                <c:pt idx="1140">
                  <c:v>1.0289020560441169</c:v>
                </c:pt>
                <c:pt idx="1141">
                  <c:v>1.0395312081529999</c:v>
                </c:pt>
                <c:pt idx="1142">
                  <c:v>1.0533581510344747</c:v>
                </c:pt>
                <c:pt idx="1143">
                  <c:v>1.0472340312289183</c:v>
                </c:pt>
                <c:pt idx="1144">
                  <c:v>1.0335942633000426</c:v>
                </c:pt>
                <c:pt idx="1145">
                  <c:v>1.0435759513340861</c:v>
                </c:pt>
                <c:pt idx="1146">
                  <c:v>0.95241476457917573</c:v>
                </c:pt>
                <c:pt idx="1147">
                  <c:v>0.92474048793483077</c:v>
                </c:pt>
                <c:pt idx="1148">
                  <c:v>0.93435431071633801</c:v>
                </c:pt>
                <c:pt idx="1149">
                  <c:v>0.93596725761397348</c:v>
                </c:pt>
                <c:pt idx="1150">
                  <c:v>0.89812271229320406</c:v>
                </c:pt>
                <c:pt idx="1151">
                  <c:v>1.2625235643176984</c:v>
                </c:pt>
                <c:pt idx="1152">
                  <c:v>1.2795272079146185</c:v>
                </c:pt>
                <c:pt idx="1153">
                  <c:v>1.2776291550809087</c:v>
                </c:pt>
                <c:pt idx="1154">
                  <c:v>1.2866203864486374</c:v>
                </c:pt>
                <c:pt idx="1155">
                  <c:v>1.2847689435415908</c:v>
                </c:pt>
                <c:pt idx="1156">
                  <c:v>1.2685694084236423</c:v>
                </c:pt>
                <c:pt idx="1157">
                  <c:v>1.2544502556077128</c:v>
                </c:pt>
                <c:pt idx="1158">
                  <c:v>1.2025737619792289</c:v>
                </c:pt>
                <c:pt idx="1159">
                  <c:v>1.1816895119220867</c:v>
                </c:pt>
                <c:pt idx="1160">
                  <c:v>1.1780530093008286</c:v>
                </c:pt>
                <c:pt idx="1161">
                  <c:v>1.2501153493110424</c:v>
                </c:pt>
                <c:pt idx="1162">
                  <c:v>1.2760709524194838</c:v>
                </c:pt>
                <c:pt idx="1163">
                  <c:v>1.2867796984666748</c:v>
                </c:pt>
                <c:pt idx="1164">
                  <c:v>1.347744160358308</c:v>
                </c:pt>
                <c:pt idx="1165">
                  <c:v>1.3906382469887819</c:v>
                </c:pt>
                <c:pt idx="1166">
                  <c:v>1.4442717276669335</c:v>
                </c:pt>
                <c:pt idx="1167">
                  <c:v>1.4371060355070748</c:v>
                </c:pt>
                <c:pt idx="1168">
                  <c:v>1.4837498120031265</c:v>
                </c:pt>
                <c:pt idx="1169">
                  <c:v>1.5376373057206145</c:v>
                </c:pt>
                <c:pt idx="1170">
                  <c:v>1.5457494900378199</c:v>
                </c:pt>
                <c:pt idx="1171">
                  <c:v>1.566560034865887</c:v>
                </c:pt>
                <c:pt idx="1172">
                  <c:v>1.5637867857257428</c:v>
                </c:pt>
                <c:pt idx="1173">
                  <c:v>1.6130337637225116</c:v>
                </c:pt>
                <c:pt idx="1174">
                  <c:v>1.6229043974562298</c:v>
                </c:pt>
                <c:pt idx="1175">
                  <c:v>1.6620181273467971</c:v>
                </c:pt>
                <c:pt idx="1176">
                  <c:v>1.7072694699223965</c:v>
                </c:pt>
                <c:pt idx="1177">
                  <c:v>1.7205336378259672</c:v>
                </c:pt>
                <c:pt idx="1178">
                  <c:v>1.7181002510365511</c:v>
                </c:pt>
                <c:pt idx="1179">
                  <c:v>1.715503523033296</c:v>
                </c:pt>
                <c:pt idx="1180">
                  <c:v>1.715347433441293</c:v>
                </c:pt>
                <c:pt idx="1181">
                  <c:v>1.4256940788936063</c:v>
                </c:pt>
                <c:pt idx="1182">
                  <c:v>1.9124710796895013</c:v>
                </c:pt>
                <c:pt idx="1183">
                  <c:v>1.9114863287184989</c:v>
                </c:pt>
                <c:pt idx="1184">
                  <c:v>1.9569222892847429</c:v>
                </c:pt>
                <c:pt idx="1185">
                  <c:v>1.9985587175522872</c:v>
                </c:pt>
                <c:pt idx="1186">
                  <c:v>2.0295606496172209</c:v>
                </c:pt>
                <c:pt idx="1187">
                  <c:v>2.0313002220357181</c:v>
                </c:pt>
                <c:pt idx="1188">
                  <c:v>2.2688530964294427</c:v>
                </c:pt>
                <c:pt idx="1189">
                  <c:v>2.2952075933668277</c:v>
                </c:pt>
                <c:pt idx="1190">
                  <c:v>2.2967169698022509</c:v>
                </c:pt>
                <c:pt idx="1191">
                  <c:v>2.2570579710847025</c:v>
                </c:pt>
                <c:pt idx="1192">
                  <c:v>2.2308564532845909</c:v>
                </c:pt>
                <c:pt idx="1193">
                  <c:v>2.2320053054377262</c:v>
                </c:pt>
                <c:pt idx="1194">
                  <c:v>2.2304446272925476</c:v>
                </c:pt>
                <c:pt idx="1195">
                  <c:v>2.2395330118983638</c:v>
                </c:pt>
                <c:pt idx="1196">
                  <c:v>2.2322999908686714</c:v>
                </c:pt>
                <c:pt idx="1197">
                  <c:v>2.2646497094208238</c:v>
                </c:pt>
                <c:pt idx="1198">
                  <c:v>2.2633239241652223</c:v>
                </c:pt>
                <c:pt idx="1199">
                  <c:v>2.2414023749196574</c:v>
                </c:pt>
                <c:pt idx="1200">
                  <c:v>2.2883941075306877</c:v>
                </c:pt>
                <c:pt idx="1201">
                  <c:v>2.3240061927618867</c:v>
                </c:pt>
                <c:pt idx="1202">
                  <c:v>2.3508491014424937</c:v>
                </c:pt>
                <c:pt idx="1203">
                  <c:v>2.3093655430861038</c:v>
                </c:pt>
                <c:pt idx="1204">
                  <c:v>2.3168295186233046</c:v>
                </c:pt>
                <c:pt idx="1205">
                  <c:v>2.2804948719048861</c:v>
                </c:pt>
                <c:pt idx="1206">
                  <c:v>2.2324626359116162</c:v>
                </c:pt>
                <c:pt idx="1207">
                  <c:v>2.2099917151245698</c:v>
                </c:pt>
                <c:pt idx="1208">
                  <c:v>2.2113231435893725</c:v>
                </c:pt>
                <c:pt idx="1209">
                  <c:v>2.2195317827223469</c:v>
                </c:pt>
                <c:pt idx="1210">
                  <c:v>2.2331498133077057</c:v>
                </c:pt>
                <c:pt idx="1211">
                  <c:v>2.2723156696413396</c:v>
                </c:pt>
                <c:pt idx="1212">
                  <c:v>1.9846953008733348</c:v>
                </c:pt>
                <c:pt idx="1213">
                  <c:v>1.9943201913946054</c:v>
                </c:pt>
                <c:pt idx="1214">
                  <c:v>1.992216131832536</c:v>
                </c:pt>
                <c:pt idx="1215">
                  <c:v>2.3552590035117569</c:v>
                </c:pt>
                <c:pt idx="1216">
                  <c:v>3.6628960158421249</c:v>
                </c:pt>
                <c:pt idx="1217">
                  <c:v>3.8336930643441294</c:v>
                </c:pt>
                <c:pt idx="1218">
                  <c:v>3.7949671670823317</c:v>
                </c:pt>
                <c:pt idx="1219">
                  <c:v>3.7491169074973607</c:v>
                </c:pt>
                <c:pt idx="1220">
                  <c:v>3.7410867932386012</c:v>
                </c:pt>
                <c:pt idx="1221">
                  <c:v>3.7305935795589238</c:v>
                </c:pt>
                <c:pt idx="1222">
                  <c:v>3.7304764089093916</c:v>
                </c:pt>
                <c:pt idx="1223">
                  <c:v>3.7707065779668167</c:v>
                </c:pt>
                <c:pt idx="1224">
                  <c:v>3.7183456413523865</c:v>
                </c:pt>
                <c:pt idx="1225">
                  <c:v>3.7551911064252752</c:v>
                </c:pt>
                <c:pt idx="1226">
                  <c:v>3.8095591384299805</c:v>
                </c:pt>
                <c:pt idx="1227">
                  <c:v>3.8142728730647231</c:v>
                </c:pt>
                <c:pt idx="1228">
                  <c:v>3.80783767895156</c:v>
                </c:pt>
                <c:pt idx="1229">
                  <c:v>3.9623205744511458</c:v>
                </c:pt>
                <c:pt idx="1230">
                  <c:v>3.9579827762963284</c:v>
                </c:pt>
                <c:pt idx="1231">
                  <c:v>3.9168148046499565</c:v>
                </c:pt>
                <c:pt idx="1232">
                  <c:v>3.9476814285497133</c:v>
                </c:pt>
                <c:pt idx="1233">
                  <c:v>3.9355693285390498</c:v>
                </c:pt>
                <c:pt idx="1234">
                  <c:v>4.2904847973934377</c:v>
                </c:pt>
                <c:pt idx="1235">
                  <c:v>4.27033441197056</c:v>
                </c:pt>
                <c:pt idx="1236">
                  <c:v>4.257241041596159</c:v>
                </c:pt>
                <c:pt idx="1237">
                  <c:v>4.2980729070207291</c:v>
                </c:pt>
                <c:pt idx="1238">
                  <c:v>4.3417718803172045</c:v>
                </c:pt>
                <c:pt idx="1239">
                  <c:v>4.3650151969615543</c:v>
                </c:pt>
                <c:pt idx="1240">
                  <c:v>4.3380720770007333</c:v>
                </c:pt>
                <c:pt idx="1241">
                  <c:v>4.3868034157688438</c:v>
                </c:pt>
                <c:pt idx="1242">
                  <c:v>4.8648243994371052</c:v>
                </c:pt>
                <c:pt idx="1243">
                  <c:v>4.9119031123396164</c:v>
                </c:pt>
                <c:pt idx="1244">
                  <c:v>4.8528032794800575</c:v>
                </c:pt>
                <c:pt idx="1245">
                  <c:v>4.7657310130229567</c:v>
                </c:pt>
                <c:pt idx="1246">
                  <c:v>4.0792722509112593</c:v>
                </c:pt>
                <c:pt idx="1247">
                  <c:v>3.9377927347703232</c:v>
                </c:pt>
                <c:pt idx="1248">
                  <c:v>3.8726824006663652</c:v>
                </c:pt>
                <c:pt idx="1249">
                  <c:v>3.8771737158123565</c:v>
                </c:pt>
                <c:pt idx="1250">
                  <c:v>3.9048802374805831</c:v>
                </c:pt>
                <c:pt idx="1251">
                  <c:v>3.906472952745085</c:v>
                </c:pt>
                <c:pt idx="1252">
                  <c:v>3.9010822338599036</c:v>
                </c:pt>
                <c:pt idx="1253">
                  <c:v>3.8546670673756784</c:v>
                </c:pt>
                <c:pt idx="1254">
                  <c:v>3.8558660278737724</c:v>
                </c:pt>
                <c:pt idx="1255">
                  <c:v>3.8204128719499333</c:v>
                </c:pt>
                <c:pt idx="1256">
                  <c:v>3.7836698520119505</c:v>
                </c:pt>
                <c:pt idx="1257">
                  <c:v>3.7689684311816829</c:v>
                </c:pt>
                <c:pt idx="1258">
                  <c:v>3.7709652677467482</c:v>
                </c:pt>
                <c:pt idx="1259">
                  <c:v>3.6296403842187774</c:v>
                </c:pt>
                <c:pt idx="1260">
                  <c:v>3.8158491150860252</c:v>
                </c:pt>
                <c:pt idx="1261">
                  <c:v>3.8672201597130171</c:v>
                </c:pt>
                <c:pt idx="1262">
                  <c:v>3.8214260517052323</c:v>
                </c:pt>
                <c:pt idx="1263">
                  <c:v>3.9392774442399148</c:v>
                </c:pt>
                <c:pt idx="1264">
                  <c:v>3.5885745461088434</c:v>
                </c:pt>
                <c:pt idx="1265">
                  <c:v>3.6317802150651413</c:v>
                </c:pt>
                <c:pt idx="1266">
                  <c:v>3.643297544095724</c:v>
                </c:pt>
                <c:pt idx="1267">
                  <c:v>3.57768914385065</c:v>
                </c:pt>
                <c:pt idx="1268">
                  <c:v>3.5853944315732327</c:v>
                </c:pt>
                <c:pt idx="1269">
                  <c:v>3.5285733355137059</c:v>
                </c:pt>
                <c:pt idx="1270">
                  <c:v>3.6069324879160374</c:v>
                </c:pt>
                <c:pt idx="1271">
                  <c:v>3.4852290158984576</c:v>
                </c:pt>
                <c:pt idx="1272">
                  <c:v>2.4927903462695644</c:v>
                </c:pt>
                <c:pt idx="1273">
                  <c:v>2.4638587882087628</c:v>
                </c:pt>
                <c:pt idx="1274">
                  <c:v>2.499575431518315</c:v>
                </c:pt>
                <c:pt idx="1275">
                  <c:v>2.4920023755717153</c:v>
                </c:pt>
                <c:pt idx="1276">
                  <c:v>2.472124310228129</c:v>
                </c:pt>
                <c:pt idx="1277">
                  <c:v>2.5096862282494916</c:v>
                </c:pt>
                <c:pt idx="1278">
                  <c:v>2.5300036985925423</c:v>
                </c:pt>
                <c:pt idx="1279">
                  <c:v>2.7786857585428781</c:v>
                </c:pt>
                <c:pt idx="1280">
                  <c:v>2.8160503369054419</c:v>
                </c:pt>
                <c:pt idx="1281">
                  <c:v>2.822139559098281</c:v>
                </c:pt>
                <c:pt idx="1282">
                  <c:v>3.1355870730745132</c:v>
                </c:pt>
                <c:pt idx="1283">
                  <c:v>3.1356289127039809</c:v>
                </c:pt>
                <c:pt idx="1284">
                  <c:v>3.1502820575910047</c:v>
                </c:pt>
                <c:pt idx="1285">
                  <c:v>3.1507505949564223</c:v>
                </c:pt>
                <c:pt idx="1286">
                  <c:v>3.1899556753436515</c:v>
                </c:pt>
                <c:pt idx="1287">
                  <c:v>3.1922042026143438</c:v>
                </c:pt>
                <c:pt idx="1288">
                  <c:v>3.2577213389171598</c:v>
                </c:pt>
                <c:pt idx="1289">
                  <c:v>3.2699584038034684</c:v>
                </c:pt>
                <c:pt idx="1290">
                  <c:v>3.0847537596275001</c:v>
                </c:pt>
                <c:pt idx="1291">
                  <c:v>3.0864347587732914</c:v>
                </c:pt>
                <c:pt idx="1292">
                  <c:v>3.1455181246925545</c:v>
                </c:pt>
                <c:pt idx="1293">
                  <c:v>2.9802983592661492</c:v>
                </c:pt>
                <c:pt idx="1294">
                  <c:v>3.3562180937945798</c:v>
                </c:pt>
                <c:pt idx="1295">
                  <c:v>3.5382597391986503</c:v>
                </c:pt>
                <c:pt idx="1296">
                  <c:v>3.5225603347924928</c:v>
                </c:pt>
                <c:pt idx="1297">
                  <c:v>3.5847669654928564</c:v>
                </c:pt>
                <c:pt idx="1298">
                  <c:v>3.5847669654928564</c:v>
                </c:pt>
                <c:pt idx="1299">
                  <c:v>3.6371869216696746</c:v>
                </c:pt>
                <c:pt idx="1300">
                  <c:v>3.9529150723586044</c:v>
                </c:pt>
                <c:pt idx="1301">
                  <c:v>3.9509059337850756</c:v>
                </c:pt>
                <c:pt idx="1302">
                  <c:v>3.9364112836831699</c:v>
                </c:pt>
                <c:pt idx="1303">
                  <c:v>3.9227084292356036</c:v>
                </c:pt>
                <c:pt idx="1304">
                  <c:v>3.9172368721094153</c:v>
                </c:pt>
                <c:pt idx="1305">
                  <c:v>3.955365517481944</c:v>
                </c:pt>
                <c:pt idx="1306">
                  <c:v>3.953202759388172</c:v>
                </c:pt>
                <c:pt idx="1307">
                  <c:v>4.0843360347884623</c:v>
                </c:pt>
                <c:pt idx="1308">
                  <c:v>4.3016380522218869</c:v>
                </c:pt>
                <c:pt idx="1309">
                  <c:v>4.1821260120703361</c:v>
                </c:pt>
                <c:pt idx="1310">
                  <c:v>4.2636184060907016</c:v>
                </c:pt>
                <c:pt idx="1311">
                  <c:v>4.2678945964136235</c:v>
                </c:pt>
                <c:pt idx="1312">
                  <c:v>4.1201275452158557</c:v>
                </c:pt>
                <c:pt idx="1313">
                  <c:v>4.1197110510300341</c:v>
                </c:pt>
                <c:pt idx="1314">
                  <c:v>4.1186000083519563</c:v>
                </c:pt>
                <c:pt idx="1315">
                  <c:v>4.1701311146665994</c:v>
                </c:pt>
                <c:pt idx="1316">
                  <c:v>4.1689092984346683</c:v>
                </c:pt>
                <c:pt idx="1317">
                  <c:v>4.1775075631973193</c:v>
                </c:pt>
                <c:pt idx="1318">
                  <c:v>4.1112796368033466</c:v>
                </c:pt>
                <c:pt idx="1319">
                  <c:v>4.1093232747380917</c:v>
                </c:pt>
                <c:pt idx="1320">
                  <c:v>4.0587872436203227</c:v>
                </c:pt>
                <c:pt idx="1321">
                  <c:v>4.0395663279520129</c:v>
                </c:pt>
                <c:pt idx="1322">
                  <c:v>3.9669178893376369</c:v>
                </c:pt>
                <c:pt idx="1323">
                  <c:v>3.9629061052417134</c:v>
                </c:pt>
                <c:pt idx="1324">
                  <c:v>3.7284705979039678</c:v>
                </c:pt>
                <c:pt idx="1325">
                  <c:v>3.6105020085140116</c:v>
                </c:pt>
                <c:pt idx="1326">
                  <c:v>3.6735478765568641</c:v>
                </c:pt>
                <c:pt idx="1327">
                  <c:v>3.6647964992989737</c:v>
                </c:pt>
                <c:pt idx="1328">
                  <c:v>3.6543171933548697</c:v>
                </c:pt>
                <c:pt idx="1329">
                  <c:v>3.6019692396239127</c:v>
                </c:pt>
                <c:pt idx="1330">
                  <c:v>3.2761076703860335</c:v>
                </c:pt>
                <c:pt idx="1331">
                  <c:v>3.2873864545338667</c:v>
                </c:pt>
                <c:pt idx="1332">
                  <c:v>3.3133289305284723</c:v>
                </c:pt>
                <c:pt idx="1333">
                  <c:v>3.3345612773308004</c:v>
                </c:pt>
                <c:pt idx="1334">
                  <c:v>3.3320533551442688</c:v>
                </c:pt>
                <c:pt idx="1335">
                  <c:v>3.3049562244396147</c:v>
                </c:pt>
                <c:pt idx="1336">
                  <c:v>3.2878219378753148</c:v>
                </c:pt>
                <c:pt idx="1337">
                  <c:v>3.0489018882084058</c:v>
                </c:pt>
                <c:pt idx="1338">
                  <c:v>2.5933425169095585</c:v>
                </c:pt>
                <c:pt idx="1339">
                  <c:v>2.5887409233830216</c:v>
                </c:pt>
                <c:pt idx="1340">
                  <c:v>2.1704709192247731</c:v>
                </c:pt>
                <c:pt idx="1341">
                  <c:v>2.2158087233106993</c:v>
                </c:pt>
                <c:pt idx="1342">
                  <c:v>2.037509453696758</c:v>
                </c:pt>
                <c:pt idx="1343">
                  <c:v>2.025957662457305</c:v>
                </c:pt>
                <c:pt idx="1344">
                  <c:v>1.9614091953692179</c:v>
                </c:pt>
                <c:pt idx="1345">
                  <c:v>1.9499103204364361</c:v>
                </c:pt>
                <c:pt idx="1346">
                  <c:v>1.9672346536396259</c:v>
                </c:pt>
                <c:pt idx="1347">
                  <c:v>1.9952962148861406</c:v>
                </c:pt>
                <c:pt idx="1348">
                  <c:v>1.9960025971616506</c:v>
                </c:pt>
                <c:pt idx="1349">
                  <c:v>1.9857645558663477</c:v>
                </c:pt>
                <c:pt idx="1350">
                  <c:v>2.037295857376733</c:v>
                </c:pt>
                <c:pt idx="1351">
                  <c:v>2.0580786651588476</c:v>
                </c:pt>
                <c:pt idx="1352">
                  <c:v>1.9723533636388348</c:v>
                </c:pt>
                <c:pt idx="1353">
                  <c:v>1.9534871402851037</c:v>
                </c:pt>
                <c:pt idx="1354">
                  <c:v>1.8049941717857558</c:v>
                </c:pt>
                <c:pt idx="1355">
                  <c:v>1.7727957995104038</c:v>
                </c:pt>
                <c:pt idx="1356">
                  <c:v>1.7487890759461329</c:v>
                </c:pt>
                <c:pt idx="1357">
                  <c:v>1.7191727419945393</c:v>
                </c:pt>
                <c:pt idx="1358">
                  <c:v>1.7615415357387014</c:v>
                </c:pt>
                <c:pt idx="1359">
                  <c:v>1.8085866744812069</c:v>
                </c:pt>
                <c:pt idx="1360">
                  <c:v>1.4940588004067621</c:v>
                </c:pt>
                <c:pt idx="1361">
                  <c:v>2.4483142279261392</c:v>
                </c:pt>
                <c:pt idx="1362">
                  <c:v>2.4534771665185868</c:v>
                </c:pt>
                <c:pt idx="1363">
                  <c:v>2.458700038539757</c:v>
                </c:pt>
                <c:pt idx="1364">
                  <c:v>2.4674967719296994</c:v>
                </c:pt>
                <c:pt idx="1365">
                  <c:v>2.4676142015377507</c:v>
                </c:pt>
                <c:pt idx="1366">
                  <c:v>2.4684407113453473</c:v>
                </c:pt>
                <c:pt idx="1367">
                  <c:v>2.4682057719658532</c:v>
                </c:pt>
                <c:pt idx="1368">
                  <c:v>2.460546164052789</c:v>
                </c:pt>
                <c:pt idx="1369">
                  <c:v>2.4607726237583654</c:v>
                </c:pt>
                <c:pt idx="1370">
                  <c:v>2.4608096571435176</c:v>
                </c:pt>
                <c:pt idx="1371">
                  <c:v>2.4200171808934399</c:v>
                </c:pt>
                <c:pt idx="1372">
                  <c:v>2.4012597640500166</c:v>
                </c:pt>
                <c:pt idx="1373">
                  <c:v>2.4072697361774873</c:v>
                </c:pt>
                <c:pt idx="1374">
                  <c:v>2.3562274807651713</c:v>
                </c:pt>
                <c:pt idx="1375">
                  <c:v>2.3654788666301712</c:v>
                </c:pt>
                <c:pt idx="1376">
                  <c:v>2.3411755573094535</c:v>
                </c:pt>
                <c:pt idx="1377">
                  <c:v>2.3220041796913575</c:v>
                </c:pt>
                <c:pt idx="1378">
                  <c:v>2.3206805876208976</c:v>
                </c:pt>
                <c:pt idx="1379">
                  <c:v>2.4115405371889027</c:v>
                </c:pt>
                <c:pt idx="1380">
                  <c:v>2.4250745434520868</c:v>
                </c:pt>
                <c:pt idx="1381">
                  <c:v>2.387204417524885</c:v>
                </c:pt>
                <c:pt idx="1382">
                  <c:v>2.3791405896898588</c:v>
                </c:pt>
                <c:pt idx="1383">
                  <c:v>2.3648721722334489</c:v>
                </c:pt>
                <c:pt idx="1384">
                  <c:v>2.4057127363771702</c:v>
                </c:pt>
                <c:pt idx="1385">
                  <c:v>2.4124168717446941</c:v>
                </c:pt>
                <c:pt idx="1386">
                  <c:v>2.4156636467086128</c:v>
                </c:pt>
                <c:pt idx="1387">
                  <c:v>2.4098577306635258</c:v>
                </c:pt>
                <c:pt idx="1388">
                  <c:v>2.3707881019786452</c:v>
                </c:pt>
                <c:pt idx="1389">
                  <c:v>2.9777294451174185</c:v>
                </c:pt>
                <c:pt idx="1390">
                  <c:v>3.0028277136379034</c:v>
                </c:pt>
                <c:pt idx="1391">
                  <c:v>2.3932204632938525</c:v>
                </c:pt>
                <c:pt idx="1392">
                  <c:v>2.4194345036606029</c:v>
                </c:pt>
                <c:pt idx="1393">
                  <c:v>2.4037029310808791</c:v>
                </c:pt>
                <c:pt idx="1394">
                  <c:v>2.3878909939956539</c:v>
                </c:pt>
                <c:pt idx="1395">
                  <c:v>2.4440342941981292</c:v>
                </c:pt>
                <c:pt idx="1396">
                  <c:v>2.4862500736995927</c:v>
                </c:pt>
                <c:pt idx="1397">
                  <c:v>2.5098582437978805</c:v>
                </c:pt>
                <c:pt idx="1398">
                  <c:v>2.5095152065348674</c:v>
                </c:pt>
                <c:pt idx="1399">
                  <c:v>2.5129528502207643</c:v>
                </c:pt>
                <c:pt idx="1400">
                  <c:v>2.5140197469666981</c:v>
                </c:pt>
                <c:pt idx="1401">
                  <c:v>2.511985560696687</c:v>
                </c:pt>
                <c:pt idx="1402">
                  <c:v>2.4998233981845548</c:v>
                </c:pt>
                <c:pt idx="1403">
                  <c:v>2.4867710920805544</c:v>
                </c:pt>
                <c:pt idx="1404">
                  <c:v>2.4578512561600858</c:v>
                </c:pt>
                <c:pt idx="1405">
                  <c:v>2.4423371913090191</c:v>
                </c:pt>
                <c:pt idx="1406">
                  <c:v>2.485137492411813</c:v>
                </c:pt>
                <c:pt idx="1407">
                  <c:v>2.4802781964283418</c:v>
                </c:pt>
                <c:pt idx="1408">
                  <c:v>2.4880223303265145</c:v>
                </c:pt>
                <c:pt idx="1409">
                  <c:v>2.4245500100242268</c:v>
                </c:pt>
                <c:pt idx="1410">
                  <c:v>2.3930873015514984</c:v>
                </c:pt>
                <c:pt idx="1411">
                  <c:v>2.3980442270628717</c:v>
                </c:pt>
                <c:pt idx="1412">
                  <c:v>2.4090608028915756</c:v>
                </c:pt>
                <c:pt idx="1413">
                  <c:v>2.4083610152124497</c:v>
                </c:pt>
                <c:pt idx="1414">
                  <c:v>2.373041499899101</c:v>
                </c:pt>
                <c:pt idx="1415">
                  <c:v>2.372103479114049</c:v>
                </c:pt>
                <c:pt idx="1416">
                  <c:v>2.3673465689223221</c:v>
                </c:pt>
                <c:pt idx="1417">
                  <c:v>2.3659737405381858</c:v>
                </c:pt>
                <c:pt idx="1418">
                  <c:v>2.4100221390961254</c:v>
                </c:pt>
                <c:pt idx="1419">
                  <c:v>1.4400153353564633</c:v>
                </c:pt>
                <c:pt idx="1420">
                  <c:v>1.3785080311058666</c:v>
                </c:pt>
                <c:pt idx="1421">
                  <c:v>1.3087720049119347</c:v>
                </c:pt>
                <c:pt idx="1422">
                  <c:v>1.2683085287155189</c:v>
                </c:pt>
                <c:pt idx="1423">
                  <c:v>1.28623778640424</c:v>
                </c:pt>
                <c:pt idx="1424">
                  <c:v>2.6866178815631105</c:v>
                </c:pt>
                <c:pt idx="1425">
                  <c:v>2.6859853291387568</c:v>
                </c:pt>
                <c:pt idx="1426">
                  <c:v>2.6730139199142329</c:v>
                </c:pt>
                <c:pt idx="1427">
                  <c:v>2.6666186666248555</c:v>
                </c:pt>
                <c:pt idx="1428">
                  <c:v>2.694323011424486</c:v>
                </c:pt>
                <c:pt idx="1429">
                  <c:v>2.8721002216120497</c:v>
                </c:pt>
                <c:pt idx="1430">
                  <c:v>2.9040355156139066</c:v>
                </c:pt>
                <c:pt idx="1431">
                  <c:v>2.9343507772687469</c:v>
                </c:pt>
                <c:pt idx="1432">
                  <c:v>2.9617849109510028</c:v>
                </c:pt>
                <c:pt idx="1433">
                  <c:v>2.9830125630488689</c:v>
                </c:pt>
                <c:pt idx="1434">
                  <c:v>3.0038162836235553</c:v>
                </c:pt>
                <c:pt idx="1435">
                  <c:v>3.0125678464109393</c:v>
                </c:pt>
                <c:pt idx="1436">
                  <c:v>3.0187317748534821</c:v>
                </c:pt>
                <c:pt idx="1437">
                  <c:v>3.0361877250401585</c:v>
                </c:pt>
                <c:pt idx="1438">
                  <c:v>3.0216029321867905</c:v>
                </c:pt>
                <c:pt idx="1439">
                  <c:v>3.0450799144821019</c:v>
                </c:pt>
                <c:pt idx="1440">
                  <c:v>3.2821138910884242</c:v>
                </c:pt>
                <c:pt idx="1441">
                  <c:v>3.3017314825594073</c:v>
                </c:pt>
                <c:pt idx="1442">
                  <c:v>3.2857108518100993</c:v>
                </c:pt>
                <c:pt idx="1443">
                  <c:v>3.2850093265804379</c:v>
                </c:pt>
                <c:pt idx="1444">
                  <c:v>3.2849539261549832</c:v>
                </c:pt>
                <c:pt idx="1445">
                  <c:v>3.6798467118782594</c:v>
                </c:pt>
                <c:pt idx="1446">
                  <c:v>3.6999805927915435</c:v>
                </c:pt>
                <c:pt idx="1447">
                  <c:v>3.7187238702801095</c:v>
                </c:pt>
                <c:pt idx="1448">
                  <c:v>3.7191249619694746</c:v>
                </c:pt>
                <c:pt idx="1449">
                  <c:v>3.7289534736398733</c:v>
                </c:pt>
                <c:pt idx="1450">
                  <c:v>3.7325269565567041</c:v>
                </c:pt>
                <c:pt idx="1451">
                  <c:v>3.7458740944698956</c:v>
                </c:pt>
                <c:pt idx="1452">
                  <c:v>3.7578741657579946</c:v>
                </c:pt>
                <c:pt idx="1453">
                  <c:v>3.7582242716170544</c:v>
                </c:pt>
                <c:pt idx="1454">
                  <c:v>3.1142778558699447</c:v>
                </c:pt>
                <c:pt idx="1455">
                  <c:v>3.1146431121738076</c:v>
                </c:pt>
                <c:pt idx="1456">
                  <c:v>3.1168080132745577</c:v>
                </c:pt>
                <c:pt idx="1457">
                  <c:v>3.1171885304218447</c:v>
                </c:pt>
                <c:pt idx="1458">
                  <c:v>3.1061725904295083</c:v>
                </c:pt>
                <c:pt idx="1459">
                  <c:v>2.8949360376667075</c:v>
                </c:pt>
                <c:pt idx="1460">
                  <c:v>2.8887168049232943</c:v>
                </c:pt>
                <c:pt idx="1461">
                  <c:v>2.877975997933202</c:v>
                </c:pt>
                <c:pt idx="1462">
                  <c:v>3.1029260295529864</c:v>
                </c:pt>
                <c:pt idx="1463">
                  <c:v>3.2724994579613473</c:v>
                </c:pt>
                <c:pt idx="1464">
                  <c:v>3.2518701737052247</c:v>
                </c:pt>
                <c:pt idx="1465">
                  <c:v>3.2297509815618266</c:v>
                </c:pt>
                <c:pt idx="1466">
                  <c:v>3.2060888991453376</c:v>
                </c:pt>
                <c:pt idx="1467">
                  <c:v>3.1819321904115001</c:v>
                </c:pt>
                <c:pt idx="1468">
                  <c:v>3.1564519618906357</c:v>
                </c:pt>
                <c:pt idx="1469">
                  <c:v>3.1386318580957155</c:v>
                </c:pt>
                <c:pt idx="1470">
                  <c:v>2.89645034308738</c:v>
                </c:pt>
                <c:pt idx="1471">
                  <c:v>3.1156802795282963</c:v>
                </c:pt>
                <c:pt idx="1472">
                  <c:v>3.1230702167240754</c:v>
                </c:pt>
                <c:pt idx="1473">
                  <c:v>3.1194168036849916</c:v>
                </c:pt>
                <c:pt idx="1474">
                  <c:v>3.1270882352983351</c:v>
                </c:pt>
                <c:pt idx="1475">
                  <c:v>2.69904336633277</c:v>
                </c:pt>
                <c:pt idx="1476">
                  <c:v>2.6990433663327669</c:v>
                </c:pt>
                <c:pt idx="1477">
                  <c:v>2.6833466394710119</c:v>
                </c:pt>
                <c:pt idx="1478">
                  <c:v>3.1862708183998998</c:v>
                </c:pt>
                <c:pt idx="1479">
                  <c:v>3.180433057365637</c:v>
                </c:pt>
                <c:pt idx="1480">
                  <c:v>3.1734980263397361</c:v>
                </c:pt>
                <c:pt idx="1481">
                  <c:v>3.1615936271498111</c:v>
                </c:pt>
                <c:pt idx="1482">
                  <c:v>3.1481315501161538</c:v>
                </c:pt>
                <c:pt idx="1483">
                  <c:v>3.2379547181468475</c:v>
                </c:pt>
                <c:pt idx="1484">
                  <c:v>3.0941743477600854</c:v>
                </c:pt>
                <c:pt idx="1485">
                  <c:v>3.0942416486139823</c:v>
                </c:pt>
                <c:pt idx="1486">
                  <c:v>3.1102976165263807</c:v>
                </c:pt>
                <c:pt idx="1487">
                  <c:v>3.1991888716365464</c:v>
                </c:pt>
                <c:pt idx="1488">
                  <c:v>3.221383224807973</c:v>
                </c:pt>
                <c:pt idx="1489">
                  <c:v>3.2108884649551714</c:v>
                </c:pt>
                <c:pt idx="1490">
                  <c:v>3.2323109298123245</c:v>
                </c:pt>
                <c:pt idx="1491">
                  <c:v>3.3202929265422787</c:v>
                </c:pt>
                <c:pt idx="1492">
                  <c:v>3.1962398671012577</c:v>
                </c:pt>
                <c:pt idx="1493">
                  <c:v>3.0790825333335481</c:v>
                </c:pt>
                <c:pt idx="1494">
                  <c:v>3.0881057666139982</c:v>
                </c:pt>
                <c:pt idx="1495">
                  <c:v>3.1177162859408618</c:v>
                </c:pt>
                <c:pt idx="1496">
                  <c:v>3.5317311941269365</c:v>
                </c:pt>
                <c:pt idx="1497">
                  <c:v>3.5407033136094026</c:v>
                </c:pt>
                <c:pt idx="1498">
                  <c:v>3.5677615844983666</c:v>
                </c:pt>
                <c:pt idx="1499">
                  <c:v>3.6784815384007654</c:v>
                </c:pt>
                <c:pt idx="1500">
                  <c:v>4.5671386688688891</c:v>
                </c:pt>
                <c:pt idx="1501">
                  <c:v>4.4817357605048418</c:v>
                </c:pt>
                <c:pt idx="1502">
                  <c:v>4.471302695818661</c:v>
                </c:pt>
                <c:pt idx="1503">
                  <c:v>4.4862310839521511</c:v>
                </c:pt>
                <c:pt idx="1504">
                  <c:v>4.491934050254045</c:v>
                </c:pt>
                <c:pt idx="1505">
                  <c:v>4.5180477268571648</c:v>
                </c:pt>
                <c:pt idx="1506">
                  <c:v>4.9245189006652943</c:v>
                </c:pt>
                <c:pt idx="1507">
                  <c:v>4.9380385439183261</c:v>
                </c:pt>
                <c:pt idx="1508">
                  <c:v>4.7036373467756238</c:v>
                </c:pt>
                <c:pt idx="1509">
                  <c:v>4.7077152062496515</c:v>
                </c:pt>
                <c:pt idx="1510">
                  <c:v>4.7127404470924006</c:v>
                </c:pt>
                <c:pt idx="1511">
                  <c:v>4.8901478170650057</c:v>
                </c:pt>
                <c:pt idx="1512">
                  <c:v>4.901029882373364</c:v>
                </c:pt>
                <c:pt idx="1513">
                  <c:v>4.8667090778122173</c:v>
                </c:pt>
                <c:pt idx="1514">
                  <c:v>4.8667493623632172</c:v>
                </c:pt>
                <c:pt idx="1515">
                  <c:v>4.867144380335497</c:v>
                </c:pt>
                <c:pt idx="1516">
                  <c:v>4.8671443803354961</c:v>
                </c:pt>
                <c:pt idx="1517">
                  <c:v>4.8423618188601143</c:v>
                </c:pt>
                <c:pt idx="1518">
                  <c:v>4.8428308584597479</c:v>
                </c:pt>
                <c:pt idx="1519">
                  <c:v>4.8475369962071069</c:v>
                </c:pt>
                <c:pt idx="1520">
                  <c:v>4.8296789285508703</c:v>
                </c:pt>
                <c:pt idx="1521">
                  <c:v>4.7690686655379393</c:v>
                </c:pt>
                <c:pt idx="1522">
                  <c:v>4.7498027944380397</c:v>
                </c:pt>
                <c:pt idx="1523">
                  <c:v>4.7390388312881111</c:v>
                </c:pt>
                <c:pt idx="1524">
                  <c:v>4.7459597225880508</c:v>
                </c:pt>
                <c:pt idx="1525">
                  <c:v>4.7248362635291521</c:v>
                </c:pt>
                <c:pt idx="1526">
                  <c:v>4.4865463856990884</c:v>
                </c:pt>
                <c:pt idx="1527">
                  <c:v>5.6416039564967813</c:v>
                </c:pt>
                <c:pt idx="1528">
                  <c:v>5.6303709629774232</c:v>
                </c:pt>
                <c:pt idx="1529">
                  <c:v>5.5760422993131149</c:v>
                </c:pt>
                <c:pt idx="1530">
                  <c:v>4.8993140508543673</c:v>
                </c:pt>
                <c:pt idx="1531">
                  <c:v>4.8894975739626734</c:v>
                </c:pt>
                <c:pt idx="1532">
                  <c:v>4.9037806417214211</c:v>
                </c:pt>
                <c:pt idx="1533">
                  <c:v>4.9196530927631024</c:v>
                </c:pt>
                <c:pt idx="1534">
                  <c:v>5.0559157274342077</c:v>
                </c:pt>
                <c:pt idx="1535">
                  <c:v>5.0310200590562602</c:v>
                </c:pt>
                <c:pt idx="1536">
                  <c:v>4.5928320565132363</c:v>
                </c:pt>
                <c:pt idx="1537">
                  <c:v>4.5739317280101845</c:v>
                </c:pt>
                <c:pt idx="1538">
                  <c:v>4.5542479842575911</c:v>
                </c:pt>
                <c:pt idx="1539">
                  <c:v>4.5453121139931714</c:v>
                </c:pt>
                <c:pt idx="1540">
                  <c:v>4.5235698821068446</c:v>
                </c:pt>
                <c:pt idx="1541">
                  <c:v>4.2711691152347058</c:v>
                </c:pt>
                <c:pt idx="1542">
                  <c:v>4.2467207353713041</c:v>
                </c:pt>
                <c:pt idx="1543">
                  <c:v>4.2386409658836648</c:v>
                </c:pt>
                <c:pt idx="1544">
                  <c:v>4.3094064075559828</c:v>
                </c:pt>
                <c:pt idx="1545">
                  <c:v>4.300850739587454</c:v>
                </c:pt>
                <c:pt idx="1546">
                  <c:v>4.2800162971024047</c:v>
                </c:pt>
                <c:pt idx="1547">
                  <c:v>4.268457918670121</c:v>
                </c:pt>
                <c:pt idx="1548">
                  <c:v>4.2355148011112309</c:v>
                </c:pt>
                <c:pt idx="1549">
                  <c:v>4.2010687737458525</c:v>
                </c:pt>
                <c:pt idx="1550">
                  <c:v>4.2216127907377512</c:v>
                </c:pt>
                <c:pt idx="1551">
                  <c:v>4.2188702723916931</c:v>
                </c:pt>
                <c:pt idx="1552">
                  <c:v>4.2244181868525317</c:v>
                </c:pt>
                <c:pt idx="1553">
                  <c:v>4.2090711241682168</c:v>
                </c:pt>
                <c:pt idx="1554">
                  <c:v>4.2362866265367698</c:v>
                </c:pt>
                <c:pt idx="1555">
                  <c:v>4.2374957634671118</c:v>
                </c:pt>
                <c:pt idx="1556">
                  <c:v>4.2044841734512532</c:v>
                </c:pt>
                <c:pt idx="1557">
                  <c:v>2.3159573383640453</c:v>
                </c:pt>
                <c:pt idx="1558">
                  <c:v>2.2989405025836311</c:v>
                </c:pt>
                <c:pt idx="1559">
                  <c:v>2.3087536195656986</c:v>
                </c:pt>
                <c:pt idx="1560">
                  <c:v>2.294866739364255</c:v>
                </c:pt>
                <c:pt idx="1561">
                  <c:v>2.290038863070849</c:v>
                </c:pt>
                <c:pt idx="1562">
                  <c:v>2.2892777941789397</c:v>
                </c:pt>
                <c:pt idx="1563">
                  <c:v>2.2525624354384037</c:v>
                </c:pt>
                <c:pt idx="1564">
                  <c:v>1.9340745049667503</c:v>
                </c:pt>
                <c:pt idx="1565">
                  <c:v>1.967956148715055</c:v>
                </c:pt>
                <c:pt idx="1566">
                  <c:v>1.8716351836762752</c:v>
                </c:pt>
                <c:pt idx="1567">
                  <c:v>2.3413672712919524</c:v>
                </c:pt>
                <c:pt idx="1568">
                  <c:v>2.3608732274678528</c:v>
                </c:pt>
                <c:pt idx="1569">
                  <c:v>2.3456872497336358</c:v>
                </c:pt>
                <c:pt idx="1570">
                  <c:v>2.3397939008633339</c:v>
                </c:pt>
                <c:pt idx="1571">
                  <c:v>2.3353473187883904</c:v>
                </c:pt>
                <c:pt idx="1572">
                  <c:v>2.3354763622196169</c:v>
                </c:pt>
                <c:pt idx="1573">
                  <c:v>2.3125704786014971</c:v>
                </c:pt>
                <c:pt idx="1574">
                  <c:v>2.0787627435535705</c:v>
                </c:pt>
                <c:pt idx="1575">
                  <c:v>1.9836674544232877</c:v>
                </c:pt>
                <c:pt idx="1576">
                  <c:v>1.9773275868214666</c:v>
                </c:pt>
                <c:pt idx="1577">
                  <c:v>1.970995660739695</c:v>
                </c:pt>
                <c:pt idx="1578">
                  <c:v>1.9753608759125507</c:v>
                </c:pt>
                <c:pt idx="1579">
                  <c:v>2.1022706557632906</c:v>
                </c:pt>
                <c:pt idx="1580">
                  <c:v>2.0847713418292297</c:v>
                </c:pt>
                <c:pt idx="1581">
                  <c:v>2.1245732871355512</c:v>
                </c:pt>
                <c:pt idx="1582">
                  <c:v>2.1230743004589785</c:v>
                </c:pt>
                <c:pt idx="1583">
                  <c:v>2.1122608254861213</c:v>
                </c:pt>
                <c:pt idx="1584">
                  <c:v>2.0766694844304801</c:v>
                </c:pt>
                <c:pt idx="1585">
                  <c:v>2.0473544499729761</c:v>
                </c:pt>
                <c:pt idx="1586">
                  <c:v>2.0876885419088986</c:v>
                </c:pt>
                <c:pt idx="1587">
                  <c:v>2.1320566000464627</c:v>
                </c:pt>
                <c:pt idx="1588">
                  <c:v>2.168914827927038</c:v>
                </c:pt>
                <c:pt idx="1589">
                  <c:v>2.1889783529891313</c:v>
                </c:pt>
                <c:pt idx="1590">
                  <c:v>2.1907945667479978</c:v>
                </c:pt>
                <c:pt idx="1591">
                  <c:v>2.177036222881672</c:v>
                </c:pt>
                <c:pt idx="1592">
                  <c:v>2.1560392237308275</c:v>
                </c:pt>
                <c:pt idx="1593">
                  <c:v>2.7717166128530222</c:v>
                </c:pt>
                <c:pt idx="1594">
                  <c:v>2.786939453354182</c:v>
                </c:pt>
                <c:pt idx="1595">
                  <c:v>2.7862898465873869</c:v>
                </c:pt>
                <c:pt idx="1596">
                  <c:v>3.0026293494670164</c:v>
                </c:pt>
                <c:pt idx="1597">
                  <c:v>2.7041674209891089</c:v>
                </c:pt>
                <c:pt idx="1598">
                  <c:v>2.6759728137940422</c:v>
                </c:pt>
                <c:pt idx="1599">
                  <c:v>2.7023755008157337</c:v>
                </c:pt>
                <c:pt idx="1600">
                  <c:v>2.7028809142032855</c:v>
                </c:pt>
                <c:pt idx="1601">
                  <c:v>2.7097673452408197</c:v>
                </c:pt>
                <c:pt idx="1602">
                  <c:v>2.7434087607865973</c:v>
                </c:pt>
                <c:pt idx="1603">
                  <c:v>2.7736530381412035</c:v>
                </c:pt>
                <c:pt idx="1604">
                  <c:v>2.8029829514732683</c:v>
                </c:pt>
                <c:pt idx="1605">
                  <c:v>2.8287613184418241</c:v>
                </c:pt>
                <c:pt idx="1606">
                  <c:v>2.8508579533266851</c:v>
                </c:pt>
                <c:pt idx="1607">
                  <c:v>2.8685613724127825</c:v>
                </c:pt>
                <c:pt idx="1608">
                  <c:v>2.8826445851870979</c:v>
                </c:pt>
                <c:pt idx="1609">
                  <c:v>2.7748280834094352</c:v>
                </c:pt>
                <c:pt idx="1610">
                  <c:v>2.7705606515501868</c:v>
                </c:pt>
                <c:pt idx="1611">
                  <c:v>2.7705606515501895</c:v>
                </c:pt>
                <c:pt idx="1612">
                  <c:v>2.778638121548568</c:v>
                </c:pt>
                <c:pt idx="1613">
                  <c:v>2.8269096780699585</c:v>
                </c:pt>
                <c:pt idx="1614">
                  <c:v>2.8395072045177443</c:v>
                </c:pt>
                <c:pt idx="1615">
                  <c:v>2.837940408530808</c:v>
                </c:pt>
                <c:pt idx="1616">
                  <c:v>2.8311763981108657</c:v>
                </c:pt>
                <c:pt idx="1617">
                  <c:v>2.7754926770399848</c:v>
                </c:pt>
                <c:pt idx="1618">
                  <c:v>2.7754926770399835</c:v>
                </c:pt>
                <c:pt idx="1619">
                  <c:v>3.1150190829744742</c:v>
                </c:pt>
                <c:pt idx="1620">
                  <c:v>3.121395212529849</c:v>
                </c:pt>
                <c:pt idx="1621">
                  <c:v>3.1217476003228173</c:v>
                </c:pt>
                <c:pt idx="1622">
                  <c:v>3.1166880912838786</c:v>
                </c:pt>
                <c:pt idx="1623">
                  <c:v>2.4618659173265365</c:v>
                </c:pt>
                <c:pt idx="1624">
                  <c:v>2.4489710013939083</c:v>
                </c:pt>
                <c:pt idx="1625">
                  <c:v>2.5155906777652</c:v>
                </c:pt>
                <c:pt idx="1626">
                  <c:v>2.0851486795362462</c:v>
                </c:pt>
                <c:pt idx="1627">
                  <c:v>2.0973944691447337</c:v>
                </c:pt>
                <c:pt idx="1628">
                  <c:v>2.0782420586785455</c:v>
                </c:pt>
                <c:pt idx="1629">
                  <c:v>2.0786376523929171</c:v>
                </c:pt>
                <c:pt idx="1630">
                  <c:v>2.0671917383080873</c:v>
                </c:pt>
                <c:pt idx="1631">
                  <c:v>2.0202191454181699</c:v>
                </c:pt>
                <c:pt idx="1632">
                  <c:v>2.0202191454181699</c:v>
                </c:pt>
                <c:pt idx="1633">
                  <c:v>2.0202191454181699</c:v>
                </c:pt>
                <c:pt idx="1634">
                  <c:v>2.0202191454181699</c:v>
                </c:pt>
                <c:pt idx="1635">
                  <c:v>2.0202191454181739</c:v>
                </c:pt>
                <c:pt idx="1636">
                  <c:v>2.0202191454181699</c:v>
                </c:pt>
                <c:pt idx="1637">
                  <c:v>2.0202191454181699</c:v>
                </c:pt>
                <c:pt idx="1638">
                  <c:v>2.0202191454181659</c:v>
                </c:pt>
                <c:pt idx="1639">
                  <c:v>2.0202191454181619</c:v>
                </c:pt>
                <c:pt idx="1640">
                  <c:v>2.0202191454181659</c:v>
                </c:pt>
                <c:pt idx="1641">
                  <c:v>2.0202191454181619</c:v>
                </c:pt>
                <c:pt idx="1642">
                  <c:v>2.0202191454181619</c:v>
                </c:pt>
                <c:pt idx="1643">
                  <c:v>1.9125567999376973</c:v>
                </c:pt>
                <c:pt idx="1644">
                  <c:v>1.9125567999377013</c:v>
                </c:pt>
                <c:pt idx="1645">
                  <c:v>1.9160575523875161</c:v>
                </c:pt>
                <c:pt idx="1646">
                  <c:v>1.9200486023277228</c:v>
                </c:pt>
                <c:pt idx="1647">
                  <c:v>1.9204542430244551</c:v>
                </c:pt>
                <c:pt idx="1648">
                  <c:v>1.9204542430244551</c:v>
                </c:pt>
                <c:pt idx="1649">
                  <c:v>1.0518661707958379</c:v>
                </c:pt>
                <c:pt idx="1650">
                  <c:v>1.0515815626727973</c:v>
                </c:pt>
                <c:pt idx="1651">
                  <c:v>0.95960622923789585</c:v>
                </c:pt>
                <c:pt idx="1652">
                  <c:v>0.92130730892783308</c:v>
                </c:pt>
                <c:pt idx="1653">
                  <c:v>0.90537652873788654</c:v>
                </c:pt>
                <c:pt idx="1654">
                  <c:v>0.89058409831039076</c:v>
                </c:pt>
                <c:pt idx="1655">
                  <c:v>3.6134482266135691E-15</c:v>
                </c:pt>
                <c:pt idx="1656">
                  <c:v>3.6134482266135691E-15</c:v>
                </c:pt>
                <c:pt idx="1657">
                  <c:v>3.6134482266135691E-15</c:v>
                </c:pt>
                <c:pt idx="1658">
                  <c:v>3.6134482266135691E-15</c:v>
                </c:pt>
                <c:pt idx="1659">
                  <c:v>3.6134482266135691E-15</c:v>
                </c:pt>
                <c:pt idx="1660">
                  <c:v>3.6134482266135691E-15</c:v>
                </c:pt>
                <c:pt idx="1661">
                  <c:v>3.6134482266135691E-15</c:v>
                </c:pt>
                <c:pt idx="1662">
                  <c:v>3.6134482266135691E-15</c:v>
                </c:pt>
                <c:pt idx="1663">
                  <c:v>3.6134482266135691E-15</c:v>
                </c:pt>
                <c:pt idx="1664">
                  <c:v>3.6134482266135691E-15</c:v>
                </c:pt>
                <c:pt idx="1665">
                  <c:v>3.6134482266135691E-15</c:v>
                </c:pt>
                <c:pt idx="1666">
                  <c:v>3.6134482266135691E-15</c:v>
                </c:pt>
                <c:pt idx="1667">
                  <c:v>3.6134482266135691E-15</c:v>
                </c:pt>
                <c:pt idx="1668">
                  <c:v>3.6134482266135691E-15</c:v>
                </c:pt>
                <c:pt idx="1669">
                  <c:v>3.6134482266135691E-15</c:v>
                </c:pt>
                <c:pt idx="1670">
                  <c:v>3.6134482266135691E-15</c:v>
                </c:pt>
                <c:pt idx="1671">
                  <c:v>3.6134482266135691E-15</c:v>
                </c:pt>
                <c:pt idx="1672">
                  <c:v>3.6134482266135691E-15</c:v>
                </c:pt>
                <c:pt idx="1673">
                  <c:v>3.6134482266135691E-15</c:v>
                </c:pt>
                <c:pt idx="1674">
                  <c:v>3.6134482266135691E-15</c:v>
                </c:pt>
                <c:pt idx="1675">
                  <c:v>3.6134482266135691E-15</c:v>
                </c:pt>
                <c:pt idx="1676">
                  <c:v>3.6134482266135691E-15</c:v>
                </c:pt>
                <c:pt idx="1677">
                  <c:v>3.6134482266135691E-15</c:v>
                </c:pt>
                <c:pt idx="1678">
                  <c:v>3.6134482266135691E-15</c:v>
                </c:pt>
                <c:pt idx="1679">
                  <c:v>3.6134482266135691E-15</c:v>
                </c:pt>
                <c:pt idx="1680">
                  <c:v>3.6134482266135691E-15</c:v>
                </c:pt>
                <c:pt idx="1681">
                  <c:v>3.6134482266135691E-15</c:v>
                </c:pt>
                <c:pt idx="1682">
                  <c:v>3.6134482266135691E-15</c:v>
                </c:pt>
                <c:pt idx="1683">
                  <c:v>3.6134482266135691E-15</c:v>
                </c:pt>
                <c:pt idx="1684">
                  <c:v>3.6134482266135691E-15</c:v>
                </c:pt>
                <c:pt idx="1685">
                  <c:v>3.6134482266135691E-15</c:v>
                </c:pt>
                <c:pt idx="1686">
                  <c:v>3.6134482266135691E-15</c:v>
                </c:pt>
                <c:pt idx="1687">
                  <c:v>3.6134482266135691E-15</c:v>
                </c:pt>
                <c:pt idx="1688">
                  <c:v>3.6134482266135691E-15</c:v>
                </c:pt>
                <c:pt idx="1689">
                  <c:v>3.6134482266135691E-15</c:v>
                </c:pt>
                <c:pt idx="1690">
                  <c:v>3.6134482266135691E-15</c:v>
                </c:pt>
                <c:pt idx="1691">
                  <c:v>3.6134482266135691E-15</c:v>
                </c:pt>
                <c:pt idx="1692">
                  <c:v>3.6134482266135691E-15</c:v>
                </c:pt>
                <c:pt idx="1693">
                  <c:v>3.6134482266135691E-15</c:v>
                </c:pt>
                <c:pt idx="1694">
                  <c:v>3.6134482266135691E-15</c:v>
                </c:pt>
                <c:pt idx="1695">
                  <c:v>3.6134482266135691E-15</c:v>
                </c:pt>
                <c:pt idx="1696">
                  <c:v>3.6134482266135691E-15</c:v>
                </c:pt>
                <c:pt idx="1697">
                  <c:v>3.6134482266135691E-15</c:v>
                </c:pt>
                <c:pt idx="1698">
                  <c:v>3.6134482266135691E-15</c:v>
                </c:pt>
                <c:pt idx="1699">
                  <c:v>3.6134482266135691E-15</c:v>
                </c:pt>
                <c:pt idx="1700">
                  <c:v>3.6134482266135691E-15</c:v>
                </c:pt>
                <c:pt idx="1701">
                  <c:v>3.6134482266135691E-15</c:v>
                </c:pt>
                <c:pt idx="1702">
                  <c:v>3.6134482266135691E-15</c:v>
                </c:pt>
                <c:pt idx="1703">
                  <c:v>3.6134482266135691E-15</c:v>
                </c:pt>
                <c:pt idx="1704">
                  <c:v>3.6134482266135691E-15</c:v>
                </c:pt>
                <c:pt idx="1705">
                  <c:v>3.6134482266135691E-15</c:v>
                </c:pt>
                <c:pt idx="1706">
                  <c:v>3.6134482266135691E-15</c:v>
                </c:pt>
                <c:pt idx="1707">
                  <c:v>3.6134482266135691E-15</c:v>
                </c:pt>
                <c:pt idx="1708">
                  <c:v>3.6134482266135691E-15</c:v>
                </c:pt>
                <c:pt idx="1709">
                  <c:v>3.6134482266135691E-15</c:v>
                </c:pt>
                <c:pt idx="1710">
                  <c:v>3.6134482266135691E-15</c:v>
                </c:pt>
                <c:pt idx="1711">
                  <c:v>3.6134482266135691E-15</c:v>
                </c:pt>
                <c:pt idx="1712">
                  <c:v>3.6134482266135691E-15</c:v>
                </c:pt>
                <c:pt idx="1713">
                  <c:v>3.6134482266135691E-15</c:v>
                </c:pt>
                <c:pt idx="1714">
                  <c:v>3.6134482266135691E-15</c:v>
                </c:pt>
                <c:pt idx="1715">
                  <c:v>3.6134482266135691E-15</c:v>
                </c:pt>
                <c:pt idx="1716">
                  <c:v>3.6134482266135691E-15</c:v>
                </c:pt>
                <c:pt idx="1717">
                  <c:v>3.6134482266135691E-15</c:v>
                </c:pt>
                <c:pt idx="1718">
                  <c:v>3.6134482266135691E-15</c:v>
                </c:pt>
                <c:pt idx="1719">
                  <c:v>3.6134482266135691E-15</c:v>
                </c:pt>
                <c:pt idx="1720">
                  <c:v>3.6134482266135691E-15</c:v>
                </c:pt>
                <c:pt idx="1721">
                  <c:v>3.6134482266135691E-15</c:v>
                </c:pt>
                <c:pt idx="1722">
                  <c:v>3.6134482266135691E-15</c:v>
                </c:pt>
                <c:pt idx="1723">
                  <c:v>3.6134482266135691E-15</c:v>
                </c:pt>
                <c:pt idx="1724">
                  <c:v>3.6134482266135691E-15</c:v>
                </c:pt>
                <c:pt idx="1725">
                  <c:v>3.6134482266135691E-15</c:v>
                </c:pt>
                <c:pt idx="1726">
                  <c:v>3.6134482266135691E-15</c:v>
                </c:pt>
                <c:pt idx="1727">
                  <c:v>3.6134482266135691E-15</c:v>
                </c:pt>
                <c:pt idx="1728">
                  <c:v>3.6134482266135691E-15</c:v>
                </c:pt>
                <c:pt idx="1729">
                  <c:v>3.6134482266135691E-15</c:v>
                </c:pt>
                <c:pt idx="1730">
                  <c:v>3.6134482266135691E-15</c:v>
                </c:pt>
                <c:pt idx="1731">
                  <c:v>3.6134482266135691E-15</c:v>
                </c:pt>
                <c:pt idx="1732">
                  <c:v>3.6134482266135691E-15</c:v>
                </c:pt>
                <c:pt idx="1733">
                  <c:v>3.6134482266135691E-15</c:v>
                </c:pt>
                <c:pt idx="1734">
                  <c:v>3.6134482266135691E-15</c:v>
                </c:pt>
                <c:pt idx="1735">
                  <c:v>3.6134482266135691E-15</c:v>
                </c:pt>
                <c:pt idx="1736">
                  <c:v>3.6134482266135691E-15</c:v>
                </c:pt>
                <c:pt idx="1737">
                  <c:v>3.6134482266135691E-15</c:v>
                </c:pt>
                <c:pt idx="1738">
                  <c:v>3.6134482266135691E-15</c:v>
                </c:pt>
                <c:pt idx="1739">
                  <c:v>3.6134482266135691E-15</c:v>
                </c:pt>
                <c:pt idx="1740">
                  <c:v>3.6134482266135691E-15</c:v>
                </c:pt>
                <c:pt idx="1741">
                  <c:v>3.6134482266135691E-15</c:v>
                </c:pt>
                <c:pt idx="1742">
                  <c:v>3.6134482266135691E-15</c:v>
                </c:pt>
                <c:pt idx="1743">
                  <c:v>3.6134482266135691E-15</c:v>
                </c:pt>
                <c:pt idx="1744">
                  <c:v>3.6134482266135691E-15</c:v>
                </c:pt>
                <c:pt idx="1745">
                  <c:v>3.6134482266135691E-15</c:v>
                </c:pt>
                <c:pt idx="1746">
                  <c:v>3.6134482266135691E-15</c:v>
                </c:pt>
                <c:pt idx="1747">
                  <c:v>3.6134482266135691E-15</c:v>
                </c:pt>
                <c:pt idx="1748">
                  <c:v>3.6134482266135691E-15</c:v>
                </c:pt>
                <c:pt idx="1749">
                  <c:v>3.6134482266135691E-15</c:v>
                </c:pt>
                <c:pt idx="1750">
                  <c:v>3.6134482266135691E-15</c:v>
                </c:pt>
                <c:pt idx="1751">
                  <c:v>3.6134482266135691E-15</c:v>
                </c:pt>
                <c:pt idx="1752">
                  <c:v>3.6134482266135691E-15</c:v>
                </c:pt>
                <c:pt idx="1753">
                  <c:v>3.6134482266135691E-15</c:v>
                </c:pt>
                <c:pt idx="1754">
                  <c:v>3.6134482266135691E-15</c:v>
                </c:pt>
                <c:pt idx="1755">
                  <c:v>3.6134482266135691E-15</c:v>
                </c:pt>
                <c:pt idx="1756">
                  <c:v>3.6134482266135691E-15</c:v>
                </c:pt>
                <c:pt idx="1757">
                  <c:v>3.6134482266135691E-15</c:v>
                </c:pt>
                <c:pt idx="1758">
                  <c:v>3.6134482266135691E-15</c:v>
                </c:pt>
                <c:pt idx="1759">
                  <c:v>3.6134482266135691E-15</c:v>
                </c:pt>
                <c:pt idx="1760">
                  <c:v>3.6134482266135691E-15</c:v>
                </c:pt>
                <c:pt idx="1761">
                  <c:v>3.6134482266135691E-15</c:v>
                </c:pt>
                <c:pt idx="1762">
                  <c:v>3.6134482266135691E-15</c:v>
                </c:pt>
                <c:pt idx="1763">
                  <c:v>3.6134482266135691E-15</c:v>
                </c:pt>
                <c:pt idx="1764">
                  <c:v>3.6134482266135691E-15</c:v>
                </c:pt>
                <c:pt idx="1765">
                  <c:v>3.6134482266135691E-15</c:v>
                </c:pt>
                <c:pt idx="1766">
                  <c:v>3.6134482266135691E-15</c:v>
                </c:pt>
                <c:pt idx="1767">
                  <c:v>3.6134482266135691E-15</c:v>
                </c:pt>
                <c:pt idx="1768">
                  <c:v>3.6134482266135691E-15</c:v>
                </c:pt>
                <c:pt idx="1769">
                  <c:v>3.6134482266135691E-15</c:v>
                </c:pt>
                <c:pt idx="1770">
                  <c:v>3.6134482266135691E-15</c:v>
                </c:pt>
                <c:pt idx="1771">
                  <c:v>3.6134482266135691E-15</c:v>
                </c:pt>
                <c:pt idx="1772">
                  <c:v>3.6134482266135691E-15</c:v>
                </c:pt>
                <c:pt idx="1773">
                  <c:v>3.6134482266135691E-15</c:v>
                </c:pt>
                <c:pt idx="1774">
                  <c:v>3.6134482266135691E-15</c:v>
                </c:pt>
                <c:pt idx="1775">
                  <c:v>3.6134482266135691E-15</c:v>
                </c:pt>
                <c:pt idx="1776">
                  <c:v>3.6134482266135691E-15</c:v>
                </c:pt>
                <c:pt idx="1777">
                  <c:v>3.6134482266135691E-15</c:v>
                </c:pt>
                <c:pt idx="1778">
                  <c:v>3.6134482266135691E-15</c:v>
                </c:pt>
                <c:pt idx="1779">
                  <c:v>3.6134482266135691E-15</c:v>
                </c:pt>
                <c:pt idx="1780">
                  <c:v>3.6134482266135691E-15</c:v>
                </c:pt>
                <c:pt idx="1781">
                  <c:v>3.6134482266135691E-15</c:v>
                </c:pt>
                <c:pt idx="1782">
                  <c:v>3.6134482266135691E-15</c:v>
                </c:pt>
                <c:pt idx="1783">
                  <c:v>0.44874120288113534</c:v>
                </c:pt>
                <c:pt idx="1784">
                  <c:v>1.0021138710228943</c:v>
                </c:pt>
                <c:pt idx="1785">
                  <c:v>1.6543369090645796</c:v>
                </c:pt>
                <c:pt idx="1786">
                  <c:v>2.175517296684661</c:v>
                </c:pt>
                <c:pt idx="1787">
                  <c:v>3.0482457968304826</c:v>
                </c:pt>
                <c:pt idx="1788">
                  <c:v>3.9446154439881886</c:v>
                </c:pt>
                <c:pt idx="1789">
                  <c:v>4.8706173291177493</c:v>
                </c:pt>
                <c:pt idx="1790">
                  <c:v>5.8213705843639598</c:v>
                </c:pt>
                <c:pt idx="1791">
                  <c:v>6.7943151900672136</c:v>
                </c:pt>
                <c:pt idx="1792">
                  <c:v>7.7874056881704981</c:v>
                </c:pt>
                <c:pt idx="1793">
                  <c:v>7.7497875070734583</c:v>
                </c:pt>
                <c:pt idx="1794">
                  <c:v>7.7080401972483337</c:v>
                </c:pt>
                <c:pt idx="1795">
                  <c:v>7.6622207903884645</c:v>
                </c:pt>
                <c:pt idx="1796">
                  <c:v>7.6122022989563467</c:v>
                </c:pt>
                <c:pt idx="1797">
                  <c:v>7.5564699517175953</c:v>
                </c:pt>
                <c:pt idx="1798">
                  <c:v>7.4963084351969984</c:v>
                </c:pt>
                <c:pt idx="1799">
                  <c:v>7.4314119697368843</c:v>
                </c:pt>
                <c:pt idx="1800">
                  <c:v>7.3618388649472433</c:v>
                </c:pt>
                <c:pt idx="1801">
                  <c:v>7.2869797241956675</c:v>
                </c:pt>
                <c:pt idx="1802">
                  <c:v>7.2072355582513659</c:v>
                </c:pt>
                <c:pt idx="1803">
                  <c:v>7.1278915574199404</c:v>
                </c:pt>
                <c:pt idx="1804">
                  <c:v>7.1265704420234952</c:v>
                </c:pt>
                <c:pt idx="1805">
                  <c:v>7.0547472897618038</c:v>
                </c:pt>
                <c:pt idx="1806">
                  <c:v>7.7534397340798034</c:v>
                </c:pt>
                <c:pt idx="1807">
                  <c:v>9.7633494523152358</c:v>
                </c:pt>
                <c:pt idx="1808">
                  <c:v>11.679336511952643</c:v>
                </c:pt>
                <c:pt idx="1809">
                  <c:v>13.96966662555951</c:v>
                </c:pt>
                <c:pt idx="1810">
                  <c:v>15.764864620925406</c:v>
                </c:pt>
                <c:pt idx="1811">
                  <c:v>17.178665757002772</c:v>
                </c:pt>
                <c:pt idx="1812">
                  <c:v>18.332035738105713</c:v>
                </c:pt>
                <c:pt idx="1813">
                  <c:v>19.347680859892559</c:v>
                </c:pt>
                <c:pt idx="1814">
                  <c:v>20.256654879545746</c:v>
                </c:pt>
                <c:pt idx="1815">
                  <c:v>21.104852814134382</c:v>
                </c:pt>
                <c:pt idx="1816">
                  <c:v>21.837095741076208</c:v>
                </c:pt>
                <c:pt idx="1817">
                  <c:v>22.617861849445688</c:v>
                </c:pt>
                <c:pt idx="1818">
                  <c:v>23.312705317336853</c:v>
                </c:pt>
                <c:pt idx="1819">
                  <c:v>23.936635608185679</c:v>
                </c:pt>
                <c:pt idx="1820">
                  <c:v>24.498875549150942</c:v>
                </c:pt>
                <c:pt idx="1821">
                  <c:v>25.011160663919096</c:v>
                </c:pt>
                <c:pt idx="1822">
                  <c:v>25.48109474257242</c:v>
                </c:pt>
                <c:pt idx="1823">
                  <c:v>25.282313286454311</c:v>
                </c:pt>
                <c:pt idx="1824">
                  <c:v>24.95089860680531</c:v>
                </c:pt>
                <c:pt idx="1825">
                  <c:v>24.483986245382074</c:v>
                </c:pt>
                <c:pt idx="1826">
                  <c:v>23.875661342919116</c:v>
                </c:pt>
                <c:pt idx="1827">
                  <c:v>23.137382497876249</c:v>
                </c:pt>
                <c:pt idx="1828">
                  <c:v>22.242146278143352</c:v>
                </c:pt>
                <c:pt idx="1829">
                  <c:v>21.17343944460978</c:v>
                </c:pt>
                <c:pt idx="1830">
                  <c:v>19.89010461279052</c:v>
                </c:pt>
                <c:pt idx="1831">
                  <c:v>18.357765022720635</c:v>
                </c:pt>
                <c:pt idx="1832">
                  <c:v>16.621582121186929</c:v>
                </c:pt>
                <c:pt idx="1833">
                  <c:v>14.623986390274066</c:v>
                </c:pt>
                <c:pt idx="1834">
                  <c:v>10.855191536642913</c:v>
                </c:pt>
                <c:pt idx="1835">
                  <c:v>6.9431931491742507</c:v>
                </c:pt>
                <c:pt idx="1836">
                  <c:v>4.0296019193528982</c:v>
                </c:pt>
                <c:pt idx="1837">
                  <c:v>2.7422073137886871</c:v>
                </c:pt>
                <c:pt idx="1838">
                  <c:v>1.565952814106389</c:v>
                </c:pt>
                <c:pt idx="1839">
                  <c:v>1.3988121777349547</c:v>
                </c:pt>
                <c:pt idx="1840">
                  <c:v>1.2455888998446645</c:v>
                </c:pt>
                <c:pt idx="1841">
                  <c:v>1.0601353062002261</c:v>
                </c:pt>
                <c:pt idx="1842">
                  <c:v>0.8863315561308257</c:v>
                </c:pt>
                <c:pt idx="1843">
                  <c:v>0.72991289374624213</c:v>
                </c:pt>
                <c:pt idx="1844">
                  <c:v>0.60111390298871548</c:v>
                </c:pt>
                <c:pt idx="1845">
                  <c:v>0.70464299389106044</c:v>
                </c:pt>
                <c:pt idx="1846">
                  <c:v>0.75680618603101968</c:v>
                </c:pt>
                <c:pt idx="1847">
                  <c:v>0.78544745024084139</c:v>
                </c:pt>
                <c:pt idx="1848">
                  <c:v>0.78497156413931779</c:v>
                </c:pt>
                <c:pt idx="1849">
                  <c:v>0.80089461410801377</c:v>
                </c:pt>
                <c:pt idx="1850">
                  <c:v>0.84032259861213843</c:v>
                </c:pt>
                <c:pt idx="1851">
                  <c:v>0.91249552935446632</c:v>
                </c:pt>
                <c:pt idx="1852">
                  <c:v>0.94699218964898479</c:v>
                </c:pt>
                <c:pt idx="1853">
                  <c:v>0.94726412850082709</c:v>
                </c:pt>
                <c:pt idx="1854">
                  <c:v>0.94558766334102518</c:v>
                </c:pt>
                <c:pt idx="1855">
                  <c:v>0.95120307845524399</c:v>
                </c:pt>
                <c:pt idx="1856">
                  <c:v>0.9721527618103516</c:v>
                </c:pt>
                <c:pt idx="1857">
                  <c:v>0.98982040191513265</c:v>
                </c:pt>
                <c:pt idx="1858">
                  <c:v>1.0052742239687456</c:v>
                </c:pt>
                <c:pt idx="1859">
                  <c:v>1.0187987062685016</c:v>
                </c:pt>
                <c:pt idx="1860">
                  <c:v>1.0301891223502784</c:v>
                </c:pt>
                <c:pt idx="1861">
                  <c:v>1.0401795176713984</c:v>
                </c:pt>
                <c:pt idx="1862">
                  <c:v>1.0489575942591527</c:v>
                </c:pt>
                <c:pt idx="1863">
                  <c:v>1.0564944842503352</c:v>
                </c:pt>
                <c:pt idx="1864">
                  <c:v>1.0631511860039955</c:v>
                </c:pt>
                <c:pt idx="1865">
                  <c:v>1.0690089016631132</c:v>
                </c:pt>
                <c:pt idx="1866">
                  <c:v>1.0738490315046532</c:v>
                </c:pt>
                <c:pt idx="1867">
                  <c:v>1.07795042084688</c:v>
                </c:pt>
                <c:pt idx="1868">
                  <c:v>1.0814228960224475</c:v>
                </c:pt>
                <c:pt idx="1869">
                  <c:v>1.0840229508734194</c:v>
                </c:pt>
                <c:pt idx="1870">
                  <c:v>1.0856237289465009</c:v>
                </c:pt>
                <c:pt idx="1871">
                  <c:v>1.0865099745171316</c:v>
                </c:pt>
                <c:pt idx="1872">
                  <c:v>1.0866246496838092</c:v>
                </c:pt>
                <c:pt idx="1873">
                  <c:v>1.0853594520372931</c:v>
                </c:pt>
                <c:pt idx="1874">
                  <c:v>1.0823560317842977</c:v>
                </c:pt>
                <c:pt idx="1875">
                  <c:v>0.94398355527336875</c:v>
                </c:pt>
                <c:pt idx="1876">
                  <c:v>0.82557610885250987</c:v>
                </c:pt>
                <c:pt idx="1877">
                  <c:v>0.731603392913036</c:v>
                </c:pt>
                <c:pt idx="1878">
                  <c:v>0.73135403310561486</c:v>
                </c:pt>
                <c:pt idx="1879">
                  <c:v>0.72796852084803243</c:v>
                </c:pt>
                <c:pt idx="1880">
                  <c:v>0.70884763434992637</c:v>
                </c:pt>
                <c:pt idx="1881">
                  <c:v>0.51472525030538274</c:v>
                </c:pt>
                <c:pt idx="1882">
                  <c:v>0.31756814775576542</c:v>
                </c:pt>
                <c:pt idx="1883">
                  <c:v>0.23231895157368407</c:v>
                </c:pt>
                <c:pt idx="1884">
                  <c:v>0.20164979796833332</c:v>
                </c:pt>
                <c:pt idx="1885">
                  <c:v>0.20840372738048268</c:v>
                </c:pt>
                <c:pt idx="1886">
                  <c:v>0.20693605714403271</c:v>
                </c:pt>
                <c:pt idx="1887">
                  <c:v>0.20586383056469632</c:v>
                </c:pt>
                <c:pt idx="1888">
                  <c:v>0.20419544895543562</c:v>
                </c:pt>
                <c:pt idx="1889">
                  <c:v>0.20193191450282524</c:v>
                </c:pt>
                <c:pt idx="1890">
                  <c:v>0.20010442054262575</c:v>
                </c:pt>
                <c:pt idx="1891">
                  <c:v>0.19866756785891029</c:v>
                </c:pt>
                <c:pt idx="1892">
                  <c:v>0.19660846613061633</c:v>
                </c:pt>
                <c:pt idx="1893">
                  <c:v>0.19503398974273911</c:v>
                </c:pt>
                <c:pt idx="1894">
                  <c:v>0.19316920242777896</c:v>
                </c:pt>
                <c:pt idx="1895">
                  <c:v>0.19044647690218014</c:v>
                </c:pt>
                <c:pt idx="1896">
                  <c:v>0.18823524128118577</c:v>
                </c:pt>
                <c:pt idx="1897">
                  <c:v>0.18555803904143864</c:v>
                </c:pt>
                <c:pt idx="1898">
                  <c:v>0.18532099868601076</c:v>
                </c:pt>
                <c:pt idx="1899">
                  <c:v>0.19396767304846962</c:v>
                </c:pt>
                <c:pt idx="1900">
                  <c:v>0.20097056354082921</c:v>
                </c:pt>
                <c:pt idx="1901">
                  <c:v>0.20651332211173584</c:v>
                </c:pt>
                <c:pt idx="1902">
                  <c:v>0.2119012854228442</c:v>
                </c:pt>
                <c:pt idx="1903">
                  <c:v>0.21888278749235252</c:v>
                </c:pt>
                <c:pt idx="1904">
                  <c:v>0.22468956734403478</c:v>
                </c:pt>
                <c:pt idx="1905">
                  <c:v>0.59265886131522116</c:v>
                </c:pt>
                <c:pt idx="1906">
                  <c:v>0.7778731770866929</c:v>
                </c:pt>
                <c:pt idx="1907">
                  <c:v>0.91091556767350057</c:v>
                </c:pt>
                <c:pt idx="1908">
                  <c:v>1.0131613157005033</c:v>
                </c:pt>
                <c:pt idx="1909">
                  <c:v>1.088737162278729</c:v>
                </c:pt>
                <c:pt idx="1910">
                  <c:v>1.1491791533629256</c:v>
                </c:pt>
                <c:pt idx="1911">
                  <c:v>1.1975098732765539</c:v>
                </c:pt>
                <c:pt idx="1912">
                  <c:v>1.2319169164922152</c:v>
                </c:pt>
                <c:pt idx="1913">
                  <c:v>1.2580097825159537</c:v>
                </c:pt>
                <c:pt idx="1914">
                  <c:v>1.2768829236192156</c:v>
                </c:pt>
                <c:pt idx="1915">
                  <c:v>1.2870071989396599</c:v>
                </c:pt>
                <c:pt idx="1916">
                  <c:v>1.2919004020145575</c:v>
                </c:pt>
                <c:pt idx="1917">
                  <c:v>1.2920048143839979</c:v>
                </c:pt>
                <c:pt idx="1918">
                  <c:v>1.2864632274423629</c:v>
                </c:pt>
                <c:pt idx="1919">
                  <c:v>1.2773510906420937</c:v>
                </c:pt>
                <c:pt idx="1920">
                  <c:v>1.2650381555473598</c:v>
                </c:pt>
                <c:pt idx="1921">
                  <c:v>1.2489093347304658</c:v>
                </c:pt>
                <c:pt idx="1922">
                  <c:v>1.2304772826281847</c:v>
                </c:pt>
                <c:pt idx="1923">
                  <c:v>1.2099962571646177</c:v>
                </c:pt>
                <c:pt idx="1924">
                  <c:v>1.1881847166586994</c:v>
                </c:pt>
                <c:pt idx="1925">
                  <c:v>1.1654651362451556</c:v>
                </c:pt>
                <c:pt idx="1926">
                  <c:v>1.1387075860446574</c:v>
                </c:pt>
                <c:pt idx="1927">
                  <c:v>1.1119098798679214</c:v>
                </c:pt>
                <c:pt idx="1928">
                  <c:v>1.0961108095393026</c:v>
                </c:pt>
                <c:pt idx="1929">
                  <c:v>1.0783563821869619</c:v>
                </c:pt>
                <c:pt idx="1930">
                  <c:v>1.0655299656244388</c:v>
                </c:pt>
                <c:pt idx="1931">
                  <c:v>1.0816858261925497</c:v>
                </c:pt>
                <c:pt idx="1932">
                  <c:v>1.0602064305279562</c:v>
                </c:pt>
                <c:pt idx="1933">
                  <c:v>1.0101196511014472</c:v>
                </c:pt>
                <c:pt idx="1934">
                  <c:v>0.92829832399009127</c:v>
                </c:pt>
                <c:pt idx="1935">
                  <c:v>0.94646525784939417</c:v>
                </c:pt>
                <c:pt idx="1936">
                  <c:v>0.96326265518963394</c:v>
                </c:pt>
                <c:pt idx="1937">
                  <c:v>0.97708801929611433</c:v>
                </c:pt>
                <c:pt idx="1938">
                  <c:v>0.98528171977733647</c:v>
                </c:pt>
                <c:pt idx="1939">
                  <c:v>0.99210693579801101</c:v>
                </c:pt>
                <c:pt idx="1940">
                  <c:v>0.99690053133553713</c:v>
                </c:pt>
                <c:pt idx="1941">
                  <c:v>0.99859383033452775</c:v>
                </c:pt>
                <c:pt idx="1942">
                  <c:v>0.99865320017329917</c:v>
                </c:pt>
                <c:pt idx="1943">
                  <c:v>0.99741845082540848</c:v>
                </c:pt>
                <c:pt idx="1944">
                  <c:v>0.99534015614075411</c:v>
                </c:pt>
                <c:pt idx="1945">
                  <c:v>0.99129569427981978</c:v>
                </c:pt>
                <c:pt idx="1946">
                  <c:v>0.98659992012333297</c:v>
                </c:pt>
                <c:pt idx="1947">
                  <c:v>0.9832338885700096</c:v>
                </c:pt>
                <c:pt idx="1948">
                  <c:v>0.97755042883584575</c:v>
                </c:pt>
                <c:pt idx="1949">
                  <c:v>0.97178836487027798</c:v>
                </c:pt>
                <c:pt idx="1950">
                  <c:v>0.96622430199400278</c:v>
                </c:pt>
                <c:pt idx="1951">
                  <c:v>0.99042733971350916</c:v>
                </c:pt>
                <c:pt idx="1952">
                  <c:v>0.99909375256723298</c:v>
                </c:pt>
                <c:pt idx="1953">
                  <c:v>0.99100006214318481</c:v>
                </c:pt>
                <c:pt idx="1954">
                  <c:v>0.96035182977041178</c:v>
                </c:pt>
                <c:pt idx="1955">
                  <c:v>0.908367585352306</c:v>
                </c:pt>
                <c:pt idx="1956">
                  <c:v>0.89239679650520742</c:v>
                </c:pt>
                <c:pt idx="1957">
                  <c:v>0.88609569207085048</c:v>
                </c:pt>
                <c:pt idx="1958">
                  <c:v>0.89901053298012834</c:v>
                </c:pt>
                <c:pt idx="1959">
                  <c:v>0.91404613994806483</c:v>
                </c:pt>
                <c:pt idx="1960">
                  <c:v>0.92764790680233533</c:v>
                </c:pt>
                <c:pt idx="1961">
                  <c:v>0.92628812132347649</c:v>
                </c:pt>
                <c:pt idx="1962">
                  <c:v>0.93043590259754561</c:v>
                </c:pt>
                <c:pt idx="1963">
                  <c:v>0.93640245861292082</c:v>
                </c:pt>
                <c:pt idx="1964">
                  <c:v>0.94341740050408196</c:v>
                </c:pt>
                <c:pt idx="1965">
                  <c:v>0.95230369307613394</c:v>
                </c:pt>
                <c:pt idx="1966">
                  <c:v>0.96103021795256771</c:v>
                </c:pt>
                <c:pt idx="1967">
                  <c:v>0.9687261419419021</c:v>
                </c:pt>
                <c:pt idx="1968">
                  <c:v>0.97438349262348978</c:v>
                </c:pt>
                <c:pt idx="1969">
                  <c:v>0.97760489134809248</c:v>
                </c:pt>
                <c:pt idx="1970">
                  <c:v>0.97752244691235424</c:v>
                </c:pt>
                <c:pt idx="1971">
                  <c:v>0.97104179530100265</c:v>
                </c:pt>
                <c:pt idx="1972">
                  <c:v>0.9592483529335637</c:v>
                </c:pt>
                <c:pt idx="1973">
                  <c:v>0.9410532503901996</c:v>
                </c:pt>
                <c:pt idx="1974">
                  <c:v>0.91031848645118008</c:v>
                </c:pt>
                <c:pt idx="1975">
                  <c:v>0.86927692652565758</c:v>
                </c:pt>
                <c:pt idx="1976">
                  <c:v>0.81525023324397705</c:v>
                </c:pt>
                <c:pt idx="1977">
                  <c:v>0.73520538566733673</c:v>
                </c:pt>
                <c:pt idx="1978">
                  <c:v>0.62708502471005856</c:v>
                </c:pt>
                <c:pt idx="1979">
                  <c:v>0.46986861378168843</c:v>
                </c:pt>
                <c:pt idx="1980">
                  <c:v>0.15076694357377191</c:v>
                </c:pt>
                <c:pt idx="1981">
                  <c:v>0.15674170743823887</c:v>
                </c:pt>
                <c:pt idx="1982">
                  <c:v>0.16171617917091027</c:v>
                </c:pt>
                <c:pt idx="1983">
                  <c:v>0.16729784232923048</c:v>
                </c:pt>
                <c:pt idx="1984">
                  <c:v>0.17152722431209705</c:v>
                </c:pt>
                <c:pt idx="1985">
                  <c:v>0.17464758685984688</c:v>
                </c:pt>
                <c:pt idx="1986">
                  <c:v>0.5833544521488333</c:v>
                </c:pt>
                <c:pt idx="1987">
                  <c:v>0.60899458013796304</c:v>
                </c:pt>
                <c:pt idx="1988">
                  <c:v>0.6344168919981189</c:v>
                </c:pt>
                <c:pt idx="1989">
                  <c:v>0.65956447459012024</c:v>
                </c:pt>
                <c:pt idx="1990">
                  <c:v>0.68434807864700786</c:v>
                </c:pt>
                <c:pt idx="1991">
                  <c:v>0.91079333350692859</c:v>
                </c:pt>
                <c:pt idx="1992">
                  <c:v>0.92039361511947559</c:v>
                </c:pt>
                <c:pt idx="1993">
                  <c:v>0.92266231979950974</c:v>
                </c:pt>
                <c:pt idx="1994">
                  <c:v>0.9239093675434219</c:v>
                </c:pt>
                <c:pt idx="1995">
                  <c:v>0.93058768311365025</c:v>
                </c:pt>
                <c:pt idx="1996">
                  <c:v>0.94592593428200877</c:v>
                </c:pt>
                <c:pt idx="1997">
                  <c:v>0.96351136239902524</c:v>
                </c:pt>
                <c:pt idx="1998">
                  <c:v>0.98133632893867428</c:v>
                </c:pt>
                <c:pt idx="1999">
                  <c:v>0.99925828145334439</c:v>
                </c:pt>
                <c:pt idx="2000">
                  <c:v>1.0188023380186324</c:v>
                </c:pt>
                <c:pt idx="2001">
                  <c:v>1.0379678782724771</c:v>
                </c:pt>
                <c:pt idx="2002">
                  <c:v>1.0566157738366011</c:v>
                </c:pt>
                <c:pt idx="2003">
                  <c:v>1.0743964278593368</c:v>
                </c:pt>
                <c:pt idx="2004">
                  <c:v>1.0912480416289805</c:v>
                </c:pt>
                <c:pt idx="2005">
                  <c:v>1.1070282836211329</c:v>
                </c:pt>
                <c:pt idx="2006">
                  <c:v>1.1215108747304841</c:v>
                </c:pt>
                <c:pt idx="2007">
                  <c:v>1.1394532781134723</c:v>
                </c:pt>
                <c:pt idx="2008">
                  <c:v>1.1552448830436208</c:v>
                </c:pt>
                <c:pt idx="2009">
                  <c:v>1.1739608683977225</c:v>
                </c:pt>
                <c:pt idx="2010">
                  <c:v>1.1871178265482731</c:v>
                </c:pt>
                <c:pt idx="2011">
                  <c:v>1.1965821010620699</c:v>
                </c:pt>
                <c:pt idx="2012">
                  <c:v>1.2038773494571626</c:v>
                </c:pt>
                <c:pt idx="2013">
                  <c:v>1.2062158329215815</c:v>
                </c:pt>
                <c:pt idx="2014">
                  <c:v>1.2036735394907876</c:v>
                </c:pt>
                <c:pt idx="2015">
                  <c:v>1.2012153651919051</c:v>
                </c:pt>
                <c:pt idx="2016">
                  <c:v>1.1792014043380274</c:v>
                </c:pt>
                <c:pt idx="2017">
                  <c:v>1.1445659658965932</c:v>
                </c:pt>
                <c:pt idx="2018">
                  <c:v>1.0936383864415948</c:v>
                </c:pt>
                <c:pt idx="2019">
                  <c:v>1.0247401946652701</c:v>
                </c:pt>
                <c:pt idx="2020">
                  <c:v>0.92968092786694689</c:v>
                </c:pt>
                <c:pt idx="2021">
                  <c:v>0.91205078649491989</c:v>
                </c:pt>
                <c:pt idx="2022">
                  <c:v>0.83078173841503145</c:v>
                </c:pt>
                <c:pt idx="2023">
                  <c:v>0.75847601120351549</c:v>
                </c:pt>
                <c:pt idx="2024">
                  <c:v>0.72793289740166434</c:v>
                </c:pt>
                <c:pt idx="2025">
                  <c:v>0.71178828641173852</c:v>
                </c:pt>
                <c:pt idx="2026">
                  <c:v>0.70933869386018245</c:v>
                </c:pt>
                <c:pt idx="2027">
                  <c:v>0.70701320162175363</c:v>
                </c:pt>
                <c:pt idx="2028">
                  <c:v>0.70216883868888524</c:v>
                </c:pt>
                <c:pt idx="2029">
                  <c:v>0.69727950708128716</c:v>
                </c:pt>
                <c:pt idx="2030">
                  <c:v>0.69249943409644177</c:v>
                </c:pt>
                <c:pt idx="2031">
                  <c:v>0.68513174568272572</c:v>
                </c:pt>
                <c:pt idx="2032">
                  <c:v>0.67507833240463477</c:v>
                </c:pt>
                <c:pt idx="2033">
                  <c:v>0.66216641219356509</c:v>
                </c:pt>
                <c:pt idx="2034">
                  <c:v>0.66648101484150724</c:v>
                </c:pt>
                <c:pt idx="2035">
                  <c:v>0.64165946090262072</c:v>
                </c:pt>
                <c:pt idx="2036">
                  <c:v>0.59942284465923446</c:v>
                </c:pt>
                <c:pt idx="2037">
                  <c:v>0.56355663810806422</c:v>
                </c:pt>
                <c:pt idx="2038">
                  <c:v>0.52440370945335946</c:v>
                </c:pt>
                <c:pt idx="2039">
                  <c:v>0.49316121284595782</c:v>
                </c:pt>
                <c:pt idx="2040">
                  <c:v>0.46030831352127199</c:v>
                </c:pt>
                <c:pt idx="2041">
                  <c:v>0.42606427500152488</c:v>
                </c:pt>
                <c:pt idx="2042">
                  <c:v>0.39447639499512493</c:v>
                </c:pt>
                <c:pt idx="2043">
                  <c:v>0.36235392486468471</c:v>
                </c:pt>
                <c:pt idx="2044">
                  <c:v>0.33007424688473191</c:v>
                </c:pt>
                <c:pt idx="2045">
                  <c:v>0.31085098469030026</c:v>
                </c:pt>
                <c:pt idx="2046">
                  <c:v>0.29760002069979169</c:v>
                </c:pt>
                <c:pt idx="2047">
                  <c:v>0.28760939075632047</c:v>
                </c:pt>
                <c:pt idx="2048">
                  <c:v>0.28226109864205212</c:v>
                </c:pt>
                <c:pt idx="2049">
                  <c:v>0.28311132301295944</c:v>
                </c:pt>
                <c:pt idx="2050">
                  <c:v>0.28731032707504156</c:v>
                </c:pt>
                <c:pt idx="2051">
                  <c:v>0.29438865967454447</c:v>
                </c:pt>
                <c:pt idx="2052">
                  <c:v>0.3047621670711399</c:v>
                </c:pt>
                <c:pt idx="2053">
                  <c:v>0.31635572980305876</c:v>
                </c:pt>
                <c:pt idx="2054">
                  <c:v>0.32856657955131408</c:v>
                </c:pt>
                <c:pt idx="2055">
                  <c:v>0.34214765457329049</c:v>
                </c:pt>
                <c:pt idx="2056">
                  <c:v>0.35504055945129803</c:v>
                </c:pt>
                <c:pt idx="2057">
                  <c:v>0.36670672832174012</c:v>
                </c:pt>
                <c:pt idx="2058">
                  <c:v>0.38067353742424509</c:v>
                </c:pt>
                <c:pt idx="2059">
                  <c:v>0.38916912625609518</c:v>
                </c:pt>
                <c:pt idx="2060">
                  <c:v>0.39355360051918481</c:v>
                </c:pt>
                <c:pt idx="2061">
                  <c:v>0.39482677162190816</c:v>
                </c:pt>
                <c:pt idx="2062">
                  <c:v>0.39064562477438131</c:v>
                </c:pt>
                <c:pt idx="2063">
                  <c:v>0.37983623537084293</c:v>
                </c:pt>
                <c:pt idx="2064">
                  <c:v>0.3236103887738942</c:v>
                </c:pt>
                <c:pt idx="2065">
                  <c:v>0.3008491478658169</c:v>
                </c:pt>
                <c:pt idx="2066">
                  <c:v>0.30379301220186311</c:v>
                </c:pt>
                <c:pt idx="2067">
                  <c:v>0.30598277318855283</c:v>
                </c:pt>
                <c:pt idx="2068">
                  <c:v>0.31233554011338927</c:v>
                </c:pt>
                <c:pt idx="2069">
                  <c:v>0.54772830486973756</c:v>
                </c:pt>
                <c:pt idx="2070">
                  <c:v>0.68589813471228955</c:v>
                </c:pt>
                <c:pt idx="2071">
                  <c:v>0.78225885043710153</c:v>
                </c:pt>
                <c:pt idx="2072">
                  <c:v>0.85267299893895265</c:v>
                </c:pt>
                <c:pt idx="2073">
                  <c:v>0.90510880628647861</c:v>
                </c:pt>
                <c:pt idx="2074">
                  <c:v>0.93641765563446122</c:v>
                </c:pt>
                <c:pt idx="2075">
                  <c:v>0.95866677254336041</c:v>
                </c:pt>
                <c:pt idx="2076">
                  <c:v>0.96859879406790339</c:v>
                </c:pt>
                <c:pt idx="2077">
                  <c:v>0.97121338218954012</c:v>
                </c:pt>
                <c:pt idx="2078">
                  <c:v>0.97098634810916506</c:v>
                </c:pt>
                <c:pt idx="2079">
                  <c:v>0.97469272564175513</c:v>
                </c:pt>
                <c:pt idx="2080">
                  <c:v>0.98524987977159695</c:v>
                </c:pt>
                <c:pt idx="2081">
                  <c:v>1.0055253842681975</c:v>
                </c:pt>
                <c:pt idx="2082">
                  <c:v>1.0055571669952059</c:v>
                </c:pt>
                <c:pt idx="2083">
                  <c:v>1.0079909845410964</c:v>
                </c:pt>
                <c:pt idx="2084">
                  <c:v>1.0094661325554632</c:v>
                </c:pt>
                <c:pt idx="2085">
                  <c:v>1.0096306111544595</c:v>
                </c:pt>
                <c:pt idx="2086">
                  <c:v>1.0084364325399831</c:v>
                </c:pt>
                <c:pt idx="2087">
                  <c:v>1.0057165061210822</c:v>
                </c:pt>
                <c:pt idx="2088">
                  <c:v>0.9994632437408727</c:v>
                </c:pt>
                <c:pt idx="2089">
                  <c:v>0.99147133461083026</c:v>
                </c:pt>
                <c:pt idx="2090">
                  <c:v>0.98169841666365654</c:v>
                </c:pt>
                <c:pt idx="2091">
                  <c:v>0.96842376005342146</c:v>
                </c:pt>
                <c:pt idx="2092">
                  <c:v>0.95190537877733883</c:v>
                </c:pt>
                <c:pt idx="2093">
                  <c:v>0.93158808489411571</c:v>
                </c:pt>
                <c:pt idx="2094">
                  <c:v>0.90709626774294672</c:v>
                </c:pt>
                <c:pt idx="2095">
                  <c:v>0.87692253416391042</c:v>
                </c:pt>
                <c:pt idx="2096">
                  <c:v>0.84083448370610758</c:v>
                </c:pt>
                <c:pt idx="2097">
                  <c:v>0.79788487288050236</c:v>
                </c:pt>
                <c:pt idx="2098">
                  <c:v>0.74021937961799233</c:v>
                </c:pt>
                <c:pt idx="2099">
                  <c:v>0.69033199505525056</c:v>
                </c:pt>
                <c:pt idx="2100">
                  <c:v>0.64554139146049261</c:v>
                </c:pt>
                <c:pt idx="2101">
                  <c:v>0.60658775414067312</c:v>
                </c:pt>
                <c:pt idx="2102">
                  <c:v>0.57442805507540873</c:v>
                </c:pt>
                <c:pt idx="2103">
                  <c:v>0.54935249644397499</c:v>
                </c:pt>
                <c:pt idx="2104">
                  <c:v>0.53910174859180504</c:v>
                </c:pt>
                <c:pt idx="2105">
                  <c:v>0.53476432429482812</c:v>
                </c:pt>
                <c:pt idx="2106">
                  <c:v>0.53907717032086022</c:v>
                </c:pt>
                <c:pt idx="2107">
                  <c:v>0.54515558743687598</c:v>
                </c:pt>
                <c:pt idx="2108">
                  <c:v>0.53397935395080953</c:v>
                </c:pt>
                <c:pt idx="2109">
                  <c:v>0.49945949468878958</c:v>
                </c:pt>
                <c:pt idx="2110">
                  <c:v>0.42519741785177101</c:v>
                </c:pt>
                <c:pt idx="2111">
                  <c:v>0.25946272748090898</c:v>
                </c:pt>
                <c:pt idx="2112">
                  <c:v>0.16845454352074765</c:v>
                </c:pt>
                <c:pt idx="2113">
                  <c:v>0.16591197670448543</c:v>
                </c:pt>
                <c:pt idx="2114">
                  <c:v>0.1628042318654265</c:v>
                </c:pt>
                <c:pt idx="2115">
                  <c:v>0.16007419717694013</c:v>
                </c:pt>
                <c:pt idx="2116">
                  <c:v>0.15762898298571806</c:v>
                </c:pt>
                <c:pt idx="2117">
                  <c:v>0.15460307589056288</c:v>
                </c:pt>
                <c:pt idx="2118">
                  <c:v>0.15199888230421063</c:v>
                </c:pt>
                <c:pt idx="2119">
                  <c:v>0.15052866609574439</c:v>
                </c:pt>
                <c:pt idx="2120">
                  <c:v>0.15043743460238332</c:v>
                </c:pt>
                <c:pt idx="2121">
                  <c:v>0.15078362834140985</c:v>
                </c:pt>
                <c:pt idx="2122">
                  <c:v>0.1547746626895817</c:v>
                </c:pt>
                <c:pt idx="2123">
                  <c:v>0.15905380494951368</c:v>
                </c:pt>
                <c:pt idx="2124">
                  <c:v>0.16373617860832465</c:v>
                </c:pt>
                <c:pt idx="2125">
                  <c:v>0.17167283825994459</c:v>
                </c:pt>
                <c:pt idx="2126">
                  <c:v>0.18301945343915774</c:v>
                </c:pt>
                <c:pt idx="2127">
                  <c:v>0.19514852089336904</c:v>
                </c:pt>
                <c:pt idx="2128">
                  <c:v>0.20719980316802497</c:v>
                </c:pt>
                <c:pt idx="2129">
                  <c:v>0.21912644007744664</c:v>
                </c:pt>
                <c:pt idx="2130">
                  <c:v>0.23437429774388174</c:v>
                </c:pt>
                <c:pt idx="2131">
                  <c:v>0.24897939194334157</c:v>
                </c:pt>
                <c:pt idx="2132">
                  <c:v>0.2629489539910364</c:v>
                </c:pt>
                <c:pt idx="2133">
                  <c:v>0.27902603679590399</c:v>
                </c:pt>
                <c:pt idx="2134">
                  <c:v>0.29364631441251143</c:v>
                </c:pt>
                <c:pt idx="2135">
                  <c:v>0.30710986143318159</c:v>
                </c:pt>
                <c:pt idx="2136">
                  <c:v>0.32211390584922339</c:v>
                </c:pt>
                <c:pt idx="2137">
                  <c:v>0.33581711689047367</c:v>
                </c:pt>
                <c:pt idx="2138">
                  <c:v>0.34826607898386419</c:v>
                </c:pt>
                <c:pt idx="2139">
                  <c:v>0.3594241177323797</c:v>
                </c:pt>
                <c:pt idx="2140">
                  <c:v>0.37167984324275011</c:v>
                </c:pt>
                <c:pt idx="2141">
                  <c:v>0.38231742748971792</c:v>
                </c:pt>
                <c:pt idx="2142">
                  <c:v>0.39137978685197988</c:v>
                </c:pt>
                <c:pt idx="2143">
                  <c:v>0.40178938547227905</c:v>
                </c:pt>
                <c:pt idx="2144">
                  <c:v>0.41034453144561722</c:v>
                </c:pt>
                <c:pt idx="2145">
                  <c:v>0.41925865392564077</c:v>
                </c:pt>
                <c:pt idx="2146">
                  <c:v>0.42678534048688738</c:v>
                </c:pt>
                <c:pt idx="2147">
                  <c:v>0.43922655490416385</c:v>
                </c:pt>
                <c:pt idx="2148">
                  <c:v>0.45368311488964419</c:v>
                </c:pt>
                <c:pt idx="2149">
                  <c:v>0.46619499340682113</c:v>
                </c:pt>
                <c:pt idx="2150">
                  <c:v>0.47531062989975598</c:v>
                </c:pt>
                <c:pt idx="2151">
                  <c:v>0.49109659000794464</c:v>
                </c:pt>
                <c:pt idx="2152">
                  <c:v>0.5058061676954505</c:v>
                </c:pt>
                <c:pt idx="2153">
                  <c:v>0.51771446317723091</c:v>
                </c:pt>
                <c:pt idx="2154">
                  <c:v>0.52700240670241227</c:v>
                </c:pt>
                <c:pt idx="2155">
                  <c:v>0.53610161437883719</c:v>
                </c:pt>
                <c:pt idx="2156">
                  <c:v>0.54462656765906914</c:v>
                </c:pt>
                <c:pt idx="2157">
                  <c:v>0.55075991091598475</c:v>
                </c:pt>
                <c:pt idx="2158">
                  <c:v>0.55671683834786667</c:v>
                </c:pt>
                <c:pt idx="2159">
                  <c:v>0.5602201197246055</c:v>
                </c:pt>
                <c:pt idx="2160">
                  <c:v>0.56342441531364285</c:v>
                </c:pt>
                <c:pt idx="2161">
                  <c:v>0.56646034287791425</c:v>
                </c:pt>
                <c:pt idx="2162">
                  <c:v>0.56710172092962818</c:v>
                </c:pt>
                <c:pt idx="2163">
                  <c:v>0.5675131165991848</c:v>
                </c:pt>
                <c:pt idx="2164">
                  <c:v>0.56769708565996257</c:v>
                </c:pt>
                <c:pt idx="2165">
                  <c:v>0.56555906151422719</c:v>
                </c:pt>
                <c:pt idx="2166">
                  <c:v>0.5632071653666284</c:v>
                </c:pt>
                <c:pt idx="2167">
                  <c:v>0.56055184950855363</c:v>
                </c:pt>
                <c:pt idx="2168">
                  <c:v>0.55550479309320078</c:v>
                </c:pt>
                <c:pt idx="2169">
                  <c:v>0.54791300670368936</c:v>
                </c:pt>
                <c:pt idx="2170">
                  <c:v>0.54215461453480529</c:v>
                </c:pt>
                <c:pt idx="2171">
                  <c:v>0.53373668971618293</c:v>
                </c:pt>
                <c:pt idx="2172">
                  <c:v>0.52265602909062692</c:v>
                </c:pt>
                <c:pt idx="2173">
                  <c:v>0.51329449468828092</c:v>
                </c:pt>
                <c:pt idx="2174">
                  <c:v>0.50108239163811474</c:v>
                </c:pt>
                <c:pt idx="2175">
                  <c:v>0.48856532989385842</c:v>
                </c:pt>
                <c:pt idx="2176">
                  <c:v>0.47311952094635013</c:v>
                </c:pt>
                <c:pt idx="2177">
                  <c:v>0.46308031864632132</c:v>
                </c:pt>
                <c:pt idx="2178">
                  <c:v>0.45811122335135429</c:v>
                </c:pt>
                <c:pt idx="2179">
                  <c:v>0.45122981678624535</c:v>
                </c:pt>
                <c:pt idx="2180">
                  <c:v>0.44228406012182375</c:v>
                </c:pt>
                <c:pt idx="2181">
                  <c:v>0.44815234408309912</c:v>
                </c:pt>
                <c:pt idx="2182">
                  <c:v>0.45226660835131333</c:v>
                </c:pt>
                <c:pt idx="2183">
                  <c:v>0.45694041351110914</c:v>
                </c:pt>
                <c:pt idx="2184">
                  <c:v>0.45977391387738897</c:v>
                </c:pt>
                <c:pt idx="2185">
                  <c:v>0.46529042115927544</c:v>
                </c:pt>
                <c:pt idx="2186">
                  <c:v>0.47132008548121584</c:v>
                </c:pt>
                <c:pt idx="2187">
                  <c:v>0.62244350262888914</c:v>
                </c:pt>
                <c:pt idx="2188">
                  <c:v>0.68315340485828902</c:v>
                </c:pt>
                <c:pt idx="2189">
                  <c:v>0.69886179814812477</c:v>
                </c:pt>
                <c:pt idx="2190">
                  <c:v>0.69872051618431652</c:v>
                </c:pt>
                <c:pt idx="2191">
                  <c:v>0.7811327285177756</c:v>
                </c:pt>
                <c:pt idx="2192">
                  <c:v>0.78144334716976849</c:v>
                </c:pt>
                <c:pt idx="2193">
                  <c:v>0.78920709833184532</c:v>
                </c:pt>
                <c:pt idx="2194">
                  <c:v>0.79884586092568366</c:v>
                </c:pt>
                <c:pt idx="2195">
                  <c:v>0.80936477182792299</c:v>
                </c:pt>
                <c:pt idx="2196">
                  <c:v>0.82054555652612837</c:v>
                </c:pt>
                <c:pt idx="2197">
                  <c:v>0.83312208881157346</c:v>
                </c:pt>
                <c:pt idx="2198">
                  <c:v>0.84583275371851085</c:v>
                </c:pt>
                <c:pt idx="2199">
                  <c:v>0.85848869199426781</c:v>
                </c:pt>
                <c:pt idx="2200">
                  <c:v>0.87088513088076536</c:v>
                </c:pt>
                <c:pt idx="2201">
                  <c:v>0.88925716403252375</c:v>
                </c:pt>
                <c:pt idx="2202">
                  <c:v>0.90624710829766364</c:v>
                </c:pt>
                <c:pt idx="2203">
                  <c:v>0.92129618424493187</c:v>
                </c:pt>
                <c:pt idx="2204">
                  <c:v>0.93440325952839598</c:v>
                </c:pt>
                <c:pt idx="2205">
                  <c:v>0.94537145146672397</c:v>
                </c:pt>
                <c:pt idx="2206">
                  <c:v>0.95397813917934271</c:v>
                </c:pt>
                <c:pt idx="2207">
                  <c:v>0.96043292164114702</c:v>
                </c:pt>
                <c:pt idx="2208">
                  <c:v>0.96295388899140089</c:v>
                </c:pt>
                <c:pt idx="2209">
                  <c:v>0.96205454774265708</c:v>
                </c:pt>
                <c:pt idx="2210">
                  <c:v>0.95777785708759478</c:v>
                </c:pt>
                <c:pt idx="2211">
                  <c:v>0.94470412968342288</c:v>
                </c:pt>
                <c:pt idx="2212">
                  <c:v>0.92598841680130273</c:v>
                </c:pt>
                <c:pt idx="2213">
                  <c:v>0.89927121171251656</c:v>
                </c:pt>
                <c:pt idx="2214">
                  <c:v>0.86464129014102364</c:v>
                </c:pt>
                <c:pt idx="2215">
                  <c:v>0.81801889388572502</c:v>
                </c:pt>
                <c:pt idx="2216">
                  <c:v>0.75596209596673092</c:v>
                </c:pt>
                <c:pt idx="2217">
                  <c:v>0.71399456167794595</c:v>
                </c:pt>
                <c:pt idx="2218">
                  <c:v>0.70431310228883204</c:v>
                </c:pt>
                <c:pt idx="2219">
                  <c:v>0.71025758348948187</c:v>
                </c:pt>
                <c:pt idx="2220">
                  <c:v>0.66885382591529874</c:v>
                </c:pt>
                <c:pt idx="2221">
                  <c:v>0.39170652255672705</c:v>
                </c:pt>
                <c:pt idx="2222">
                  <c:v>0.24192896727502863</c:v>
                </c:pt>
                <c:pt idx="2223">
                  <c:v>0.23617451338546111</c:v>
                </c:pt>
                <c:pt idx="2224">
                  <c:v>0.2293000636226592</c:v>
                </c:pt>
                <c:pt idx="2225">
                  <c:v>0.58584339045466371</c:v>
                </c:pt>
                <c:pt idx="2226">
                  <c:v>0.80639620680358404</c:v>
                </c:pt>
                <c:pt idx="2227">
                  <c:v>0.97255225476523932</c:v>
                </c:pt>
                <c:pt idx="2228">
                  <c:v>1.115451278860391</c:v>
                </c:pt>
                <c:pt idx="2229">
                  <c:v>6.1243949770822885</c:v>
                </c:pt>
                <c:pt idx="2230">
                  <c:v>10.4810558032699</c:v>
                </c:pt>
                <c:pt idx="2231">
                  <c:v>13.235661550163604</c:v>
                </c:pt>
                <c:pt idx="2232">
                  <c:v>14.923617909216777</c:v>
                </c:pt>
                <c:pt idx="2233">
                  <c:v>16.282205397756851</c:v>
                </c:pt>
                <c:pt idx="2234">
                  <c:v>17.271114574046692</c:v>
                </c:pt>
                <c:pt idx="2235">
                  <c:v>18.102069853513665</c:v>
                </c:pt>
                <c:pt idx="2236">
                  <c:v>18.797935482576595</c:v>
                </c:pt>
                <c:pt idx="2237">
                  <c:v>19.37215784270699</c:v>
                </c:pt>
                <c:pt idx="2238">
                  <c:v>19.83500194282378</c:v>
                </c:pt>
                <c:pt idx="2239">
                  <c:v>20.195332337697032</c:v>
                </c:pt>
                <c:pt idx="2240">
                  <c:v>20.45802317840673</c:v>
                </c:pt>
                <c:pt idx="2241">
                  <c:v>20.627100029612933</c:v>
                </c:pt>
                <c:pt idx="2242">
                  <c:v>20.70477826999787</c:v>
                </c:pt>
                <c:pt idx="2243">
                  <c:v>20.69120906102108</c:v>
                </c:pt>
                <c:pt idx="2244">
                  <c:v>20.586557897236062</c:v>
                </c:pt>
                <c:pt idx="2245">
                  <c:v>20.389503647749077</c:v>
                </c:pt>
                <c:pt idx="2246">
                  <c:v>20.097031747234691</c:v>
                </c:pt>
                <c:pt idx="2247">
                  <c:v>19.705065815137775</c:v>
                </c:pt>
                <c:pt idx="2248">
                  <c:v>19.207590947751658</c:v>
                </c:pt>
                <c:pt idx="2249">
                  <c:v>18.595946244251419</c:v>
                </c:pt>
                <c:pt idx="2250">
                  <c:v>17.857753209412884</c:v>
                </c:pt>
                <c:pt idx="2251">
                  <c:v>16.977629673781301</c:v>
                </c:pt>
                <c:pt idx="2252">
                  <c:v>15.931768452108837</c:v>
                </c:pt>
                <c:pt idx="2253">
                  <c:v>14.684767646357198</c:v>
                </c:pt>
                <c:pt idx="2254">
                  <c:v>13.179728939329275</c:v>
                </c:pt>
                <c:pt idx="2255">
                  <c:v>11.665059047986984</c:v>
                </c:pt>
                <c:pt idx="2256">
                  <c:v>9.781736169084299</c:v>
                </c:pt>
                <c:pt idx="2257">
                  <c:v>7.2284854203251721</c:v>
                </c:pt>
                <c:pt idx="2258">
                  <c:v>2.447370269553387</c:v>
                </c:pt>
                <c:pt idx="2259">
                  <c:v>2.0480398720683453</c:v>
                </c:pt>
                <c:pt idx="2260">
                  <c:v>1.5028599611531839</c:v>
                </c:pt>
                <c:pt idx="2261">
                  <c:v>0.68360165800151285</c:v>
                </c:pt>
                <c:pt idx="2262">
                  <c:v>0.46583342957452784</c:v>
                </c:pt>
                <c:pt idx="2263">
                  <c:v>0.12551562434111174</c:v>
                </c:pt>
                <c:pt idx="2264">
                  <c:v>0.13717929714520483</c:v>
                </c:pt>
                <c:pt idx="2265">
                  <c:v>0.14884455384589049</c:v>
                </c:pt>
                <c:pt idx="2266">
                  <c:v>0.15953695792675499</c:v>
                </c:pt>
                <c:pt idx="2267">
                  <c:v>0.16845941952404386</c:v>
                </c:pt>
                <c:pt idx="2268">
                  <c:v>0.17743930825676835</c:v>
                </c:pt>
                <c:pt idx="2269">
                  <c:v>0.18495577906421962</c:v>
                </c:pt>
                <c:pt idx="2270">
                  <c:v>0.19130652964159323</c:v>
                </c:pt>
                <c:pt idx="2271">
                  <c:v>0.19612644975353263</c:v>
                </c:pt>
                <c:pt idx="2272">
                  <c:v>0.19945857849476697</c:v>
                </c:pt>
                <c:pt idx="2273">
                  <c:v>0.20670502274580554</c:v>
                </c:pt>
                <c:pt idx="2274">
                  <c:v>0.21283052705415709</c:v>
                </c:pt>
                <c:pt idx="2275">
                  <c:v>0.21733671702052243</c:v>
                </c:pt>
                <c:pt idx="2276">
                  <c:v>0.22102106449005221</c:v>
                </c:pt>
                <c:pt idx="2277">
                  <c:v>0.22418717376218852</c:v>
                </c:pt>
                <c:pt idx="2278">
                  <c:v>0.22644676652560908</c:v>
                </c:pt>
                <c:pt idx="2279">
                  <c:v>0.22722118872983502</c:v>
                </c:pt>
                <c:pt idx="2280">
                  <c:v>0.22854155277550409</c:v>
                </c:pt>
                <c:pt idx="2281">
                  <c:v>0.22868199101671124</c:v>
                </c:pt>
                <c:pt idx="2282">
                  <c:v>0.22875419519083043</c:v>
                </c:pt>
                <c:pt idx="2283">
                  <c:v>0.22787389140720959</c:v>
                </c:pt>
                <c:pt idx="2284">
                  <c:v>0.23049435263341447</c:v>
                </c:pt>
                <c:pt idx="2285">
                  <c:v>0.23343433118562429</c:v>
                </c:pt>
                <c:pt idx="2286">
                  <c:v>0.42013955025889704</c:v>
                </c:pt>
                <c:pt idx="2287">
                  <c:v>0.64503796750042131</c:v>
                </c:pt>
                <c:pt idx="2288">
                  <c:v>0.81146011949238084</c:v>
                </c:pt>
                <c:pt idx="2289">
                  <c:v>0.9496913804093875</c:v>
                </c:pt>
                <c:pt idx="2290">
                  <c:v>1.0826098994911433</c:v>
                </c:pt>
                <c:pt idx="2291">
                  <c:v>1.249507645514994</c:v>
                </c:pt>
                <c:pt idx="2292">
                  <c:v>1.4051697538090213</c:v>
                </c:pt>
                <c:pt idx="2293">
                  <c:v>1.392120083710779</c:v>
                </c:pt>
                <c:pt idx="2294">
                  <c:v>2.1310649976093763</c:v>
                </c:pt>
                <c:pt idx="2295">
                  <c:v>2.1214997037001089</c:v>
                </c:pt>
                <c:pt idx="2296">
                  <c:v>2.1780565801818019</c:v>
                </c:pt>
                <c:pt idx="2297">
                  <c:v>2.484933509695507</c:v>
                </c:pt>
                <c:pt idx="2298">
                  <c:v>2.5672308864936464</c:v>
                </c:pt>
                <c:pt idx="2299">
                  <c:v>2.5602272050183275</c:v>
                </c:pt>
                <c:pt idx="2300">
                  <c:v>2.7273736039155465</c:v>
                </c:pt>
                <c:pt idx="2301">
                  <c:v>2.7120533072681643</c:v>
                </c:pt>
                <c:pt idx="2302">
                  <c:v>3.2932702783021259</c:v>
                </c:pt>
                <c:pt idx="2303">
                  <c:v>3.2885095453125448</c:v>
                </c:pt>
                <c:pt idx="2304">
                  <c:v>3.4064057408033546</c:v>
                </c:pt>
                <c:pt idx="2305">
                  <c:v>3.480950507759986</c:v>
                </c:pt>
                <c:pt idx="2306">
                  <c:v>3.5321322283164518</c:v>
                </c:pt>
                <c:pt idx="2307">
                  <c:v>3.9310615455056261</c:v>
                </c:pt>
                <c:pt idx="2308">
                  <c:v>4.0854080032143942</c:v>
                </c:pt>
                <c:pt idx="2309">
                  <c:v>4.2246400455423805</c:v>
                </c:pt>
                <c:pt idx="2310">
                  <c:v>4.3678728753236307</c:v>
                </c:pt>
                <c:pt idx="2311">
                  <c:v>4.514578133775383</c:v>
                </c:pt>
                <c:pt idx="2312">
                  <c:v>4.6631846739045626</c:v>
                </c:pt>
                <c:pt idx="2313">
                  <c:v>4.7964624018448401</c:v>
                </c:pt>
                <c:pt idx="2314">
                  <c:v>4.8862317566158211</c:v>
                </c:pt>
                <c:pt idx="2315">
                  <c:v>4.9417750094136386</c:v>
                </c:pt>
                <c:pt idx="2316">
                  <c:v>4.9153980828853721</c:v>
                </c:pt>
                <c:pt idx="2317">
                  <c:v>4.8708807459638566</c:v>
                </c:pt>
                <c:pt idx="2318">
                  <c:v>4.8130963075172648</c:v>
                </c:pt>
                <c:pt idx="2319">
                  <c:v>4.7422623227825333</c:v>
                </c:pt>
                <c:pt idx="2320">
                  <c:v>4.6519542635259672</c:v>
                </c:pt>
                <c:pt idx="2321">
                  <c:v>4.5202487658628909</c:v>
                </c:pt>
                <c:pt idx="2322">
                  <c:v>4.3586072985420312</c:v>
                </c:pt>
                <c:pt idx="2323">
                  <c:v>4.3074898183854957</c:v>
                </c:pt>
                <c:pt idx="2324">
                  <c:v>3.6442896121067001</c:v>
                </c:pt>
                <c:pt idx="2325">
                  <c:v>3.5926748940582054</c:v>
                </c:pt>
                <c:pt idx="2326">
                  <c:v>3.3312275174051975</c:v>
                </c:pt>
                <c:pt idx="2327">
                  <c:v>2.5755623001541914</c:v>
                </c:pt>
                <c:pt idx="2328">
                  <c:v>2.5721332561828834</c:v>
                </c:pt>
                <c:pt idx="2329">
                  <c:v>2.2850991374558984</c:v>
                </c:pt>
                <c:pt idx="2330">
                  <c:v>2.2950591764922752</c:v>
                </c:pt>
                <c:pt idx="2331">
                  <c:v>2.1069790330107412</c:v>
                </c:pt>
                <c:pt idx="2332">
                  <c:v>1.8948751222491047</c:v>
                </c:pt>
                <c:pt idx="2333">
                  <c:v>1.7454119515033626</c:v>
                </c:pt>
                <c:pt idx="2334">
                  <c:v>1.7594713247593745</c:v>
                </c:pt>
                <c:pt idx="2335">
                  <c:v>1.768013653683044</c:v>
                </c:pt>
                <c:pt idx="2336">
                  <c:v>1.7662854991798758</c:v>
                </c:pt>
                <c:pt idx="2337">
                  <c:v>1.5161374686523823</c:v>
                </c:pt>
                <c:pt idx="2338">
                  <c:v>1.4768928494575422</c:v>
                </c:pt>
                <c:pt idx="2339">
                  <c:v>1.4305124903028661</c:v>
                </c:pt>
                <c:pt idx="2340">
                  <c:v>1.3520350014345308</c:v>
                </c:pt>
                <c:pt idx="2341">
                  <c:v>1.2268906495988035</c:v>
                </c:pt>
                <c:pt idx="2342">
                  <c:v>1.0297184062985467</c:v>
                </c:pt>
                <c:pt idx="2343">
                  <c:v>0.75822922807616799</c:v>
                </c:pt>
                <c:pt idx="2344">
                  <c:v>0.48631787496243628</c:v>
                </c:pt>
                <c:pt idx="2345">
                  <c:v>0.15928223138717101</c:v>
                </c:pt>
                <c:pt idx="2346">
                  <c:v>0.13503831961055912</c:v>
                </c:pt>
                <c:pt idx="2347">
                  <c:v>0.13073261554930662</c:v>
                </c:pt>
                <c:pt idx="2348">
                  <c:v>0.13312494611374642</c:v>
                </c:pt>
                <c:pt idx="2349">
                  <c:v>0.13574513316780443</c:v>
                </c:pt>
                <c:pt idx="2350">
                  <c:v>0.1381483677559934</c:v>
                </c:pt>
                <c:pt idx="2351">
                  <c:v>0.13964139874467624</c:v>
                </c:pt>
                <c:pt idx="2352">
                  <c:v>0.13990678925133768</c:v>
                </c:pt>
                <c:pt idx="2353">
                  <c:v>0.14138031599602827</c:v>
                </c:pt>
                <c:pt idx="2354">
                  <c:v>0.14193952045991653</c:v>
                </c:pt>
                <c:pt idx="2355">
                  <c:v>0.14618802340390269</c:v>
                </c:pt>
                <c:pt idx="2356">
                  <c:v>0.14961783236298379</c:v>
                </c:pt>
                <c:pt idx="2357">
                  <c:v>0.15346267239086375</c:v>
                </c:pt>
                <c:pt idx="2358">
                  <c:v>0.15627623604725605</c:v>
                </c:pt>
                <c:pt idx="2359">
                  <c:v>0.15807431170328176</c:v>
                </c:pt>
                <c:pt idx="2360">
                  <c:v>0.16005268460167926</c:v>
                </c:pt>
                <c:pt idx="2361">
                  <c:v>0.16148815849876613</c:v>
                </c:pt>
                <c:pt idx="2362">
                  <c:v>0.16348966592200428</c:v>
                </c:pt>
                <c:pt idx="2363">
                  <c:v>0.16583758030563842</c:v>
                </c:pt>
                <c:pt idx="2364">
                  <c:v>0.16913411381435944</c:v>
                </c:pt>
                <c:pt idx="2365">
                  <c:v>0.17306262686090126</c:v>
                </c:pt>
                <c:pt idx="2366">
                  <c:v>0.17959065882582897</c:v>
                </c:pt>
                <c:pt idx="2367">
                  <c:v>0.18995763850955122</c:v>
                </c:pt>
                <c:pt idx="2368">
                  <c:v>0.20287809522353384</c:v>
                </c:pt>
                <c:pt idx="2369">
                  <c:v>0.21241392705875989</c:v>
                </c:pt>
                <c:pt idx="2370">
                  <c:v>0.22328650666640149</c:v>
                </c:pt>
                <c:pt idx="2371">
                  <c:v>0.23222810318508089</c:v>
                </c:pt>
                <c:pt idx="2372">
                  <c:v>0.24042452291009175</c:v>
                </c:pt>
                <c:pt idx="2373">
                  <c:v>0.24819452313310936</c:v>
                </c:pt>
                <c:pt idx="2374">
                  <c:v>0.27591737817339423</c:v>
                </c:pt>
                <c:pt idx="2375">
                  <c:v>0.29859051417523297</c:v>
                </c:pt>
                <c:pt idx="2376">
                  <c:v>0.32421474500159198</c:v>
                </c:pt>
                <c:pt idx="2377">
                  <c:v>0.34877617091003493</c:v>
                </c:pt>
                <c:pt idx="2378">
                  <c:v>0.36798005595661881</c:v>
                </c:pt>
                <c:pt idx="2379">
                  <c:v>0.38351436732071276</c:v>
                </c:pt>
                <c:pt idx="2380">
                  <c:v>0.39623565941733907</c:v>
                </c:pt>
                <c:pt idx="2381">
                  <c:v>0.4065795982593397</c:v>
                </c:pt>
                <c:pt idx="2382">
                  <c:v>0.41324137016804147</c:v>
                </c:pt>
                <c:pt idx="2383">
                  <c:v>0.41818586241357364</c:v>
                </c:pt>
                <c:pt idx="2384">
                  <c:v>0.42154808688462464</c:v>
                </c:pt>
                <c:pt idx="2385">
                  <c:v>0.42446658138348758</c:v>
                </c:pt>
                <c:pt idx="2386">
                  <c:v>0.42464777136852</c:v>
                </c:pt>
                <c:pt idx="2387">
                  <c:v>0.42263470018011684</c:v>
                </c:pt>
                <c:pt idx="2388">
                  <c:v>0.41790522952423431</c:v>
                </c:pt>
                <c:pt idx="2389">
                  <c:v>0.41101660372242454</c:v>
                </c:pt>
                <c:pt idx="2390">
                  <c:v>0.40256978269703791</c:v>
                </c:pt>
                <c:pt idx="2391">
                  <c:v>0.39299264276899326</c:v>
                </c:pt>
                <c:pt idx="2392">
                  <c:v>0.38063873547181737</c:v>
                </c:pt>
                <c:pt idx="2393">
                  <c:v>0.36705444985627506</c:v>
                </c:pt>
                <c:pt idx="2394">
                  <c:v>0.35188472236927554</c:v>
                </c:pt>
                <c:pt idx="2395">
                  <c:v>0.338809054099244</c:v>
                </c:pt>
                <c:pt idx="2396">
                  <c:v>0.32547844744390564</c:v>
                </c:pt>
                <c:pt idx="2397">
                  <c:v>0.31320594141511809</c:v>
                </c:pt>
                <c:pt idx="2398">
                  <c:v>0.31043632898475276</c:v>
                </c:pt>
                <c:pt idx="2399">
                  <c:v>0.34617758544433691</c:v>
                </c:pt>
                <c:pt idx="2400">
                  <c:v>0.37376029613181738</c:v>
                </c:pt>
                <c:pt idx="2401">
                  <c:v>0.4242083009241826</c:v>
                </c:pt>
                <c:pt idx="2402">
                  <c:v>0.53787495044056133</c:v>
                </c:pt>
                <c:pt idx="2403">
                  <c:v>0.62300580291213858</c:v>
                </c:pt>
                <c:pt idx="2404">
                  <c:v>0.71975877344959838</c:v>
                </c:pt>
                <c:pt idx="2405">
                  <c:v>0.79816149770172251</c:v>
                </c:pt>
                <c:pt idx="2406">
                  <c:v>0.87136870176842596</c:v>
                </c:pt>
                <c:pt idx="2407">
                  <c:v>0.94288400773487036</c:v>
                </c:pt>
                <c:pt idx="2408">
                  <c:v>1.0072925141396658</c:v>
                </c:pt>
                <c:pt idx="2409">
                  <c:v>1.0608999940136616</c:v>
                </c:pt>
                <c:pt idx="2410">
                  <c:v>1.1042810700119416</c:v>
                </c:pt>
                <c:pt idx="2411">
                  <c:v>1.122149516594493</c:v>
                </c:pt>
                <c:pt idx="2412">
                  <c:v>1.1329902056838042</c:v>
                </c:pt>
                <c:pt idx="2413">
                  <c:v>1.1363155389712467</c:v>
                </c:pt>
                <c:pt idx="2414">
                  <c:v>1.1333571932708459</c:v>
                </c:pt>
                <c:pt idx="2415">
                  <c:v>1.1206862338491821</c:v>
                </c:pt>
                <c:pt idx="2416">
                  <c:v>1.098768134280433</c:v>
                </c:pt>
                <c:pt idx="2417">
                  <c:v>1.0683298309420157</c:v>
                </c:pt>
                <c:pt idx="2418">
                  <c:v>1.037614527528788</c:v>
                </c:pt>
                <c:pt idx="2419">
                  <c:v>1.0069047488593357</c:v>
                </c:pt>
                <c:pt idx="2420">
                  <c:v>0.97164403186624815</c:v>
                </c:pt>
                <c:pt idx="2421">
                  <c:v>0.93396356411518611</c:v>
                </c:pt>
                <c:pt idx="2422">
                  <c:v>0.89285597492693114</c:v>
                </c:pt>
                <c:pt idx="2423">
                  <c:v>0.84913836203043147</c:v>
                </c:pt>
                <c:pt idx="2424">
                  <c:v>0.8007072717984326</c:v>
                </c:pt>
                <c:pt idx="2425">
                  <c:v>0.75179531486183804</c:v>
                </c:pt>
                <c:pt idx="2426">
                  <c:v>0.69570542424352044</c:v>
                </c:pt>
                <c:pt idx="2427">
                  <c:v>0.6315256712935845</c:v>
                </c:pt>
                <c:pt idx="2428">
                  <c:v>0.56976708508872786</c:v>
                </c:pt>
                <c:pt idx="2429">
                  <c:v>0.54016329839348998</c:v>
                </c:pt>
                <c:pt idx="2430">
                  <c:v>0.5080076840500386</c:v>
                </c:pt>
                <c:pt idx="2431">
                  <c:v>0.49217758112718862</c:v>
                </c:pt>
                <c:pt idx="2432">
                  <c:v>0.49692541063997347</c:v>
                </c:pt>
                <c:pt idx="2433">
                  <c:v>0.50328617770019324</c:v>
                </c:pt>
                <c:pt idx="2434">
                  <c:v>0.50965356734093448</c:v>
                </c:pt>
                <c:pt idx="2435">
                  <c:v>0.51776079445787704</c:v>
                </c:pt>
                <c:pt idx="2436">
                  <c:v>0.56867511380344371</c:v>
                </c:pt>
                <c:pt idx="2437">
                  <c:v>0.65859033264402</c:v>
                </c:pt>
                <c:pt idx="2438">
                  <c:v>0.67328179128738019</c:v>
                </c:pt>
                <c:pt idx="2439">
                  <c:v>0.66490677246958541</c:v>
                </c:pt>
                <c:pt idx="2440">
                  <c:v>0.70106501210118266</c:v>
                </c:pt>
                <c:pt idx="2441">
                  <c:v>0.76031863372490938</c:v>
                </c:pt>
                <c:pt idx="2442">
                  <c:v>0.8304392658940688</c:v>
                </c:pt>
                <c:pt idx="2443">
                  <c:v>0.8939990213809399</c:v>
                </c:pt>
                <c:pt idx="2444">
                  <c:v>0.95206602153717235</c:v>
                </c:pt>
                <c:pt idx="2445">
                  <c:v>1.0056634883176498</c:v>
                </c:pt>
                <c:pt idx="2446">
                  <c:v>1.0486341340057155</c:v>
                </c:pt>
                <c:pt idx="2447">
                  <c:v>1.0818043425102841</c:v>
                </c:pt>
                <c:pt idx="2448">
                  <c:v>1.1014387272977904</c:v>
                </c:pt>
                <c:pt idx="2449">
                  <c:v>1.1109300592851501</c:v>
                </c:pt>
                <c:pt idx="2450">
                  <c:v>1.1194697285171951</c:v>
                </c:pt>
                <c:pt idx="2451">
                  <c:v>1.1266239250369894</c:v>
                </c:pt>
                <c:pt idx="2452">
                  <c:v>1.1327243734013051</c:v>
                </c:pt>
                <c:pt idx="2453">
                  <c:v>1.1383822355073756</c:v>
                </c:pt>
                <c:pt idx="2454">
                  <c:v>1.138471365771621</c:v>
                </c:pt>
                <c:pt idx="2455">
                  <c:v>1.1915215629772002</c:v>
                </c:pt>
                <c:pt idx="2456">
                  <c:v>1.3866635412843431</c:v>
                </c:pt>
                <c:pt idx="2457">
                  <c:v>1.5434660896397716</c:v>
                </c:pt>
                <c:pt idx="2458">
                  <c:v>1.6479526869955881</c:v>
                </c:pt>
                <c:pt idx="2459">
                  <c:v>1.71369746093414</c:v>
                </c:pt>
                <c:pt idx="2460">
                  <c:v>1.7481952036540767</c:v>
                </c:pt>
                <c:pt idx="2461">
                  <c:v>1.7502200597544664</c:v>
                </c:pt>
                <c:pt idx="2462">
                  <c:v>1.7285450262071977</c:v>
                </c:pt>
                <c:pt idx="2463">
                  <c:v>1.7070639719395446</c:v>
                </c:pt>
                <c:pt idx="2464">
                  <c:v>1.6771361998871743</c:v>
                </c:pt>
                <c:pt idx="2465">
                  <c:v>1.6512207178597653</c:v>
                </c:pt>
                <c:pt idx="2466">
                  <c:v>1.6859789580427411</c:v>
                </c:pt>
                <c:pt idx="2467">
                  <c:v>1.7155226811498683</c:v>
                </c:pt>
                <c:pt idx="2468">
                  <c:v>1.727504881656249</c:v>
                </c:pt>
                <c:pt idx="2469">
                  <c:v>1.7292074723487605</c:v>
                </c:pt>
                <c:pt idx="2470">
                  <c:v>1.6457941404931389</c:v>
                </c:pt>
                <c:pt idx="2471">
                  <c:v>1.644858184663212</c:v>
                </c:pt>
                <c:pt idx="2472">
                  <c:v>1.6415664242771997</c:v>
                </c:pt>
                <c:pt idx="2473">
                  <c:v>1.6388503728948933</c:v>
                </c:pt>
                <c:pt idx="2474">
                  <c:v>1.643784375478955</c:v>
                </c:pt>
                <c:pt idx="2475">
                  <c:v>1.6407419346009802</c:v>
                </c:pt>
                <c:pt idx="2476">
                  <c:v>1.5761391074365725</c:v>
                </c:pt>
                <c:pt idx="2477">
                  <c:v>1.5098820521525536</c:v>
                </c:pt>
                <c:pt idx="2478">
                  <c:v>1.4458898435236838</c:v>
                </c:pt>
                <c:pt idx="2479">
                  <c:v>1.3840744083207364</c:v>
                </c:pt>
                <c:pt idx="2480">
                  <c:v>1.3198164008388522</c:v>
                </c:pt>
                <c:pt idx="2481">
                  <c:v>1.2527806500819221</c:v>
                </c:pt>
                <c:pt idx="2482">
                  <c:v>1.182575911109947</c:v>
                </c:pt>
                <c:pt idx="2483">
                  <c:v>1.1026326131639037</c:v>
                </c:pt>
                <c:pt idx="2484">
                  <c:v>1.0466376794613317</c:v>
                </c:pt>
                <c:pt idx="2485">
                  <c:v>1.0463522144508721</c:v>
                </c:pt>
                <c:pt idx="2486">
                  <c:v>0.96307846899005445</c:v>
                </c:pt>
                <c:pt idx="2487">
                  <c:v>0.86612280717850421</c:v>
                </c:pt>
                <c:pt idx="2488">
                  <c:v>0.78710021843258748</c:v>
                </c:pt>
                <c:pt idx="2489">
                  <c:v>0.72901152458399365</c:v>
                </c:pt>
                <c:pt idx="2490">
                  <c:v>0.69266474818567614</c:v>
                </c:pt>
                <c:pt idx="2491">
                  <c:v>0.68514788113654179</c:v>
                </c:pt>
                <c:pt idx="2492">
                  <c:v>0.67934547911767484</c:v>
                </c:pt>
                <c:pt idx="2493">
                  <c:v>0.63864390443810037</c:v>
                </c:pt>
                <c:pt idx="2494">
                  <c:v>0.65610583975819736</c:v>
                </c:pt>
                <c:pt idx="2495">
                  <c:v>0.68606027349137211</c:v>
                </c:pt>
                <c:pt idx="2496">
                  <c:v>0.75266402274579414</c:v>
                </c:pt>
                <c:pt idx="2497">
                  <c:v>1.065454992318343</c:v>
                </c:pt>
                <c:pt idx="2498">
                  <c:v>1.24941664968452</c:v>
                </c:pt>
                <c:pt idx="2499">
                  <c:v>1.2358874517886476</c:v>
                </c:pt>
                <c:pt idx="2500">
                  <c:v>1.2303317811708541</c:v>
                </c:pt>
                <c:pt idx="2501">
                  <c:v>1.2303579734437584</c:v>
                </c:pt>
                <c:pt idx="2502">
                  <c:v>1.4536658164167555</c:v>
                </c:pt>
                <c:pt idx="2503">
                  <c:v>1.4710481941464437</c:v>
                </c:pt>
                <c:pt idx="2504">
                  <c:v>1.478015135841791</c:v>
                </c:pt>
                <c:pt idx="2505">
                  <c:v>1.4777722385330732</c:v>
                </c:pt>
                <c:pt idx="2506">
                  <c:v>1.5103620172983354</c:v>
                </c:pt>
                <c:pt idx="2507">
                  <c:v>1.5374123948837091</c:v>
                </c:pt>
                <c:pt idx="2508">
                  <c:v>1.5508474784374471</c:v>
                </c:pt>
                <c:pt idx="2509">
                  <c:v>1.5577087248141055</c:v>
                </c:pt>
                <c:pt idx="2510">
                  <c:v>1.5583619515291063</c:v>
                </c:pt>
                <c:pt idx="2511">
                  <c:v>1.5573041677931578</c:v>
                </c:pt>
                <c:pt idx="2512">
                  <c:v>1.5547467460274451</c:v>
                </c:pt>
                <c:pt idx="2513">
                  <c:v>1.5508427539711034</c:v>
                </c:pt>
                <c:pt idx="2514">
                  <c:v>1.5456827694763178</c:v>
                </c:pt>
                <c:pt idx="2515">
                  <c:v>1.5397364144124652</c:v>
                </c:pt>
                <c:pt idx="2516">
                  <c:v>1.5326065625264365</c:v>
                </c:pt>
                <c:pt idx="2517">
                  <c:v>1.5285543102607597</c:v>
                </c:pt>
                <c:pt idx="2518">
                  <c:v>1.5237193578181645</c:v>
                </c:pt>
                <c:pt idx="2519">
                  <c:v>1.5177965295781957</c:v>
                </c:pt>
                <c:pt idx="2520">
                  <c:v>1.5231452513906765</c:v>
                </c:pt>
                <c:pt idx="2521">
                  <c:v>1.5351649932087346</c:v>
                </c:pt>
                <c:pt idx="2522">
                  <c:v>1.5596736498021642</c:v>
                </c:pt>
                <c:pt idx="2523">
                  <c:v>1.5866525423946316</c:v>
                </c:pt>
                <c:pt idx="2524">
                  <c:v>1.6181042347038541</c:v>
                </c:pt>
                <c:pt idx="2525">
                  <c:v>1.6472076081767624</c:v>
                </c:pt>
                <c:pt idx="2526">
                  <c:v>1.6372802793084247</c:v>
                </c:pt>
                <c:pt idx="2527">
                  <c:v>1.5077478757048828</c:v>
                </c:pt>
                <c:pt idx="2528">
                  <c:v>1.3816033184280527</c:v>
                </c:pt>
                <c:pt idx="2529">
                  <c:v>1.4545975476861275</c:v>
                </c:pt>
                <c:pt idx="2530">
                  <c:v>1.5311258225262241</c:v>
                </c:pt>
                <c:pt idx="2531">
                  <c:v>1.6127838885764836</c:v>
                </c:pt>
                <c:pt idx="2532">
                  <c:v>1.5737794631785038</c:v>
                </c:pt>
                <c:pt idx="2533">
                  <c:v>1.5600886266819214</c:v>
                </c:pt>
                <c:pt idx="2534">
                  <c:v>1.572237480061645</c:v>
                </c:pt>
                <c:pt idx="2535">
                  <c:v>1.5929733358754792</c:v>
                </c:pt>
                <c:pt idx="2536">
                  <c:v>1.5315007654252561</c:v>
                </c:pt>
                <c:pt idx="2537">
                  <c:v>1.4837062851142468</c:v>
                </c:pt>
                <c:pt idx="2538">
                  <c:v>1.4599194922436634</c:v>
                </c:pt>
                <c:pt idx="2539">
                  <c:v>1.4469827994737423</c:v>
                </c:pt>
                <c:pt idx="2540">
                  <c:v>1.4531774639057291</c:v>
                </c:pt>
                <c:pt idx="2541">
                  <c:v>1.4708849402585316</c:v>
                </c:pt>
                <c:pt idx="2542">
                  <c:v>1.4943380010109812</c:v>
                </c:pt>
                <c:pt idx="2543">
                  <c:v>1.5255702986686683</c:v>
                </c:pt>
                <c:pt idx="2544">
                  <c:v>1.5635220668532352</c:v>
                </c:pt>
                <c:pt idx="2545">
                  <c:v>1.6042044684562147</c:v>
                </c:pt>
                <c:pt idx="2546">
                  <c:v>1.6041898633637857</c:v>
                </c:pt>
                <c:pt idx="2547">
                  <c:v>1.6198929928276711</c:v>
                </c:pt>
                <c:pt idx="2548">
                  <c:v>1.6986022902300431</c:v>
                </c:pt>
                <c:pt idx="2549">
                  <c:v>1.7698606816564888</c:v>
                </c:pt>
                <c:pt idx="2550">
                  <c:v>1.8173346007568814</c:v>
                </c:pt>
                <c:pt idx="2551">
                  <c:v>1.8492589054405242</c:v>
                </c:pt>
                <c:pt idx="2552">
                  <c:v>1.8584277234256021</c:v>
                </c:pt>
                <c:pt idx="2553">
                  <c:v>1.8532188215934842</c:v>
                </c:pt>
                <c:pt idx="2554">
                  <c:v>1.8700924666093715</c:v>
                </c:pt>
                <c:pt idx="2555">
                  <c:v>2.1583453081913766</c:v>
                </c:pt>
                <c:pt idx="2556">
                  <c:v>2.1577676334713205</c:v>
                </c:pt>
                <c:pt idx="2557">
                  <c:v>2.1434805933753815</c:v>
                </c:pt>
                <c:pt idx="2558">
                  <c:v>2.2101008434913139</c:v>
                </c:pt>
                <c:pt idx="2559">
                  <c:v>2.2116292943433313</c:v>
                </c:pt>
                <c:pt idx="2560">
                  <c:v>2.1844744709074955</c:v>
                </c:pt>
                <c:pt idx="2561">
                  <c:v>2.1248468237518972</c:v>
                </c:pt>
                <c:pt idx="2562">
                  <c:v>2.0343072947845267</c:v>
                </c:pt>
                <c:pt idx="2563">
                  <c:v>2.0351797979043691</c:v>
                </c:pt>
                <c:pt idx="2564">
                  <c:v>2.0217441300062249</c:v>
                </c:pt>
                <c:pt idx="2565">
                  <c:v>1.9827154127792599</c:v>
                </c:pt>
                <c:pt idx="2566">
                  <c:v>1.9866470518575696</c:v>
                </c:pt>
                <c:pt idx="2567">
                  <c:v>1.9871880720002686</c:v>
                </c:pt>
                <c:pt idx="2568">
                  <c:v>1.9844197836569135</c:v>
                </c:pt>
                <c:pt idx="2569">
                  <c:v>1.9801639197390521</c:v>
                </c:pt>
                <c:pt idx="2570">
                  <c:v>1.9742669718595665</c:v>
                </c:pt>
                <c:pt idx="2571">
                  <c:v>1.9657982680167807</c:v>
                </c:pt>
                <c:pt idx="2572">
                  <c:v>1.9564365183426751</c:v>
                </c:pt>
                <c:pt idx="2573">
                  <c:v>1.9454478625076965</c:v>
                </c:pt>
                <c:pt idx="2574">
                  <c:v>1.9338171908662765</c:v>
                </c:pt>
                <c:pt idx="2575">
                  <c:v>1.9237905166973761</c:v>
                </c:pt>
                <c:pt idx="2576">
                  <c:v>1.9390017695067836</c:v>
                </c:pt>
                <c:pt idx="2577">
                  <c:v>1.9253717956409644</c:v>
                </c:pt>
                <c:pt idx="2578">
                  <c:v>1.8279482724153027</c:v>
                </c:pt>
                <c:pt idx="2579">
                  <c:v>1.7145747915411838</c:v>
                </c:pt>
                <c:pt idx="2580">
                  <c:v>1.5994377320040403</c:v>
                </c:pt>
                <c:pt idx="2581">
                  <c:v>1.4896980006127243</c:v>
                </c:pt>
                <c:pt idx="2582">
                  <c:v>1.4007953424086717</c:v>
                </c:pt>
                <c:pt idx="2583">
                  <c:v>1.3345684727368252</c:v>
                </c:pt>
                <c:pt idx="2584">
                  <c:v>1.3534283105317562</c:v>
                </c:pt>
                <c:pt idx="2585">
                  <c:v>1.0666787726190776</c:v>
                </c:pt>
                <c:pt idx="2586">
                  <c:v>1.0184712986004241</c:v>
                </c:pt>
                <c:pt idx="2587">
                  <c:v>1.1123636026407708</c:v>
                </c:pt>
                <c:pt idx="2588">
                  <c:v>1.046226370938752</c:v>
                </c:pt>
                <c:pt idx="2589">
                  <c:v>1.3933021554343361</c:v>
                </c:pt>
                <c:pt idx="2590">
                  <c:v>1.6300173529595083</c:v>
                </c:pt>
                <c:pt idx="2591">
                  <c:v>1.8065253390420997</c:v>
                </c:pt>
                <c:pt idx="2592">
                  <c:v>1.9251715471771298</c:v>
                </c:pt>
                <c:pt idx="2593">
                  <c:v>2.0148931969078476</c:v>
                </c:pt>
                <c:pt idx="2594">
                  <c:v>2.0713202386683456</c:v>
                </c:pt>
                <c:pt idx="2595">
                  <c:v>2.07169399015504</c:v>
                </c:pt>
                <c:pt idx="2596">
                  <c:v>2.0666624725272231</c:v>
                </c:pt>
                <c:pt idx="2597">
                  <c:v>2.0610373036951066</c:v>
                </c:pt>
                <c:pt idx="2598">
                  <c:v>2.0580267282313245</c:v>
                </c:pt>
                <c:pt idx="2599">
                  <c:v>2.0571755368187574</c:v>
                </c:pt>
                <c:pt idx="2600">
                  <c:v>2.0531431945541967</c:v>
                </c:pt>
                <c:pt idx="2601">
                  <c:v>2.057124200595863</c:v>
                </c:pt>
                <c:pt idx="2602">
                  <c:v>2.088010767232432</c:v>
                </c:pt>
                <c:pt idx="2603">
                  <c:v>2.116725780745135</c:v>
                </c:pt>
                <c:pt idx="2604">
                  <c:v>2.1316873496416182</c:v>
                </c:pt>
                <c:pt idx="2605">
                  <c:v>2.1346889940852884</c:v>
                </c:pt>
                <c:pt idx="2606">
                  <c:v>2.1304998965348911</c:v>
                </c:pt>
                <c:pt idx="2607">
                  <c:v>2.1701711756063879</c:v>
                </c:pt>
                <c:pt idx="2608">
                  <c:v>2.4273160464710584</c:v>
                </c:pt>
                <c:pt idx="2609">
                  <c:v>2.4871885189708252</c:v>
                </c:pt>
                <c:pt idx="2610">
                  <c:v>2.4570405165444962</c:v>
                </c:pt>
                <c:pt idx="2611">
                  <c:v>2.4058907945638235</c:v>
                </c:pt>
                <c:pt idx="2612">
                  <c:v>2.4217616880055277</c:v>
                </c:pt>
                <c:pt idx="2613">
                  <c:v>2.4358790689635783</c:v>
                </c:pt>
                <c:pt idx="2614">
                  <c:v>2.4455871798819033</c:v>
                </c:pt>
                <c:pt idx="2615">
                  <c:v>2.500494991101005</c:v>
                </c:pt>
                <c:pt idx="2616">
                  <c:v>2.5727939110054074</c:v>
                </c:pt>
                <c:pt idx="2617">
                  <c:v>2.6333566955609635</c:v>
                </c:pt>
                <c:pt idx="2618">
                  <c:v>2.6549932491231947</c:v>
                </c:pt>
                <c:pt idx="2619">
                  <c:v>2.6058568515998046</c:v>
                </c:pt>
                <c:pt idx="2620">
                  <c:v>2.5478347079222425</c:v>
                </c:pt>
                <c:pt idx="2621">
                  <c:v>2.4818345363625389</c:v>
                </c:pt>
                <c:pt idx="2622">
                  <c:v>2.4200944859589599</c:v>
                </c:pt>
                <c:pt idx="2623">
                  <c:v>2.3518906850169108</c:v>
                </c:pt>
                <c:pt idx="2624">
                  <c:v>2.2904668975025873</c:v>
                </c:pt>
                <c:pt idx="2625">
                  <c:v>2.2888752413823008</c:v>
                </c:pt>
                <c:pt idx="2626">
                  <c:v>2.2706286099187341</c:v>
                </c:pt>
                <c:pt idx="2627">
                  <c:v>2.2880604728717837</c:v>
                </c:pt>
                <c:pt idx="2628">
                  <c:v>2.3720510167663922</c:v>
                </c:pt>
                <c:pt idx="2629">
                  <c:v>2.5488051453376128</c:v>
                </c:pt>
                <c:pt idx="2630">
                  <c:v>2.7025345564555332</c:v>
                </c:pt>
                <c:pt idx="2631">
                  <c:v>2.8136526810094109</c:v>
                </c:pt>
                <c:pt idx="2632">
                  <c:v>2.8229421932965333</c:v>
                </c:pt>
                <c:pt idx="2633">
                  <c:v>2.8112333624017265</c:v>
                </c:pt>
                <c:pt idx="2634">
                  <c:v>2.8246278902138924</c:v>
                </c:pt>
                <c:pt idx="2635">
                  <c:v>2.8265143971235585</c:v>
                </c:pt>
                <c:pt idx="2636">
                  <c:v>2.8239305351648811</c:v>
                </c:pt>
                <c:pt idx="2637">
                  <c:v>2.7620004294511187</c:v>
                </c:pt>
                <c:pt idx="2638">
                  <c:v>2.4519688265928741</c:v>
                </c:pt>
                <c:pt idx="2639">
                  <c:v>2.2852356340286764</c:v>
                </c:pt>
                <c:pt idx="2640">
                  <c:v>2.2347235714955573</c:v>
                </c:pt>
                <c:pt idx="2641">
                  <c:v>2.2330268278793586</c:v>
                </c:pt>
                <c:pt idx="2642">
                  <c:v>2.2122398730938979</c:v>
                </c:pt>
                <c:pt idx="2643">
                  <c:v>2.1891461626794211</c:v>
                </c:pt>
                <c:pt idx="2644">
                  <c:v>2.173410572320269</c:v>
                </c:pt>
                <c:pt idx="2645">
                  <c:v>2.3919783883161512</c:v>
                </c:pt>
                <c:pt idx="2646">
                  <c:v>2.6573958875442165</c:v>
                </c:pt>
                <c:pt idx="2647">
                  <c:v>2.8189624144773857</c:v>
                </c:pt>
                <c:pt idx="2648">
                  <c:v>2.8741794818921358</c:v>
                </c:pt>
                <c:pt idx="2649">
                  <c:v>2.8633594605552259</c:v>
                </c:pt>
                <c:pt idx="2650">
                  <c:v>2.9216734687352148</c:v>
                </c:pt>
                <c:pt idx="2651">
                  <c:v>3.0719518326605426</c:v>
                </c:pt>
                <c:pt idx="2652">
                  <c:v>3.1321060869154809</c:v>
                </c:pt>
                <c:pt idx="2653">
                  <c:v>3.1302399868360942</c:v>
                </c:pt>
                <c:pt idx="2654">
                  <c:v>3.092534228132676</c:v>
                </c:pt>
                <c:pt idx="2655">
                  <c:v>3.1019746659923588</c:v>
                </c:pt>
                <c:pt idx="2656">
                  <c:v>3.2343703596704048</c:v>
                </c:pt>
                <c:pt idx="2657">
                  <c:v>3.3313322430313383</c:v>
                </c:pt>
                <c:pt idx="2658">
                  <c:v>3.3636241918783019</c:v>
                </c:pt>
                <c:pt idx="2659">
                  <c:v>3.2981284422152499</c:v>
                </c:pt>
                <c:pt idx="2660">
                  <c:v>3.1840803553880765</c:v>
                </c:pt>
                <c:pt idx="2661">
                  <c:v>3.0846170117274423</c:v>
                </c:pt>
                <c:pt idx="2662">
                  <c:v>3.1796231589863124</c:v>
                </c:pt>
                <c:pt idx="2663">
                  <c:v>3.3247983019311818</c:v>
                </c:pt>
                <c:pt idx="2664">
                  <c:v>3.3748167661131721</c:v>
                </c:pt>
                <c:pt idx="2665">
                  <c:v>3.3905636402595323</c:v>
                </c:pt>
                <c:pt idx="2666">
                  <c:v>3.3914144375672342</c:v>
                </c:pt>
                <c:pt idx="2667">
                  <c:v>3.3912810336541028</c:v>
                </c:pt>
                <c:pt idx="2668">
                  <c:v>3.393612468003572</c:v>
                </c:pt>
                <c:pt idx="2669">
                  <c:v>3.3951789815177973</c:v>
                </c:pt>
                <c:pt idx="2670">
                  <c:v>3.4404472816395493</c:v>
                </c:pt>
                <c:pt idx="2671">
                  <c:v>3.5620593780408103</c:v>
                </c:pt>
                <c:pt idx="2672">
                  <c:v>3.5760381103392507</c:v>
                </c:pt>
                <c:pt idx="2673">
                  <c:v>3.6327976514280418</c:v>
                </c:pt>
                <c:pt idx="2674">
                  <c:v>3.6520963022641499</c:v>
                </c:pt>
                <c:pt idx="2675">
                  <c:v>3.5365076259021602</c:v>
                </c:pt>
                <c:pt idx="2676">
                  <c:v>3.3550625350814789</c:v>
                </c:pt>
                <c:pt idx="2677">
                  <c:v>3.2075233269149721</c:v>
                </c:pt>
                <c:pt idx="2678">
                  <c:v>3.1382662671964732</c:v>
                </c:pt>
                <c:pt idx="2679">
                  <c:v>3.1693525505110189</c:v>
                </c:pt>
                <c:pt idx="2680">
                  <c:v>3.2110115983709986</c:v>
                </c:pt>
                <c:pt idx="2681">
                  <c:v>3.1254175422443224</c:v>
                </c:pt>
                <c:pt idx="2682">
                  <c:v>3.0955187285336008</c:v>
                </c:pt>
                <c:pt idx="2683">
                  <c:v>3.0797105284867201</c:v>
                </c:pt>
                <c:pt idx="2684">
                  <c:v>3.0856211820779174</c:v>
                </c:pt>
                <c:pt idx="2685">
                  <c:v>3.0334426008742361</c:v>
                </c:pt>
                <c:pt idx="2686">
                  <c:v>2.8862356456248874</c:v>
                </c:pt>
                <c:pt idx="2687">
                  <c:v>2.7579498854929239</c:v>
                </c:pt>
                <c:pt idx="2688">
                  <c:v>2.6510247344590954</c:v>
                </c:pt>
                <c:pt idx="2689">
                  <c:v>2.5639359266280999</c:v>
                </c:pt>
                <c:pt idx="2690">
                  <c:v>2.5647378267588601</c:v>
                </c:pt>
                <c:pt idx="2691">
                  <c:v>2.5580481546724245</c:v>
                </c:pt>
                <c:pt idx="2692">
                  <c:v>2.49262193521729</c:v>
                </c:pt>
                <c:pt idx="2693">
                  <c:v>2.3846302824931151</c:v>
                </c:pt>
                <c:pt idx="2694">
                  <c:v>2.3394381828512167</c:v>
                </c:pt>
                <c:pt idx="2695">
                  <c:v>2.336795786165907</c:v>
                </c:pt>
                <c:pt idx="2696">
                  <c:v>2.350128978047457</c:v>
                </c:pt>
                <c:pt idx="2697">
                  <c:v>2.3600866611182436</c:v>
                </c:pt>
                <c:pt idx="2698">
                  <c:v>2.3400595777053774</c:v>
                </c:pt>
                <c:pt idx="2699">
                  <c:v>2.3523919467638184</c:v>
                </c:pt>
                <c:pt idx="2700">
                  <c:v>2.3340031082235519</c:v>
                </c:pt>
                <c:pt idx="2701">
                  <c:v>2.2151695272280469</c:v>
                </c:pt>
                <c:pt idx="2702">
                  <c:v>2.1793996383648961</c:v>
                </c:pt>
                <c:pt idx="2703">
                  <c:v>2.1325116451418036</c:v>
                </c:pt>
                <c:pt idx="2704">
                  <c:v>2.1171338178412853</c:v>
                </c:pt>
                <c:pt idx="2705">
                  <c:v>2.1011575983555302</c:v>
                </c:pt>
                <c:pt idx="2706">
                  <c:v>2.1870935473873439</c:v>
                </c:pt>
                <c:pt idx="2707">
                  <c:v>2.1931554774760675</c:v>
                </c:pt>
                <c:pt idx="2708">
                  <c:v>2.1773821825795903</c:v>
                </c:pt>
                <c:pt idx="2709">
                  <c:v>2.1472335492062755</c:v>
                </c:pt>
                <c:pt idx="2710">
                  <c:v>1.9048077228278271</c:v>
                </c:pt>
                <c:pt idx="2711">
                  <c:v>1.6851175331221635</c:v>
                </c:pt>
                <c:pt idx="2712">
                  <c:v>1.463435660973077</c:v>
                </c:pt>
                <c:pt idx="2713">
                  <c:v>1.3569140960455055</c:v>
                </c:pt>
                <c:pt idx="2714">
                  <c:v>1.2806073903234203</c:v>
                </c:pt>
                <c:pt idx="2715">
                  <c:v>1.2604946808167832</c:v>
                </c:pt>
                <c:pt idx="2716">
                  <c:v>1.2611106276344701</c:v>
                </c:pt>
                <c:pt idx="2717">
                  <c:v>1.2870465445440802</c:v>
                </c:pt>
                <c:pt idx="2718">
                  <c:v>1.3145963806506589</c:v>
                </c:pt>
                <c:pt idx="2719">
                  <c:v>1.3396594180827952</c:v>
                </c:pt>
                <c:pt idx="2720">
                  <c:v>1.359236502062835</c:v>
                </c:pt>
                <c:pt idx="2721">
                  <c:v>1.374043835287811</c:v>
                </c:pt>
                <c:pt idx="2722">
                  <c:v>1.3835373985421275</c:v>
                </c:pt>
                <c:pt idx="2723">
                  <c:v>1.3873651017224702</c:v>
                </c:pt>
                <c:pt idx="2724">
                  <c:v>1.3862543920885455</c:v>
                </c:pt>
                <c:pt idx="2725">
                  <c:v>1.3796012552151207</c:v>
                </c:pt>
                <c:pt idx="2726">
                  <c:v>1.3671021812802713</c:v>
                </c:pt>
                <c:pt idx="2727">
                  <c:v>1.3483254649366843</c:v>
                </c:pt>
                <c:pt idx="2728">
                  <c:v>1.3227063287016221</c:v>
                </c:pt>
                <c:pt idx="2729">
                  <c:v>1.2895265301837158</c:v>
                </c:pt>
                <c:pt idx="2730">
                  <c:v>1.2477257836028484</c:v>
                </c:pt>
                <c:pt idx="2731">
                  <c:v>1.196260660752581</c:v>
                </c:pt>
                <c:pt idx="2732">
                  <c:v>1.5588115477932751</c:v>
                </c:pt>
                <c:pt idx="2733">
                  <c:v>1.7339970548117982</c:v>
                </c:pt>
                <c:pt idx="2734">
                  <c:v>1.846389036239684</c:v>
                </c:pt>
                <c:pt idx="2735">
                  <c:v>1.9202793229155954</c:v>
                </c:pt>
                <c:pt idx="2736">
                  <c:v>1.8862490144979711</c:v>
                </c:pt>
                <c:pt idx="2737">
                  <c:v>1.7926514905035151</c:v>
                </c:pt>
                <c:pt idx="2738">
                  <c:v>1.7167564425221156</c:v>
                </c:pt>
                <c:pt idx="2739">
                  <c:v>1.6474465084077474</c:v>
                </c:pt>
                <c:pt idx="2740">
                  <c:v>1.718748560784028</c:v>
                </c:pt>
                <c:pt idx="2741">
                  <c:v>1.6923395734968061</c:v>
                </c:pt>
                <c:pt idx="2742">
                  <c:v>1.6597686234915401</c:v>
                </c:pt>
                <c:pt idx="2743">
                  <c:v>1.7595779305216122</c:v>
                </c:pt>
                <c:pt idx="2744">
                  <c:v>2.2085524508668861</c:v>
                </c:pt>
                <c:pt idx="2745">
                  <c:v>2.4547457407960085</c:v>
                </c:pt>
                <c:pt idx="2746">
                  <c:v>2.5907428307832583</c:v>
                </c:pt>
                <c:pt idx="2747">
                  <c:v>2.6575352173116737</c:v>
                </c:pt>
                <c:pt idx="2748">
                  <c:v>2.6612587142958155</c:v>
                </c:pt>
                <c:pt idx="2749">
                  <c:v>2.6650163204683044</c:v>
                </c:pt>
                <c:pt idx="2750">
                  <c:v>2.6686595347827331</c:v>
                </c:pt>
                <c:pt idx="2751">
                  <c:v>2.6721994043771669</c:v>
                </c:pt>
                <c:pt idx="2752">
                  <c:v>2.6756380395831965</c:v>
                </c:pt>
                <c:pt idx="2753">
                  <c:v>2.6792581273472513</c:v>
                </c:pt>
                <c:pt idx="2754">
                  <c:v>2.6861624577274608</c:v>
                </c:pt>
                <c:pt idx="2755">
                  <c:v>3.1779482822789715</c:v>
                </c:pt>
                <c:pt idx="2756">
                  <c:v>3.1912488715344116</c:v>
                </c:pt>
                <c:pt idx="2757">
                  <c:v>3.194588853672669</c:v>
                </c:pt>
                <c:pt idx="2758">
                  <c:v>3.3739324211106134</c:v>
                </c:pt>
                <c:pt idx="2759">
                  <c:v>3.4489551631183821</c:v>
                </c:pt>
                <c:pt idx="2760">
                  <c:v>3.4845010966423144</c:v>
                </c:pt>
                <c:pt idx="2761">
                  <c:v>3.5062891554158893</c:v>
                </c:pt>
                <c:pt idx="2762">
                  <c:v>3.3228184262491491</c:v>
                </c:pt>
                <c:pt idx="2763">
                  <c:v>3.1730961665801871</c:v>
                </c:pt>
                <c:pt idx="2764">
                  <c:v>3.0645734941115386</c:v>
                </c:pt>
                <c:pt idx="2765">
                  <c:v>2.9962806058691647</c:v>
                </c:pt>
                <c:pt idx="2766">
                  <c:v>2.9910154572612364</c:v>
                </c:pt>
                <c:pt idx="2767">
                  <c:v>3.0242525121759503</c:v>
                </c:pt>
                <c:pt idx="2768">
                  <c:v>3.0673845460954379</c:v>
                </c:pt>
                <c:pt idx="2769">
                  <c:v>3.0921634576418753</c:v>
                </c:pt>
                <c:pt idx="2770">
                  <c:v>3.0054657733912107</c:v>
                </c:pt>
                <c:pt idx="2771">
                  <c:v>2.951491566934735</c:v>
                </c:pt>
                <c:pt idx="2772">
                  <c:v>2.9316237206374529</c:v>
                </c:pt>
                <c:pt idx="2773">
                  <c:v>3.0299172874357243</c:v>
                </c:pt>
                <c:pt idx="2774">
                  <c:v>2.9281640140596497</c:v>
                </c:pt>
                <c:pt idx="2775">
                  <c:v>2.8406291621323185</c:v>
                </c:pt>
                <c:pt idx="2776">
                  <c:v>2.7699279389332614</c:v>
                </c:pt>
                <c:pt idx="2777">
                  <c:v>2.7212181951983494</c:v>
                </c:pt>
                <c:pt idx="2778">
                  <c:v>2.7191869414709973</c:v>
                </c:pt>
                <c:pt idx="2779">
                  <c:v>2.7165137578451977</c:v>
                </c:pt>
                <c:pt idx="2780">
                  <c:v>2.7231299749304485</c:v>
                </c:pt>
                <c:pt idx="2781">
                  <c:v>2.8208935683774894</c:v>
                </c:pt>
                <c:pt idx="2782">
                  <c:v>3.2199370766275308</c:v>
                </c:pt>
                <c:pt idx="2783">
                  <c:v>3.4106720766166889</c:v>
                </c:pt>
                <c:pt idx="2784">
                  <c:v>3.4818969258167565</c:v>
                </c:pt>
                <c:pt idx="2785">
                  <c:v>3.0914695355468207</c:v>
                </c:pt>
                <c:pt idx="2786">
                  <c:v>3.0876857199826602</c:v>
                </c:pt>
                <c:pt idx="2787">
                  <c:v>3.0817058443962568</c:v>
                </c:pt>
                <c:pt idx="2788">
                  <c:v>2.85142539915309</c:v>
                </c:pt>
                <c:pt idx="2789">
                  <c:v>2.7851648213299018</c:v>
                </c:pt>
                <c:pt idx="2790">
                  <c:v>2.7640029381440119</c:v>
                </c:pt>
                <c:pt idx="2791">
                  <c:v>2.7448182792739333</c:v>
                </c:pt>
                <c:pt idx="2792">
                  <c:v>2.7652369674949826</c:v>
                </c:pt>
                <c:pt idx="2793">
                  <c:v>3.0130124287295765</c:v>
                </c:pt>
                <c:pt idx="2794">
                  <c:v>3.0019707993527489</c:v>
                </c:pt>
                <c:pt idx="2795">
                  <c:v>2.9868522713047687</c:v>
                </c:pt>
                <c:pt idx="2796">
                  <c:v>2.9666122107286879</c:v>
                </c:pt>
                <c:pt idx="2797">
                  <c:v>2.939792616379286</c:v>
                </c:pt>
                <c:pt idx="2798">
                  <c:v>2.9054760556906047</c:v>
                </c:pt>
                <c:pt idx="2799">
                  <c:v>2.8861931544494777</c:v>
                </c:pt>
                <c:pt idx="2800">
                  <c:v>2.8882644471100991</c:v>
                </c:pt>
                <c:pt idx="2801">
                  <c:v>3.1947377913753834</c:v>
                </c:pt>
                <c:pt idx="2802">
                  <c:v>3.1735684423059132</c:v>
                </c:pt>
                <c:pt idx="2803">
                  <c:v>3.2021570588030017</c:v>
                </c:pt>
                <c:pt idx="2804">
                  <c:v>3.1507783978765942</c:v>
                </c:pt>
                <c:pt idx="2805">
                  <c:v>3.0818015663654865</c:v>
                </c:pt>
                <c:pt idx="2806">
                  <c:v>3.0331427616201578</c:v>
                </c:pt>
                <c:pt idx="2807">
                  <c:v>3.0027618764165331</c:v>
                </c:pt>
                <c:pt idx="2808">
                  <c:v>2.987780224951242</c:v>
                </c:pt>
                <c:pt idx="2809">
                  <c:v>2.9895610909294623</c:v>
                </c:pt>
                <c:pt idx="2810">
                  <c:v>2.9913355379419921</c:v>
                </c:pt>
                <c:pt idx="2811">
                  <c:v>2.9365382471456538</c:v>
                </c:pt>
                <c:pt idx="2812">
                  <c:v>2.5532202262180306</c:v>
                </c:pt>
                <c:pt idx="2813">
                  <c:v>2.3007144713044294</c:v>
                </c:pt>
                <c:pt idx="2814">
                  <c:v>2.1753902919244386</c:v>
                </c:pt>
                <c:pt idx="2815">
                  <c:v>2.0967780789680881</c:v>
                </c:pt>
                <c:pt idx="2816">
                  <c:v>2.1083878791021289</c:v>
                </c:pt>
                <c:pt idx="2817">
                  <c:v>2.171931966740682</c:v>
                </c:pt>
                <c:pt idx="2818">
                  <c:v>2.2983341501996302</c:v>
                </c:pt>
                <c:pt idx="2819">
                  <c:v>2.3814065088547536</c:v>
                </c:pt>
                <c:pt idx="2820">
                  <c:v>2.4228074380546718</c:v>
                </c:pt>
                <c:pt idx="2821">
                  <c:v>2.459735465248746</c:v>
                </c:pt>
                <c:pt idx="2822">
                  <c:v>2.4801580831000996</c:v>
                </c:pt>
                <c:pt idx="2823">
                  <c:v>2.1654621041345434</c:v>
                </c:pt>
                <c:pt idx="2824">
                  <c:v>2.1647464501007354</c:v>
                </c:pt>
                <c:pt idx="2825">
                  <c:v>2.1659133044342904</c:v>
                </c:pt>
                <c:pt idx="2826">
                  <c:v>2.1814829177957269</c:v>
                </c:pt>
                <c:pt idx="2827">
                  <c:v>2.2251383891358936</c:v>
                </c:pt>
                <c:pt idx="2828">
                  <c:v>2.2332601898818454</c:v>
                </c:pt>
                <c:pt idx="2829">
                  <c:v>2.2303105580413645</c:v>
                </c:pt>
                <c:pt idx="2830">
                  <c:v>2.3048928892258327</c:v>
                </c:pt>
                <c:pt idx="2831">
                  <c:v>1.982477343072258</c:v>
                </c:pt>
                <c:pt idx="2832">
                  <c:v>2.0059929182417329</c:v>
                </c:pt>
                <c:pt idx="2833">
                  <c:v>1.7726977615233475</c:v>
                </c:pt>
                <c:pt idx="2834">
                  <c:v>1.696349501290447</c:v>
                </c:pt>
                <c:pt idx="2835">
                  <c:v>1.6917914523477442</c:v>
                </c:pt>
                <c:pt idx="2836">
                  <c:v>1.6874285521778509</c:v>
                </c:pt>
                <c:pt idx="2837">
                  <c:v>1.6816853552138364</c:v>
                </c:pt>
                <c:pt idx="2838">
                  <c:v>1.674371087522176</c:v>
                </c:pt>
                <c:pt idx="2839">
                  <c:v>1.6676784099404245</c:v>
                </c:pt>
                <c:pt idx="2840">
                  <c:v>1.7806069962807067</c:v>
                </c:pt>
                <c:pt idx="2841">
                  <c:v>1.8210820605897773</c:v>
                </c:pt>
                <c:pt idx="2842">
                  <c:v>1.8198372243689145</c:v>
                </c:pt>
                <c:pt idx="2843">
                  <c:v>1.8000393519539997</c:v>
                </c:pt>
                <c:pt idx="2844">
                  <c:v>1.8080672471499717</c:v>
                </c:pt>
                <c:pt idx="2845">
                  <c:v>1.8054778257427806</c:v>
                </c:pt>
                <c:pt idx="2846">
                  <c:v>1.8169350124753567</c:v>
                </c:pt>
                <c:pt idx="2847">
                  <c:v>1.8103351573710338</c:v>
                </c:pt>
                <c:pt idx="2848">
                  <c:v>1.7445991001581405</c:v>
                </c:pt>
                <c:pt idx="2849">
                  <c:v>1.6955005620416028</c:v>
                </c:pt>
                <c:pt idx="2850">
                  <c:v>1.6649337709909207</c:v>
                </c:pt>
                <c:pt idx="2851">
                  <c:v>1.6322077876972347</c:v>
                </c:pt>
                <c:pt idx="2852">
                  <c:v>1.5152224129545651</c:v>
                </c:pt>
                <c:pt idx="2853">
                  <c:v>1.5242483551463732</c:v>
                </c:pt>
                <c:pt idx="2854">
                  <c:v>1.5243898380378078</c:v>
                </c:pt>
                <c:pt idx="2855">
                  <c:v>1.5893527947158295</c:v>
                </c:pt>
                <c:pt idx="2856">
                  <c:v>1.6564664616303173</c:v>
                </c:pt>
                <c:pt idx="2857">
                  <c:v>1.6718158375672496</c:v>
                </c:pt>
                <c:pt idx="2858">
                  <c:v>1.6527476535724102</c:v>
                </c:pt>
                <c:pt idx="2859">
                  <c:v>1.6612067639152752</c:v>
                </c:pt>
                <c:pt idx="2860">
                  <c:v>1.6001452350782213</c:v>
                </c:pt>
                <c:pt idx="2861">
                  <c:v>1.4562668166671247</c:v>
                </c:pt>
                <c:pt idx="2862">
                  <c:v>1.410723094291084</c:v>
                </c:pt>
                <c:pt idx="2863">
                  <c:v>1.3781636739936911</c:v>
                </c:pt>
                <c:pt idx="2864">
                  <c:v>1.3684562923010353</c:v>
                </c:pt>
                <c:pt idx="2865">
                  <c:v>1.3869448677558078</c:v>
                </c:pt>
                <c:pt idx="2866">
                  <c:v>1.4059489454000924</c:v>
                </c:pt>
                <c:pt idx="2867">
                  <c:v>1.4249505674897069</c:v>
                </c:pt>
                <c:pt idx="2868">
                  <c:v>1.4433629258869591</c:v>
                </c:pt>
                <c:pt idx="2869">
                  <c:v>1.4608122130957661</c:v>
                </c:pt>
                <c:pt idx="2870">
                  <c:v>1.2029228012149746</c:v>
                </c:pt>
                <c:pt idx="2871">
                  <c:v>0.99124302565937372</c:v>
                </c:pt>
                <c:pt idx="2872">
                  <c:v>0.83924404140883535</c:v>
                </c:pt>
                <c:pt idx="2873">
                  <c:v>0.75882206369660887</c:v>
                </c:pt>
                <c:pt idx="2874">
                  <c:v>0.77343023745103501</c:v>
                </c:pt>
                <c:pt idx="2875">
                  <c:v>0.78023077370817107</c:v>
                </c:pt>
                <c:pt idx="2876">
                  <c:v>0.77695103389830611</c:v>
                </c:pt>
                <c:pt idx="2877">
                  <c:v>0.76469445856083496</c:v>
                </c:pt>
                <c:pt idx="2878">
                  <c:v>0.74092107331887724</c:v>
                </c:pt>
                <c:pt idx="2879">
                  <c:v>0.69404401385527514</c:v>
                </c:pt>
                <c:pt idx="2880">
                  <c:v>0.62234162344174593</c:v>
                </c:pt>
                <c:pt idx="2881">
                  <c:v>0.52757012728489661</c:v>
                </c:pt>
                <c:pt idx="2882">
                  <c:v>0.43855873493636105</c:v>
                </c:pt>
                <c:pt idx="2883">
                  <c:v>0.42772515928916266</c:v>
                </c:pt>
                <c:pt idx="2884">
                  <c:v>0.44156286117411991</c:v>
                </c:pt>
                <c:pt idx="2885">
                  <c:v>0.96260023295476727</c:v>
                </c:pt>
                <c:pt idx="2886">
                  <c:v>1.41708947972104</c:v>
                </c:pt>
                <c:pt idx="2887">
                  <c:v>1.8795296768279797</c:v>
                </c:pt>
                <c:pt idx="2888">
                  <c:v>2.0530966467016927</c:v>
                </c:pt>
                <c:pt idx="2889">
                  <c:v>2.0535525646032711</c:v>
                </c:pt>
                <c:pt idx="2890">
                  <c:v>2.0533246433122097</c:v>
                </c:pt>
                <c:pt idx="2891">
                  <c:v>2.2040457661644886</c:v>
                </c:pt>
                <c:pt idx="2892">
                  <c:v>2.2542888814863931</c:v>
                </c:pt>
                <c:pt idx="2893">
                  <c:v>2.2853955572130711</c:v>
                </c:pt>
                <c:pt idx="2894">
                  <c:v>2.3010828346871297</c:v>
                </c:pt>
                <c:pt idx="2895">
                  <c:v>2.3196369878137726</c:v>
                </c:pt>
                <c:pt idx="2896">
                  <c:v>2.3482925748890535</c:v>
                </c:pt>
                <c:pt idx="2897">
                  <c:v>2.4428356549844112</c:v>
                </c:pt>
                <c:pt idx="2898">
                  <c:v>2.5486520310647021</c:v>
                </c:pt>
                <c:pt idx="2899">
                  <c:v>2.6463418818620923</c:v>
                </c:pt>
                <c:pt idx="2900">
                  <c:v>2.7067930901474488</c:v>
                </c:pt>
                <c:pt idx="2901">
                  <c:v>2.7398273107955506</c:v>
                </c:pt>
                <c:pt idx="2902">
                  <c:v>2.7538297085171188</c:v>
                </c:pt>
                <c:pt idx="2903">
                  <c:v>2.7553442092308478</c:v>
                </c:pt>
                <c:pt idx="2904">
                  <c:v>2.7503014465094746</c:v>
                </c:pt>
                <c:pt idx="2905">
                  <c:v>2.7446029872004862</c:v>
                </c:pt>
                <c:pt idx="2906">
                  <c:v>2.738411631637653</c:v>
                </c:pt>
                <c:pt idx="2907">
                  <c:v>2.7312997174012397</c:v>
                </c:pt>
                <c:pt idx="2908">
                  <c:v>2.723114948783127</c:v>
                </c:pt>
                <c:pt idx="2909">
                  <c:v>2.7135605283570636</c:v>
                </c:pt>
                <c:pt idx="2910">
                  <c:v>2.7034171032489378</c:v>
                </c:pt>
                <c:pt idx="2911">
                  <c:v>2.6942549546035264</c:v>
                </c:pt>
                <c:pt idx="2912">
                  <c:v>2.6957193166669375</c:v>
                </c:pt>
                <c:pt idx="2913">
                  <c:v>2.7107456067456726</c:v>
                </c:pt>
                <c:pt idx="2914">
                  <c:v>2.7367848650630044</c:v>
                </c:pt>
                <c:pt idx="2915">
                  <c:v>2.6683058275136475</c:v>
                </c:pt>
                <c:pt idx="2916">
                  <c:v>2.476976810835072</c:v>
                </c:pt>
                <c:pt idx="2917">
                  <c:v>2.1543248129014616</c:v>
                </c:pt>
                <c:pt idx="2918">
                  <c:v>2.1692564092494728</c:v>
                </c:pt>
                <c:pt idx="2919">
                  <c:v>2.3536334276561779</c:v>
                </c:pt>
                <c:pt idx="2920">
                  <c:v>2.3796962346656119</c:v>
                </c:pt>
                <c:pt idx="2921">
                  <c:v>2.21384596825424</c:v>
                </c:pt>
                <c:pt idx="2922">
                  <c:v>2.1256557711333071</c:v>
                </c:pt>
                <c:pt idx="2923">
                  <c:v>2.0423124009675533</c:v>
                </c:pt>
                <c:pt idx="2924">
                  <c:v>2.0435955416652507</c:v>
                </c:pt>
                <c:pt idx="2925">
                  <c:v>2.0425856600246868</c:v>
                </c:pt>
                <c:pt idx="2926">
                  <c:v>2.0348888494502173</c:v>
                </c:pt>
                <c:pt idx="2927">
                  <c:v>1.9737378845307789</c:v>
                </c:pt>
                <c:pt idx="2928">
                  <c:v>1.8875062351286149</c:v>
                </c:pt>
                <c:pt idx="2929">
                  <c:v>1.7918090759776959</c:v>
                </c:pt>
                <c:pt idx="2930">
                  <c:v>1.7277605060114332</c:v>
                </c:pt>
                <c:pt idx="2931">
                  <c:v>1.6929911252299781</c:v>
                </c:pt>
                <c:pt idx="2932">
                  <c:v>1.681807181380587</c:v>
                </c:pt>
                <c:pt idx="2933">
                  <c:v>1.6870703059698717</c:v>
                </c:pt>
                <c:pt idx="2934">
                  <c:v>1.6917361945722986</c:v>
                </c:pt>
                <c:pt idx="2935">
                  <c:v>1.6947945651908833</c:v>
                </c:pt>
                <c:pt idx="2936">
                  <c:v>1.6929228117961141</c:v>
                </c:pt>
                <c:pt idx="2937">
                  <c:v>1.6880229718893027</c:v>
                </c:pt>
                <c:pt idx="2938">
                  <c:v>1.6803114996187507</c:v>
                </c:pt>
                <c:pt idx="2939">
                  <c:v>1.6692000460964327</c:v>
                </c:pt>
                <c:pt idx="2940">
                  <c:v>1.6560550858610514</c:v>
                </c:pt>
                <c:pt idx="2941">
                  <c:v>1.6612588339366108</c:v>
                </c:pt>
                <c:pt idx="2942">
                  <c:v>1.6730143038159879</c:v>
                </c:pt>
                <c:pt idx="2943">
                  <c:v>1.682388681803116</c:v>
                </c:pt>
                <c:pt idx="2944">
                  <c:v>1.6766127949792122</c:v>
                </c:pt>
                <c:pt idx="2945">
                  <c:v>1.968691615388477</c:v>
                </c:pt>
                <c:pt idx="2946">
                  <c:v>2.1444601996123689</c:v>
                </c:pt>
                <c:pt idx="2947">
                  <c:v>2.2428111447471215</c:v>
                </c:pt>
                <c:pt idx="2948">
                  <c:v>2.1252785470467246</c:v>
                </c:pt>
                <c:pt idx="2949">
                  <c:v>1.9468912073135591</c:v>
                </c:pt>
                <c:pt idx="2950">
                  <c:v>1.9455903710511708</c:v>
                </c:pt>
                <c:pt idx="2951">
                  <c:v>1.9322794545685564</c:v>
                </c:pt>
                <c:pt idx="2952">
                  <c:v>1.9236500268341399</c:v>
                </c:pt>
                <c:pt idx="2953">
                  <c:v>1.9162786090289423</c:v>
                </c:pt>
                <c:pt idx="2954">
                  <c:v>1.9088997045507623</c:v>
                </c:pt>
                <c:pt idx="2955">
                  <c:v>1.9014802628798164</c:v>
                </c:pt>
                <c:pt idx="2956">
                  <c:v>1.8954010836103765</c:v>
                </c:pt>
                <c:pt idx="2957">
                  <c:v>1.8962101182769822</c:v>
                </c:pt>
                <c:pt idx="2958">
                  <c:v>1.9657202739613493</c:v>
                </c:pt>
                <c:pt idx="2959">
                  <c:v>2.0574905773633381</c:v>
                </c:pt>
                <c:pt idx="2960">
                  <c:v>2.1494651205677635</c:v>
                </c:pt>
                <c:pt idx="2961">
                  <c:v>2.2139179582278241</c:v>
                </c:pt>
                <c:pt idx="2962">
                  <c:v>2.2548387303268163</c:v>
                </c:pt>
                <c:pt idx="2963">
                  <c:v>2.2750330175693079</c:v>
                </c:pt>
                <c:pt idx="2964">
                  <c:v>2.2485110194270361</c:v>
                </c:pt>
                <c:pt idx="2965">
                  <c:v>2.2352546519785377</c:v>
                </c:pt>
                <c:pt idx="2966">
                  <c:v>2.2059652782447339</c:v>
                </c:pt>
                <c:pt idx="2967">
                  <c:v>2.1673080303908883</c:v>
                </c:pt>
                <c:pt idx="2968">
                  <c:v>2.5892625884823812</c:v>
                </c:pt>
                <c:pt idx="2969">
                  <c:v>2.9427531840240544</c:v>
                </c:pt>
                <c:pt idx="2970">
                  <c:v>3.1196312507141428</c:v>
                </c:pt>
                <c:pt idx="2971">
                  <c:v>3.097686433622393</c:v>
                </c:pt>
                <c:pt idx="2972">
                  <c:v>3.0733159516193127</c:v>
                </c:pt>
                <c:pt idx="2973">
                  <c:v>3.0512724006536143</c:v>
                </c:pt>
                <c:pt idx="2974">
                  <c:v>3.0484942606253065</c:v>
                </c:pt>
                <c:pt idx="2975">
                  <c:v>2.9347288754967003</c:v>
                </c:pt>
                <c:pt idx="2976">
                  <c:v>2.8532169420946301</c:v>
                </c:pt>
                <c:pt idx="2977">
                  <c:v>2.7809533729569118</c:v>
                </c:pt>
                <c:pt idx="2978">
                  <c:v>2.7184103602431788</c:v>
                </c:pt>
                <c:pt idx="2979">
                  <c:v>2.6895101630154854</c:v>
                </c:pt>
                <c:pt idx="2980">
                  <c:v>2.7658169065272777</c:v>
                </c:pt>
                <c:pt idx="2981">
                  <c:v>2.9749313617068873</c:v>
                </c:pt>
                <c:pt idx="2982">
                  <c:v>3.1304727334438529</c:v>
                </c:pt>
                <c:pt idx="2983">
                  <c:v>3.2465018227751172</c:v>
                </c:pt>
                <c:pt idx="2984">
                  <c:v>3.3336310749221658</c:v>
                </c:pt>
                <c:pt idx="2985">
                  <c:v>3.3967939776087457</c:v>
                </c:pt>
                <c:pt idx="2986">
                  <c:v>3.4215841710349584</c:v>
                </c:pt>
                <c:pt idx="2987">
                  <c:v>3.4345319891228749</c:v>
                </c:pt>
                <c:pt idx="2988">
                  <c:v>3.4265247823349969</c:v>
                </c:pt>
                <c:pt idx="2989">
                  <c:v>3.3960973166444535</c:v>
                </c:pt>
                <c:pt idx="2990">
                  <c:v>3.365321963455167</c:v>
                </c:pt>
                <c:pt idx="2991">
                  <c:v>3.3307527764392266</c:v>
                </c:pt>
                <c:pt idx="2992">
                  <c:v>3.2944033310447702</c:v>
                </c:pt>
                <c:pt idx="2993">
                  <c:v>3.4216527080720365</c:v>
                </c:pt>
                <c:pt idx="2994">
                  <c:v>3.4224703952094515</c:v>
                </c:pt>
                <c:pt idx="2995">
                  <c:v>3.4116001645263467</c:v>
                </c:pt>
                <c:pt idx="2996">
                  <c:v>3.411032908684291</c:v>
                </c:pt>
                <c:pt idx="2997">
                  <c:v>3.5029955913678226</c:v>
                </c:pt>
                <c:pt idx="2998">
                  <c:v>3.2588196958777544</c:v>
                </c:pt>
                <c:pt idx="2999">
                  <c:v>2.9482657185698415</c:v>
                </c:pt>
                <c:pt idx="3000">
                  <c:v>2.7700537400213729</c:v>
                </c:pt>
                <c:pt idx="3001">
                  <c:v>2.8942712879831536</c:v>
                </c:pt>
                <c:pt idx="3002">
                  <c:v>2.9241653343062524</c:v>
                </c:pt>
                <c:pt idx="3003">
                  <c:v>2.884569047077187</c:v>
                </c:pt>
                <c:pt idx="3004">
                  <c:v>2.8235335631725111</c:v>
                </c:pt>
                <c:pt idx="3005">
                  <c:v>3.1633112072462661</c:v>
                </c:pt>
                <c:pt idx="3006">
                  <c:v>3.2232849054239847</c:v>
                </c:pt>
                <c:pt idx="3007">
                  <c:v>3.2335673930181708</c:v>
                </c:pt>
                <c:pt idx="3008">
                  <c:v>3.2044380197650124</c:v>
                </c:pt>
                <c:pt idx="3009">
                  <c:v>3.2245402320574903</c:v>
                </c:pt>
                <c:pt idx="3010">
                  <c:v>3.2372469403890189</c:v>
                </c:pt>
                <c:pt idx="3011">
                  <c:v>3.1784650933646823</c:v>
                </c:pt>
                <c:pt idx="3012">
                  <c:v>3.1190279251456507</c:v>
                </c:pt>
                <c:pt idx="3013">
                  <c:v>3.068453410417034</c:v>
                </c:pt>
                <c:pt idx="3014">
                  <c:v>3.0253307706765473</c:v>
                </c:pt>
                <c:pt idx="3015">
                  <c:v>2.9908530229994761</c:v>
                </c:pt>
                <c:pt idx="3016">
                  <c:v>2.9848574848007057</c:v>
                </c:pt>
                <c:pt idx="3017">
                  <c:v>2.9886083866141027</c:v>
                </c:pt>
                <c:pt idx="3018">
                  <c:v>2.9957473116659843</c:v>
                </c:pt>
                <c:pt idx="3019">
                  <c:v>3.0043546792408944</c:v>
                </c:pt>
                <c:pt idx="3020">
                  <c:v>2.9913851477163127</c:v>
                </c:pt>
                <c:pt idx="3021">
                  <c:v>2.9894140316644107</c:v>
                </c:pt>
                <c:pt idx="3022">
                  <c:v>3.0059532242735427</c:v>
                </c:pt>
                <c:pt idx="3023">
                  <c:v>2.8958394712377729</c:v>
                </c:pt>
                <c:pt idx="3024">
                  <c:v>2.9081909826999777</c:v>
                </c:pt>
                <c:pt idx="3025">
                  <c:v>2.9165761953313378</c:v>
                </c:pt>
                <c:pt idx="3026">
                  <c:v>2.9184995767312953</c:v>
                </c:pt>
                <c:pt idx="3027">
                  <c:v>2.8380905451227387</c:v>
                </c:pt>
                <c:pt idx="3028">
                  <c:v>2.7155072754643248</c:v>
                </c:pt>
                <c:pt idx="3029">
                  <c:v>2.5396134066178213</c:v>
                </c:pt>
                <c:pt idx="3030">
                  <c:v>2.2412829273081285</c:v>
                </c:pt>
                <c:pt idx="3031">
                  <c:v>1.8024204210775041</c:v>
                </c:pt>
                <c:pt idx="3032">
                  <c:v>1.4090711720786098</c:v>
                </c:pt>
                <c:pt idx="3033">
                  <c:v>1.4056534316247744</c:v>
                </c:pt>
                <c:pt idx="3034">
                  <c:v>1.387499055182895</c:v>
                </c:pt>
                <c:pt idx="3035">
                  <c:v>0.84739579985915303</c:v>
                </c:pt>
                <c:pt idx="3036">
                  <c:v>0.75802920157211562</c:v>
                </c:pt>
                <c:pt idx="3037">
                  <c:v>0.78775965747618748</c:v>
                </c:pt>
                <c:pt idx="3038">
                  <c:v>0.80794090406007824</c:v>
                </c:pt>
                <c:pt idx="3039">
                  <c:v>0.81192968398609033</c:v>
                </c:pt>
                <c:pt idx="3040">
                  <c:v>0.96215831161016852</c:v>
                </c:pt>
                <c:pt idx="3041">
                  <c:v>1.1570062663206344</c:v>
                </c:pt>
                <c:pt idx="3042">
                  <c:v>1.2896797068580208</c:v>
                </c:pt>
                <c:pt idx="3043">
                  <c:v>1.3472254539958053</c:v>
                </c:pt>
                <c:pt idx="3044">
                  <c:v>1.3558950990539307</c:v>
                </c:pt>
                <c:pt idx="3045">
                  <c:v>1.3587015654040997</c:v>
                </c:pt>
                <c:pt idx="3046">
                  <c:v>1.3598080507202055</c:v>
                </c:pt>
                <c:pt idx="3047">
                  <c:v>1.3660897923233293</c:v>
                </c:pt>
                <c:pt idx="3048">
                  <c:v>1.4025397876742463</c:v>
                </c:pt>
                <c:pt idx="3049">
                  <c:v>1.435832059181877</c:v>
                </c:pt>
                <c:pt idx="3050">
                  <c:v>1.4655230332383276</c:v>
                </c:pt>
                <c:pt idx="3051">
                  <c:v>1.4934385447426568</c:v>
                </c:pt>
                <c:pt idx="3052">
                  <c:v>1.5185423505388655</c:v>
                </c:pt>
                <c:pt idx="3053">
                  <c:v>1.5459127780478115</c:v>
                </c:pt>
                <c:pt idx="3054">
                  <c:v>1.5724351987628402</c:v>
                </c:pt>
                <c:pt idx="3055">
                  <c:v>1.5980511269535931</c:v>
                </c:pt>
                <c:pt idx="3056">
                  <c:v>1.6231614932392437</c:v>
                </c:pt>
                <c:pt idx="3057">
                  <c:v>1.6478877259249098</c:v>
                </c:pt>
                <c:pt idx="3058">
                  <c:v>1.6715313706336605</c:v>
                </c:pt>
                <c:pt idx="3059">
                  <c:v>1.6934856157832883</c:v>
                </c:pt>
                <c:pt idx="3060">
                  <c:v>1.7140061964580484</c:v>
                </c:pt>
                <c:pt idx="3061">
                  <c:v>1.7322383425076551</c:v>
                </c:pt>
                <c:pt idx="3062">
                  <c:v>1.748323792958397</c:v>
                </c:pt>
                <c:pt idx="3063">
                  <c:v>1.7618199847168323</c:v>
                </c:pt>
                <c:pt idx="3064">
                  <c:v>1.7731663071102128</c:v>
                </c:pt>
                <c:pt idx="3065">
                  <c:v>1.7870220460105606</c:v>
                </c:pt>
                <c:pt idx="3066">
                  <c:v>1.79176442921184</c:v>
                </c:pt>
                <c:pt idx="3067">
                  <c:v>1.8653399759506062</c:v>
                </c:pt>
                <c:pt idx="3068">
                  <c:v>1.9044151688866355</c:v>
                </c:pt>
                <c:pt idx="3069">
                  <c:v>1.9040208872163955</c:v>
                </c:pt>
                <c:pt idx="3070">
                  <c:v>1.7813346982509231</c:v>
                </c:pt>
                <c:pt idx="3071">
                  <c:v>1.6338253639846985</c:v>
                </c:pt>
                <c:pt idx="3072">
                  <c:v>1.3953194634031234</c:v>
                </c:pt>
                <c:pt idx="3073">
                  <c:v>1.209247695781821</c:v>
                </c:pt>
                <c:pt idx="3074">
                  <c:v>1.0848526305091315</c:v>
                </c:pt>
                <c:pt idx="3075">
                  <c:v>0.98377757123767873</c:v>
                </c:pt>
                <c:pt idx="3076">
                  <c:v>0.91138820994709324</c:v>
                </c:pt>
                <c:pt idx="3077">
                  <c:v>0.89215284092714897</c:v>
                </c:pt>
                <c:pt idx="3078">
                  <c:v>0.8934400059025791</c:v>
                </c:pt>
                <c:pt idx="3079">
                  <c:v>0.89507645556054694</c:v>
                </c:pt>
                <c:pt idx="3080">
                  <c:v>0.89674625666035124</c:v>
                </c:pt>
                <c:pt idx="3081">
                  <c:v>0.89890641415320649</c:v>
                </c:pt>
                <c:pt idx="3082">
                  <c:v>0.90131469195456648</c:v>
                </c:pt>
                <c:pt idx="3083">
                  <c:v>0.90390841508452269</c:v>
                </c:pt>
                <c:pt idx="3084">
                  <c:v>0.90628778857242931</c:v>
                </c:pt>
                <c:pt idx="3085">
                  <c:v>0.90837255023911734</c:v>
                </c:pt>
                <c:pt idx="3086">
                  <c:v>0.91167588710334191</c:v>
                </c:pt>
                <c:pt idx="3087">
                  <c:v>0.94932376083595638</c:v>
                </c:pt>
                <c:pt idx="3088">
                  <c:v>1.0473641327750725</c:v>
                </c:pt>
                <c:pt idx="3089">
                  <c:v>1.2100076248079179</c:v>
                </c:pt>
                <c:pt idx="3090">
                  <c:v>1.2987893723657757</c:v>
                </c:pt>
                <c:pt idx="3091">
                  <c:v>1.341391974688924</c:v>
                </c:pt>
                <c:pt idx="3092">
                  <c:v>1.3490130090984285</c:v>
                </c:pt>
                <c:pt idx="3093">
                  <c:v>1.3972557456264068</c:v>
                </c:pt>
                <c:pt idx="3094">
                  <c:v>1.4760208948849325</c:v>
                </c:pt>
                <c:pt idx="3095">
                  <c:v>1.5020126401062852</c:v>
                </c:pt>
                <c:pt idx="3096">
                  <c:v>1.5298407856482992</c:v>
                </c:pt>
                <c:pt idx="3097">
                  <c:v>1.5057209812562922</c:v>
                </c:pt>
                <c:pt idx="3098">
                  <c:v>1.5101742159632647</c:v>
                </c:pt>
                <c:pt idx="3099">
                  <c:v>1.5299141993543242</c:v>
                </c:pt>
                <c:pt idx="3100">
                  <c:v>1.5334896552458959</c:v>
                </c:pt>
                <c:pt idx="3101">
                  <c:v>1.4466314920476004</c:v>
                </c:pt>
                <c:pt idx="3102">
                  <c:v>1.7019679448610896</c:v>
                </c:pt>
                <c:pt idx="3103">
                  <c:v>1.93607591752056</c:v>
                </c:pt>
                <c:pt idx="3104">
                  <c:v>2.0820488093570741</c:v>
                </c:pt>
                <c:pt idx="3105">
                  <c:v>2.1647586598720805</c:v>
                </c:pt>
                <c:pt idx="3106">
                  <c:v>2.2059746568332819</c:v>
                </c:pt>
                <c:pt idx="3107">
                  <c:v>2.3850594856189349</c:v>
                </c:pt>
                <c:pt idx="3108">
                  <c:v>2.3877584963802483</c:v>
                </c:pt>
                <c:pt idx="3109">
                  <c:v>2.3903106186473946</c:v>
                </c:pt>
                <c:pt idx="3110">
                  <c:v>2.3925542019081796</c:v>
                </c:pt>
                <c:pt idx="3111">
                  <c:v>2.3944814125028455</c:v>
                </c:pt>
                <c:pt idx="3112">
                  <c:v>2.3961263568140732</c:v>
                </c:pt>
                <c:pt idx="3113">
                  <c:v>2.3974356540472135</c:v>
                </c:pt>
                <c:pt idx="3114">
                  <c:v>2.398344931607244</c:v>
                </c:pt>
                <c:pt idx="3115">
                  <c:v>2.3988591195200462</c:v>
                </c:pt>
                <c:pt idx="3116">
                  <c:v>2.3964749037372099</c:v>
                </c:pt>
                <c:pt idx="3117">
                  <c:v>2.3777538921402521</c:v>
                </c:pt>
                <c:pt idx="3118">
                  <c:v>2.3258629681563088</c:v>
                </c:pt>
                <c:pt idx="3119">
                  <c:v>2.2242764599117155</c:v>
                </c:pt>
                <c:pt idx="3120">
                  <c:v>2.1523836445808437</c:v>
                </c:pt>
                <c:pt idx="3121">
                  <c:v>2.1096798489563868</c:v>
                </c:pt>
                <c:pt idx="3122">
                  <c:v>2.1233985011548682</c:v>
                </c:pt>
                <c:pt idx="3123">
                  <c:v>2.0906255145539272</c:v>
                </c:pt>
                <c:pt idx="3124">
                  <c:v>2.0232493932096847</c:v>
                </c:pt>
                <c:pt idx="3125">
                  <c:v>2.0628956744373621</c:v>
                </c:pt>
                <c:pt idx="3126">
                  <c:v>2.1066340073841991</c:v>
                </c:pt>
                <c:pt idx="3127">
                  <c:v>2.2035788768460942</c:v>
                </c:pt>
                <c:pt idx="3128">
                  <c:v>2.2022316636158616</c:v>
                </c:pt>
                <c:pt idx="3129">
                  <c:v>2.1984723876054812</c:v>
                </c:pt>
                <c:pt idx="3130">
                  <c:v>2.1943108683039427</c:v>
                </c:pt>
                <c:pt idx="3131">
                  <c:v>2.1889197976047092</c:v>
                </c:pt>
                <c:pt idx="3132">
                  <c:v>2.0098669163759935</c:v>
                </c:pt>
                <c:pt idx="3133">
                  <c:v>1.7887859311927814</c:v>
                </c:pt>
                <c:pt idx="3134">
                  <c:v>1.5998362351481719</c:v>
                </c:pt>
                <c:pt idx="3135">
                  <c:v>1.4505074145099099</c:v>
                </c:pt>
                <c:pt idx="3136">
                  <c:v>1.3409547444750307</c:v>
                </c:pt>
                <c:pt idx="3137">
                  <c:v>1.2153214775926242</c:v>
                </c:pt>
                <c:pt idx="3138">
                  <c:v>1.3278007933499458</c:v>
                </c:pt>
                <c:pt idx="3139">
                  <c:v>1.3590058131150684</c:v>
                </c:pt>
                <c:pt idx="3140">
                  <c:v>1.3584859248013978</c:v>
                </c:pt>
                <c:pt idx="3141">
                  <c:v>1.3573211077299328</c:v>
                </c:pt>
                <c:pt idx="3142">
                  <c:v>1.3819548412943508</c:v>
                </c:pt>
                <c:pt idx="3143">
                  <c:v>1.4607870006596475</c:v>
                </c:pt>
                <c:pt idx="3144">
                  <c:v>1.6607689963697789</c:v>
                </c:pt>
                <c:pt idx="3145">
                  <c:v>1.7011040817929417</c:v>
                </c:pt>
                <c:pt idx="3146">
                  <c:v>1.7086227279390196</c:v>
                </c:pt>
                <c:pt idx="3147">
                  <c:v>1.7090346236589262</c:v>
                </c:pt>
                <c:pt idx="3148">
                  <c:v>1.8199443684625323</c:v>
                </c:pt>
                <c:pt idx="3149">
                  <c:v>1.9040358005771225</c:v>
                </c:pt>
                <c:pt idx="3150">
                  <c:v>1.9719483245403189</c:v>
                </c:pt>
                <c:pt idx="3151">
                  <c:v>2.0259734046682727</c:v>
                </c:pt>
                <c:pt idx="3152">
                  <c:v>2.0684766958254857</c:v>
                </c:pt>
                <c:pt idx="3153">
                  <c:v>2.0811388641643385</c:v>
                </c:pt>
                <c:pt idx="3154">
                  <c:v>2.0789046398815403</c:v>
                </c:pt>
                <c:pt idx="3155">
                  <c:v>2.0568728514544463</c:v>
                </c:pt>
                <c:pt idx="3156">
                  <c:v>2.0082326444827969</c:v>
                </c:pt>
                <c:pt idx="3157">
                  <c:v>1.9536494817436567</c:v>
                </c:pt>
                <c:pt idx="3158">
                  <c:v>1.9760330925888541</c:v>
                </c:pt>
                <c:pt idx="3159">
                  <c:v>1.9951130627008813</c:v>
                </c:pt>
                <c:pt idx="3160">
                  <c:v>2.0118019296195255</c:v>
                </c:pt>
                <c:pt idx="3161">
                  <c:v>2.0254030930045275</c:v>
                </c:pt>
                <c:pt idx="3162">
                  <c:v>2.0351891765636378</c:v>
                </c:pt>
                <c:pt idx="3163">
                  <c:v>2.034154349021922</c:v>
                </c:pt>
                <c:pt idx="3164">
                  <c:v>2.0211917742174372</c:v>
                </c:pt>
                <c:pt idx="3165">
                  <c:v>1.9902063499794695</c:v>
                </c:pt>
                <c:pt idx="3166">
                  <c:v>1.9547154282756694</c:v>
                </c:pt>
                <c:pt idx="3167">
                  <c:v>1.9383350125985737</c:v>
                </c:pt>
                <c:pt idx="3168">
                  <c:v>1.9198169354490857</c:v>
                </c:pt>
                <c:pt idx="3169">
                  <c:v>1.9193280745049168</c:v>
                </c:pt>
                <c:pt idx="3170">
                  <c:v>1.9111563634121569</c:v>
                </c:pt>
                <c:pt idx="3171">
                  <c:v>1.8883888875219674</c:v>
                </c:pt>
                <c:pt idx="3172">
                  <c:v>1.8121442978329809</c:v>
                </c:pt>
                <c:pt idx="3173">
                  <c:v>1.6412720364138282</c:v>
                </c:pt>
                <c:pt idx="3174">
                  <c:v>1.1915382869300739</c:v>
                </c:pt>
                <c:pt idx="3175">
                  <c:v>0.93006466624635287</c:v>
                </c:pt>
                <c:pt idx="3176">
                  <c:v>0.74968156097458372</c:v>
                </c:pt>
                <c:pt idx="3177">
                  <c:v>0.67180357807825908</c:v>
                </c:pt>
                <c:pt idx="3178">
                  <c:v>1.0538326072584969</c:v>
                </c:pt>
                <c:pt idx="3179">
                  <c:v>1.0352291325917404</c:v>
                </c:pt>
                <c:pt idx="3180">
                  <c:v>1.0557275719301069</c:v>
                </c:pt>
                <c:pt idx="3181">
                  <c:v>1.3750407881592475</c:v>
                </c:pt>
                <c:pt idx="3182">
                  <c:v>1.8771362069225264</c:v>
                </c:pt>
                <c:pt idx="3183">
                  <c:v>2.2580103208001416</c:v>
                </c:pt>
                <c:pt idx="3184">
                  <c:v>2.4919622127493866</c:v>
                </c:pt>
                <c:pt idx="3185">
                  <c:v>2.6339445546217917</c:v>
                </c:pt>
                <c:pt idx="3186">
                  <c:v>2.7122336295427552</c:v>
                </c:pt>
                <c:pt idx="3187">
                  <c:v>2.750049457178029</c:v>
                </c:pt>
                <c:pt idx="3188">
                  <c:v>2.7809709602278243</c:v>
                </c:pt>
                <c:pt idx="3189">
                  <c:v>2.8182337804931548</c:v>
                </c:pt>
                <c:pt idx="3190">
                  <c:v>2.8533331959707247</c:v>
                </c:pt>
                <c:pt idx="3191">
                  <c:v>2.8864152134007912</c:v>
                </c:pt>
                <c:pt idx="3192">
                  <c:v>2.9158597867098952</c:v>
                </c:pt>
                <c:pt idx="3193">
                  <c:v>2.9394347729713446</c:v>
                </c:pt>
                <c:pt idx="3194">
                  <c:v>2.9591657016475237</c:v>
                </c:pt>
                <c:pt idx="3195">
                  <c:v>2.9765420464697985</c:v>
                </c:pt>
                <c:pt idx="3196">
                  <c:v>2.9916847384903398</c:v>
                </c:pt>
                <c:pt idx="3197">
                  <c:v>3.0052142910486168</c:v>
                </c:pt>
                <c:pt idx="3198">
                  <c:v>3.0169851232891536</c:v>
                </c:pt>
                <c:pt idx="3199">
                  <c:v>3.026710999253762</c:v>
                </c:pt>
                <c:pt idx="3200">
                  <c:v>3.0335207812490501</c:v>
                </c:pt>
                <c:pt idx="3201">
                  <c:v>3.0390996594613</c:v>
                </c:pt>
                <c:pt idx="3202">
                  <c:v>3.0438308074294578</c:v>
                </c:pt>
                <c:pt idx="3203">
                  <c:v>3.0465636449371791</c:v>
                </c:pt>
                <c:pt idx="3204">
                  <c:v>3.0481624735505495</c:v>
                </c:pt>
                <c:pt idx="3205">
                  <c:v>3.0573082657991693</c:v>
                </c:pt>
                <c:pt idx="3206">
                  <c:v>3.0921788745834111</c:v>
                </c:pt>
                <c:pt idx="3207">
                  <c:v>3.1869508049471755</c:v>
                </c:pt>
                <c:pt idx="3208">
                  <c:v>3.2009851892947969</c:v>
                </c:pt>
                <c:pt idx="3209">
                  <c:v>3.3769332589923744</c:v>
                </c:pt>
                <c:pt idx="3210">
                  <c:v>3.5259495099077567</c:v>
                </c:pt>
                <c:pt idx="3211">
                  <c:v>3.5094043344294752</c:v>
                </c:pt>
                <c:pt idx="3212">
                  <c:v>3.2575764720197622</c:v>
                </c:pt>
                <c:pt idx="3213">
                  <c:v>2.913723879939746</c:v>
                </c:pt>
                <c:pt idx="3214">
                  <c:v>2.544099894866195</c:v>
                </c:pt>
                <c:pt idx="3215">
                  <c:v>2.1957940993088925</c:v>
                </c:pt>
                <c:pt idx="3216">
                  <c:v>1.8806851010694308</c:v>
                </c:pt>
                <c:pt idx="3217">
                  <c:v>2.0344615383063767</c:v>
                </c:pt>
                <c:pt idx="3218">
                  <c:v>2.3884061716671368</c:v>
                </c:pt>
                <c:pt idx="3219">
                  <c:v>2.5858240597348217</c:v>
                </c:pt>
                <c:pt idx="3220">
                  <c:v>2.6825693041219258</c:v>
                </c:pt>
                <c:pt idx="3221">
                  <c:v>3.050547475896578</c:v>
                </c:pt>
                <c:pt idx="3222">
                  <c:v>3.0523671977190787</c:v>
                </c:pt>
                <c:pt idx="3223">
                  <c:v>3.0492673290359571</c:v>
                </c:pt>
                <c:pt idx="3224">
                  <c:v>3.0433646939104344</c:v>
                </c:pt>
                <c:pt idx="3225">
                  <c:v>3.0361187364537909</c:v>
                </c:pt>
                <c:pt idx="3226">
                  <c:v>3.0270491300405582</c:v>
                </c:pt>
                <c:pt idx="3227">
                  <c:v>3.0168333646348686</c:v>
                </c:pt>
                <c:pt idx="3228">
                  <c:v>3.0054051023850117</c:v>
                </c:pt>
                <c:pt idx="3229">
                  <c:v>2.9919486959009536</c:v>
                </c:pt>
                <c:pt idx="3230">
                  <c:v>2.9713745978818502</c:v>
                </c:pt>
                <c:pt idx="3231">
                  <c:v>3.341519496814203</c:v>
                </c:pt>
                <c:pt idx="3232">
                  <c:v>3.3308551685466417</c:v>
                </c:pt>
                <c:pt idx="3233">
                  <c:v>3.345720331754011</c:v>
                </c:pt>
                <c:pt idx="3234">
                  <c:v>3.3335526455642217</c:v>
                </c:pt>
                <c:pt idx="3235">
                  <c:v>3.317186381167911</c:v>
                </c:pt>
                <c:pt idx="3236">
                  <c:v>3.3144836743202983</c:v>
                </c:pt>
                <c:pt idx="3237">
                  <c:v>3.3204224399391977</c:v>
                </c:pt>
                <c:pt idx="3238">
                  <c:v>3.3212072114618878</c:v>
                </c:pt>
                <c:pt idx="3239">
                  <c:v>3.292386227365443</c:v>
                </c:pt>
                <c:pt idx="3240">
                  <c:v>3.2579411779903613</c:v>
                </c:pt>
                <c:pt idx="3241">
                  <c:v>3.2347909045126104</c:v>
                </c:pt>
                <c:pt idx="3242">
                  <c:v>3.2350359258834582</c:v>
                </c:pt>
                <c:pt idx="3243">
                  <c:v>3.2463437669321156</c:v>
                </c:pt>
                <c:pt idx="3244">
                  <c:v>3.2810205398117973</c:v>
                </c:pt>
                <c:pt idx="3245">
                  <c:v>3.544134299450596</c:v>
                </c:pt>
                <c:pt idx="3246">
                  <c:v>3.8405493456632227</c:v>
                </c:pt>
                <c:pt idx="3247">
                  <c:v>3.9875594345607639</c:v>
                </c:pt>
                <c:pt idx="3248">
                  <c:v>4.1011127837314403</c:v>
                </c:pt>
                <c:pt idx="3249">
                  <c:v>4.2047137388076683</c:v>
                </c:pt>
                <c:pt idx="3250">
                  <c:v>4.2014808132688124</c:v>
                </c:pt>
                <c:pt idx="3251">
                  <c:v>4.1240985979639593</c:v>
                </c:pt>
                <c:pt idx="3252">
                  <c:v>4.1338560625972649</c:v>
                </c:pt>
                <c:pt idx="3253">
                  <c:v>4.1284118472178424</c:v>
                </c:pt>
                <c:pt idx="3254">
                  <c:v>4.1110070003285486</c:v>
                </c:pt>
                <c:pt idx="3255">
                  <c:v>4.0933984446860379</c:v>
                </c:pt>
                <c:pt idx="3256">
                  <c:v>4.0779846824991584</c:v>
                </c:pt>
                <c:pt idx="3257">
                  <c:v>4.0622732449195125</c:v>
                </c:pt>
                <c:pt idx="3258">
                  <c:v>4.0378425754024114</c:v>
                </c:pt>
                <c:pt idx="3259">
                  <c:v>4.0073015429655898</c:v>
                </c:pt>
                <c:pt idx="3260">
                  <c:v>3.9612886717727345</c:v>
                </c:pt>
                <c:pt idx="3261">
                  <c:v>3.867007347217807</c:v>
                </c:pt>
                <c:pt idx="3262">
                  <c:v>3.8393014212229541</c:v>
                </c:pt>
                <c:pt idx="3263">
                  <c:v>3.6381610808572371</c:v>
                </c:pt>
                <c:pt idx="3264">
                  <c:v>3.4708752997763082</c:v>
                </c:pt>
                <c:pt idx="3265">
                  <c:v>3.8969987282449532</c:v>
                </c:pt>
                <c:pt idx="3266">
                  <c:v>4.1773230969348072</c:v>
                </c:pt>
                <c:pt idx="3267">
                  <c:v>4.3838152320785202</c:v>
                </c:pt>
                <c:pt idx="3268">
                  <c:v>4.5073785226989802</c:v>
                </c:pt>
                <c:pt idx="3269">
                  <c:v>4.6241126876557299</c:v>
                </c:pt>
                <c:pt idx="3270">
                  <c:v>4.6874976651903708</c:v>
                </c:pt>
                <c:pt idx="3271">
                  <c:v>4.6900888697137688</c:v>
                </c:pt>
                <c:pt idx="3272">
                  <c:v>4.6851845988295446</c:v>
                </c:pt>
                <c:pt idx="3273">
                  <c:v>4.6824792700724975</c:v>
                </c:pt>
                <c:pt idx="3274">
                  <c:v>4.6826438565064805</c:v>
                </c:pt>
                <c:pt idx="3275">
                  <c:v>4.5985196672047479</c:v>
                </c:pt>
                <c:pt idx="3276">
                  <c:v>4.4667813494503941</c:v>
                </c:pt>
                <c:pt idx="3277">
                  <c:v>4.2099585821172036</c:v>
                </c:pt>
                <c:pt idx="3278">
                  <c:v>3.8435899724325848</c:v>
                </c:pt>
                <c:pt idx="3279">
                  <c:v>3.4071215951059335</c:v>
                </c:pt>
                <c:pt idx="3280">
                  <c:v>3.0485586387999333</c:v>
                </c:pt>
                <c:pt idx="3281">
                  <c:v>3.0485454881584415</c:v>
                </c:pt>
                <c:pt idx="3282">
                  <c:v>3.0423478679414497</c:v>
                </c:pt>
                <c:pt idx="3283">
                  <c:v>3.0418041446496034</c:v>
                </c:pt>
                <c:pt idx="3284">
                  <c:v>3.0347683920608675</c:v>
                </c:pt>
                <c:pt idx="3285">
                  <c:v>3.0136792251682243</c:v>
                </c:pt>
                <c:pt idx="3286">
                  <c:v>2.97021008891095</c:v>
                </c:pt>
                <c:pt idx="3287">
                  <c:v>2.9832624554011433</c:v>
                </c:pt>
                <c:pt idx="3288">
                  <c:v>3.0929763151302025</c:v>
                </c:pt>
                <c:pt idx="3289">
                  <c:v>3.0905942562994473</c:v>
                </c:pt>
                <c:pt idx="3290">
                  <c:v>3.0343194504616595</c:v>
                </c:pt>
                <c:pt idx="3291">
                  <c:v>2.9810539843726103</c:v>
                </c:pt>
                <c:pt idx="3292">
                  <c:v>3.0272859301582113</c:v>
                </c:pt>
                <c:pt idx="3293">
                  <c:v>3.190295170073628</c:v>
                </c:pt>
                <c:pt idx="3294">
                  <c:v>3.2331773872178995</c:v>
                </c:pt>
                <c:pt idx="3295">
                  <c:v>2.9090774186656589</c:v>
                </c:pt>
                <c:pt idx="3296">
                  <c:v>2.6376989053336919</c:v>
                </c:pt>
                <c:pt idx="3297">
                  <c:v>2.4384384145803497</c:v>
                </c:pt>
                <c:pt idx="3298">
                  <c:v>2.3150812275433275</c:v>
                </c:pt>
                <c:pt idx="3299">
                  <c:v>2.1757411884361173</c:v>
                </c:pt>
                <c:pt idx="3300">
                  <c:v>2.1032933910978429</c:v>
                </c:pt>
                <c:pt idx="3301">
                  <c:v>2.1215979328744927</c:v>
                </c:pt>
                <c:pt idx="3302">
                  <c:v>2.1456916418962679</c:v>
                </c:pt>
                <c:pt idx="3303">
                  <c:v>2.1848663466316398</c:v>
                </c:pt>
                <c:pt idx="3304">
                  <c:v>2.2222464210654418</c:v>
                </c:pt>
                <c:pt idx="3305">
                  <c:v>2.3950645080072523</c:v>
                </c:pt>
                <c:pt idx="3306">
                  <c:v>2.5575605550030174</c:v>
                </c:pt>
                <c:pt idx="3307">
                  <c:v>2.5629273342706975</c:v>
                </c:pt>
                <c:pt idx="3308">
                  <c:v>2.5646668703535518</c:v>
                </c:pt>
                <c:pt idx="3309">
                  <c:v>2.6125362934496259</c:v>
                </c:pt>
                <c:pt idx="3310">
                  <c:v>2.6517674017589221</c:v>
                </c:pt>
                <c:pt idx="3311">
                  <c:v>2.6834762051587981</c:v>
                </c:pt>
                <c:pt idx="3312">
                  <c:v>2.6995331683902393</c:v>
                </c:pt>
                <c:pt idx="3313">
                  <c:v>2.7105111636048269</c:v>
                </c:pt>
                <c:pt idx="3314">
                  <c:v>2.7174656933748182</c:v>
                </c:pt>
                <c:pt idx="3315">
                  <c:v>2.7211439488135345</c:v>
                </c:pt>
                <c:pt idx="3316">
                  <c:v>2.7211137348033549</c:v>
                </c:pt>
                <c:pt idx="3317">
                  <c:v>2.5805750109250778</c:v>
                </c:pt>
                <c:pt idx="3318">
                  <c:v>2.2419752080462625</c:v>
                </c:pt>
                <c:pt idx="3319">
                  <c:v>2.0443768933522097</c:v>
                </c:pt>
                <c:pt idx="3320">
                  <c:v>1.9926049203069185</c:v>
                </c:pt>
                <c:pt idx="3321">
                  <c:v>1.9815632065605044</c:v>
                </c:pt>
                <c:pt idx="3322">
                  <c:v>2.0200568432078398</c:v>
                </c:pt>
                <c:pt idx="3323">
                  <c:v>1.9485081364016872</c:v>
                </c:pt>
                <c:pt idx="3324">
                  <c:v>1.9358414959045747</c:v>
                </c:pt>
                <c:pt idx="3325">
                  <c:v>1.963001870559121</c:v>
                </c:pt>
                <c:pt idx="3326">
                  <c:v>1.9946850651086336</c:v>
                </c:pt>
                <c:pt idx="3327">
                  <c:v>2.0280314293530202</c:v>
                </c:pt>
                <c:pt idx="3328">
                  <c:v>2.0591235735857283</c:v>
                </c:pt>
                <c:pt idx="3329">
                  <c:v>2.0853976926619562</c:v>
                </c:pt>
                <c:pt idx="3330">
                  <c:v>2.1048361522629517</c:v>
                </c:pt>
                <c:pt idx="3331">
                  <c:v>2.1150208976174647</c:v>
                </c:pt>
                <c:pt idx="3332">
                  <c:v>2.1138285306077744</c:v>
                </c:pt>
                <c:pt idx="3333">
                  <c:v>2.0891072574340943</c:v>
                </c:pt>
                <c:pt idx="3334">
                  <c:v>2.0561158719224353</c:v>
                </c:pt>
                <c:pt idx="3335">
                  <c:v>1.8832229417990911</c:v>
                </c:pt>
                <c:pt idx="3336">
                  <c:v>1.6838161696402496</c:v>
                </c:pt>
                <c:pt idx="3337">
                  <c:v>1.6878727834852465</c:v>
                </c:pt>
                <c:pt idx="3338">
                  <c:v>1.7055459749242665</c:v>
                </c:pt>
                <c:pt idx="3339">
                  <c:v>1.6597461735926573</c:v>
                </c:pt>
                <c:pt idx="3340">
                  <c:v>1.6170946345446915</c:v>
                </c:pt>
                <c:pt idx="3341">
                  <c:v>1.5779237874429042</c:v>
                </c:pt>
                <c:pt idx="3342">
                  <c:v>1.5646069442663018</c:v>
                </c:pt>
                <c:pt idx="3343">
                  <c:v>1.5569789598049479</c:v>
                </c:pt>
                <c:pt idx="3344">
                  <c:v>1.5588761610557955</c:v>
                </c:pt>
                <c:pt idx="3345">
                  <c:v>1.5660294128704799</c:v>
                </c:pt>
                <c:pt idx="3346">
                  <c:v>1.582665982232081</c:v>
                </c:pt>
                <c:pt idx="3347">
                  <c:v>1.5998107902861718</c:v>
                </c:pt>
                <c:pt idx="3348">
                  <c:v>1.6220036349182396</c:v>
                </c:pt>
                <c:pt idx="3349">
                  <c:v>1.6423434975182927</c:v>
                </c:pt>
                <c:pt idx="3350">
                  <c:v>1.6576168248411918</c:v>
                </c:pt>
                <c:pt idx="3351">
                  <c:v>1.6597722013917136</c:v>
                </c:pt>
                <c:pt idx="3352">
                  <c:v>1.4954449771420031</c:v>
                </c:pt>
                <c:pt idx="3353">
                  <c:v>1.3135823247789855</c:v>
                </c:pt>
                <c:pt idx="3354">
                  <c:v>1.2397370021677621</c:v>
                </c:pt>
                <c:pt idx="3355">
                  <c:v>1.2601987478157248</c:v>
                </c:pt>
                <c:pt idx="3356">
                  <c:v>1.2820636496091213</c:v>
                </c:pt>
                <c:pt idx="3357">
                  <c:v>1.304520350969308</c:v>
                </c:pt>
                <c:pt idx="3358">
                  <c:v>1.3273904115601511</c:v>
                </c:pt>
                <c:pt idx="3359">
                  <c:v>1.3507547510182392</c:v>
                </c:pt>
                <c:pt idx="3360">
                  <c:v>1.3500120698775566</c:v>
                </c:pt>
                <c:pt idx="3361">
                  <c:v>1.4128543922556498</c:v>
                </c:pt>
                <c:pt idx="3362">
                  <c:v>1.5448744202266911</c:v>
                </c:pt>
                <c:pt idx="3363">
                  <c:v>1.6787293844155535</c:v>
                </c:pt>
                <c:pt idx="3364">
                  <c:v>1.778978208787322</c:v>
                </c:pt>
                <c:pt idx="3365">
                  <c:v>1.8513027932064119</c:v>
                </c:pt>
                <c:pt idx="3366">
                  <c:v>1.8137240824180205</c:v>
                </c:pt>
                <c:pt idx="3367">
                  <c:v>1.7852964841350081</c:v>
                </c:pt>
                <c:pt idx="3368">
                  <c:v>1.7355887345543901</c:v>
                </c:pt>
                <c:pt idx="3369">
                  <c:v>1.7392941703762552</c:v>
                </c:pt>
                <c:pt idx="3370">
                  <c:v>1.7479024475772067</c:v>
                </c:pt>
                <c:pt idx="3371">
                  <c:v>1.7628021482938814</c:v>
                </c:pt>
                <c:pt idx="3372">
                  <c:v>1.8769614242335191</c:v>
                </c:pt>
                <c:pt idx="3373">
                  <c:v>1.9792250684622243</c:v>
                </c:pt>
                <c:pt idx="3374">
                  <c:v>2.0218300754032823</c:v>
                </c:pt>
                <c:pt idx="3375">
                  <c:v>2.0435676118131654</c:v>
                </c:pt>
                <c:pt idx="3376">
                  <c:v>2.0431706157858347</c:v>
                </c:pt>
                <c:pt idx="3377">
                  <c:v>2.0398022582833168</c:v>
                </c:pt>
                <c:pt idx="3378">
                  <c:v>2.0440545813354243</c:v>
                </c:pt>
                <c:pt idx="3379">
                  <c:v>2.0566606174665947</c:v>
                </c:pt>
                <c:pt idx="3380">
                  <c:v>2.0610793448936255</c:v>
                </c:pt>
                <c:pt idx="3381">
                  <c:v>2.0551836585318028</c:v>
                </c:pt>
                <c:pt idx="3382">
                  <c:v>2.0431838647835301</c:v>
                </c:pt>
                <c:pt idx="3383">
                  <c:v>2.0258001469655382</c:v>
                </c:pt>
                <c:pt idx="3384">
                  <c:v>2.0047923701438717</c:v>
                </c:pt>
                <c:pt idx="3385">
                  <c:v>1.9805074023388214</c:v>
                </c:pt>
                <c:pt idx="3386">
                  <c:v>1.9509110685514086</c:v>
                </c:pt>
                <c:pt idx="3387">
                  <c:v>1.9175261989616765</c:v>
                </c:pt>
                <c:pt idx="3388">
                  <c:v>1.8800876203647496</c:v>
                </c:pt>
                <c:pt idx="3389">
                  <c:v>1.8382591896364757</c:v>
                </c:pt>
                <c:pt idx="3390">
                  <c:v>1.8369375994851673</c:v>
                </c:pt>
                <c:pt idx="3391">
                  <c:v>1.8194202356758826</c:v>
                </c:pt>
                <c:pt idx="3392">
                  <c:v>1.7450663837784848</c:v>
                </c:pt>
                <c:pt idx="3393">
                  <c:v>1.6382921951508822</c:v>
                </c:pt>
                <c:pt idx="3394">
                  <c:v>1.5282467718155401</c:v>
                </c:pt>
                <c:pt idx="3395">
                  <c:v>1.4139369448825199</c:v>
                </c:pt>
                <c:pt idx="3396">
                  <c:v>1.3392679407986554</c:v>
                </c:pt>
                <c:pt idx="3397">
                  <c:v>1.2672908012135689</c:v>
                </c:pt>
                <c:pt idx="3398">
                  <c:v>1.2674966695503236</c:v>
                </c:pt>
                <c:pt idx="3399">
                  <c:v>1.2122685889353135</c:v>
                </c:pt>
                <c:pt idx="3400">
                  <c:v>1.1526264279239744</c:v>
                </c:pt>
                <c:pt idx="3401">
                  <c:v>1.1416665343698518</c:v>
                </c:pt>
                <c:pt idx="3402">
                  <c:v>0.98002734096936273</c:v>
                </c:pt>
                <c:pt idx="3403">
                  <c:v>0.7661197778358555</c:v>
                </c:pt>
                <c:pt idx="3404">
                  <c:v>0.63608539283469367</c:v>
                </c:pt>
                <c:pt idx="3405">
                  <c:v>0.53797990371006754</c:v>
                </c:pt>
                <c:pt idx="3406">
                  <c:v>0.52947490191422519</c:v>
                </c:pt>
                <c:pt idx="3407">
                  <c:v>0.553915536602824</c:v>
                </c:pt>
                <c:pt idx="3408">
                  <c:v>0.58062601971217576</c:v>
                </c:pt>
                <c:pt idx="3409">
                  <c:v>0.58833894535352194</c:v>
                </c:pt>
                <c:pt idx="3410">
                  <c:v>0.63014713079485152</c:v>
                </c:pt>
                <c:pt idx="3411">
                  <c:v>0.67484046294865263</c:v>
                </c:pt>
                <c:pt idx="3412">
                  <c:v>0.7111116009653945</c:v>
                </c:pt>
                <c:pt idx="3413">
                  <c:v>0.74015615608435181</c:v>
                </c:pt>
                <c:pt idx="3414">
                  <c:v>0.75844008828638632</c:v>
                </c:pt>
                <c:pt idx="3415">
                  <c:v>0.76268502438082841</c:v>
                </c:pt>
                <c:pt idx="3416">
                  <c:v>0.76120204991051399</c:v>
                </c:pt>
                <c:pt idx="3417">
                  <c:v>0.75705447850327456</c:v>
                </c:pt>
                <c:pt idx="3418">
                  <c:v>0.75089246816061483</c:v>
                </c:pt>
                <c:pt idx="3419">
                  <c:v>0.7431742272285693</c:v>
                </c:pt>
                <c:pt idx="3420">
                  <c:v>0.73545268840308664</c:v>
                </c:pt>
                <c:pt idx="3421">
                  <c:v>0.72540038671721518</c:v>
                </c:pt>
                <c:pt idx="3422">
                  <c:v>0.71839262309557506</c:v>
                </c:pt>
                <c:pt idx="3423">
                  <c:v>0.70920266259466092</c:v>
                </c:pt>
                <c:pt idx="3424">
                  <c:v>0.70645103926601793</c:v>
                </c:pt>
                <c:pt idx="3425">
                  <c:v>0.70902256142476583</c:v>
                </c:pt>
                <c:pt idx="3426">
                  <c:v>0.72168305203713978</c:v>
                </c:pt>
                <c:pt idx="3427">
                  <c:v>0.74223966926685236</c:v>
                </c:pt>
                <c:pt idx="3428">
                  <c:v>0.77081541656112773</c:v>
                </c:pt>
                <c:pt idx="3429">
                  <c:v>0.81256658300030793</c:v>
                </c:pt>
                <c:pt idx="3430">
                  <c:v>0.85928407061328493</c:v>
                </c:pt>
                <c:pt idx="3431">
                  <c:v>0.90982598099609746</c:v>
                </c:pt>
                <c:pt idx="3432">
                  <c:v>0.96555886108431876</c:v>
                </c:pt>
                <c:pt idx="3433">
                  <c:v>1.0206818693711464</c:v>
                </c:pt>
                <c:pt idx="3434">
                  <c:v>1.0684584356110589</c:v>
                </c:pt>
                <c:pt idx="3435">
                  <c:v>1.1093639357248632</c:v>
                </c:pt>
                <c:pt idx="3436">
                  <c:v>1.1542803498875445</c:v>
                </c:pt>
                <c:pt idx="3437">
                  <c:v>1.1939414926284952</c:v>
                </c:pt>
                <c:pt idx="3438">
                  <c:v>1.2203327019479682</c:v>
                </c:pt>
                <c:pt idx="3439">
                  <c:v>1.1877833153785822</c:v>
                </c:pt>
                <c:pt idx="3440">
                  <c:v>1.1272072061580751</c:v>
                </c:pt>
                <c:pt idx="3441">
                  <c:v>1.0586910192409968</c:v>
                </c:pt>
                <c:pt idx="3442">
                  <c:v>1.0140869012625597</c:v>
                </c:pt>
                <c:pt idx="3443">
                  <c:v>0.97556422961226286</c:v>
                </c:pt>
                <c:pt idx="3444">
                  <c:v>0.91617836289942645</c:v>
                </c:pt>
                <c:pt idx="3445">
                  <c:v>0.87094564038083944</c:v>
                </c:pt>
                <c:pt idx="3446">
                  <c:v>0.8336022582587288</c:v>
                </c:pt>
                <c:pt idx="3447">
                  <c:v>1.3741057846553433</c:v>
                </c:pt>
                <c:pt idx="3448">
                  <c:v>1.664216195782134</c:v>
                </c:pt>
                <c:pt idx="3449">
                  <c:v>1.7928790926965712</c:v>
                </c:pt>
                <c:pt idx="3450">
                  <c:v>1.8705576122974816</c:v>
                </c:pt>
                <c:pt idx="3451">
                  <c:v>1.8891912858525304</c:v>
                </c:pt>
                <c:pt idx="3452">
                  <c:v>1.889141999265872</c:v>
                </c:pt>
                <c:pt idx="3453">
                  <c:v>2.1416970933301274</c:v>
                </c:pt>
                <c:pt idx="3454">
                  <c:v>2.5108681581970598</c:v>
                </c:pt>
                <c:pt idx="3455">
                  <c:v>2.8170297319345003</c:v>
                </c:pt>
                <c:pt idx="3456">
                  <c:v>2.9787083156642287</c:v>
                </c:pt>
                <c:pt idx="3457">
                  <c:v>3.0515201605836118</c:v>
                </c:pt>
                <c:pt idx="3458">
                  <c:v>3.0716078714957762</c:v>
                </c:pt>
                <c:pt idx="3459">
                  <c:v>3.0897659489160394</c:v>
                </c:pt>
                <c:pt idx="3460">
                  <c:v>3.0901531327399647</c:v>
                </c:pt>
                <c:pt idx="3461">
                  <c:v>3.0904640850116043</c:v>
                </c:pt>
                <c:pt idx="3462">
                  <c:v>3.0905302538786916</c:v>
                </c:pt>
                <c:pt idx="3463">
                  <c:v>3.0902274727917742</c:v>
                </c:pt>
                <c:pt idx="3464">
                  <c:v>3.089754142384646</c:v>
                </c:pt>
                <c:pt idx="3465">
                  <c:v>3.0890768981237229</c:v>
                </c:pt>
                <c:pt idx="3466">
                  <c:v>3.0871814092188066</c:v>
                </c:pt>
                <c:pt idx="3467">
                  <c:v>3.0843322071297985</c:v>
                </c:pt>
                <c:pt idx="3468">
                  <c:v>3.0939843990299307</c:v>
                </c:pt>
                <c:pt idx="3469">
                  <c:v>3.1344514055990218</c:v>
                </c:pt>
                <c:pt idx="3470">
                  <c:v>3.1351893538202664</c:v>
                </c:pt>
                <c:pt idx="3471">
                  <c:v>3.1567209513204268</c:v>
                </c:pt>
                <c:pt idx="3472">
                  <c:v>3.3789291402069925</c:v>
                </c:pt>
                <c:pt idx="3473">
                  <c:v>3.3843314672967639</c:v>
                </c:pt>
                <c:pt idx="3474">
                  <c:v>3.381244116670735</c:v>
                </c:pt>
                <c:pt idx="3475">
                  <c:v>3.3851009213427234</c:v>
                </c:pt>
                <c:pt idx="3476">
                  <c:v>3.3903699710262614</c:v>
                </c:pt>
                <c:pt idx="3477">
                  <c:v>3.1405281562110656</c:v>
                </c:pt>
                <c:pt idx="3478">
                  <c:v>2.9231384561543474</c:v>
                </c:pt>
                <c:pt idx="3479">
                  <c:v>2.7854904337467525</c:v>
                </c:pt>
                <c:pt idx="3480">
                  <c:v>2.6911833746235994</c:v>
                </c:pt>
                <c:pt idx="3481">
                  <c:v>2.6770739370367185</c:v>
                </c:pt>
                <c:pt idx="3482">
                  <c:v>2.7142975184418563</c:v>
                </c:pt>
                <c:pt idx="3483">
                  <c:v>2.687291015341648</c:v>
                </c:pt>
                <c:pt idx="3484">
                  <c:v>2.5228930632970967</c:v>
                </c:pt>
                <c:pt idx="3485">
                  <c:v>2.3099694737487479</c:v>
                </c:pt>
                <c:pt idx="3486">
                  <c:v>2.1786640170349729</c:v>
                </c:pt>
                <c:pt idx="3487">
                  <c:v>2.1287943698421548</c:v>
                </c:pt>
                <c:pt idx="3488">
                  <c:v>2.1435719479126534</c:v>
                </c:pt>
                <c:pt idx="3489">
                  <c:v>2.1726249555775832</c:v>
                </c:pt>
                <c:pt idx="3490">
                  <c:v>2.2420746489528605</c:v>
                </c:pt>
                <c:pt idx="3491">
                  <c:v>2.305089692884601</c:v>
                </c:pt>
                <c:pt idx="3492">
                  <c:v>2.3668506692710185</c:v>
                </c:pt>
                <c:pt idx="3493">
                  <c:v>2.4339588680667155</c:v>
                </c:pt>
                <c:pt idx="3494">
                  <c:v>2.4944722134102877</c:v>
                </c:pt>
                <c:pt idx="3495">
                  <c:v>2.5580122615559828</c:v>
                </c:pt>
                <c:pt idx="3496">
                  <c:v>2.6229985216884413</c:v>
                </c:pt>
                <c:pt idx="3497">
                  <c:v>2.690992553084437</c:v>
                </c:pt>
                <c:pt idx="3498">
                  <c:v>2.7675329535153783</c:v>
                </c:pt>
                <c:pt idx="3499">
                  <c:v>2.6541784407008402</c:v>
                </c:pt>
                <c:pt idx="3500">
                  <c:v>2.6336005472802748</c:v>
                </c:pt>
                <c:pt idx="3501">
                  <c:v>2.5371233359610654</c:v>
                </c:pt>
                <c:pt idx="3502">
                  <c:v>1.7187042003268027</c:v>
                </c:pt>
                <c:pt idx="3503">
                  <c:v>1.707484929660156</c:v>
                </c:pt>
                <c:pt idx="3504">
                  <c:v>1.6368842603558691</c:v>
                </c:pt>
                <c:pt idx="3505">
                  <c:v>1.6083140954679214</c:v>
                </c:pt>
                <c:pt idx="3506">
                  <c:v>1.5896824391992443</c:v>
                </c:pt>
                <c:pt idx="3507">
                  <c:v>1.5812320026904256</c:v>
                </c:pt>
                <c:pt idx="3508">
                  <c:v>1.592919137378735</c:v>
                </c:pt>
                <c:pt idx="3509">
                  <c:v>1.6115557679355492</c:v>
                </c:pt>
                <c:pt idx="3510">
                  <c:v>1.6501504294435052</c:v>
                </c:pt>
                <c:pt idx="3511">
                  <c:v>1.649692649687142</c:v>
                </c:pt>
                <c:pt idx="3512">
                  <c:v>1.7184632321258524</c:v>
                </c:pt>
                <c:pt idx="3513">
                  <c:v>1.8970310629428697</c:v>
                </c:pt>
                <c:pt idx="3514">
                  <c:v>1.9681462129516354</c:v>
                </c:pt>
                <c:pt idx="3515">
                  <c:v>1.9665549637131798</c:v>
                </c:pt>
                <c:pt idx="3516">
                  <c:v>2.0130263424648702</c:v>
                </c:pt>
                <c:pt idx="3517">
                  <c:v>2.0751738835611766</c:v>
                </c:pt>
                <c:pt idx="3518">
                  <c:v>2.117058167337345</c:v>
                </c:pt>
                <c:pt idx="3519">
                  <c:v>2.1561481998268008</c:v>
                </c:pt>
                <c:pt idx="3520">
                  <c:v>2.1897117629664899</c:v>
                </c:pt>
                <c:pt idx="3521">
                  <c:v>2.2180212592630961</c:v>
                </c:pt>
                <c:pt idx="3522">
                  <c:v>2.2392215940881992</c:v>
                </c:pt>
                <c:pt idx="3523">
                  <c:v>2.2497122095621993</c:v>
                </c:pt>
                <c:pt idx="3524">
                  <c:v>2.2522339063515924</c:v>
                </c:pt>
                <c:pt idx="3525">
                  <c:v>2.2398259124723321</c:v>
                </c:pt>
                <c:pt idx="3526">
                  <c:v>2.2130052398665834</c:v>
                </c:pt>
                <c:pt idx="3527">
                  <c:v>2.1692553880022842</c:v>
                </c:pt>
                <c:pt idx="3528">
                  <c:v>2.110672348653476</c:v>
                </c:pt>
                <c:pt idx="3529">
                  <c:v>2.0663649729448128</c:v>
                </c:pt>
                <c:pt idx="3530">
                  <c:v>2.0250900314306386</c:v>
                </c:pt>
                <c:pt idx="3531">
                  <c:v>1.9454415153152316</c:v>
                </c:pt>
                <c:pt idx="3532">
                  <c:v>1.932186193960626</c:v>
                </c:pt>
                <c:pt idx="3533">
                  <c:v>1.9348041387592017</c:v>
                </c:pt>
                <c:pt idx="3534">
                  <c:v>1.9396174274116893</c:v>
                </c:pt>
                <c:pt idx="3535">
                  <c:v>1.9381226647287608</c:v>
                </c:pt>
                <c:pt idx="3536">
                  <c:v>1.9339552265832789</c:v>
                </c:pt>
                <c:pt idx="3537">
                  <c:v>1.9267965696678566</c:v>
                </c:pt>
                <c:pt idx="3538">
                  <c:v>1.9165368936205112</c:v>
                </c:pt>
                <c:pt idx="3539">
                  <c:v>1.9310353417151229</c:v>
                </c:pt>
                <c:pt idx="3540">
                  <c:v>1.9622319361359233</c:v>
                </c:pt>
                <c:pt idx="3541">
                  <c:v>1.9928618691105302</c:v>
                </c:pt>
                <c:pt idx="3542">
                  <c:v>1.9310612314600624</c:v>
                </c:pt>
                <c:pt idx="3543">
                  <c:v>1.6989798874102924</c:v>
                </c:pt>
                <c:pt idx="3544">
                  <c:v>1.5335989232285978</c:v>
                </c:pt>
                <c:pt idx="3545">
                  <c:v>1.688419072534374</c:v>
                </c:pt>
                <c:pt idx="3546">
                  <c:v>1.8462086330538201</c:v>
                </c:pt>
                <c:pt idx="3547">
                  <c:v>1.5620096889888977</c:v>
                </c:pt>
                <c:pt idx="3548">
                  <c:v>1.5566791505221516</c:v>
                </c:pt>
                <c:pt idx="3549">
                  <c:v>1.5491505583359597</c:v>
                </c:pt>
                <c:pt idx="3550">
                  <c:v>1.5456531810945719</c:v>
                </c:pt>
                <c:pt idx="3551">
                  <c:v>1.5433171741013485</c:v>
                </c:pt>
                <c:pt idx="3552">
                  <c:v>1.5453787739738192</c:v>
                </c:pt>
                <c:pt idx="3553">
                  <c:v>1.5508832954868068</c:v>
                </c:pt>
                <c:pt idx="3554">
                  <c:v>1.5580465172026257</c:v>
                </c:pt>
                <c:pt idx="3555">
                  <c:v>1.5670193830158536</c:v>
                </c:pt>
                <c:pt idx="3556">
                  <c:v>1.5777731906568773</c:v>
                </c:pt>
                <c:pt idx="3557">
                  <c:v>1.5882747141274776</c:v>
                </c:pt>
                <c:pt idx="3558">
                  <c:v>1.6004182552566977</c:v>
                </c:pt>
                <c:pt idx="3559">
                  <c:v>1.6237651370606789</c:v>
                </c:pt>
                <c:pt idx="3560">
                  <c:v>1.7924755885597339</c:v>
                </c:pt>
                <c:pt idx="3561">
                  <c:v>2.4771090262227524</c:v>
                </c:pt>
                <c:pt idx="3562">
                  <c:v>2.4751734821094429</c:v>
                </c:pt>
                <c:pt idx="3563">
                  <c:v>2.4731528509369065</c:v>
                </c:pt>
                <c:pt idx="3564">
                  <c:v>2.4712335611388734</c:v>
                </c:pt>
                <c:pt idx="3565">
                  <c:v>2.4952647651868292</c:v>
                </c:pt>
                <c:pt idx="3566">
                  <c:v>2.5048132872811943</c:v>
                </c:pt>
                <c:pt idx="3567">
                  <c:v>2.51244381490713</c:v>
                </c:pt>
                <c:pt idx="3568">
                  <c:v>2.5198219162954092</c:v>
                </c:pt>
                <c:pt idx="3569">
                  <c:v>2.5433122643762518</c:v>
                </c:pt>
                <c:pt idx="3570">
                  <c:v>2.5801764544922392</c:v>
                </c:pt>
                <c:pt idx="3571">
                  <c:v>2.5955738557148393</c:v>
                </c:pt>
                <c:pt idx="3572">
                  <c:v>2.5657482949261916</c:v>
                </c:pt>
                <c:pt idx="3573">
                  <c:v>2.4676509874034771</c:v>
                </c:pt>
                <c:pt idx="3574">
                  <c:v>2.3535090685167859</c:v>
                </c:pt>
                <c:pt idx="3575">
                  <c:v>2.1698095859261222</c:v>
                </c:pt>
                <c:pt idx="3576">
                  <c:v>1.9543301958913519</c:v>
                </c:pt>
                <c:pt idx="3577">
                  <c:v>1.8447795914155356</c:v>
                </c:pt>
                <c:pt idx="3578">
                  <c:v>1.802271251769479</c:v>
                </c:pt>
                <c:pt idx="3579">
                  <c:v>1.9392622783719564</c:v>
                </c:pt>
                <c:pt idx="3580">
                  <c:v>1.9229446708284283</c:v>
                </c:pt>
                <c:pt idx="3581">
                  <c:v>1.9205363470679202</c:v>
                </c:pt>
                <c:pt idx="3582">
                  <c:v>1.9665898383602574</c:v>
                </c:pt>
                <c:pt idx="3583">
                  <c:v>1.9528925641481065</c:v>
                </c:pt>
                <c:pt idx="3584">
                  <c:v>2.0639650003374355</c:v>
                </c:pt>
                <c:pt idx="3585">
                  <c:v>2.1463510952818292</c:v>
                </c:pt>
                <c:pt idx="3586">
                  <c:v>2.1440161362456891</c:v>
                </c:pt>
                <c:pt idx="3587">
                  <c:v>2.724909512942721</c:v>
                </c:pt>
                <c:pt idx="3588">
                  <c:v>3.0938666591933748</c:v>
                </c:pt>
                <c:pt idx="3589">
                  <c:v>3.2737681873680127</c:v>
                </c:pt>
                <c:pt idx="3590">
                  <c:v>3.3493673184882269</c:v>
                </c:pt>
                <c:pt idx="3591">
                  <c:v>3.0222324661311077</c:v>
                </c:pt>
                <c:pt idx="3592">
                  <c:v>3.0269731628923213</c:v>
                </c:pt>
                <c:pt idx="3593">
                  <c:v>3.0246303367267959</c:v>
                </c:pt>
                <c:pt idx="3594">
                  <c:v>3.0253015628774897</c:v>
                </c:pt>
                <c:pt idx="3595">
                  <c:v>3.0214367577467018</c:v>
                </c:pt>
                <c:pt idx="3596">
                  <c:v>3.0217740407831539</c:v>
                </c:pt>
                <c:pt idx="3597">
                  <c:v>3.0216142188770516</c:v>
                </c:pt>
                <c:pt idx="3598">
                  <c:v>3.0208582380119884</c:v>
                </c:pt>
                <c:pt idx="3599">
                  <c:v>3.0114284090014274</c:v>
                </c:pt>
                <c:pt idx="3600">
                  <c:v>2.9838801873036709</c:v>
                </c:pt>
                <c:pt idx="3601">
                  <c:v>2.9534361511011422</c:v>
                </c:pt>
                <c:pt idx="3602">
                  <c:v>2.9343811244752258</c:v>
                </c:pt>
                <c:pt idx="3603">
                  <c:v>2.933055489937642</c:v>
                </c:pt>
                <c:pt idx="3604">
                  <c:v>2.9385009665759805</c:v>
                </c:pt>
                <c:pt idx="3605">
                  <c:v>2.931379550351791</c:v>
                </c:pt>
                <c:pt idx="3606">
                  <c:v>2.9386395843820816</c:v>
                </c:pt>
                <c:pt idx="3607">
                  <c:v>3.0822593091497867</c:v>
                </c:pt>
                <c:pt idx="3608">
                  <c:v>3.1981921061118879</c:v>
                </c:pt>
                <c:pt idx="3609">
                  <c:v>3.0712068733102598</c:v>
                </c:pt>
                <c:pt idx="3610">
                  <c:v>3.0599488335747136</c:v>
                </c:pt>
                <c:pt idx="3611">
                  <c:v>3.0601621989552119</c:v>
                </c:pt>
                <c:pt idx="3612">
                  <c:v>2.9801666385190408</c:v>
                </c:pt>
                <c:pt idx="3613">
                  <c:v>2.9772526032366002</c:v>
                </c:pt>
                <c:pt idx="3614">
                  <c:v>2.7943890686904758</c:v>
                </c:pt>
                <c:pt idx="3615">
                  <c:v>2.7954756664526426</c:v>
                </c:pt>
                <c:pt idx="3616">
                  <c:v>2.8028835350074548</c:v>
                </c:pt>
                <c:pt idx="3617">
                  <c:v>2.4788193839298858</c:v>
                </c:pt>
                <c:pt idx="3618">
                  <c:v>2.1965078909767422</c:v>
                </c:pt>
                <c:pt idx="3619">
                  <c:v>2.0583799093797039</c:v>
                </c:pt>
                <c:pt idx="3620">
                  <c:v>1.9811454380773681</c:v>
                </c:pt>
                <c:pt idx="3621">
                  <c:v>1.9997231399701971</c:v>
                </c:pt>
                <c:pt idx="3622">
                  <c:v>2.0399072074328752</c:v>
                </c:pt>
                <c:pt idx="3623">
                  <c:v>2.0727916327226175</c:v>
                </c:pt>
                <c:pt idx="3624">
                  <c:v>2.0857955591441808</c:v>
                </c:pt>
                <c:pt idx="3625">
                  <c:v>2.0898910492118197</c:v>
                </c:pt>
                <c:pt idx="3626">
                  <c:v>2.0778125355065487</c:v>
                </c:pt>
                <c:pt idx="3627">
                  <c:v>2.0668516724333306</c:v>
                </c:pt>
                <c:pt idx="3628">
                  <c:v>2.0618565802436986</c:v>
                </c:pt>
                <c:pt idx="3629">
                  <c:v>2.0618959268437083</c:v>
                </c:pt>
                <c:pt idx="3630">
                  <c:v>2.0632341649993515</c:v>
                </c:pt>
                <c:pt idx="3631">
                  <c:v>2.0655818258109928</c:v>
                </c:pt>
                <c:pt idx="3632">
                  <c:v>2.0678523597100207</c:v>
                </c:pt>
                <c:pt idx="3633">
                  <c:v>2.0701066392098859</c:v>
                </c:pt>
                <c:pt idx="3634">
                  <c:v>2.0694212777998948</c:v>
                </c:pt>
                <c:pt idx="3635">
                  <c:v>2.1423965494523358</c:v>
                </c:pt>
                <c:pt idx="3636">
                  <c:v>2.1450901014647372</c:v>
                </c:pt>
                <c:pt idx="3637">
                  <c:v>1.8245504641289005</c:v>
                </c:pt>
                <c:pt idx="3638">
                  <c:v>1.4921871981886596</c:v>
                </c:pt>
                <c:pt idx="3639">
                  <c:v>1.2639652278671685</c:v>
                </c:pt>
                <c:pt idx="3640">
                  <c:v>1.1708585196054935</c:v>
                </c:pt>
                <c:pt idx="3641">
                  <c:v>1.1267115054378973</c:v>
                </c:pt>
                <c:pt idx="3642">
                  <c:v>1.13089651439028</c:v>
                </c:pt>
                <c:pt idx="3643">
                  <c:v>1.1343153829419654</c:v>
                </c:pt>
                <c:pt idx="3644">
                  <c:v>1.1364990168297595</c:v>
                </c:pt>
                <c:pt idx="3645">
                  <c:v>1.1362177744374886</c:v>
                </c:pt>
                <c:pt idx="3646">
                  <c:v>1.1315737614154318</c:v>
                </c:pt>
                <c:pt idx="3647">
                  <c:v>1.1241828858302061</c:v>
                </c:pt>
                <c:pt idx="3648">
                  <c:v>1.1147565231946823</c:v>
                </c:pt>
                <c:pt idx="3649">
                  <c:v>1.1249566322001654</c:v>
                </c:pt>
                <c:pt idx="3650">
                  <c:v>1.1614957204431562</c:v>
                </c:pt>
                <c:pt idx="3651">
                  <c:v>1.2285683053169121</c:v>
                </c:pt>
                <c:pt idx="3652">
                  <c:v>1.37932877083267</c:v>
                </c:pt>
                <c:pt idx="3653">
                  <c:v>1.4447212598804735</c:v>
                </c:pt>
                <c:pt idx="3654">
                  <c:v>1.6245501002286999</c:v>
                </c:pt>
                <c:pt idx="3655">
                  <c:v>1.6722546428840843</c:v>
                </c:pt>
                <c:pt idx="3656">
                  <c:v>1.6739964084657692</c:v>
                </c:pt>
                <c:pt idx="3657">
                  <c:v>1.674168262881919</c:v>
                </c:pt>
                <c:pt idx="3658">
                  <c:v>1.6561521129028764</c:v>
                </c:pt>
                <c:pt idx="3659">
                  <c:v>1.6372390654201503</c:v>
                </c:pt>
                <c:pt idx="3660">
                  <c:v>1.6187530409763351</c:v>
                </c:pt>
                <c:pt idx="3661">
                  <c:v>1.600058868706987</c:v>
                </c:pt>
                <c:pt idx="3662">
                  <c:v>1.581903687475835</c:v>
                </c:pt>
                <c:pt idx="3663">
                  <c:v>1.5643333087295832</c:v>
                </c:pt>
                <c:pt idx="3664">
                  <c:v>1.5467010970301078</c:v>
                </c:pt>
                <c:pt idx="3665">
                  <c:v>1.4954835075501367</c:v>
                </c:pt>
                <c:pt idx="3666">
                  <c:v>1.4334303706779334</c:v>
                </c:pt>
                <c:pt idx="3667">
                  <c:v>1.3905122140359758</c:v>
                </c:pt>
                <c:pt idx="3668">
                  <c:v>1.365297179696991</c:v>
                </c:pt>
                <c:pt idx="3669">
                  <c:v>1.5884697924483981</c:v>
                </c:pt>
                <c:pt idx="3670">
                  <c:v>1.7873339515198456</c:v>
                </c:pt>
                <c:pt idx="3671">
                  <c:v>1.8883251099623473</c:v>
                </c:pt>
                <c:pt idx="3672">
                  <c:v>1.9321473809430518</c:v>
                </c:pt>
                <c:pt idx="3673">
                  <c:v>1.9430620334753017</c:v>
                </c:pt>
                <c:pt idx="3674">
                  <c:v>1.9404388245417252</c:v>
                </c:pt>
                <c:pt idx="3675">
                  <c:v>1.9421674243158933</c:v>
                </c:pt>
                <c:pt idx="3676">
                  <c:v>2.0016358121644231</c:v>
                </c:pt>
                <c:pt idx="3677">
                  <c:v>2.0542717116165132</c:v>
                </c:pt>
                <c:pt idx="3678">
                  <c:v>2.098653687381288</c:v>
                </c:pt>
                <c:pt idx="3679">
                  <c:v>2.1264975411451927</c:v>
                </c:pt>
                <c:pt idx="3680">
                  <c:v>2.1255493546484816</c:v>
                </c:pt>
                <c:pt idx="3681">
                  <c:v>2.091432198072098</c:v>
                </c:pt>
                <c:pt idx="3682">
                  <c:v>1.9692247845183786</c:v>
                </c:pt>
                <c:pt idx="3683">
                  <c:v>1.953996358388242</c:v>
                </c:pt>
                <c:pt idx="3684">
                  <c:v>1.8478364267491356</c:v>
                </c:pt>
                <c:pt idx="3685">
                  <c:v>1.8224244821597695</c:v>
                </c:pt>
                <c:pt idx="3686">
                  <c:v>1.8310052552967397</c:v>
                </c:pt>
                <c:pt idx="3687">
                  <c:v>1.8377276885551428</c:v>
                </c:pt>
                <c:pt idx="3688">
                  <c:v>1.843366290846598</c:v>
                </c:pt>
                <c:pt idx="3689">
                  <c:v>1.8480169313296886</c:v>
                </c:pt>
                <c:pt idx="3690">
                  <c:v>1.8517971366197898</c:v>
                </c:pt>
                <c:pt idx="3691">
                  <c:v>1.8524143147206626</c:v>
                </c:pt>
                <c:pt idx="3692">
                  <c:v>1.8524672258854309</c:v>
                </c:pt>
                <c:pt idx="3693">
                  <c:v>1.8527013222352409</c:v>
                </c:pt>
                <c:pt idx="3694">
                  <c:v>1.8528972931697454</c:v>
                </c:pt>
                <c:pt idx="3695">
                  <c:v>2.0057083118222483</c:v>
                </c:pt>
                <c:pt idx="3696">
                  <c:v>2.134576020756398</c:v>
                </c:pt>
                <c:pt idx="3697">
                  <c:v>2.2294233027645105</c:v>
                </c:pt>
                <c:pt idx="3698">
                  <c:v>2.3070932918065914</c:v>
                </c:pt>
                <c:pt idx="3699">
                  <c:v>2.1483918270728255</c:v>
                </c:pt>
                <c:pt idx="3700">
                  <c:v>1.9176242781381505</c:v>
                </c:pt>
                <c:pt idx="3701">
                  <c:v>1.6881146248176633</c:v>
                </c:pt>
                <c:pt idx="3702">
                  <c:v>1.7059114389648877</c:v>
                </c:pt>
                <c:pt idx="3703">
                  <c:v>1.7933303929889584</c:v>
                </c:pt>
                <c:pt idx="3704">
                  <c:v>1.889225181675658</c:v>
                </c:pt>
                <c:pt idx="3705">
                  <c:v>1.9805099954573575</c:v>
                </c:pt>
                <c:pt idx="3706">
                  <c:v>2.043860556862652</c:v>
                </c:pt>
                <c:pt idx="3707">
                  <c:v>2.0665279671942947</c:v>
                </c:pt>
                <c:pt idx="3708">
                  <c:v>2.0673162365843623</c:v>
                </c:pt>
                <c:pt idx="3709">
                  <c:v>2.0612086724443359</c:v>
                </c:pt>
                <c:pt idx="3710">
                  <c:v>2.0912364502219405</c:v>
                </c:pt>
                <c:pt idx="3711">
                  <c:v>2.462187467610518</c:v>
                </c:pt>
                <c:pt idx="3712">
                  <c:v>2.6484589696929755</c:v>
                </c:pt>
                <c:pt idx="3713">
                  <c:v>2.6507485384662588</c:v>
                </c:pt>
                <c:pt idx="3714">
                  <c:v>2.6523713040038568</c:v>
                </c:pt>
                <c:pt idx="3715">
                  <c:v>2.6573601763514221</c:v>
                </c:pt>
                <c:pt idx="3716">
                  <c:v>2.9011995083377995</c:v>
                </c:pt>
                <c:pt idx="3717">
                  <c:v>2.9073031989540503</c:v>
                </c:pt>
                <c:pt idx="3718">
                  <c:v>2.9128284958115001</c:v>
                </c:pt>
                <c:pt idx="3719">
                  <c:v>2.9125717739059267</c:v>
                </c:pt>
                <c:pt idx="3720">
                  <c:v>2.9121493055342844</c:v>
                </c:pt>
                <c:pt idx="3721">
                  <c:v>2.9096558182705996</c:v>
                </c:pt>
                <c:pt idx="3722">
                  <c:v>2.9030499737518816</c:v>
                </c:pt>
                <c:pt idx="3723">
                  <c:v>2.8954951198919225</c:v>
                </c:pt>
                <c:pt idx="3724">
                  <c:v>2.8886025771597619</c:v>
                </c:pt>
                <c:pt idx="3725">
                  <c:v>2.827237763565329</c:v>
                </c:pt>
                <c:pt idx="3726">
                  <c:v>2.7620891467494229</c:v>
                </c:pt>
                <c:pt idx="3727">
                  <c:v>2.703714528238041</c:v>
                </c:pt>
                <c:pt idx="3728">
                  <c:v>2.6440858719134011</c:v>
                </c:pt>
                <c:pt idx="3729">
                  <c:v>2.5916289647201212</c:v>
                </c:pt>
                <c:pt idx="3730">
                  <c:v>2.5432568142968237</c:v>
                </c:pt>
                <c:pt idx="3731">
                  <c:v>2.5354260874608441</c:v>
                </c:pt>
                <c:pt idx="3732">
                  <c:v>2.4864109284462468</c:v>
                </c:pt>
                <c:pt idx="3733">
                  <c:v>2.4483124170723598</c:v>
                </c:pt>
                <c:pt idx="3734">
                  <c:v>2.4115272472411862</c:v>
                </c:pt>
                <c:pt idx="3735">
                  <c:v>2.3769714847367149</c:v>
                </c:pt>
                <c:pt idx="3736">
                  <c:v>2.3477804791886054</c:v>
                </c:pt>
                <c:pt idx="3737">
                  <c:v>2.3375674679779963</c:v>
                </c:pt>
                <c:pt idx="3738">
                  <c:v>2.3417121683576361</c:v>
                </c:pt>
                <c:pt idx="3739">
                  <c:v>2.3459567015770633</c:v>
                </c:pt>
                <c:pt idx="3740">
                  <c:v>2.3327531832127391</c:v>
                </c:pt>
                <c:pt idx="3741">
                  <c:v>1.9519742514769809</c:v>
                </c:pt>
                <c:pt idx="3742">
                  <c:v>1.6575447188809194</c:v>
                </c:pt>
                <c:pt idx="3743">
                  <c:v>1.6464429028101064</c:v>
                </c:pt>
                <c:pt idx="3744">
                  <c:v>1.6352760754523581</c:v>
                </c:pt>
                <c:pt idx="3745">
                  <c:v>1.6363283150962136</c:v>
                </c:pt>
                <c:pt idx="3746">
                  <c:v>1.2300355388743052</c:v>
                </c:pt>
                <c:pt idx="3747">
                  <c:v>1.2259923109341027</c:v>
                </c:pt>
                <c:pt idx="3748">
                  <c:v>1.2232200792135082</c:v>
                </c:pt>
                <c:pt idx="3749">
                  <c:v>1.2391389810598032</c:v>
                </c:pt>
                <c:pt idx="3750">
                  <c:v>1.3699033508319316</c:v>
                </c:pt>
                <c:pt idx="3751">
                  <c:v>1.4392407300813885</c:v>
                </c:pt>
                <c:pt idx="3752">
                  <c:v>1.4577424640905472</c:v>
                </c:pt>
                <c:pt idx="3753">
                  <c:v>1.457957193696152</c:v>
                </c:pt>
                <c:pt idx="3754">
                  <c:v>1.4591432310064347</c:v>
                </c:pt>
                <c:pt idx="3755">
                  <c:v>1.4632131231432892</c:v>
                </c:pt>
                <c:pt idx="3756">
                  <c:v>1.4706162698805441</c:v>
                </c:pt>
                <c:pt idx="3757">
                  <c:v>1.4828339280027563</c:v>
                </c:pt>
                <c:pt idx="3758">
                  <c:v>1.5023226226193149</c:v>
                </c:pt>
                <c:pt idx="3759">
                  <c:v>1.512448179827691</c:v>
                </c:pt>
                <c:pt idx="3760">
                  <c:v>1.5064050665561894</c:v>
                </c:pt>
                <c:pt idx="3761">
                  <c:v>1.479262916136747</c:v>
                </c:pt>
                <c:pt idx="3762">
                  <c:v>1.4151010228874479</c:v>
                </c:pt>
                <c:pt idx="3763">
                  <c:v>1.3747099282921571</c:v>
                </c:pt>
                <c:pt idx="3764">
                  <c:v>1.3436727084695228</c:v>
                </c:pt>
                <c:pt idx="3765">
                  <c:v>1.3161571131256979</c:v>
                </c:pt>
                <c:pt idx="3766">
                  <c:v>1.2891371580330433</c:v>
                </c:pt>
                <c:pt idx="3767">
                  <c:v>1.2647014599613067</c:v>
                </c:pt>
                <c:pt idx="3768">
                  <c:v>1.2408849811695184</c:v>
                </c:pt>
                <c:pt idx="3769">
                  <c:v>1.221013614967716</c:v>
                </c:pt>
                <c:pt idx="3770">
                  <c:v>1.2654762348383333</c:v>
                </c:pt>
                <c:pt idx="3771">
                  <c:v>1.3151112259210431</c:v>
                </c:pt>
                <c:pt idx="3772">
                  <c:v>1.3154136945192019</c:v>
                </c:pt>
                <c:pt idx="3773">
                  <c:v>1.3101194831869782</c:v>
                </c:pt>
                <c:pt idx="3774">
                  <c:v>1.3512176404400029</c:v>
                </c:pt>
                <c:pt idx="3775">
                  <c:v>1.4116218092643418</c:v>
                </c:pt>
                <c:pt idx="3776">
                  <c:v>1.4579570958232575</c:v>
                </c:pt>
                <c:pt idx="3777">
                  <c:v>1.4790656456870526</c:v>
                </c:pt>
                <c:pt idx="3778">
                  <c:v>1.4794722941196461</c:v>
                </c:pt>
                <c:pt idx="3779">
                  <c:v>1.474954315201805</c:v>
                </c:pt>
                <c:pt idx="3780">
                  <c:v>1.3719531250256027</c:v>
                </c:pt>
                <c:pt idx="3781">
                  <c:v>1.2890584222516586</c:v>
                </c:pt>
                <c:pt idx="3782">
                  <c:v>1.2620228966813216</c:v>
                </c:pt>
                <c:pt idx="3783">
                  <c:v>1.2644367654521327</c:v>
                </c:pt>
                <c:pt idx="3784">
                  <c:v>1.2781958352536171</c:v>
                </c:pt>
                <c:pt idx="3785">
                  <c:v>1.2930109321247376</c:v>
                </c:pt>
                <c:pt idx="3786">
                  <c:v>1.3087636233859368</c:v>
                </c:pt>
                <c:pt idx="3787">
                  <c:v>1.334570355373087</c:v>
                </c:pt>
                <c:pt idx="3788">
                  <c:v>1.3722314768223223</c:v>
                </c:pt>
                <c:pt idx="3789">
                  <c:v>1.4225535192499388</c:v>
                </c:pt>
                <c:pt idx="3790">
                  <c:v>1.4361055917737884</c:v>
                </c:pt>
                <c:pt idx="3791">
                  <c:v>1.4266297368427889</c:v>
                </c:pt>
                <c:pt idx="3792">
                  <c:v>1.4133940585301392</c:v>
                </c:pt>
                <c:pt idx="3793">
                  <c:v>1.4131769033530266</c:v>
                </c:pt>
                <c:pt idx="3794">
                  <c:v>1.4043825234644383</c:v>
                </c:pt>
                <c:pt idx="3795">
                  <c:v>1.3904731889900801</c:v>
                </c:pt>
                <c:pt idx="3796">
                  <c:v>1.3751637285354621</c:v>
                </c:pt>
                <c:pt idx="3797">
                  <c:v>1.3610215700944381</c:v>
                </c:pt>
                <c:pt idx="3798">
                  <c:v>1.3474665154337575</c:v>
                </c:pt>
                <c:pt idx="3799">
                  <c:v>1.3390969246609739</c:v>
                </c:pt>
                <c:pt idx="3800">
                  <c:v>1.3058244830869314</c:v>
                </c:pt>
                <c:pt idx="3801">
                  <c:v>1.2563322066217175</c:v>
                </c:pt>
                <c:pt idx="3802">
                  <c:v>1.2685828081103245</c:v>
                </c:pt>
                <c:pt idx="3803">
                  <c:v>1.2823817093986196</c:v>
                </c:pt>
                <c:pt idx="3804">
                  <c:v>1.218286600875953</c:v>
                </c:pt>
                <c:pt idx="3805">
                  <c:v>1.0961436525464439</c:v>
                </c:pt>
                <c:pt idx="3806">
                  <c:v>0.95109477947273569</c:v>
                </c:pt>
                <c:pt idx="3807">
                  <c:v>0.81249380769061064</c:v>
                </c:pt>
                <c:pt idx="3808">
                  <c:v>0.79995019581298665</c:v>
                </c:pt>
                <c:pt idx="3809">
                  <c:v>0.78986569420284292</c:v>
                </c:pt>
                <c:pt idx="3810">
                  <c:v>0.78176789137356251</c:v>
                </c:pt>
                <c:pt idx="3811">
                  <c:v>0.78457189459403587</c:v>
                </c:pt>
                <c:pt idx="3812">
                  <c:v>0.79664361542755646</c:v>
                </c:pt>
                <c:pt idx="3813">
                  <c:v>0.81980896802953618</c:v>
                </c:pt>
                <c:pt idx="3814">
                  <c:v>0.84518550540299153</c:v>
                </c:pt>
                <c:pt idx="3815">
                  <c:v>0.86499935766373481</c:v>
                </c:pt>
                <c:pt idx="3816">
                  <c:v>0.87625439305132868</c:v>
                </c:pt>
                <c:pt idx="3817">
                  <c:v>0.8663938611602835</c:v>
                </c:pt>
                <c:pt idx="3818">
                  <c:v>0.82284271420968969</c:v>
                </c:pt>
                <c:pt idx="3819">
                  <c:v>0.74876760313303092</c:v>
                </c:pt>
                <c:pt idx="3820">
                  <c:v>0.71745024571982785</c:v>
                </c:pt>
                <c:pt idx="3821">
                  <c:v>0.71939923220691471</c:v>
                </c:pt>
                <c:pt idx="3822">
                  <c:v>0.7380226034541274</c:v>
                </c:pt>
                <c:pt idx="3823">
                  <c:v>0.72588719498059351</c:v>
                </c:pt>
                <c:pt idx="3824">
                  <c:v>0.72633500136315887</c:v>
                </c:pt>
                <c:pt idx="3825">
                  <c:v>0.74257801157675318</c:v>
                </c:pt>
                <c:pt idx="3826">
                  <c:v>0.76653438460281631</c:v>
                </c:pt>
                <c:pt idx="3827">
                  <c:v>0.78825192467929273</c:v>
                </c:pt>
                <c:pt idx="3828">
                  <c:v>0.80356163975696349</c:v>
                </c:pt>
                <c:pt idx="3829">
                  <c:v>0.80069677056066779</c:v>
                </c:pt>
                <c:pt idx="3830">
                  <c:v>0.78144461708130653</c:v>
                </c:pt>
                <c:pt idx="3831">
                  <c:v>0.74801364184617647</c:v>
                </c:pt>
                <c:pt idx="3832">
                  <c:v>0.69725515045622255</c:v>
                </c:pt>
                <c:pt idx="3833">
                  <c:v>0.63859577999928274</c:v>
                </c:pt>
                <c:pt idx="3834">
                  <c:v>1.2168376115284156</c:v>
                </c:pt>
                <c:pt idx="3835">
                  <c:v>1.5688021535356913</c:v>
                </c:pt>
                <c:pt idx="3836">
                  <c:v>1.7819076645537424</c:v>
                </c:pt>
                <c:pt idx="3837">
                  <c:v>1.7548570874896494</c:v>
                </c:pt>
                <c:pt idx="3838">
                  <c:v>1.8949930189936519</c:v>
                </c:pt>
                <c:pt idx="3839">
                  <c:v>2.0120060006110663</c:v>
                </c:pt>
                <c:pt idx="3840">
                  <c:v>2.117450018070711</c:v>
                </c:pt>
                <c:pt idx="3841">
                  <c:v>2.2150392759216815</c:v>
                </c:pt>
                <c:pt idx="3842">
                  <c:v>2.3032303974943562</c:v>
                </c:pt>
                <c:pt idx="3843">
                  <c:v>2.3836458451715083</c:v>
                </c:pt>
                <c:pt idx="3844">
                  <c:v>2.4566611191657151</c:v>
                </c:pt>
                <c:pt idx="3845">
                  <c:v>2.4899816059044944</c:v>
                </c:pt>
                <c:pt idx="3846">
                  <c:v>2.5118014496524452</c:v>
                </c:pt>
                <c:pt idx="3847">
                  <c:v>2.5249554813182042</c:v>
                </c:pt>
                <c:pt idx="3848">
                  <c:v>2.5278479581915763</c:v>
                </c:pt>
                <c:pt idx="3849">
                  <c:v>2.529505934117751</c:v>
                </c:pt>
                <c:pt idx="3850">
                  <c:v>2.530737260834536</c:v>
                </c:pt>
                <c:pt idx="3851">
                  <c:v>2.5313226697434099</c:v>
                </c:pt>
                <c:pt idx="3852">
                  <c:v>2.531320297534529</c:v>
                </c:pt>
                <c:pt idx="3853">
                  <c:v>2.5309656871563719</c:v>
                </c:pt>
                <c:pt idx="3854">
                  <c:v>2.5298435697079205</c:v>
                </c:pt>
                <c:pt idx="3855">
                  <c:v>2.5282333843372831</c:v>
                </c:pt>
                <c:pt idx="3856">
                  <c:v>2.526199600434814</c:v>
                </c:pt>
                <c:pt idx="3857">
                  <c:v>2.5236938951410752</c:v>
                </c:pt>
                <c:pt idx="3858">
                  <c:v>2.5210609639672472</c:v>
                </c:pt>
                <c:pt idx="3859">
                  <c:v>2.5203697645776204</c:v>
                </c:pt>
                <c:pt idx="3860">
                  <c:v>2.5211963122182817</c:v>
                </c:pt>
                <c:pt idx="3861">
                  <c:v>2.5222525037745509</c:v>
                </c:pt>
                <c:pt idx="3862">
                  <c:v>2.5231384135362536</c:v>
                </c:pt>
                <c:pt idx="3863">
                  <c:v>2.5238744226522503</c:v>
                </c:pt>
                <c:pt idx="3864">
                  <c:v>2.261977625774608</c:v>
                </c:pt>
                <c:pt idx="3865">
                  <c:v>1.9414403293000033</c:v>
                </c:pt>
                <c:pt idx="3866">
                  <c:v>1.5965486798535677</c:v>
                </c:pt>
                <c:pt idx="3867">
                  <c:v>1.568793375518565</c:v>
                </c:pt>
                <c:pt idx="3868">
                  <c:v>1.4823194321031505</c:v>
                </c:pt>
                <c:pt idx="3869">
                  <c:v>1.3928240760414272</c:v>
                </c:pt>
                <c:pt idx="3870">
                  <c:v>1.3010407503520409</c:v>
                </c:pt>
                <c:pt idx="3871">
                  <c:v>1.2616019967824013</c:v>
                </c:pt>
                <c:pt idx="3872">
                  <c:v>1.3278812022027402</c:v>
                </c:pt>
                <c:pt idx="3873">
                  <c:v>1.523101090055019</c:v>
                </c:pt>
                <c:pt idx="3874">
                  <c:v>1.6979407833028228</c:v>
                </c:pt>
                <c:pt idx="3875">
                  <c:v>1.7544702703397672</c:v>
                </c:pt>
                <c:pt idx="3876">
                  <c:v>1.7489330892136967</c:v>
                </c:pt>
                <c:pt idx="3877">
                  <c:v>1.7494417620404501</c:v>
                </c:pt>
                <c:pt idx="3878">
                  <c:v>1.7425827202561552</c:v>
                </c:pt>
                <c:pt idx="3879">
                  <c:v>1.7345272866562989</c:v>
                </c:pt>
                <c:pt idx="3880">
                  <c:v>1.7236378203570941</c:v>
                </c:pt>
                <c:pt idx="3881">
                  <c:v>1.7099696467755459</c:v>
                </c:pt>
                <c:pt idx="3882">
                  <c:v>1.6935736290014689</c:v>
                </c:pt>
                <c:pt idx="3883">
                  <c:v>1.6747635295966852</c:v>
                </c:pt>
                <c:pt idx="3884">
                  <c:v>1.6527972357995053</c:v>
                </c:pt>
                <c:pt idx="3885">
                  <c:v>1.6294434703678642</c:v>
                </c:pt>
                <c:pt idx="3886">
                  <c:v>1.7177997976122874</c:v>
                </c:pt>
                <c:pt idx="3887">
                  <c:v>2.093233248454847</c:v>
                </c:pt>
                <c:pt idx="3888">
                  <c:v>2.3790041664511055</c:v>
                </c:pt>
                <c:pt idx="3889">
                  <c:v>2.3731041784135467</c:v>
                </c:pt>
                <c:pt idx="3890">
                  <c:v>2.4614775627782728</c:v>
                </c:pt>
                <c:pt idx="3891">
                  <c:v>2.4688040267671019</c:v>
                </c:pt>
                <c:pt idx="3892">
                  <c:v>2.4831699485053473</c:v>
                </c:pt>
                <c:pt idx="3893">
                  <c:v>2.5106050535843196</c:v>
                </c:pt>
                <c:pt idx="3894">
                  <c:v>2.5422629817193449</c:v>
                </c:pt>
                <c:pt idx="3895">
                  <c:v>2.5802299709755228</c:v>
                </c:pt>
                <c:pt idx="3896">
                  <c:v>2.6209595561295851</c:v>
                </c:pt>
                <c:pt idx="3897">
                  <c:v>2.6641608912177208</c:v>
                </c:pt>
                <c:pt idx="3898">
                  <c:v>2.7138664787917333</c:v>
                </c:pt>
                <c:pt idx="3899">
                  <c:v>2.7999143604134771</c:v>
                </c:pt>
                <c:pt idx="3900">
                  <c:v>2.8095733109577252</c:v>
                </c:pt>
                <c:pt idx="3901">
                  <c:v>2.814404312327869</c:v>
                </c:pt>
                <c:pt idx="3902">
                  <c:v>2.7845710994040047</c:v>
                </c:pt>
                <c:pt idx="3903">
                  <c:v>2.6955185339322782</c:v>
                </c:pt>
                <c:pt idx="3904">
                  <c:v>2.5920795689682166</c:v>
                </c:pt>
                <c:pt idx="3905">
                  <c:v>2.5587051599193953</c:v>
                </c:pt>
                <c:pt idx="3906">
                  <c:v>2.5574924927485738</c:v>
                </c:pt>
                <c:pt idx="3907">
                  <c:v>2.5576624451777361</c:v>
                </c:pt>
                <c:pt idx="3908">
                  <c:v>2.5648333843320357</c:v>
                </c:pt>
                <c:pt idx="3909">
                  <c:v>2.5836707416969418</c:v>
                </c:pt>
                <c:pt idx="3910">
                  <c:v>2.60958504966636</c:v>
                </c:pt>
                <c:pt idx="3911">
                  <c:v>2.653109511900329</c:v>
                </c:pt>
                <c:pt idx="3912">
                  <c:v>2.7041205309462533</c:v>
                </c:pt>
                <c:pt idx="3913">
                  <c:v>2.7622627387373946</c:v>
                </c:pt>
                <c:pt idx="3914">
                  <c:v>2.8541805980533899</c:v>
                </c:pt>
                <c:pt idx="3915">
                  <c:v>2.9663916447752241</c:v>
                </c:pt>
                <c:pt idx="3916">
                  <c:v>3.0476593342763194</c:v>
                </c:pt>
                <c:pt idx="3917">
                  <c:v>2.8188323825192918</c:v>
                </c:pt>
                <c:pt idx="3918">
                  <c:v>2.5435823794010046</c:v>
                </c:pt>
                <c:pt idx="3919">
                  <c:v>2.8331236478267705</c:v>
                </c:pt>
                <c:pt idx="3920">
                  <c:v>2.6972232623675123</c:v>
                </c:pt>
                <c:pt idx="3921">
                  <c:v>2.6857930222497921</c:v>
                </c:pt>
                <c:pt idx="3922">
                  <c:v>2.6702382224539871</c:v>
                </c:pt>
                <c:pt idx="3923">
                  <c:v>2.6816131072011276</c:v>
                </c:pt>
                <c:pt idx="3924">
                  <c:v>2.7560409362503488</c:v>
                </c:pt>
                <c:pt idx="3925">
                  <c:v>2.9220319519149704</c:v>
                </c:pt>
                <c:pt idx="3926">
                  <c:v>3.0362664749695911</c:v>
                </c:pt>
                <c:pt idx="3927">
                  <c:v>3.0160584085257787</c:v>
                </c:pt>
                <c:pt idx="3928">
                  <c:v>2.9832401526014087</c:v>
                </c:pt>
                <c:pt idx="3929">
                  <c:v>2.9141741714026383</c:v>
                </c:pt>
                <c:pt idx="3930">
                  <c:v>2.9125067179742814</c:v>
                </c:pt>
                <c:pt idx="3931">
                  <c:v>2.9095117966686259</c:v>
                </c:pt>
                <c:pt idx="3932">
                  <c:v>2.9090884571855069</c:v>
                </c:pt>
                <c:pt idx="3933">
                  <c:v>2.9088714192484715</c:v>
                </c:pt>
                <c:pt idx="3934">
                  <c:v>2.9084161106251902</c:v>
                </c:pt>
                <c:pt idx="3935">
                  <c:v>2.9076051200736708</c:v>
                </c:pt>
                <c:pt idx="3936">
                  <c:v>2.9066336914493873</c:v>
                </c:pt>
                <c:pt idx="3937">
                  <c:v>2.970242392212366</c:v>
                </c:pt>
                <c:pt idx="3938">
                  <c:v>3.2189390905841702</c:v>
                </c:pt>
                <c:pt idx="3939">
                  <c:v>3.4237188989171883</c:v>
                </c:pt>
                <c:pt idx="3940">
                  <c:v>3.4283383748247735</c:v>
                </c:pt>
                <c:pt idx="3941">
                  <c:v>3.3808582305112247</c:v>
                </c:pt>
                <c:pt idx="3942">
                  <c:v>3.3070281533614736</c:v>
                </c:pt>
                <c:pt idx="3943">
                  <c:v>3.2240812318452101</c:v>
                </c:pt>
                <c:pt idx="3944">
                  <c:v>3.083671238563388</c:v>
                </c:pt>
                <c:pt idx="3945">
                  <c:v>2.8827041362980226</c:v>
                </c:pt>
                <c:pt idx="3946">
                  <c:v>2.6218975929235349</c:v>
                </c:pt>
                <c:pt idx="3947">
                  <c:v>2.6244869994778917</c:v>
                </c:pt>
                <c:pt idx="3948">
                  <c:v>2.5994395854408219</c:v>
                </c:pt>
                <c:pt idx="3949">
                  <c:v>2.405711472086741</c:v>
                </c:pt>
                <c:pt idx="3950">
                  <c:v>2.4080403079551833</c:v>
                </c:pt>
                <c:pt idx="3951">
                  <c:v>2.4100056222450577</c:v>
                </c:pt>
                <c:pt idx="3952">
                  <c:v>2.4107635965739509</c:v>
                </c:pt>
                <c:pt idx="3953">
                  <c:v>2.396542202097359</c:v>
                </c:pt>
                <c:pt idx="3954">
                  <c:v>2.3263281548426971</c:v>
                </c:pt>
                <c:pt idx="3955">
                  <c:v>2.1356868363798074</c:v>
                </c:pt>
                <c:pt idx="3956">
                  <c:v>1.9656740703244771</c:v>
                </c:pt>
                <c:pt idx="3957">
                  <c:v>1.9403002815172492</c:v>
                </c:pt>
                <c:pt idx="3958">
                  <c:v>1.9193623897196206</c:v>
                </c:pt>
                <c:pt idx="3959">
                  <c:v>1.896902179477763</c:v>
                </c:pt>
                <c:pt idx="3960">
                  <c:v>1.873007413856618</c:v>
                </c:pt>
                <c:pt idx="3961">
                  <c:v>1.8487004019636923</c:v>
                </c:pt>
                <c:pt idx="3962">
                  <c:v>1.8235197255855897</c:v>
                </c:pt>
                <c:pt idx="3963">
                  <c:v>1.7966295408233783</c:v>
                </c:pt>
                <c:pt idx="3964">
                  <c:v>1.7679149355466883</c:v>
                </c:pt>
                <c:pt idx="3965">
                  <c:v>1.7371485693298292</c:v>
                </c:pt>
                <c:pt idx="3966">
                  <c:v>1.704273970167729</c:v>
                </c:pt>
                <c:pt idx="3967">
                  <c:v>1.6710209254412585</c:v>
                </c:pt>
                <c:pt idx="3968">
                  <c:v>1.5622578088103676</c:v>
                </c:pt>
                <c:pt idx="3969">
                  <c:v>1.3483012783143631</c:v>
                </c:pt>
                <c:pt idx="3970">
                  <c:v>1.4460759082422929</c:v>
                </c:pt>
                <c:pt idx="3971">
                  <c:v>1.5563412940450718</c:v>
                </c:pt>
                <c:pt idx="3972">
                  <c:v>1.557166765063537</c:v>
                </c:pt>
                <c:pt idx="3973">
                  <c:v>1.5540157939771206</c:v>
                </c:pt>
                <c:pt idx="3974">
                  <c:v>1.5490985099321897</c:v>
                </c:pt>
                <c:pt idx="3975">
                  <c:v>1.5457721085288585</c:v>
                </c:pt>
                <c:pt idx="3976">
                  <c:v>1.5460397964914754</c:v>
                </c:pt>
                <c:pt idx="3977">
                  <c:v>1.5467439803985237</c:v>
                </c:pt>
                <c:pt idx="3978">
                  <c:v>1.5475338680706188</c:v>
                </c:pt>
                <c:pt idx="3979">
                  <c:v>1.547712882277364</c:v>
                </c:pt>
                <c:pt idx="3980">
                  <c:v>1.5477326793011319</c:v>
                </c:pt>
                <c:pt idx="3981">
                  <c:v>1.5473715790111933</c:v>
                </c:pt>
                <c:pt idx="3982">
                  <c:v>1.5455957005021588</c:v>
                </c:pt>
                <c:pt idx="3983">
                  <c:v>1.5415700502741851</c:v>
                </c:pt>
                <c:pt idx="3984">
                  <c:v>1.53679244059719</c:v>
                </c:pt>
                <c:pt idx="3985">
                  <c:v>1.5309128045932365</c:v>
                </c:pt>
                <c:pt idx="3986">
                  <c:v>1.5239092138400858</c:v>
                </c:pt>
                <c:pt idx="3987">
                  <c:v>1.5153109725790268</c:v>
                </c:pt>
                <c:pt idx="3988">
                  <c:v>1.5049641677252958</c:v>
                </c:pt>
                <c:pt idx="3989">
                  <c:v>1.4931207148858374</c:v>
                </c:pt>
                <c:pt idx="3990">
                  <c:v>1.4782377519275369</c:v>
                </c:pt>
                <c:pt idx="3991">
                  <c:v>1.4614329243695532</c:v>
                </c:pt>
                <c:pt idx="3992">
                  <c:v>1.4408479333718114</c:v>
                </c:pt>
                <c:pt idx="3993">
                  <c:v>1.4171677242673526</c:v>
                </c:pt>
                <c:pt idx="3994">
                  <c:v>1.3893886594738243</c:v>
                </c:pt>
                <c:pt idx="3995">
                  <c:v>1.3583584882394413</c:v>
                </c:pt>
                <c:pt idx="3996">
                  <c:v>1.3237821840865411</c:v>
                </c:pt>
                <c:pt idx="3997">
                  <c:v>1.284367931165135</c:v>
                </c:pt>
                <c:pt idx="3998">
                  <c:v>1.1321345403304728</c:v>
                </c:pt>
                <c:pt idx="3999">
                  <c:v>0.93721976928213602</c:v>
                </c:pt>
                <c:pt idx="4000">
                  <c:v>0.69992224513768231</c:v>
                </c:pt>
                <c:pt idx="4001">
                  <c:v>0.89071091242770228</c:v>
                </c:pt>
                <c:pt idx="4002">
                  <c:v>1.8786965623170535</c:v>
                </c:pt>
                <c:pt idx="4003">
                  <c:v>2.4739572540487464</c:v>
                </c:pt>
                <c:pt idx="4004">
                  <c:v>2.8440193935370921</c:v>
                </c:pt>
                <c:pt idx="4005">
                  <c:v>3.0282323305711079</c:v>
                </c:pt>
                <c:pt idx="4006">
                  <c:v>3.1408463107705216</c:v>
                </c:pt>
                <c:pt idx="4007">
                  <c:v>3.2046470272809984</c:v>
                </c:pt>
                <c:pt idx="4008">
                  <c:v>3.2031334418422328</c:v>
                </c:pt>
                <c:pt idx="4009">
                  <c:v>3.2677922581889587</c:v>
                </c:pt>
                <c:pt idx="4010">
                  <c:v>3.2539386141562803</c:v>
                </c:pt>
                <c:pt idx="4011">
                  <c:v>3.4546825388141582</c:v>
                </c:pt>
                <c:pt idx="4012">
                  <c:v>3.4532860120866213</c:v>
                </c:pt>
                <c:pt idx="4013">
                  <c:v>3.4363522074331785</c:v>
                </c:pt>
                <c:pt idx="4014">
                  <c:v>3.5213973656366888</c:v>
                </c:pt>
                <c:pt idx="4015">
                  <c:v>3.8114973525755023</c:v>
                </c:pt>
                <c:pt idx="4016">
                  <c:v>3.7988712149142398</c:v>
                </c:pt>
                <c:pt idx="4017">
                  <c:v>3.7818117889678144</c:v>
                </c:pt>
                <c:pt idx="4018">
                  <c:v>3.7606377063947725</c:v>
                </c:pt>
                <c:pt idx="4019">
                  <c:v>3.7359472756943162</c:v>
                </c:pt>
                <c:pt idx="4020">
                  <c:v>3.7081721722175551</c:v>
                </c:pt>
                <c:pt idx="4021">
                  <c:v>3.6782901411013951</c:v>
                </c:pt>
                <c:pt idx="4022">
                  <c:v>3.6469441221594865</c:v>
                </c:pt>
                <c:pt idx="4023">
                  <c:v>3.6170201245542928</c:v>
                </c:pt>
                <c:pt idx="4024">
                  <c:v>3.5872249848326447</c:v>
                </c:pt>
                <c:pt idx="4025">
                  <c:v>3.5582919206981196</c:v>
                </c:pt>
                <c:pt idx="4026">
                  <c:v>3.5305721126373104</c:v>
                </c:pt>
                <c:pt idx="4027">
                  <c:v>3.5017291947176079</c:v>
                </c:pt>
                <c:pt idx="4028">
                  <c:v>3.4624787115292759</c:v>
                </c:pt>
                <c:pt idx="4029">
                  <c:v>3.4180133051837602</c:v>
                </c:pt>
                <c:pt idx="4030">
                  <c:v>3.3686837916810286</c:v>
                </c:pt>
                <c:pt idx="4031">
                  <c:v>3.3549806874669099</c:v>
                </c:pt>
                <c:pt idx="4032">
                  <c:v>3.1320568865202469</c:v>
                </c:pt>
                <c:pt idx="4033">
                  <c:v>2.8736774427780296</c:v>
                </c:pt>
                <c:pt idx="4034">
                  <c:v>2.642715626444998</c:v>
                </c:pt>
                <c:pt idx="4035">
                  <c:v>2.5041255460484262</c:v>
                </c:pt>
                <c:pt idx="4036">
                  <c:v>2.4025551517679355</c:v>
                </c:pt>
                <c:pt idx="4037">
                  <c:v>2.3340920163201524</c:v>
                </c:pt>
                <c:pt idx="4038">
                  <c:v>2.3270129552696486</c:v>
                </c:pt>
                <c:pt idx="4039">
                  <c:v>2.233342794514281</c:v>
                </c:pt>
                <c:pt idx="4040">
                  <c:v>2.2612191180106147</c:v>
                </c:pt>
                <c:pt idx="4041">
                  <c:v>1.8849385178151821</c:v>
                </c:pt>
                <c:pt idx="4042">
                  <c:v>1.8832711387691918</c:v>
                </c:pt>
                <c:pt idx="4043">
                  <c:v>1.8920505903623024</c:v>
                </c:pt>
                <c:pt idx="4044">
                  <c:v>1.7485187386089807</c:v>
                </c:pt>
                <c:pt idx="4045">
                  <c:v>1.0108424383930317</c:v>
                </c:pt>
                <c:pt idx="4046">
                  <c:v>0.99230297163870262</c:v>
                </c:pt>
                <c:pt idx="4047">
                  <c:v>0.97094739234944027</c:v>
                </c:pt>
                <c:pt idx="4048">
                  <c:v>0.94701199475144693</c:v>
                </c:pt>
                <c:pt idx="4049">
                  <c:v>0.92497413067788437</c:v>
                </c:pt>
                <c:pt idx="4050">
                  <c:v>0.91223610482243978</c:v>
                </c:pt>
                <c:pt idx="4051">
                  <c:v>0.90333937308019308</c:v>
                </c:pt>
                <c:pt idx="4052">
                  <c:v>0.89922526231491606</c:v>
                </c:pt>
                <c:pt idx="4053">
                  <c:v>0.9033175342105213</c:v>
                </c:pt>
                <c:pt idx="4054">
                  <c:v>0.91362595408671821</c:v>
                </c:pt>
                <c:pt idx="4055">
                  <c:v>0.91258493294264276</c:v>
                </c:pt>
                <c:pt idx="4056">
                  <c:v>0.91097713250927781</c:v>
                </c:pt>
                <c:pt idx="4057">
                  <c:v>0.92439681215659186</c:v>
                </c:pt>
                <c:pt idx="4058">
                  <c:v>1.2449703036445332</c:v>
                </c:pt>
                <c:pt idx="4059">
                  <c:v>1.3615010815894879</c:v>
                </c:pt>
                <c:pt idx="4060">
                  <c:v>1.4080528235643313</c:v>
                </c:pt>
                <c:pt idx="4061">
                  <c:v>1.3804956412235867</c:v>
                </c:pt>
                <c:pt idx="4062">
                  <c:v>1.3200418174246846</c:v>
                </c:pt>
                <c:pt idx="4063">
                  <c:v>1.2538177861134658</c:v>
                </c:pt>
                <c:pt idx="4064">
                  <c:v>1.2415936571938662</c:v>
                </c:pt>
                <c:pt idx="4065">
                  <c:v>1.3257326343600102</c:v>
                </c:pt>
                <c:pt idx="4066">
                  <c:v>1.4712648280086558</c:v>
                </c:pt>
                <c:pt idx="4067">
                  <c:v>1.5122484542757544</c:v>
                </c:pt>
                <c:pt idx="4068">
                  <c:v>1.5283668832214212</c:v>
                </c:pt>
                <c:pt idx="4069">
                  <c:v>1.6095673019230641</c:v>
                </c:pt>
                <c:pt idx="4070">
                  <c:v>1.6727086839395013</c:v>
                </c:pt>
                <c:pt idx="4071">
                  <c:v>1.7205591707233234</c:v>
                </c:pt>
                <c:pt idx="4072">
                  <c:v>1.7667386458691583</c:v>
                </c:pt>
                <c:pt idx="4073">
                  <c:v>1.8020577445490791</c:v>
                </c:pt>
                <c:pt idx="4074">
                  <c:v>1.8248417612307517</c:v>
                </c:pt>
                <c:pt idx="4075">
                  <c:v>1.8401947243995829</c:v>
                </c:pt>
                <c:pt idx="4076">
                  <c:v>1.8513042152414347</c:v>
                </c:pt>
                <c:pt idx="4077">
                  <c:v>1.8546247349163856</c:v>
                </c:pt>
                <c:pt idx="4078">
                  <c:v>1.8523240725621595</c:v>
                </c:pt>
                <c:pt idx="4079">
                  <c:v>1.8454840341248622</c:v>
                </c:pt>
                <c:pt idx="4080">
                  <c:v>1.8366990197896891</c:v>
                </c:pt>
                <c:pt idx="4081">
                  <c:v>1.8200303461821756</c:v>
                </c:pt>
                <c:pt idx="4082">
                  <c:v>1.797913276279782</c:v>
                </c:pt>
                <c:pt idx="4083">
                  <c:v>1.9933192533597757</c:v>
                </c:pt>
                <c:pt idx="4084">
                  <c:v>2.0459131365214627</c:v>
                </c:pt>
                <c:pt idx="4085">
                  <c:v>2.0345316921435388</c:v>
                </c:pt>
                <c:pt idx="4086">
                  <c:v>2.0621649621591258</c:v>
                </c:pt>
                <c:pt idx="4087">
                  <c:v>2.0769455770992846</c:v>
                </c:pt>
                <c:pt idx="4088">
                  <c:v>1.9890119886455551</c:v>
                </c:pt>
                <c:pt idx="4089">
                  <c:v>1.9504258206880796</c:v>
                </c:pt>
                <c:pt idx="4090">
                  <c:v>1.9295209316060988</c:v>
                </c:pt>
                <c:pt idx="4091">
                  <c:v>1.9342231394572984</c:v>
                </c:pt>
                <c:pt idx="4092">
                  <c:v>1.9495663614731014</c:v>
                </c:pt>
                <c:pt idx="4093">
                  <c:v>2.0259812977351404</c:v>
                </c:pt>
                <c:pt idx="4094">
                  <c:v>2.0680025150890007</c:v>
                </c:pt>
                <c:pt idx="4095">
                  <c:v>2.0432482890580159</c:v>
                </c:pt>
                <c:pt idx="4096">
                  <c:v>1.9593558643888485</c:v>
                </c:pt>
                <c:pt idx="4097">
                  <c:v>1.9521492206542721</c:v>
                </c:pt>
                <c:pt idx="4098">
                  <c:v>1.9493025391330272</c:v>
                </c:pt>
                <c:pt idx="4099">
                  <c:v>1.9865997228529368</c:v>
                </c:pt>
                <c:pt idx="4100">
                  <c:v>1.9700626897620663</c:v>
                </c:pt>
                <c:pt idx="4101">
                  <c:v>1.9286888799631015</c:v>
                </c:pt>
                <c:pt idx="4102">
                  <c:v>1.8999588990859957</c:v>
                </c:pt>
                <c:pt idx="4103">
                  <c:v>1.8723464928363007</c:v>
                </c:pt>
                <c:pt idx="4104">
                  <c:v>1.8554867918796212</c:v>
                </c:pt>
                <c:pt idx="4105">
                  <c:v>1.8439230903970762</c:v>
                </c:pt>
                <c:pt idx="4106">
                  <c:v>1.8357185315299447</c:v>
                </c:pt>
                <c:pt idx="4107">
                  <c:v>1.8339346504521252</c:v>
                </c:pt>
                <c:pt idx="4108">
                  <c:v>1.8346653208283832</c:v>
                </c:pt>
                <c:pt idx="4109">
                  <c:v>2.1035217196161313</c:v>
                </c:pt>
                <c:pt idx="4110">
                  <c:v>2.1495175269826272</c:v>
                </c:pt>
                <c:pt idx="4111">
                  <c:v>2.1543037957472948</c:v>
                </c:pt>
                <c:pt idx="4112">
                  <c:v>2.1583044305479948</c:v>
                </c:pt>
                <c:pt idx="4113">
                  <c:v>2.4993271221393956</c:v>
                </c:pt>
                <c:pt idx="4114">
                  <c:v>2.4297291995117711</c:v>
                </c:pt>
                <c:pt idx="4115">
                  <c:v>2.4442260248797423</c:v>
                </c:pt>
                <c:pt idx="4116">
                  <c:v>2.4451436779404556</c:v>
                </c:pt>
                <c:pt idx="4117">
                  <c:v>2.6702777029772546</c:v>
                </c:pt>
                <c:pt idx="4118">
                  <c:v>2.6593088080849583</c:v>
                </c:pt>
                <c:pt idx="4119">
                  <c:v>2.6853527780522595</c:v>
                </c:pt>
                <c:pt idx="4120">
                  <c:v>2.6874490372390896</c:v>
                </c:pt>
                <c:pt idx="4121">
                  <c:v>2.6924280728524965</c:v>
                </c:pt>
                <c:pt idx="4122">
                  <c:v>2.698567963211858</c:v>
                </c:pt>
                <c:pt idx="4123">
                  <c:v>2.6700005814977081</c:v>
                </c:pt>
                <c:pt idx="4124">
                  <c:v>2.6153127518761234</c:v>
                </c:pt>
                <c:pt idx="4125">
                  <c:v>2.5649069498559549</c:v>
                </c:pt>
                <c:pt idx="4126">
                  <c:v>2.5278337617315345</c:v>
                </c:pt>
                <c:pt idx="4127">
                  <c:v>2.5020715558476283</c:v>
                </c:pt>
                <c:pt idx="4128">
                  <c:v>2.5156268060695242</c:v>
                </c:pt>
                <c:pt idx="4129">
                  <c:v>2.464740324301109</c:v>
                </c:pt>
                <c:pt idx="4130">
                  <c:v>2.4439306897873108</c:v>
                </c:pt>
                <c:pt idx="4131">
                  <c:v>2.4639898673713221</c:v>
                </c:pt>
                <c:pt idx="4132">
                  <c:v>2.4742818180064177</c:v>
                </c:pt>
                <c:pt idx="4133">
                  <c:v>2.4846366332019398</c:v>
                </c:pt>
                <c:pt idx="4134">
                  <c:v>2.4897940063631112</c:v>
                </c:pt>
                <c:pt idx="4135">
                  <c:v>2.4928565462322294</c:v>
                </c:pt>
                <c:pt idx="4136">
                  <c:v>2.4927713090943771</c:v>
                </c:pt>
                <c:pt idx="4137">
                  <c:v>2.4915396041674636</c:v>
                </c:pt>
                <c:pt idx="4138">
                  <c:v>2.4875896118159826</c:v>
                </c:pt>
                <c:pt idx="4139">
                  <c:v>2.2381848380004223</c:v>
                </c:pt>
                <c:pt idx="4140">
                  <c:v>2.1680887788574013</c:v>
                </c:pt>
                <c:pt idx="4141">
                  <c:v>2.1476962091275014</c:v>
                </c:pt>
                <c:pt idx="4142">
                  <c:v>2.1254509624889457</c:v>
                </c:pt>
                <c:pt idx="4143">
                  <c:v>1.2118613925030171</c:v>
                </c:pt>
                <c:pt idx="4144">
                  <c:v>1.283100448700097</c:v>
                </c:pt>
                <c:pt idx="4145">
                  <c:v>1.3510464926976775</c:v>
                </c:pt>
                <c:pt idx="4146">
                  <c:v>1.483056887342501</c:v>
                </c:pt>
                <c:pt idx="4147">
                  <c:v>1.3645485901658263</c:v>
                </c:pt>
                <c:pt idx="4148">
                  <c:v>1.478573085774102</c:v>
                </c:pt>
                <c:pt idx="4149">
                  <c:v>1.4656242788017841</c:v>
                </c:pt>
                <c:pt idx="4150">
                  <c:v>1.5400908368868096</c:v>
                </c:pt>
                <c:pt idx="4151">
                  <c:v>1.592688730027785</c:v>
                </c:pt>
                <c:pt idx="4152">
                  <c:v>1.627200144336759</c:v>
                </c:pt>
                <c:pt idx="4153">
                  <c:v>1.6431343823304214</c:v>
                </c:pt>
                <c:pt idx="4154">
                  <c:v>1.6671852834425771</c:v>
                </c:pt>
                <c:pt idx="4155">
                  <c:v>1.6828839125475468</c:v>
                </c:pt>
                <c:pt idx="4156">
                  <c:v>1.6888141478145886</c:v>
                </c:pt>
                <c:pt idx="4157">
                  <c:v>1.6950579670033379</c:v>
                </c:pt>
                <c:pt idx="4158">
                  <c:v>1.7037284992778208</c:v>
                </c:pt>
                <c:pt idx="4159">
                  <c:v>1.7054742167057113</c:v>
                </c:pt>
                <c:pt idx="4160">
                  <c:v>1.7126566377401038</c:v>
                </c:pt>
                <c:pt idx="4161">
                  <c:v>1.7246956034072707</c:v>
                </c:pt>
                <c:pt idx="4162">
                  <c:v>1.7418337546060738</c:v>
                </c:pt>
                <c:pt idx="4163">
                  <c:v>1.769095264954393</c:v>
                </c:pt>
                <c:pt idx="4164">
                  <c:v>1.7920073746486522</c:v>
                </c:pt>
                <c:pt idx="4165">
                  <c:v>1.8092435166725553</c:v>
                </c:pt>
                <c:pt idx="4166">
                  <c:v>1.8238484503942338</c:v>
                </c:pt>
                <c:pt idx="4167">
                  <c:v>1.823344139844109</c:v>
                </c:pt>
                <c:pt idx="4168">
                  <c:v>1.8172184302196885</c:v>
                </c:pt>
                <c:pt idx="4169">
                  <c:v>2.0625711614353741</c:v>
                </c:pt>
                <c:pt idx="4170">
                  <c:v>2.0698462813539744</c:v>
                </c:pt>
                <c:pt idx="4171">
                  <c:v>2.0772581525932265</c:v>
                </c:pt>
                <c:pt idx="4172">
                  <c:v>2.0757810310921854</c:v>
                </c:pt>
                <c:pt idx="4173">
                  <c:v>2.0783396056288792</c:v>
                </c:pt>
                <c:pt idx="4174">
                  <c:v>2.1926511859683218</c:v>
                </c:pt>
                <c:pt idx="4175">
                  <c:v>2.7106001296296305</c:v>
                </c:pt>
                <c:pt idx="4176">
                  <c:v>5.2011773968765542</c:v>
                </c:pt>
                <c:pt idx="4177">
                  <c:v>21.82235482841752</c:v>
                </c:pt>
                <c:pt idx="4178">
                  <c:v>28.569416271385681</c:v>
                </c:pt>
                <c:pt idx="4179">
                  <c:v>29.368038421818468</c:v>
                </c:pt>
                <c:pt idx="4180">
                  <c:v>32.395831203910276</c:v>
                </c:pt>
                <c:pt idx="4181">
                  <c:v>36.515164958942172</c:v>
                </c:pt>
                <c:pt idx="4182">
                  <c:v>39.649134615213434</c:v>
                </c:pt>
                <c:pt idx="4183">
                  <c:v>39.904406201779651</c:v>
                </c:pt>
                <c:pt idx="4184">
                  <c:v>39.747936253445033</c:v>
                </c:pt>
                <c:pt idx="4185">
                  <c:v>39.474551779138054</c:v>
                </c:pt>
                <c:pt idx="4186">
                  <c:v>39.318543833797925</c:v>
                </c:pt>
                <c:pt idx="4187">
                  <c:v>39.254672973204762</c:v>
                </c:pt>
                <c:pt idx="4188">
                  <c:v>39.250983909093762</c:v>
                </c:pt>
                <c:pt idx="4189">
                  <c:v>39.24999227803859</c:v>
                </c:pt>
                <c:pt idx="4190">
                  <c:v>39.251737829400881</c:v>
                </c:pt>
                <c:pt idx="4191">
                  <c:v>39.256202660238202</c:v>
                </c:pt>
                <c:pt idx="4192">
                  <c:v>39.263523585330269</c:v>
                </c:pt>
                <c:pt idx="4193">
                  <c:v>39.276249350468824</c:v>
                </c:pt>
                <c:pt idx="4194">
                  <c:v>39.285616657433344</c:v>
                </c:pt>
                <c:pt idx="4195">
                  <c:v>39.291628085155146</c:v>
                </c:pt>
                <c:pt idx="4196">
                  <c:v>39.296068314713949</c:v>
                </c:pt>
                <c:pt idx="4197">
                  <c:v>39.286571406583221</c:v>
                </c:pt>
                <c:pt idx="4198">
                  <c:v>39.249698781695358</c:v>
                </c:pt>
                <c:pt idx="4199">
                  <c:v>39.325135366594793</c:v>
                </c:pt>
                <c:pt idx="4200">
                  <c:v>39.324348734619434</c:v>
                </c:pt>
                <c:pt idx="4201">
                  <c:v>39.323631023318526</c:v>
                </c:pt>
                <c:pt idx="4202">
                  <c:v>39.289549330139991</c:v>
                </c:pt>
                <c:pt idx="4203">
                  <c:v>39.245056644973438</c:v>
                </c:pt>
                <c:pt idx="4204">
                  <c:v>39.320643850375419</c:v>
                </c:pt>
                <c:pt idx="4205">
                  <c:v>39.069580921470219</c:v>
                </c:pt>
                <c:pt idx="4206">
                  <c:v>39.307424549133771</c:v>
                </c:pt>
                <c:pt idx="4207">
                  <c:v>35.357855390672142</c:v>
                </c:pt>
                <c:pt idx="4208">
                  <c:v>31.540158616256782</c:v>
                </c:pt>
                <c:pt idx="4209">
                  <c:v>31.108207061224856</c:v>
                </c:pt>
                <c:pt idx="4210">
                  <c:v>28.127324394136629</c:v>
                </c:pt>
                <c:pt idx="4211">
                  <c:v>21.751639831403995</c:v>
                </c:pt>
                <c:pt idx="4212">
                  <c:v>12.266698033828094</c:v>
                </c:pt>
                <c:pt idx="4213">
                  <c:v>8.0330616627483042</c:v>
                </c:pt>
                <c:pt idx="4214">
                  <c:v>4.7529034527448948</c:v>
                </c:pt>
                <c:pt idx="4215">
                  <c:v>1.2179386897372357</c:v>
                </c:pt>
                <c:pt idx="4216">
                  <c:v>0.52516594524880189</c:v>
                </c:pt>
                <c:pt idx="4217">
                  <c:v>2.3929932496874688E-2</c:v>
                </c:pt>
                <c:pt idx="4218">
                  <c:v>2.411041500187806E-2</c:v>
                </c:pt>
                <c:pt idx="4219">
                  <c:v>2.4115980299983839E-2</c:v>
                </c:pt>
                <c:pt idx="4220">
                  <c:v>2.383702818469088E-2</c:v>
                </c:pt>
                <c:pt idx="4221">
                  <c:v>2.3807199145827733E-2</c:v>
                </c:pt>
                <c:pt idx="4222">
                  <c:v>2.3851251799218955E-2</c:v>
                </c:pt>
                <c:pt idx="4223">
                  <c:v>2.3998860407745268E-2</c:v>
                </c:pt>
                <c:pt idx="4224">
                  <c:v>2.3973413500017544E-2</c:v>
                </c:pt>
                <c:pt idx="4225">
                  <c:v>2.3883800172305094E-2</c:v>
                </c:pt>
                <c:pt idx="4226">
                  <c:v>2.4187752976033657E-2</c:v>
                </c:pt>
                <c:pt idx="4227">
                  <c:v>2.4258352774947079E-2</c:v>
                </c:pt>
                <c:pt idx="4228">
                  <c:v>2.4495925014373959E-2</c:v>
                </c:pt>
                <c:pt idx="4229">
                  <c:v>2.4728562372375001E-2</c:v>
                </c:pt>
                <c:pt idx="4230">
                  <c:v>2.4687659707402568E-2</c:v>
                </c:pt>
                <c:pt idx="4231">
                  <c:v>2.4614009487818191E-2</c:v>
                </c:pt>
                <c:pt idx="4232">
                  <c:v>2.4267057569480045E-2</c:v>
                </c:pt>
                <c:pt idx="4233">
                  <c:v>2.387056798156097E-2</c:v>
                </c:pt>
                <c:pt idx="4234">
                  <c:v>2.331829882170328E-2</c:v>
                </c:pt>
                <c:pt idx="4235">
                  <c:v>2.2844627778635145E-2</c:v>
                </c:pt>
                <c:pt idx="4236">
                  <c:v>2.274032562590304E-2</c:v>
                </c:pt>
                <c:pt idx="4237">
                  <c:v>2.2609835129602671E-2</c:v>
                </c:pt>
                <c:pt idx="4238">
                  <c:v>2.2497235812926623E-2</c:v>
                </c:pt>
                <c:pt idx="4239">
                  <c:v>2.2234630964970643E-2</c:v>
                </c:pt>
                <c:pt idx="4240">
                  <c:v>2.1987406172499706E-2</c:v>
                </c:pt>
                <c:pt idx="4241">
                  <c:v>2.2388822728989767E-2</c:v>
                </c:pt>
                <c:pt idx="4242">
                  <c:v>2.2988465873678289E-2</c:v>
                </c:pt>
                <c:pt idx="4243">
                  <c:v>2.4276656587077866E-2</c:v>
                </c:pt>
                <c:pt idx="4244">
                  <c:v>2.5535730153553291E-2</c:v>
                </c:pt>
                <c:pt idx="4245">
                  <c:v>2.6868077456327518E-2</c:v>
                </c:pt>
                <c:pt idx="4246">
                  <c:v>2.8250949233162514E-2</c:v>
                </c:pt>
                <c:pt idx="4247">
                  <c:v>2.9227968304238825E-2</c:v>
                </c:pt>
                <c:pt idx="4248">
                  <c:v>2.984697770758906E-2</c:v>
                </c:pt>
                <c:pt idx="4249">
                  <c:v>3.0638288979886474E-2</c:v>
                </c:pt>
                <c:pt idx="4250">
                  <c:v>3.1055675857122676E-2</c:v>
                </c:pt>
                <c:pt idx="4251">
                  <c:v>3.1776230384544704E-2</c:v>
                </c:pt>
                <c:pt idx="4252">
                  <c:v>3.230029357910745E-2</c:v>
                </c:pt>
                <c:pt idx="4253">
                  <c:v>3.2790731462726735E-2</c:v>
                </c:pt>
                <c:pt idx="4254">
                  <c:v>3.3233631359282402E-2</c:v>
                </c:pt>
                <c:pt idx="4255">
                  <c:v>3.3565771804670706E-2</c:v>
                </c:pt>
                <c:pt idx="4256">
                  <c:v>3.4786199786235324E-2</c:v>
                </c:pt>
                <c:pt idx="4257">
                  <c:v>3.5857587927574631E-2</c:v>
                </c:pt>
                <c:pt idx="4258">
                  <c:v>3.6933850859181994E-2</c:v>
                </c:pt>
                <c:pt idx="4259">
                  <c:v>3.7845885367698208E-2</c:v>
                </c:pt>
                <c:pt idx="4260">
                  <c:v>3.8382721101989363E-2</c:v>
                </c:pt>
                <c:pt idx="4261">
                  <c:v>3.9088453313824892E-2</c:v>
                </c:pt>
                <c:pt idx="4262">
                  <c:v>3.9385122047790717E-2</c:v>
                </c:pt>
                <c:pt idx="4263">
                  <c:v>3.9235603220793752E-2</c:v>
                </c:pt>
                <c:pt idx="4264">
                  <c:v>3.9193162862803513E-2</c:v>
                </c:pt>
                <c:pt idx="4265">
                  <c:v>3.8821650341453774E-2</c:v>
                </c:pt>
                <c:pt idx="4266">
                  <c:v>3.8724770819307031E-2</c:v>
                </c:pt>
                <c:pt idx="4267">
                  <c:v>3.8497186660750325E-2</c:v>
                </c:pt>
                <c:pt idx="4268">
                  <c:v>3.8018292607281214E-2</c:v>
                </c:pt>
                <c:pt idx="4269">
                  <c:v>3.7186541740045528E-2</c:v>
                </c:pt>
                <c:pt idx="4270">
                  <c:v>3.6401145116309395E-2</c:v>
                </c:pt>
                <c:pt idx="4271">
                  <c:v>3.6058918014281273E-2</c:v>
                </c:pt>
                <c:pt idx="4272">
                  <c:v>3.5667309592969897E-2</c:v>
                </c:pt>
                <c:pt idx="4273">
                  <c:v>3.5573126728199261E-2</c:v>
                </c:pt>
                <c:pt idx="4274">
                  <c:v>3.5344484014852323E-2</c:v>
                </c:pt>
                <c:pt idx="4275">
                  <c:v>3.5014444828002429E-2</c:v>
                </c:pt>
                <c:pt idx="4276">
                  <c:v>3.4713291752489342E-2</c:v>
                </c:pt>
                <c:pt idx="4277">
                  <c:v>3.4109080115890221E-2</c:v>
                </c:pt>
                <c:pt idx="4278">
                  <c:v>3.3470482950370133E-2</c:v>
                </c:pt>
                <c:pt idx="4279">
                  <c:v>3.3702716411507981E-2</c:v>
                </c:pt>
                <c:pt idx="4280">
                  <c:v>3.3481409191602134E-2</c:v>
                </c:pt>
                <c:pt idx="4281">
                  <c:v>3.3414797817482009E-2</c:v>
                </c:pt>
                <c:pt idx="4282">
                  <c:v>3.3363317838165187E-2</c:v>
                </c:pt>
                <c:pt idx="4283">
                  <c:v>3.2981371091011666E-2</c:v>
                </c:pt>
                <c:pt idx="4284">
                  <c:v>3.2735254524418195E-2</c:v>
                </c:pt>
                <c:pt idx="4285">
                  <c:v>3.2004164080985227E-2</c:v>
                </c:pt>
                <c:pt idx="4286">
                  <c:v>3.2078238851719981E-2</c:v>
                </c:pt>
                <c:pt idx="4287">
                  <c:v>3.2711199227896171E-2</c:v>
                </c:pt>
                <c:pt idx="4288">
                  <c:v>3.3150497592904789E-2</c:v>
                </c:pt>
                <c:pt idx="4289">
                  <c:v>3.3279323791282352E-2</c:v>
                </c:pt>
                <c:pt idx="4290">
                  <c:v>3.3513965497101159E-2</c:v>
                </c:pt>
                <c:pt idx="4291">
                  <c:v>3.3912350669681172E-2</c:v>
                </c:pt>
                <c:pt idx="4292">
                  <c:v>3.4291260962883145E-2</c:v>
                </c:pt>
                <c:pt idx="4293">
                  <c:v>3.4552583621763139E-2</c:v>
                </c:pt>
                <c:pt idx="4294">
                  <c:v>3.5264695466052799E-2</c:v>
                </c:pt>
                <c:pt idx="4295">
                  <c:v>3.5819602997576569E-2</c:v>
                </c:pt>
                <c:pt idx="4296">
                  <c:v>3.6493102868337811E-2</c:v>
                </c:pt>
                <c:pt idx="4297">
                  <c:v>3.70467051321254E-2</c:v>
                </c:pt>
                <c:pt idx="4298">
                  <c:v>3.7213981829259085E-2</c:v>
                </c:pt>
                <c:pt idx="4299">
                  <c:v>3.7435791222127646E-2</c:v>
                </c:pt>
                <c:pt idx="4300">
                  <c:v>3.8207449578814771E-2</c:v>
                </c:pt>
                <c:pt idx="4301">
                  <c:v>3.8620919475119045E-2</c:v>
                </c:pt>
                <c:pt idx="4302">
                  <c:v>3.883754605805409E-2</c:v>
                </c:pt>
                <c:pt idx="4303">
                  <c:v>3.8922809796424908E-2</c:v>
                </c:pt>
                <c:pt idx="4304">
                  <c:v>3.8969610741344203E-2</c:v>
                </c:pt>
                <c:pt idx="4305">
                  <c:v>3.8912034048448597E-2</c:v>
                </c:pt>
                <c:pt idx="4306">
                  <c:v>3.8741132672626841E-2</c:v>
                </c:pt>
                <c:pt idx="4307">
                  <c:v>3.8116947411747287E-2</c:v>
                </c:pt>
                <c:pt idx="4308">
                  <c:v>3.7450603839151893E-2</c:v>
                </c:pt>
                <c:pt idx="4309">
                  <c:v>3.7482150197552945E-2</c:v>
                </c:pt>
                <c:pt idx="4310">
                  <c:v>3.7184744052472449E-2</c:v>
                </c:pt>
                <c:pt idx="4311">
                  <c:v>3.6752296005167252E-2</c:v>
                </c:pt>
                <c:pt idx="4312">
                  <c:v>3.6371382811706175E-2</c:v>
                </c:pt>
                <c:pt idx="4313">
                  <c:v>3.5956697566448884E-2</c:v>
                </c:pt>
                <c:pt idx="4314">
                  <c:v>3.5493543282416537E-2</c:v>
                </c:pt>
                <c:pt idx="4315">
                  <c:v>3.4633713540111036E-2</c:v>
                </c:pt>
                <c:pt idx="4316">
                  <c:v>3.3589708417567678E-2</c:v>
                </c:pt>
                <c:pt idx="4317">
                  <c:v>3.294133636740941E-2</c:v>
                </c:pt>
                <c:pt idx="4318">
                  <c:v>3.1982545977275928E-2</c:v>
                </c:pt>
                <c:pt idx="4319">
                  <c:v>3.1275692028425943E-2</c:v>
                </c:pt>
                <c:pt idx="4320">
                  <c:v>3.0793011149663745E-2</c:v>
                </c:pt>
                <c:pt idx="4321">
                  <c:v>2.9966041403772466E-2</c:v>
                </c:pt>
                <c:pt idx="4322">
                  <c:v>2.9629653093316687E-2</c:v>
                </c:pt>
                <c:pt idx="4323">
                  <c:v>2.9250381962025736E-2</c:v>
                </c:pt>
                <c:pt idx="4324">
                  <c:v>2.9072573652019026E-2</c:v>
                </c:pt>
                <c:pt idx="4325">
                  <c:v>2.8687469529099834E-2</c:v>
                </c:pt>
                <c:pt idx="4326">
                  <c:v>2.8147202196720171E-2</c:v>
                </c:pt>
                <c:pt idx="4327">
                  <c:v>2.7651817131800305E-2</c:v>
                </c:pt>
                <c:pt idx="4328">
                  <c:v>2.6991361395931356E-2</c:v>
                </c:pt>
                <c:pt idx="4329">
                  <c:v>2.657634816509408E-2</c:v>
                </c:pt>
                <c:pt idx="4330">
                  <c:v>2.6890050914103205E-2</c:v>
                </c:pt>
                <c:pt idx="4331">
                  <c:v>2.7237895436298721E-2</c:v>
                </c:pt>
                <c:pt idx="4332">
                  <c:v>2.8014850685143519E-2</c:v>
                </c:pt>
                <c:pt idx="4333">
                  <c:v>2.8644327762756428E-2</c:v>
                </c:pt>
                <c:pt idx="4334">
                  <c:v>2.9137381005549075E-2</c:v>
                </c:pt>
                <c:pt idx="4335">
                  <c:v>2.9516748427832518E-2</c:v>
                </c:pt>
                <c:pt idx="4336">
                  <c:v>3.0043929390981564E-2</c:v>
                </c:pt>
                <c:pt idx="4337">
                  <c:v>3.0653381703720662E-2</c:v>
                </c:pt>
                <c:pt idx="4338">
                  <c:v>3.0954676870702798E-2</c:v>
                </c:pt>
                <c:pt idx="4339">
                  <c:v>3.1180415147030644E-2</c:v>
                </c:pt>
                <c:pt idx="4340">
                  <c:v>3.1144207300661465E-2</c:v>
                </c:pt>
                <c:pt idx="4341">
                  <c:v>3.0890762887881562E-2</c:v>
                </c:pt>
                <c:pt idx="4342">
                  <c:v>3.0421629502259233E-2</c:v>
                </c:pt>
                <c:pt idx="4343">
                  <c:v>3.0115795414970673E-2</c:v>
                </c:pt>
                <c:pt idx="4344">
                  <c:v>2.9999369343630292E-2</c:v>
                </c:pt>
                <c:pt idx="4345">
                  <c:v>2.9632017573369467E-2</c:v>
                </c:pt>
                <c:pt idx="4346">
                  <c:v>2.9541094463192863E-2</c:v>
                </c:pt>
                <c:pt idx="4347">
                  <c:v>2.9419426484325845E-2</c:v>
                </c:pt>
                <c:pt idx="4348">
                  <c:v>2.9164172306652213E-2</c:v>
                </c:pt>
                <c:pt idx="4349">
                  <c:v>2.9476682825168896E-2</c:v>
                </c:pt>
                <c:pt idx="4350">
                  <c:v>2.9526898480699074E-2</c:v>
                </c:pt>
                <c:pt idx="4351">
                  <c:v>2.9410365285990645E-2</c:v>
                </c:pt>
                <c:pt idx="4352">
                  <c:v>2.9780590605863733E-2</c:v>
                </c:pt>
                <c:pt idx="4353">
                  <c:v>3.0009865473472987E-2</c:v>
                </c:pt>
                <c:pt idx="4354">
                  <c:v>3.0350459961010552E-2</c:v>
                </c:pt>
                <c:pt idx="4355">
                  <c:v>3.0593695799977755E-2</c:v>
                </c:pt>
                <c:pt idx="4356">
                  <c:v>3.0763474128426831E-2</c:v>
                </c:pt>
                <c:pt idx="4357">
                  <c:v>3.0842043324265673E-2</c:v>
                </c:pt>
                <c:pt idx="4358">
                  <c:v>3.0994873985313604E-2</c:v>
                </c:pt>
                <c:pt idx="4359">
                  <c:v>3.143595627974808E-2</c:v>
                </c:pt>
                <c:pt idx="4360">
                  <c:v>3.1821952620373205E-2</c:v>
                </c:pt>
                <c:pt idx="4361">
                  <c:v>3.2412830141620649E-2</c:v>
                </c:pt>
                <c:pt idx="4362">
                  <c:v>3.322955582822186E-2</c:v>
                </c:pt>
                <c:pt idx="4363">
                  <c:v>3.3885923214021937E-2</c:v>
                </c:pt>
                <c:pt idx="4364">
                  <c:v>3.4195478151301341E-2</c:v>
                </c:pt>
                <c:pt idx="4365">
                  <c:v>3.4221314729437652E-2</c:v>
                </c:pt>
                <c:pt idx="4366">
                  <c:v>3.4091409355905378E-2</c:v>
                </c:pt>
                <c:pt idx="4367">
                  <c:v>3.4090305161860408E-2</c:v>
                </c:pt>
                <c:pt idx="4368">
                  <c:v>3.4392706404920835E-2</c:v>
                </c:pt>
                <c:pt idx="4369">
                  <c:v>3.4394683134137169E-2</c:v>
                </c:pt>
                <c:pt idx="4370">
                  <c:v>3.4137061624074518E-2</c:v>
                </c:pt>
                <c:pt idx="4371">
                  <c:v>3.3988876649879055E-2</c:v>
                </c:pt>
                <c:pt idx="4372">
                  <c:v>3.3759767194139041E-2</c:v>
                </c:pt>
                <c:pt idx="4373">
                  <c:v>3.3592750434228213E-2</c:v>
                </c:pt>
                <c:pt idx="4374">
                  <c:v>3.360552346173034E-2</c:v>
                </c:pt>
                <c:pt idx="4375">
                  <c:v>3.3457205217715537E-2</c:v>
                </c:pt>
                <c:pt idx="4376">
                  <c:v>3.33838704788295E-2</c:v>
                </c:pt>
                <c:pt idx="4377">
                  <c:v>3.3496960496876227E-2</c:v>
                </c:pt>
                <c:pt idx="4378">
                  <c:v>3.3437203827568304E-2</c:v>
                </c:pt>
                <c:pt idx="4379">
                  <c:v>3.3308787244584373E-2</c:v>
                </c:pt>
                <c:pt idx="4380">
                  <c:v>3.2796421833900073E-2</c:v>
                </c:pt>
                <c:pt idx="4381">
                  <c:v>3.2296585887133224E-2</c:v>
                </c:pt>
                <c:pt idx="4382">
                  <c:v>3.1950252286697324E-2</c:v>
                </c:pt>
                <c:pt idx="4383">
                  <c:v>3.1468094554327523E-2</c:v>
                </c:pt>
                <c:pt idx="4384">
                  <c:v>3.1211091380244669E-2</c:v>
                </c:pt>
                <c:pt idx="4385">
                  <c:v>3.1002628591773187E-2</c:v>
                </c:pt>
                <c:pt idx="4386">
                  <c:v>3.0983244446652937E-2</c:v>
                </c:pt>
                <c:pt idx="4387">
                  <c:v>3.0669212361100144E-2</c:v>
                </c:pt>
                <c:pt idx="4388">
                  <c:v>3.0289134564663932E-2</c:v>
                </c:pt>
                <c:pt idx="4389">
                  <c:v>3.0453914556512057E-2</c:v>
                </c:pt>
                <c:pt idx="4390">
                  <c:v>3.0456504551409306E-2</c:v>
                </c:pt>
                <c:pt idx="4391">
                  <c:v>3.0434492528411478E-2</c:v>
                </c:pt>
                <c:pt idx="4392">
                  <c:v>3.0262505689919481E-2</c:v>
                </c:pt>
                <c:pt idx="4393">
                  <c:v>2.9968490139175092E-2</c:v>
                </c:pt>
                <c:pt idx="4394">
                  <c:v>2.9361571672445304E-2</c:v>
                </c:pt>
                <c:pt idx="4395">
                  <c:v>2.8858483000674538E-2</c:v>
                </c:pt>
                <c:pt idx="4396">
                  <c:v>2.8117348237594007E-2</c:v>
                </c:pt>
                <c:pt idx="4397">
                  <c:v>2.7333783058596049E-2</c:v>
                </c:pt>
                <c:pt idx="4398">
                  <c:v>2.6918236024864352E-2</c:v>
                </c:pt>
                <c:pt idx="4399">
                  <c:v>2.6586338208263248E-2</c:v>
                </c:pt>
                <c:pt idx="4400">
                  <c:v>2.6081785897663044E-2</c:v>
                </c:pt>
                <c:pt idx="4401">
                  <c:v>2.6022622101052814E-2</c:v>
                </c:pt>
                <c:pt idx="4402">
                  <c:v>2.6049352785930572E-2</c:v>
                </c:pt>
                <c:pt idx="4403">
                  <c:v>2.6425062111497571E-2</c:v>
                </c:pt>
                <c:pt idx="4404">
                  <c:v>2.695678809809629E-2</c:v>
                </c:pt>
                <c:pt idx="4405">
                  <c:v>2.7281731504922278E-2</c:v>
                </c:pt>
                <c:pt idx="4406">
                  <c:v>2.7353578479380688E-2</c:v>
                </c:pt>
                <c:pt idx="4407">
                  <c:v>2.8039065136810353E-2</c:v>
                </c:pt>
                <c:pt idx="4408">
                  <c:v>2.837029786467285E-2</c:v>
                </c:pt>
                <c:pt idx="4409">
                  <c:v>2.8549802390185806E-2</c:v>
                </c:pt>
                <c:pt idx="4410">
                  <c:v>2.8410294526639356E-2</c:v>
                </c:pt>
                <c:pt idx="4411">
                  <c:v>2.8308804511572087E-2</c:v>
                </c:pt>
                <c:pt idx="4412">
                  <c:v>2.812189906074572E-2</c:v>
                </c:pt>
                <c:pt idx="4413">
                  <c:v>2.7940266814632748E-2</c:v>
                </c:pt>
                <c:pt idx="4414">
                  <c:v>2.7784244462495042E-2</c:v>
                </c:pt>
                <c:pt idx="4415">
                  <c:v>2.7657836358804175E-2</c:v>
                </c:pt>
                <c:pt idx="4416">
                  <c:v>2.7498672477810487E-2</c:v>
                </c:pt>
                <c:pt idx="4417">
                  <c:v>2.7258080016807795E-2</c:v>
                </c:pt>
                <c:pt idx="4418">
                  <c:v>2.6887748089141562E-2</c:v>
                </c:pt>
                <c:pt idx="4419">
                  <c:v>2.6739151463319573E-2</c:v>
                </c:pt>
                <c:pt idx="4420">
                  <c:v>2.6459084757257997E-2</c:v>
                </c:pt>
                <c:pt idx="4421">
                  <c:v>2.5901195218599037E-2</c:v>
                </c:pt>
                <c:pt idx="4422">
                  <c:v>2.5978522015764813E-2</c:v>
                </c:pt>
                <c:pt idx="4423">
                  <c:v>2.572421862391033E-2</c:v>
                </c:pt>
                <c:pt idx="4424">
                  <c:v>2.530084900119833E-2</c:v>
                </c:pt>
                <c:pt idx="4425">
                  <c:v>2.5342205623341257E-2</c:v>
                </c:pt>
                <c:pt idx="4426">
                  <c:v>2.5274098996742038E-2</c:v>
                </c:pt>
                <c:pt idx="4427">
                  <c:v>2.5153200381281673E-2</c:v>
                </c:pt>
                <c:pt idx="4428">
                  <c:v>2.4701472395483943E-2</c:v>
                </c:pt>
                <c:pt idx="4429">
                  <c:v>2.4548830826469043E-2</c:v>
                </c:pt>
                <c:pt idx="4430">
                  <c:v>2.42750691149776E-2</c:v>
                </c:pt>
                <c:pt idx="4431">
                  <c:v>2.4053805921396967E-2</c:v>
                </c:pt>
                <c:pt idx="4432">
                  <c:v>2.3667622372002293E-2</c:v>
                </c:pt>
                <c:pt idx="4433">
                  <c:v>2.3267748795653333E-2</c:v>
                </c:pt>
                <c:pt idx="4434">
                  <c:v>2.317472766906652E-2</c:v>
                </c:pt>
                <c:pt idx="4435">
                  <c:v>2.3209411801155117E-2</c:v>
                </c:pt>
                <c:pt idx="4436">
                  <c:v>2.3195971504984522E-2</c:v>
                </c:pt>
                <c:pt idx="4437">
                  <c:v>2.4253114187606648E-2</c:v>
                </c:pt>
                <c:pt idx="4438">
                  <c:v>2.5095451427892181E-2</c:v>
                </c:pt>
                <c:pt idx="4439">
                  <c:v>2.6335028895842025E-2</c:v>
                </c:pt>
                <c:pt idx="4440">
                  <c:v>2.7643215727899947E-2</c:v>
                </c:pt>
                <c:pt idx="4441">
                  <c:v>2.9125571371170399E-2</c:v>
                </c:pt>
                <c:pt idx="4442">
                  <c:v>3.1088725690283283E-2</c:v>
                </c:pt>
                <c:pt idx="4443">
                  <c:v>3.2759704712732589E-2</c:v>
                </c:pt>
                <c:pt idx="4444">
                  <c:v>3.396676464611114E-2</c:v>
                </c:pt>
                <c:pt idx="4445">
                  <c:v>3.4926906512394537E-2</c:v>
                </c:pt>
                <c:pt idx="4446">
                  <c:v>3.5717850479818916E-2</c:v>
                </c:pt>
                <c:pt idx="4447">
                  <c:v>3.6310304716536991E-2</c:v>
                </c:pt>
                <c:pt idx="4448">
                  <c:v>3.6644008754221469E-2</c:v>
                </c:pt>
                <c:pt idx="4449">
                  <c:v>3.7308990297478979E-2</c:v>
                </c:pt>
                <c:pt idx="4450">
                  <c:v>3.7903995317677741E-2</c:v>
                </c:pt>
                <c:pt idx="4451">
                  <c:v>3.8206599702985636E-2</c:v>
                </c:pt>
                <c:pt idx="4452">
                  <c:v>3.8816675034177933E-2</c:v>
                </c:pt>
                <c:pt idx="4453">
                  <c:v>3.9125673058183083E-2</c:v>
                </c:pt>
                <c:pt idx="4454">
                  <c:v>3.9559334114893076E-2</c:v>
                </c:pt>
                <c:pt idx="4455">
                  <c:v>4.012494278144247E-2</c:v>
                </c:pt>
                <c:pt idx="4456">
                  <c:v>4.0500543269276497E-2</c:v>
                </c:pt>
                <c:pt idx="4457">
                  <c:v>4.0668464028103556E-2</c:v>
                </c:pt>
                <c:pt idx="4458">
                  <c:v>4.0888744236862715E-2</c:v>
                </c:pt>
                <c:pt idx="4459">
                  <c:v>4.0999468417144649E-2</c:v>
                </c:pt>
                <c:pt idx="4460">
                  <c:v>4.087582158991538E-2</c:v>
                </c:pt>
                <c:pt idx="4461">
                  <c:v>4.0342953941422705E-2</c:v>
                </c:pt>
                <c:pt idx="4462">
                  <c:v>3.9828451317750771E-2</c:v>
                </c:pt>
                <c:pt idx="4463">
                  <c:v>3.9123395224686636E-2</c:v>
                </c:pt>
                <c:pt idx="4464">
                  <c:v>3.8598495728489349E-2</c:v>
                </c:pt>
                <c:pt idx="4465">
                  <c:v>3.8054687361974746E-2</c:v>
                </c:pt>
                <c:pt idx="4466">
                  <c:v>3.7331342414294984E-2</c:v>
                </c:pt>
                <c:pt idx="4467">
                  <c:v>3.7033728401654455E-2</c:v>
                </c:pt>
                <c:pt idx="4468">
                  <c:v>3.6350204703226065E-2</c:v>
                </c:pt>
                <c:pt idx="4469">
                  <c:v>3.5954304094163753E-2</c:v>
                </c:pt>
                <c:pt idx="4470">
                  <c:v>3.5562016516886293E-2</c:v>
                </c:pt>
                <c:pt idx="4471">
                  <c:v>3.5255588207844711E-2</c:v>
                </c:pt>
                <c:pt idx="4472">
                  <c:v>3.5291605492690808E-2</c:v>
                </c:pt>
                <c:pt idx="4473">
                  <c:v>3.5161527963696718E-2</c:v>
                </c:pt>
                <c:pt idx="4474">
                  <c:v>3.4885991210355877E-2</c:v>
                </c:pt>
                <c:pt idx="4475">
                  <c:v>3.4363349527124373E-2</c:v>
                </c:pt>
                <c:pt idx="4476">
                  <c:v>3.4027458741273449E-2</c:v>
                </c:pt>
                <c:pt idx="4477">
                  <c:v>3.3411089870275523E-2</c:v>
                </c:pt>
                <c:pt idx="4478">
                  <c:v>3.2423630978101144E-2</c:v>
                </c:pt>
                <c:pt idx="4479">
                  <c:v>3.1875940476963092E-2</c:v>
                </c:pt>
                <c:pt idx="4480">
                  <c:v>3.1354733495421748E-2</c:v>
                </c:pt>
                <c:pt idx="4481">
                  <c:v>3.0700711734868134E-2</c:v>
                </c:pt>
                <c:pt idx="4482">
                  <c:v>2.9891949384392682E-2</c:v>
                </c:pt>
                <c:pt idx="4483">
                  <c:v>2.876708455189236E-2</c:v>
                </c:pt>
                <c:pt idx="4484">
                  <c:v>2.7950184621425851E-2</c:v>
                </c:pt>
                <c:pt idx="4485">
                  <c:v>2.7162286801525378E-2</c:v>
                </c:pt>
                <c:pt idx="4486">
                  <c:v>2.6307433896562635E-2</c:v>
                </c:pt>
                <c:pt idx="4487">
                  <c:v>2.5272140033761544E-2</c:v>
                </c:pt>
                <c:pt idx="4488">
                  <c:v>2.4808732918341972E-2</c:v>
                </c:pt>
                <c:pt idx="4489">
                  <c:v>2.4216567934101187E-2</c:v>
                </c:pt>
                <c:pt idx="4490">
                  <c:v>2.3651922333326646E-2</c:v>
                </c:pt>
                <c:pt idx="4491">
                  <c:v>2.280944309126625E-2</c:v>
                </c:pt>
                <c:pt idx="4492">
                  <c:v>2.2281516681109E-2</c:v>
                </c:pt>
                <c:pt idx="4493">
                  <c:v>2.1871562968903701E-2</c:v>
                </c:pt>
                <c:pt idx="4494">
                  <c:v>2.1886335516723223E-2</c:v>
                </c:pt>
                <c:pt idx="4495">
                  <c:v>2.1794940825781307E-2</c:v>
                </c:pt>
                <c:pt idx="4496">
                  <c:v>2.1717623313609196E-2</c:v>
                </c:pt>
                <c:pt idx="4497">
                  <c:v>2.2302814899223186E-2</c:v>
                </c:pt>
                <c:pt idx="4498">
                  <c:v>2.2620233297772189E-2</c:v>
                </c:pt>
                <c:pt idx="4499">
                  <c:v>2.3062294918448186E-2</c:v>
                </c:pt>
                <c:pt idx="4500">
                  <c:v>2.325067556743388E-2</c:v>
                </c:pt>
                <c:pt idx="4501">
                  <c:v>2.3860300772548661E-2</c:v>
                </c:pt>
                <c:pt idx="4502">
                  <c:v>2.4246939077271667E-2</c:v>
                </c:pt>
                <c:pt idx="4503">
                  <c:v>2.4986955636372696E-2</c:v>
                </c:pt>
                <c:pt idx="4504">
                  <c:v>2.5944669574433463E-2</c:v>
                </c:pt>
                <c:pt idx="4505">
                  <c:v>2.6791254703772298E-2</c:v>
                </c:pt>
                <c:pt idx="4506">
                  <c:v>2.7852709250987422E-2</c:v>
                </c:pt>
                <c:pt idx="4507">
                  <c:v>2.8719510465435024E-2</c:v>
                </c:pt>
                <c:pt idx="4508">
                  <c:v>2.9349363731660711E-2</c:v>
                </c:pt>
                <c:pt idx="4509">
                  <c:v>3.0119373780288519E-2</c:v>
                </c:pt>
                <c:pt idx="4510">
                  <c:v>3.0574582316750466E-2</c:v>
                </c:pt>
                <c:pt idx="4511">
                  <c:v>3.0935106577369906E-2</c:v>
                </c:pt>
                <c:pt idx="4512">
                  <c:v>3.1277287824197836E-2</c:v>
                </c:pt>
                <c:pt idx="4513">
                  <c:v>3.3393753192288093E-2</c:v>
                </c:pt>
                <c:pt idx="4514">
                  <c:v>3.5647214306306491E-2</c:v>
                </c:pt>
                <c:pt idx="4515">
                  <c:v>3.7373945942300361E-2</c:v>
                </c:pt>
                <c:pt idx="4516">
                  <c:v>3.8712776201317224E-2</c:v>
                </c:pt>
                <c:pt idx="4517">
                  <c:v>3.9560806543616045E-2</c:v>
                </c:pt>
                <c:pt idx="4518">
                  <c:v>4.0360833560342195E-2</c:v>
                </c:pt>
                <c:pt idx="4519">
                  <c:v>4.0806038718941791E-2</c:v>
                </c:pt>
                <c:pt idx="4520">
                  <c:v>4.1090048631178364E-2</c:v>
                </c:pt>
                <c:pt idx="4521">
                  <c:v>4.1652821437769161E-2</c:v>
                </c:pt>
                <c:pt idx="4522">
                  <c:v>4.1950830086827297E-2</c:v>
                </c:pt>
                <c:pt idx="4523">
                  <c:v>4.1810784328816339E-2</c:v>
                </c:pt>
                <c:pt idx="4524">
                  <c:v>4.1350179477042358E-2</c:v>
                </c:pt>
                <c:pt idx="4525">
                  <c:v>4.0461765585195049E-2</c:v>
                </c:pt>
                <c:pt idx="4526">
                  <c:v>3.9239381265658332E-2</c:v>
                </c:pt>
                <c:pt idx="4527">
                  <c:v>3.8375256856367883E-2</c:v>
                </c:pt>
                <c:pt idx="4528">
                  <c:v>3.7131940630422619E-2</c:v>
                </c:pt>
                <c:pt idx="4529">
                  <c:v>3.5770792433536043E-2</c:v>
                </c:pt>
                <c:pt idx="4530">
                  <c:v>3.3990208243403694E-2</c:v>
                </c:pt>
                <c:pt idx="4531">
                  <c:v>3.2443378480118322E-2</c:v>
                </c:pt>
                <c:pt idx="4532">
                  <c:v>3.0627105598291612E-2</c:v>
                </c:pt>
                <c:pt idx="4533">
                  <c:v>2.9031112013422379E-2</c:v>
                </c:pt>
                <c:pt idx="4534">
                  <c:v>2.7472269691283406E-2</c:v>
                </c:pt>
                <c:pt idx="4535">
                  <c:v>2.5844196315817535E-2</c:v>
                </c:pt>
                <c:pt idx="4536">
                  <c:v>2.4185685981423333E-2</c:v>
                </c:pt>
                <c:pt idx="4537">
                  <c:v>2.2313661216664758E-2</c:v>
                </c:pt>
                <c:pt idx="4538">
                  <c:v>2.0215479931243358E-2</c:v>
                </c:pt>
                <c:pt idx="4539">
                  <c:v>1.80222981524625E-2</c:v>
                </c:pt>
                <c:pt idx="4540">
                  <c:v>1.5278729697181387E-2</c:v>
                </c:pt>
                <c:pt idx="4541">
                  <c:v>1.2144398156176522E-2</c:v>
                </c:pt>
                <c:pt idx="4542">
                  <c:v>7.8195033693744115E-3</c:v>
                </c:pt>
                <c:pt idx="4543">
                  <c:v>6.9418555667075813E-3</c:v>
                </c:pt>
                <c:pt idx="4544">
                  <c:v>6.5008984564922448E-3</c:v>
                </c:pt>
                <c:pt idx="4545">
                  <c:v>5.9825213763000486E-3</c:v>
                </c:pt>
                <c:pt idx="4546">
                  <c:v>5.3643843598703451E-3</c:v>
                </c:pt>
                <c:pt idx="4547">
                  <c:v>4.6003840881055566E-3</c:v>
                </c:pt>
                <c:pt idx="4548">
                  <c:v>3.8387060833513487E-3</c:v>
                </c:pt>
                <c:pt idx="4549">
                  <c:v>2.8088458764250058E-3</c:v>
                </c:pt>
                <c:pt idx="4550">
                  <c:v>7.4327536114516374E-4</c:v>
                </c:pt>
                <c:pt idx="4551">
                  <c:v>4.1225710226152343E-4</c:v>
                </c:pt>
                <c:pt idx="4552">
                  <c:v>4.2252154579296332E-4</c:v>
                </c:pt>
                <c:pt idx="4553">
                  <c:v>4.3056518346668813E-4</c:v>
                </c:pt>
                <c:pt idx="4554">
                  <c:v>4.4263553783022071E-4</c:v>
                </c:pt>
                <c:pt idx="4555">
                  <c:v>4.5753983865697332E-4</c:v>
                </c:pt>
                <c:pt idx="4556">
                  <c:v>4.7060519613790564E-4</c:v>
                </c:pt>
                <c:pt idx="4557">
                  <c:v>4.7973912170463858E-4</c:v>
                </c:pt>
                <c:pt idx="4558">
                  <c:v>4.9941743211257016E-4</c:v>
                </c:pt>
                <c:pt idx="4559">
                  <c:v>5.1888189822693045E-4</c:v>
                </c:pt>
                <c:pt idx="4560">
                  <c:v>5.3849533346263148E-4</c:v>
                </c:pt>
                <c:pt idx="4561">
                  <c:v>5.5893043588994189E-4</c:v>
                </c:pt>
                <c:pt idx="4562">
                  <c:v>5.743647773636234E-4</c:v>
                </c:pt>
                <c:pt idx="4563">
                  <c:v>5.9545197185660007E-4</c:v>
                </c:pt>
                <c:pt idx="4564">
                  <c:v>6.1449286221170862E-4</c:v>
                </c:pt>
                <c:pt idx="4565">
                  <c:v>6.2991961303144781E-4</c:v>
                </c:pt>
                <c:pt idx="4566">
                  <c:v>6.4258179169775361E-4</c:v>
                </c:pt>
                <c:pt idx="4567">
                  <c:v>6.5008009853944682E-4</c:v>
                </c:pt>
                <c:pt idx="4568">
                  <c:v>6.5856127664223343E-4</c:v>
                </c:pt>
                <c:pt idx="4569">
                  <c:v>6.6045579322198235E-4</c:v>
                </c:pt>
                <c:pt idx="4570">
                  <c:v>6.5985495823540224E-4</c:v>
                </c:pt>
                <c:pt idx="4571">
                  <c:v>6.6455314810860548E-4</c:v>
                </c:pt>
                <c:pt idx="4572">
                  <c:v>6.6543888465566152E-4</c:v>
                </c:pt>
                <c:pt idx="4573">
                  <c:v>6.6461555137014672E-4</c:v>
                </c:pt>
                <c:pt idx="4574">
                  <c:v>6.6723215096211208E-4</c:v>
                </c:pt>
                <c:pt idx="4575">
                  <c:v>6.7151277461131528E-4</c:v>
                </c:pt>
                <c:pt idx="4576">
                  <c:v>6.7976171634278367E-4</c:v>
                </c:pt>
                <c:pt idx="4577">
                  <c:v>6.8691974856063126E-4</c:v>
                </c:pt>
                <c:pt idx="4578">
                  <c:v>6.9699502356683181E-4</c:v>
                </c:pt>
                <c:pt idx="4579">
                  <c:v>7.0087288181745722E-4</c:v>
                </c:pt>
                <c:pt idx="4580">
                  <c:v>6.9712838902867666E-4</c:v>
                </c:pt>
                <c:pt idx="4581">
                  <c:v>6.9258063763711492E-4</c:v>
                </c:pt>
                <c:pt idx="4582">
                  <c:v>6.8476466532781262E-4</c:v>
                </c:pt>
                <c:pt idx="4583">
                  <c:v>6.7690170930607063E-4</c:v>
                </c:pt>
                <c:pt idx="4584">
                  <c:v>6.7086565296507489E-4</c:v>
                </c:pt>
                <c:pt idx="4585">
                  <c:v>6.6766232795478666E-4</c:v>
                </c:pt>
                <c:pt idx="4586">
                  <c:v>6.6743602044938002E-4</c:v>
                </c:pt>
                <c:pt idx="4587">
                  <c:v>6.7792190140731191E-4</c:v>
                </c:pt>
                <c:pt idx="4588">
                  <c:v>6.9482540927744412E-4</c:v>
                </c:pt>
                <c:pt idx="4589">
                  <c:v>7.1157367543478705E-4</c:v>
                </c:pt>
                <c:pt idx="4590">
                  <c:v>7.2288029973455951E-4</c:v>
                </c:pt>
                <c:pt idx="4591">
                  <c:v>7.3399346177542232E-4</c:v>
                </c:pt>
                <c:pt idx="4592">
                  <c:v>7.4655109181838528E-4</c:v>
                </c:pt>
                <c:pt idx="4593">
                  <c:v>7.573243683757807E-4</c:v>
                </c:pt>
                <c:pt idx="4594">
                  <c:v>7.6766289215983181E-4</c:v>
                </c:pt>
                <c:pt idx="4595">
                  <c:v>7.7173161823536319E-4</c:v>
                </c:pt>
                <c:pt idx="4596">
                  <c:v>7.6952622614474722E-4</c:v>
                </c:pt>
                <c:pt idx="4597">
                  <c:v>7.6035818501645901E-4</c:v>
                </c:pt>
                <c:pt idx="4598">
                  <c:v>7.5087351541518296E-4</c:v>
                </c:pt>
                <c:pt idx="4599">
                  <c:v>7.3279887101992426E-4</c:v>
                </c:pt>
                <c:pt idx="4600">
                  <c:v>7.1125602654861287E-4</c:v>
                </c:pt>
                <c:pt idx="4601">
                  <c:v>7.0095179480548868E-4</c:v>
                </c:pt>
                <c:pt idx="4602">
                  <c:v>6.91394329748075E-4</c:v>
                </c:pt>
                <c:pt idx="4603">
                  <c:v>6.7686218436442919E-4</c:v>
                </c:pt>
                <c:pt idx="4604">
                  <c:v>6.6196191305222928E-4</c:v>
                </c:pt>
                <c:pt idx="4605">
                  <c:v>6.4819152995565716E-4</c:v>
                </c:pt>
                <c:pt idx="4606">
                  <c:v>6.3860895181770184E-4</c:v>
                </c:pt>
                <c:pt idx="4607">
                  <c:v>6.3002952996892958E-4</c:v>
                </c:pt>
                <c:pt idx="4608">
                  <c:v>6.2378994660069965E-4</c:v>
                </c:pt>
                <c:pt idx="4609">
                  <c:v>6.324058103411432E-4</c:v>
                </c:pt>
                <c:pt idx="4610">
                  <c:v>6.3219577097508618E-4</c:v>
                </c:pt>
                <c:pt idx="4611">
                  <c:v>6.3023147865984275E-4</c:v>
                </c:pt>
                <c:pt idx="4612">
                  <c:v>6.1826101988654504E-4</c:v>
                </c:pt>
                <c:pt idx="4613">
                  <c:v>6.0505405667520852E-4</c:v>
                </c:pt>
                <c:pt idx="4614">
                  <c:v>5.8999217889975017E-4</c:v>
                </c:pt>
                <c:pt idx="4615">
                  <c:v>5.8266261119529887E-4</c:v>
                </c:pt>
                <c:pt idx="4616">
                  <c:v>5.7554419403135759E-4</c:v>
                </c:pt>
                <c:pt idx="4617">
                  <c:v>5.8272862725556023E-4</c:v>
                </c:pt>
                <c:pt idx="4618">
                  <c:v>5.8753562672815812E-4</c:v>
                </c:pt>
                <c:pt idx="4619">
                  <c:v>5.9000397647649663E-4</c:v>
                </c:pt>
                <c:pt idx="4620">
                  <c:v>5.8848319013999283E-4</c:v>
                </c:pt>
                <c:pt idx="4621">
                  <c:v>5.8367642137719397E-4</c:v>
                </c:pt>
                <c:pt idx="4622">
                  <c:v>5.8475589686280685E-4</c:v>
                </c:pt>
                <c:pt idx="4623">
                  <c:v>5.8339593310567336E-4</c:v>
                </c:pt>
                <c:pt idx="4624">
                  <c:v>5.8398158329101512E-4</c:v>
                </c:pt>
                <c:pt idx="4625">
                  <c:v>5.7968038773037369E-4</c:v>
                </c:pt>
                <c:pt idx="4626">
                  <c:v>5.7094302700281445E-4</c:v>
                </c:pt>
                <c:pt idx="4627">
                  <c:v>5.5866828001477841E-4</c:v>
                </c:pt>
                <c:pt idx="4628">
                  <c:v>5.4404682594272162E-4</c:v>
                </c:pt>
                <c:pt idx="4629">
                  <c:v>5.2625400146125482E-4</c:v>
                </c:pt>
                <c:pt idx="4630">
                  <c:v>5.0180852257725509E-4</c:v>
                </c:pt>
                <c:pt idx="4631">
                  <c:v>4.8178395892471096E-4</c:v>
                </c:pt>
                <c:pt idx="4632">
                  <c:v>4.6774707711588623E-4</c:v>
                </c:pt>
                <c:pt idx="4633">
                  <c:v>4.5644897653975317E-4</c:v>
                </c:pt>
                <c:pt idx="4634">
                  <c:v>4.3986042181066266E-4</c:v>
                </c:pt>
                <c:pt idx="4635">
                  <c:v>4.1981239008803299E-4</c:v>
                </c:pt>
                <c:pt idx="4636">
                  <c:v>3.9019501966198604E-4</c:v>
                </c:pt>
                <c:pt idx="4637">
                  <c:v>3.6848173520277907E-4</c:v>
                </c:pt>
                <c:pt idx="4638">
                  <c:v>3.5063954152755568E-4</c:v>
                </c:pt>
                <c:pt idx="4639">
                  <c:v>3.5837038369102931E-4</c:v>
                </c:pt>
                <c:pt idx="4640">
                  <c:v>3.629449321714007E-4</c:v>
                </c:pt>
                <c:pt idx="4641">
                  <c:v>3.663528617234076E-4</c:v>
                </c:pt>
                <c:pt idx="4642">
                  <c:v>3.6736437262847475E-4</c:v>
                </c:pt>
                <c:pt idx="4643">
                  <c:v>3.7402094817393599E-4</c:v>
                </c:pt>
                <c:pt idx="4644">
                  <c:v>3.791814569838521E-4</c:v>
                </c:pt>
                <c:pt idx="4645">
                  <c:v>3.964539084156358E-4</c:v>
                </c:pt>
                <c:pt idx="4646">
                  <c:v>4.1020044831389398E-4</c:v>
                </c:pt>
                <c:pt idx="4647">
                  <c:v>4.3734695372846466E-4</c:v>
                </c:pt>
                <c:pt idx="4648">
                  <c:v>4.5922468079394427E-4</c:v>
                </c:pt>
                <c:pt idx="4649">
                  <c:v>4.745082740142489E-4</c:v>
                </c:pt>
                <c:pt idx="4650">
                  <c:v>4.8786032270167154E-4</c:v>
                </c:pt>
                <c:pt idx="4651">
                  <c:v>4.9681673744361645E-4</c:v>
                </c:pt>
                <c:pt idx="4652">
                  <c:v>5.0664832756506563E-4</c:v>
                </c:pt>
                <c:pt idx="4653">
                  <c:v>5.1387820009276099E-4</c:v>
                </c:pt>
                <c:pt idx="4654">
                  <c:v>5.2131199698295376E-4</c:v>
                </c:pt>
                <c:pt idx="4655">
                  <c:v>5.2664315050973828E-4</c:v>
                </c:pt>
                <c:pt idx="4656">
                  <c:v>5.2889069441054129E-4</c:v>
                </c:pt>
                <c:pt idx="4657">
                  <c:v>5.2631381702127002E-4</c:v>
                </c:pt>
                <c:pt idx="4658">
                  <c:v>5.2394467307858043E-4</c:v>
                </c:pt>
                <c:pt idx="4659">
                  <c:v>5.1979655510320016E-4</c:v>
                </c:pt>
                <c:pt idx="4660">
                  <c:v>5.0949813386652501E-4</c:v>
                </c:pt>
                <c:pt idx="4661">
                  <c:v>4.949562452667486E-4</c:v>
                </c:pt>
                <c:pt idx="4662">
                  <c:v>4.8931887546363776E-4</c:v>
                </c:pt>
                <c:pt idx="4663">
                  <c:v>4.8948756754287471E-4</c:v>
                </c:pt>
                <c:pt idx="4664">
                  <c:v>4.8728894121608164E-4</c:v>
                </c:pt>
                <c:pt idx="4665">
                  <c:v>4.8278188047834052E-4</c:v>
                </c:pt>
                <c:pt idx="4666">
                  <c:v>4.7625586670943558E-4</c:v>
                </c:pt>
                <c:pt idx="4667">
                  <c:v>4.6941242288663332E-4</c:v>
                </c:pt>
                <c:pt idx="4668">
                  <c:v>4.586564438064696E-4</c:v>
                </c:pt>
                <c:pt idx="4669">
                  <c:v>4.4900643036939713E-4</c:v>
                </c:pt>
                <c:pt idx="4670">
                  <c:v>4.3896344477791324E-4</c:v>
                </c:pt>
                <c:pt idx="4671">
                  <c:v>4.2547880588725826E-4</c:v>
                </c:pt>
                <c:pt idx="4672">
                  <c:v>4.0906846229867596E-4</c:v>
                </c:pt>
                <c:pt idx="4673">
                  <c:v>3.9814975174941308E-4</c:v>
                </c:pt>
                <c:pt idx="4674">
                  <c:v>3.8578707979598353E-4</c:v>
                </c:pt>
                <c:pt idx="4675">
                  <c:v>3.7642440650824545E-4</c:v>
                </c:pt>
                <c:pt idx="4676">
                  <c:v>3.6347094451838214E-4</c:v>
                </c:pt>
                <c:pt idx="4677">
                  <c:v>3.7255070547280054E-4</c:v>
                </c:pt>
                <c:pt idx="4678">
                  <c:v>3.8520692221997343E-4</c:v>
                </c:pt>
                <c:pt idx="4679">
                  <c:v>3.9255910683934608E-4</c:v>
                </c:pt>
                <c:pt idx="4680">
                  <c:v>3.9823552671506705E-4</c:v>
                </c:pt>
                <c:pt idx="4681">
                  <c:v>4.0281381657026466E-4</c:v>
                </c:pt>
                <c:pt idx="4682">
                  <c:v>4.1210918438990847E-4</c:v>
                </c:pt>
                <c:pt idx="4683">
                  <c:v>4.1697304302303436E-4</c:v>
                </c:pt>
                <c:pt idx="4684">
                  <c:v>4.2732207670272224E-4</c:v>
                </c:pt>
                <c:pt idx="4685">
                  <c:v>4.5293448871386739E-4</c:v>
                </c:pt>
                <c:pt idx="4686">
                  <c:v>4.7395767518832957E-4</c:v>
                </c:pt>
                <c:pt idx="4687">
                  <c:v>4.8948150032871568E-4</c:v>
                </c:pt>
                <c:pt idx="4688">
                  <c:v>5.0315997252078134E-4</c:v>
                </c:pt>
                <c:pt idx="4689">
                  <c:v>5.2391254023803548E-4</c:v>
                </c:pt>
                <c:pt idx="4690">
                  <c:v>5.3851090368056697E-4</c:v>
                </c:pt>
                <c:pt idx="4691">
                  <c:v>5.5150715098430331E-4</c:v>
                </c:pt>
                <c:pt idx="4692">
                  <c:v>5.7304729891753713E-4</c:v>
                </c:pt>
                <c:pt idx="4693">
                  <c:v>5.8989726860995202E-4</c:v>
                </c:pt>
                <c:pt idx="4694">
                  <c:v>6.1216102425750308E-4</c:v>
                </c:pt>
                <c:pt idx="4695">
                  <c:v>6.3188929053847962E-4</c:v>
                </c:pt>
                <c:pt idx="4696">
                  <c:v>6.5025417297337853E-4</c:v>
                </c:pt>
                <c:pt idx="4697">
                  <c:v>6.6313320499600378E-4</c:v>
                </c:pt>
                <c:pt idx="4698">
                  <c:v>6.7045925690248462E-4</c:v>
                </c:pt>
                <c:pt idx="4699">
                  <c:v>6.7851220076349766E-4</c:v>
                </c:pt>
                <c:pt idx="4700">
                  <c:v>6.8830121093270424E-4</c:v>
                </c:pt>
                <c:pt idx="4701">
                  <c:v>6.9817949747421834E-4</c:v>
                </c:pt>
                <c:pt idx="4702">
                  <c:v>7.0346367941434475E-4</c:v>
                </c:pt>
                <c:pt idx="4703">
                  <c:v>7.0579582287600936E-4</c:v>
                </c:pt>
                <c:pt idx="4704">
                  <c:v>7.0865905517543024E-4</c:v>
                </c:pt>
                <c:pt idx="4705">
                  <c:v>7.0888530067862905E-4</c:v>
                </c:pt>
                <c:pt idx="4706">
                  <c:v>7.0062637063549624E-4</c:v>
                </c:pt>
                <c:pt idx="4707">
                  <c:v>6.9954577023374688E-4</c:v>
                </c:pt>
                <c:pt idx="4708">
                  <c:v>7.0083675824883756E-4</c:v>
                </c:pt>
                <c:pt idx="4709">
                  <c:v>7.014237255875621E-4</c:v>
                </c:pt>
                <c:pt idx="4710">
                  <c:v>6.9682802552738297E-4</c:v>
                </c:pt>
                <c:pt idx="4711">
                  <c:v>6.8756600721259513E-4</c:v>
                </c:pt>
                <c:pt idx="4712">
                  <c:v>6.8037847325694626E-4</c:v>
                </c:pt>
                <c:pt idx="4713">
                  <c:v>6.7025149785164366E-4</c:v>
                </c:pt>
                <c:pt idx="4714">
                  <c:v>6.5775500752868318E-4</c:v>
                </c:pt>
                <c:pt idx="4715">
                  <c:v>6.5840990341492793E-4</c:v>
                </c:pt>
                <c:pt idx="4716">
                  <c:v>6.5400955075225564E-4</c:v>
                </c:pt>
                <c:pt idx="4717">
                  <c:v>6.4970800554195538E-4</c:v>
                </c:pt>
                <c:pt idx="4718">
                  <c:v>6.3680548631806844E-4</c:v>
                </c:pt>
                <c:pt idx="4719">
                  <c:v>6.3250534133622264E-4</c:v>
                </c:pt>
                <c:pt idx="4720">
                  <c:v>6.2655215577342536E-4</c:v>
                </c:pt>
                <c:pt idx="4721">
                  <c:v>6.2389059307789028E-4</c:v>
                </c:pt>
                <c:pt idx="4722">
                  <c:v>6.2233737894945541E-4</c:v>
                </c:pt>
                <c:pt idx="4723">
                  <c:v>6.1965262181387236E-4</c:v>
                </c:pt>
                <c:pt idx="4724">
                  <c:v>6.2186922693727533E-4</c:v>
                </c:pt>
                <c:pt idx="4725">
                  <c:v>6.2068210046103576E-4</c:v>
                </c:pt>
                <c:pt idx="4726">
                  <c:v>6.1598006010407235E-4</c:v>
                </c:pt>
                <c:pt idx="4727">
                  <c:v>6.058800063717492E-4</c:v>
                </c:pt>
                <c:pt idx="4728">
                  <c:v>5.8944419477300215E-4</c:v>
                </c:pt>
                <c:pt idx="4729">
                  <c:v>5.8024709013231057E-4</c:v>
                </c:pt>
                <c:pt idx="4730">
                  <c:v>5.6827402744501741E-4</c:v>
                </c:pt>
                <c:pt idx="4731">
                  <c:v>5.6152432504624923E-4</c:v>
                </c:pt>
                <c:pt idx="4732">
                  <c:v>5.5128686665315593E-4</c:v>
                </c:pt>
                <c:pt idx="4733">
                  <c:v>5.414491544808212E-4</c:v>
                </c:pt>
                <c:pt idx="4734">
                  <c:v>5.3369874109067579E-4</c:v>
                </c:pt>
                <c:pt idx="4735">
                  <c:v>5.3143396187262896E-4</c:v>
                </c:pt>
                <c:pt idx="4736">
                  <c:v>5.2563274188972234E-4</c:v>
                </c:pt>
                <c:pt idx="4737">
                  <c:v>5.2240854892406205E-4</c:v>
                </c:pt>
                <c:pt idx="4738">
                  <c:v>5.1830867319070987E-4</c:v>
                </c:pt>
                <c:pt idx="4739">
                  <c:v>5.1992466936608237E-4</c:v>
                </c:pt>
                <c:pt idx="4740">
                  <c:v>5.1820774590086063E-4</c:v>
                </c:pt>
                <c:pt idx="4741">
                  <c:v>5.1272233415892814E-4</c:v>
                </c:pt>
                <c:pt idx="4742">
                  <c:v>5.0711070911613708E-4</c:v>
                </c:pt>
                <c:pt idx="4743">
                  <c:v>5.0159672698505482E-4</c:v>
                </c:pt>
                <c:pt idx="4744">
                  <c:v>5.0088805897464733E-4</c:v>
                </c:pt>
                <c:pt idx="4745">
                  <c:v>5.1246646016238058E-4</c:v>
                </c:pt>
                <c:pt idx="4746">
                  <c:v>5.1856705497913143E-4</c:v>
                </c:pt>
                <c:pt idx="4747">
                  <c:v>5.3398570374692277E-4</c:v>
                </c:pt>
                <c:pt idx="4748">
                  <c:v>5.4403275994744391E-4</c:v>
                </c:pt>
                <c:pt idx="4749">
                  <c:v>5.510625810609106E-4</c:v>
                </c:pt>
                <c:pt idx="4750">
                  <c:v>5.6885255440510549E-4</c:v>
                </c:pt>
                <c:pt idx="4751">
                  <c:v>5.9225899153074251E-4</c:v>
                </c:pt>
                <c:pt idx="4752">
                  <c:v>6.1025025930407334E-4</c:v>
                </c:pt>
                <c:pt idx="4753">
                  <c:v>6.2557252684570088E-4</c:v>
                </c:pt>
                <c:pt idx="4754">
                  <c:v>6.3697441268351725E-4</c:v>
                </c:pt>
                <c:pt idx="4755">
                  <c:v>6.4190488894894787E-4</c:v>
                </c:pt>
                <c:pt idx="4756">
                  <c:v>6.4086277011060849E-4</c:v>
                </c:pt>
                <c:pt idx="4757">
                  <c:v>6.4385602883166139E-4</c:v>
                </c:pt>
                <c:pt idx="4758">
                  <c:v>6.4025864464856597E-4</c:v>
                </c:pt>
                <c:pt idx="4759">
                  <c:v>6.3798487323808478E-4</c:v>
                </c:pt>
                <c:pt idx="4760">
                  <c:v>6.2964534175927156E-4</c:v>
                </c:pt>
                <c:pt idx="4761">
                  <c:v>6.212406438040306E-4</c:v>
                </c:pt>
                <c:pt idx="4762">
                  <c:v>6.1365019956737888E-4</c:v>
                </c:pt>
                <c:pt idx="4763">
                  <c:v>6.0624974692024408E-4</c:v>
                </c:pt>
                <c:pt idx="4764">
                  <c:v>5.9274653582039956E-4</c:v>
                </c:pt>
                <c:pt idx="4765">
                  <c:v>5.8250171130588163E-4</c:v>
                </c:pt>
                <c:pt idx="4766">
                  <c:v>5.6956574248235876E-4</c:v>
                </c:pt>
                <c:pt idx="4767">
                  <c:v>5.5740626935638494E-4</c:v>
                </c:pt>
                <c:pt idx="4768">
                  <c:v>5.4136750015958601E-4</c:v>
                </c:pt>
                <c:pt idx="4769">
                  <c:v>5.2509017696685618E-4</c:v>
                </c:pt>
                <c:pt idx="4770">
                  <c:v>5.0365017367983073E-4</c:v>
                </c:pt>
                <c:pt idx="4771">
                  <c:v>4.7971566345926753E-4</c:v>
                </c:pt>
                <c:pt idx="4772">
                  <c:v>4.5095599920887819E-4</c:v>
                </c:pt>
                <c:pt idx="4773">
                  <c:v>4.1733346238285757E-4</c:v>
                </c:pt>
                <c:pt idx="4774">
                  <c:v>3.9310053507017861E-4</c:v>
                </c:pt>
                <c:pt idx="4775">
                  <c:v>3.8339231193049785E-4</c:v>
                </c:pt>
                <c:pt idx="4776">
                  <c:v>3.7006083680051632E-4</c:v>
                </c:pt>
                <c:pt idx="4777">
                  <c:v>3.7016982364649573E-4</c:v>
                </c:pt>
                <c:pt idx="4778">
                  <c:v>3.7451359658240184E-4</c:v>
                </c:pt>
                <c:pt idx="4779">
                  <c:v>3.7187015149858652E-4</c:v>
                </c:pt>
                <c:pt idx="4780">
                  <c:v>3.772484800346642E-4</c:v>
                </c:pt>
                <c:pt idx="4781">
                  <c:v>3.9376267585035742E-4</c:v>
                </c:pt>
                <c:pt idx="4782">
                  <c:v>4.1477157987461364E-4</c:v>
                </c:pt>
                <c:pt idx="4783">
                  <c:v>4.3526412564990366E-4</c:v>
                </c:pt>
                <c:pt idx="4784">
                  <c:v>4.5153823533043268E-4</c:v>
                </c:pt>
                <c:pt idx="4785">
                  <c:v>4.6144312576546474E-4</c:v>
                </c:pt>
                <c:pt idx="4786">
                  <c:v>4.6708752196264675E-4</c:v>
                </c:pt>
                <c:pt idx="4787">
                  <c:v>4.8965420088365125E-4</c:v>
                </c:pt>
                <c:pt idx="4788">
                  <c:v>5.071466721648716E-4</c:v>
                </c:pt>
                <c:pt idx="4789">
                  <c:v>5.3469831044628382E-4</c:v>
                </c:pt>
                <c:pt idx="4790">
                  <c:v>5.7020658652630297E-4</c:v>
                </c:pt>
                <c:pt idx="4791">
                  <c:v>6.1346642453227165E-4</c:v>
                </c:pt>
                <c:pt idx="4792">
                  <c:v>6.5198153321678197E-4</c:v>
                </c:pt>
                <c:pt idx="4793">
                  <c:v>6.8673252865758311E-4</c:v>
                </c:pt>
                <c:pt idx="4794">
                  <c:v>7.1541015980715035E-4</c:v>
                </c:pt>
                <c:pt idx="4795">
                  <c:v>7.4193673117250623E-4</c:v>
                </c:pt>
                <c:pt idx="4796">
                  <c:v>7.7344129625188287E-4</c:v>
                </c:pt>
                <c:pt idx="4797">
                  <c:v>7.9859142337893019E-4</c:v>
                </c:pt>
                <c:pt idx="4798">
                  <c:v>8.1576008110466856E-4</c:v>
                </c:pt>
                <c:pt idx="4799">
                  <c:v>8.3266589939685811E-4</c:v>
                </c:pt>
                <c:pt idx="4800">
                  <c:v>8.4248743719838909E-4</c:v>
                </c:pt>
                <c:pt idx="4801">
                  <c:v>8.4747796637409285E-4</c:v>
                </c:pt>
                <c:pt idx="4802">
                  <c:v>8.4787466661589593E-4</c:v>
                </c:pt>
                <c:pt idx="4803">
                  <c:v>8.4500351458206477E-4</c:v>
                </c:pt>
                <c:pt idx="4804">
                  <c:v>8.3597748918216495E-4</c:v>
                </c:pt>
                <c:pt idx="4805">
                  <c:v>8.2490334449005528E-4</c:v>
                </c:pt>
                <c:pt idx="4806">
                  <c:v>8.0909172184407871E-4</c:v>
                </c:pt>
                <c:pt idx="4807">
                  <c:v>7.9857143381329787E-4</c:v>
                </c:pt>
                <c:pt idx="4808">
                  <c:v>7.9232114581461843E-4</c:v>
                </c:pt>
                <c:pt idx="4809">
                  <c:v>7.8432741175096798E-4</c:v>
                </c:pt>
                <c:pt idx="4810">
                  <c:v>7.6853997704965336E-4</c:v>
                </c:pt>
                <c:pt idx="4811">
                  <c:v>7.6384896036235759E-4</c:v>
                </c:pt>
                <c:pt idx="4812">
                  <c:v>7.581637320976908E-4</c:v>
                </c:pt>
                <c:pt idx="4813">
                  <c:v>7.5159419643464564E-4</c:v>
                </c:pt>
                <c:pt idx="4814">
                  <c:v>7.4044285790452217E-4</c:v>
                </c:pt>
                <c:pt idx="4815">
                  <c:v>7.1996901817240281E-4</c:v>
                </c:pt>
                <c:pt idx="4816">
                  <c:v>6.942947837039942E-4</c:v>
                </c:pt>
                <c:pt idx="4817">
                  <c:v>6.7422228311077759E-4</c:v>
                </c:pt>
                <c:pt idx="4818">
                  <c:v>6.520984218672288E-4</c:v>
                </c:pt>
                <c:pt idx="4819">
                  <c:v>6.3701431248440422E-4</c:v>
                </c:pt>
                <c:pt idx="4820">
                  <c:v>6.2774276222523305E-4</c:v>
                </c:pt>
                <c:pt idx="4821">
                  <c:v>6.3345446477267627E-4</c:v>
                </c:pt>
                <c:pt idx="4822">
                  <c:v>6.3366764574408806E-4</c:v>
                </c:pt>
                <c:pt idx="4823">
                  <c:v>6.3483587728468613E-4</c:v>
                </c:pt>
                <c:pt idx="4824">
                  <c:v>6.3081480326155465E-4</c:v>
                </c:pt>
                <c:pt idx="4825">
                  <c:v>6.2880678173575261E-4</c:v>
                </c:pt>
                <c:pt idx="4826">
                  <c:v>6.3202220243403133E-4</c:v>
                </c:pt>
                <c:pt idx="4827">
                  <c:v>6.3063250131995083E-4</c:v>
                </c:pt>
                <c:pt idx="4828">
                  <c:v>6.2341429092781773E-4</c:v>
                </c:pt>
                <c:pt idx="4829">
                  <c:v>6.1695617218608808E-4</c:v>
                </c:pt>
                <c:pt idx="4830">
                  <c:v>6.0636875854930543E-4</c:v>
                </c:pt>
                <c:pt idx="4831">
                  <c:v>5.9067677228331027E-4</c:v>
                </c:pt>
                <c:pt idx="4832">
                  <c:v>5.8031583801053746E-4</c:v>
                </c:pt>
                <c:pt idx="4833">
                  <c:v>5.6856132887968204E-4</c:v>
                </c:pt>
                <c:pt idx="4834">
                  <c:v>5.548836381956305E-4</c:v>
                </c:pt>
                <c:pt idx="4835">
                  <c:v>5.3484259289366602E-4</c:v>
                </c:pt>
                <c:pt idx="4836">
                  <c:v>5.1247701636118368E-4</c:v>
                </c:pt>
                <c:pt idx="4837">
                  <c:v>4.8948218456213463E-4</c:v>
                </c:pt>
                <c:pt idx="4838">
                  <c:v>4.7280044209449957E-4</c:v>
                </c:pt>
                <c:pt idx="4839">
                  <c:v>4.65670369752811E-4</c:v>
                </c:pt>
                <c:pt idx="4840">
                  <c:v>4.6001894287229529E-4</c:v>
                </c:pt>
                <c:pt idx="4841">
                  <c:v>4.6076894682179443E-4</c:v>
                </c:pt>
                <c:pt idx="4842">
                  <c:v>4.5680844809827464E-4</c:v>
                </c:pt>
                <c:pt idx="4843">
                  <c:v>4.6928558029909058E-4</c:v>
                </c:pt>
                <c:pt idx="4844">
                  <c:v>4.7882450419972899E-4</c:v>
                </c:pt>
                <c:pt idx="4845">
                  <c:v>4.8248799682493008E-4</c:v>
                </c:pt>
                <c:pt idx="4846">
                  <c:v>4.9449760608218053E-4</c:v>
                </c:pt>
                <c:pt idx="4847">
                  <c:v>5.1560386603891127E-4</c:v>
                </c:pt>
                <c:pt idx="4848">
                  <c:v>5.3571350293303414E-4</c:v>
                </c:pt>
                <c:pt idx="4849">
                  <c:v>5.5448545340471293E-4</c:v>
                </c:pt>
                <c:pt idx="4850">
                  <c:v>5.6550956309480587E-4</c:v>
                </c:pt>
                <c:pt idx="4851">
                  <c:v>5.8137547707571278E-4</c:v>
                </c:pt>
                <c:pt idx="4852">
                  <c:v>5.9291207167497652E-4</c:v>
                </c:pt>
                <c:pt idx="4853">
                  <c:v>6.029453350587993E-4</c:v>
                </c:pt>
                <c:pt idx="4854">
                  <c:v>6.1905016685295214E-4</c:v>
                </c:pt>
                <c:pt idx="4855">
                  <c:v>6.3323102227466101E-4</c:v>
                </c:pt>
                <c:pt idx="4856">
                  <c:v>6.4207037945945226E-4</c:v>
                </c:pt>
                <c:pt idx="4857">
                  <c:v>6.4636950619260936E-4</c:v>
                </c:pt>
                <c:pt idx="4858">
                  <c:v>6.4622448768239798E-4</c:v>
                </c:pt>
                <c:pt idx="4859">
                  <c:v>6.3990974484090686E-4</c:v>
                </c:pt>
                <c:pt idx="4860">
                  <c:v>6.2797539202871094E-4</c:v>
                </c:pt>
                <c:pt idx="4861">
                  <c:v>6.1373418526258219E-4</c:v>
                </c:pt>
                <c:pt idx="4862">
                  <c:v>6.0921268163080652E-4</c:v>
                </c:pt>
                <c:pt idx="4863">
                  <c:v>6.0068527236823604E-4</c:v>
                </c:pt>
                <c:pt idx="4864">
                  <c:v>5.9106747100067197E-4</c:v>
                </c:pt>
                <c:pt idx="4865">
                  <c:v>5.7915217941499283E-4</c:v>
                </c:pt>
                <c:pt idx="4866">
                  <c:v>5.6344797926862996E-4</c:v>
                </c:pt>
                <c:pt idx="4867">
                  <c:v>5.4699761820276526E-4</c:v>
                </c:pt>
                <c:pt idx="4868">
                  <c:v>5.3034895107284227E-4</c:v>
                </c:pt>
                <c:pt idx="4869">
                  <c:v>5.1431489935954504E-4</c:v>
                </c:pt>
                <c:pt idx="4870">
                  <c:v>5.0043985223889955E-4</c:v>
                </c:pt>
                <c:pt idx="4871">
                  <c:v>4.7432713853810609E-4</c:v>
                </c:pt>
                <c:pt idx="4872">
                  <c:v>4.3594403008906829E-4</c:v>
                </c:pt>
                <c:pt idx="4873">
                  <c:v>4.102844492596216E-4</c:v>
                </c:pt>
                <c:pt idx="4874">
                  <c:v>3.7917301492951304E-4</c:v>
                </c:pt>
                <c:pt idx="4875">
                  <c:v>3.4969434484843475E-4</c:v>
                </c:pt>
                <c:pt idx="4876">
                  <c:v>3.4364422682652012E-4</c:v>
                </c:pt>
                <c:pt idx="4877">
                  <c:v>3.7002780737396167E-4</c:v>
                </c:pt>
                <c:pt idx="4878">
                  <c:v>3.9602089993213551E-4</c:v>
                </c:pt>
                <c:pt idx="4879">
                  <c:v>4.3465559773212139E-4</c:v>
                </c:pt>
                <c:pt idx="4880">
                  <c:v>4.8380885187445554E-4</c:v>
                </c:pt>
                <c:pt idx="4881">
                  <c:v>5.6853069930169807E-4</c:v>
                </c:pt>
                <c:pt idx="4882">
                  <c:v>6.4256377192569336E-4</c:v>
                </c:pt>
                <c:pt idx="4883">
                  <c:v>7.1954101551137753E-4</c:v>
                </c:pt>
                <c:pt idx="4884">
                  <c:v>7.9736852151537083E-4</c:v>
                </c:pt>
                <c:pt idx="4885">
                  <c:v>8.7316619891794069E-4</c:v>
                </c:pt>
                <c:pt idx="4886">
                  <c:v>9.4116611779158888E-4</c:v>
                </c:pt>
                <c:pt idx="4887">
                  <c:v>1.0151950133012282E-3</c:v>
                </c:pt>
                <c:pt idx="4888">
                  <c:v>1.1370443981704229E-3</c:v>
                </c:pt>
                <c:pt idx="4889">
                  <c:v>1.2392089239230037E-3</c:v>
                </c:pt>
                <c:pt idx="4890">
                  <c:v>1.3264145830187825E-3</c:v>
                </c:pt>
                <c:pt idx="4891">
                  <c:v>1.3966691646277978E-3</c:v>
                </c:pt>
                <c:pt idx="4892">
                  <c:v>1.4640252736620538E-3</c:v>
                </c:pt>
                <c:pt idx="4893">
                  <c:v>1.5215641671378489E-3</c:v>
                </c:pt>
                <c:pt idx="4894">
                  <c:v>1.5901056199605621E-3</c:v>
                </c:pt>
                <c:pt idx="4895">
                  <c:v>1.6658241813107262E-3</c:v>
                </c:pt>
                <c:pt idx="4896">
                  <c:v>1.7481689735426324E-3</c:v>
                </c:pt>
                <c:pt idx="4897">
                  <c:v>1.8021813811969097E-3</c:v>
                </c:pt>
                <c:pt idx="4898">
                  <c:v>1.845526031174836E-3</c:v>
                </c:pt>
                <c:pt idx="4899">
                  <c:v>1.8776817941659422E-3</c:v>
                </c:pt>
                <c:pt idx="4900">
                  <c:v>1.9158768838146575E-3</c:v>
                </c:pt>
                <c:pt idx="4901">
                  <c:v>1.9373074870656618E-3</c:v>
                </c:pt>
                <c:pt idx="4902">
                  <c:v>1.9540894564300543E-3</c:v>
                </c:pt>
                <c:pt idx="4903">
                  <c:v>1.9582135060246483E-3</c:v>
                </c:pt>
                <c:pt idx="4904">
                  <c:v>1.9720148732651796E-3</c:v>
                </c:pt>
                <c:pt idx="4905">
                  <c:v>1.9791022440607789E-3</c:v>
                </c:pt>
                <c:pt idx="4906">
                  <c:v>1.9850159028826724E-3</c:v>
                </c:pt>
                <c:pt idx="4907">
                  <c:v>1.9850930360123882E-3</c:v>
                </c:pt>
                <c:pt idx="4908">
                  <c:v>1.9645332850448923E-3</c:v>
                </c:pt>
                <c:pt idx="4909">
                  <c:v>1.9434657901755807E-3</c:v>
                </c:pt>
                <c:pt idx="4910">
                  <c:v>1.9167046432381908E-3</c:v>
                </c:pt>
                <c:pt idx="4911">
                  <c:v>1.9038882752516555E-3</c:v>
                </c:pt>
                <c:pt idx="4912">
                  <c:v>1.8728467664275658E-3</c:v>
                </c:pt>
                <c:pt idx="4913">
                  <c:v>1.8368658603668249E-3</c:v>
                </c:pt>
                <c:pt idx="4914">
                  <c:v>1.8211852343460466E-3</c:v>
                </c:pt>
                <c:pt idx="4915">
                  <c:v>1.8139464148509083E-3</c:v>
                </c:pt>
                <c:pt idx="4916">
                  <c:v>1.7876514379342075E-3</c:v>
                </c:pt>
                <c:pt idx="4917">
                  <c:v>1.770909873632489E-3</c:v>
                </c:pt>
                <c:pt idx="4918">
                  <c:v>1.7815681997451389E-3</c:v>
                </c:pt>
                <c:pt idx="4919">
                  <c:v>1.7961806289871721E-3</c:v>
                </c:pt>
                <c:pt idx="4920">
                  <c:v>1.788830447305811E-3</c:v>
                </c:pt>
                <c:pt idx="4921">
                  <c:v>1.7602799287928198E-3</c:v>
                </c:pt>
                <c:pt idx="4922">
                  <c:v>1.7339100570454037E-3</c:v>
                </c:pt>
                <c:pt idx="4923">
                  <c:v>1.7130679270818108E-3</c:v>
                </c:pt>
                <c:pt idx="4924">
                  <c:v>1.6950225698183802E-3</c:v>
                </c:pt>
                <c:pt idx="4925">
                  <c:v>1.6941141826427562E-3</c:v>
                </c:pt>
                <c:pt idx="4926">
                  <c:v>1.6983332168581575E-3</c:v>
                </c:pt>
                <c:pt idx="4927">
                  <c:v>1.6823518630794108E-3</c:v>
                </c:pt>
                <c:pt idx="4928">
                  <c:v>1.6724796193371212E-3</c:v>
                </c:pt>
                <c:pt idx="4929">
                  <c:v>1.6531476764923487E-3</c:v>
                </c:pt>
                <c:pt idx="4930">
                  <c:v>1.6760890408694621E-3</c:v>
                </c:pt>
                <c:pt idx="4931">
                  <c:v>1.7055337065291301E-3</c:v>
                </c:pt>
                <c:pt idx="4932">
                  <c:v>1.7299632901845441E-3</c:v>
                </c:pt>
                <c:pt idx="4933">
                  <c:v>1.7439682951484305E-3</c:v>
                </c:pt>
                <c:pt idx="4934">
                  <c:v>1.782621014931597E-3</c:v>
                </c:pt>
                <c:pt idx="4935">
                  <c:v>1.8151286945364163E-3</c:v>
                </c:pt>
                <c:pt idx="4936">
                  <c:v>1.8419031160448846E-3</c:v>
                </c:pt>
                <c:pt idx="4937">
                  <c:v>1.891247425890781E-3</c:v>
                </c:pt>
                <c:pt idx="4938">
                  <c:v>1.9158206982125101E-3</c:v>
                </c:pt>
                <c:pt idx="4939">
                  <c:v>1.9288415009106026E-3</c:v>
                </c:pt>
                <c:pt idx="4940">
                  <c:v>1.9383660686012275E-3</c:v>
                </c:pt>
                <c:pt idx="4941">
                  <c:v>1.9346989936440786E-3</c:v>
                </c:pt>
                <c:pt idx="4942">
                  <c:v>1.9160818049097049E-3</c:v>
                </c:pt>
                <c:pt idx="4943">
                  <c:v>1.8862654952095141E-3</c:v>
                </c:pt>
                <c:pt idx="4944">
                  <c:v>1.8713783504899022E-3</c:v>
                </c:pt>
                <c:pt idx="4945">
                  <c:v>1.8600768312357178E-3</c:v>
                </c:pt>
                <c:pt idx="4946">
                  <c:v>1.8384448226318583E-3</c:v>
                </c:pt>
                <c:pt idx="4947">
                  <c:v>1.8237233708556348E-3</c:v>
                </c:pt>
                <c:pt idx="4948">
                  <c:v>1.8193715209210521E-3</c:v>
                </c:pt>
                <c:pt idx="4949">
                  <c:v>1.8220472255568794E-3</c:v>
                </c:pt>
                <c:pt idx="4950">
                  <c:v>1.8277619639076015E-3</c:v>
                </c:pt>
                <c:pt idx="4951">
                  <c:v>1.8169877376880046E-3</c:v>
                </c:pt>
                <c:pt idx="4952">
                  <c:v>1.8142853796213139E-3</c:v>
                </c:pt>
                <c:pt idx="4953">
                  <c:v>1.8147180534274984E-3</c:v>
                </c:pt>
                <c:pt idx="4954">
                  <c:v>1.7973172973617959E-3</c:v>
                </c:pt>
                <c:pt idx="4955">
                  <c:v>1.7732777854644818E-3</c:v>
                </c:pt>
                <c:pt idx="4956">
                  <c:v>1.745463371927702E-3</c:v>
                </c:pt>
                <c:pt idx="4957">
                  <c:v>1.7128809194834743E-3</c:v>
                </c:pt>
                <c:pt idx="4958">
                  <c:v>1.6817549441420943E-3</c:v>
                </c:pt>
                <c:pt idx="4959">
                  <c:v>1.6395754920694847E-3</c:v>
                </c:pt>
                <c:pt idx="4960">
                  <c:v>1.6279357403458615E-3</c:v>
                </c:pt>
                <c:pt idx="4961">
                  <c:v>1.6197007796880495E-3</c:v>
                </c:pt>
                <c:pt idx="4962">
                  <c:v>1.6175811880745066E-3</c:v>
                </c:pt>
                <c:pt idx="4963">
                  <c:v>1.6663426249576524E-3</c:v>
                </c:pt>
                <c:pt idx="4964">
                  <c:v>1.7248055557123091E-3</c:v>
                </c:pt>
                <c:pt idx="4965">
                  <c:v>1.799103450173679E-3</c:v>
                </c:pt>
                <c:pt idx="4966">
                  <c:v>1.851527866575988E-3</c:v>
                </c:pt>
                <c:pt idx="4967">
                  <c:v>1.9128340774070165E-3</c:v>
                </c:pt>
                <c:pt idx="4968">
                  <c:v>1.9694102026742437E-3</c:v>
                </c:pt>
                <c:pt idx="4969">
                  <c:v>2.0058435582418445E-3</c:v>
                </c:pt>
                <c:pt idx="4970">
                  <c:v>2.0498433798847161E-3</c:v>
                </c:pt>
                <c:pt idx="4971">
                  <c:v>2.0883950245004883E-3</c:v>
                </c:pt>
                <c:pt idx="4972">
                  <c:v>2.1144856130781747E-3</c:v>
                </c:pt>
                <c:pt idx="4973">
                  <c:v>2.1255210677844825E-3</c:v>
                </c:pt>
                <c:pt idx="4974">
                  <c:v>2.1259461063778949E-3</c:v>
                </c:pt>
                <c:pt idx="4975">
                  <c:v>2.1125885518159153E-3</c:v>
                </c:pt>
                <c:pt idx="4976">
                  <c:v>2.0948981282993295E-3</c:v>
                </c:pt>
                <c:pt idx="4977">
                  <c:v>2.0931828585721486E-3</c:v>
                </c:pt>
                <c:pt idx="4978">
                  <c:v>2.0982373139840824E-3</c:v>
                </c:pt>
                <c:pt idx="4979">
                  <c:v>2.084840081309582E-3</c:v>
                </c:pt>
                <c:pt idx="4980">
                  <c:v>2.104052765949571E-3</c:v>
                </c:pt>
                <c:pt idx="4981">
                  <c:v>2.1030101555646612E-3</c:v>
                </c:pt>
                <c:pt idx="4982">
                  <c:v>2.1045185369307829E-3</c:v>
                </c:pt>
                <c:pt idx="4983">
                  <c:v>2.0927028934324462E-3</c:v>
                </c:pt>
                <c:pt idx="4984">
                  <c:v>2.0734614634987979E-3</c:v>
                </c:pt>
                <c:pt idx="4985">
                  <c:v>2.041315091028954E-3</c:v>
                </c:pt>
                <c:pt idx="4986">
                  <c:v>2.010429352981694E-3</c:v>
                </c:pt>
                <c:pt idx="4987">
                  <c:v>1.9745266372394286E-3</c:v>
                </c:pt>
                <c:pt idx="4988">
                  <c:v>1.9369122850635219E-3</c:v>
                </c:pt>
                <c:pt idx="4989">
                  <c:v>1.8964784510754323E-3</c:v>
                </c:pt>
                <c:pt idx="4990">
                  <c:v>1.863514720438127E-3</c:v>
                </c:pt>
                <c:pt idx="4991">
                  <c:v>1.8336259594341543E-3</c:v>
                </c:pt>
                <c:pt idx="4992">
                  <c:v>1.8014690738283271E-3</c:v>
                </c:pt>
                <c:pt idx="4993">
                  <c:v>1.942351022900332E-3</c:v>
                </c:pt>
                <c:pt idx="4994">
                  <c:v>2.0494221652946113E-3</c:v>
                </c:pt>
                <c:pt idx="4995">
                  <c:v>2.1590680024965907E-3</c:v>
                </c:pt>
                <c:pt idx="4996">
                  <c:v>2.2624577649792898E-3</c:v>
                </c:pt>
                <c:pt idx="4997">
                  <c:v>2.3548301324477004E-3</c:v>
                </c:pt>
                <c:pt idx="4998">
                  <c:v>2.4468905958565457E-3</c:v>
                </c:pt>
                <c:pt idx="4999">
                  <c:v>2.5081687119162216E-3</c:v>
                </c:pt>
                <c:pt idx="5000">
                  <c:v>2.5575648720112584E-3</c:v>
                </c:pt>
                <c:pt idx="5001">
                  <c:v>2.6656109040900859E-3</c:v>
                </c:pt>
                <c:pt idx="5002">
                  <c:v>2.7416279090758775E-3</c:v>
                </c:pt>
                <c:pt idx="5003">
                  <c:v>2.7843936586674088E-3</c:v>
                </c:pt>
                <c:pt idx="5004">
                  <c:v>2.8109319860923948E-3</c:v>
                </c:pt>
                <c:pt idx="5005">
                  <c:v>2.8703058354361956E-3</c:v>
                </c:pt>
                <c:pt idx="5006">
                  <c:v>2.9176146780430399E-3</c:v>
                </c:pt>
                <c:pt idx="5007">
                  <c:v>2.9832210772937082E-3</c:v>
                </c:pt>
                <c:pt idx="5008">
                  <c:v>3.0211671753046575E-3</c:v>
                </c:pt>
                <c:pt idx="5009">
                  <c:v>3.0324001811696203E-3</c:v>
                </c:pt>
                <c:pt idx="5010">
                  <c:v>3.0746425523719765E-3</c:v>
                </c:pt>
                <c:pt idx="5011">
                  <c:v>3.0874848917338917E-3</c:v>
                </c:pt>
                <c:pt idx="5012">
                  <c:v>3.0869977803374121E-3</c:v>
                </c:pt>
                <c:pt idx="5013">
                  <c:v>3.0639259344028029E-3</c:v>
                </c:pt>
                <c:pt idx="5014">
                  <c:v>3.0247417773851038E-3</c:v>
                </c:pt>
                <c:pt idx="5015">
                  <c:v>2.9769046191326322E-3</c:v>
                </c:pt>
                <c:pt idx="5016">
                  <c:v>2.9116191743126384E-3</c:v>
                </c:pt>
                <c:pt idx="5017">
                  <c:v>2.8137843995564068E-3</c:v>
                </c:pt>
                <c:pt idx="5018">
                  <c:v>2.7121283929275545E-3</c:v>
                </c:pt>
                <c:pt idx="5019">
                  <c:v>2.586820294567306E-3</c:v>
                </c:pt>
                <c:pt idx="5020">
                  <c:v>2.445946577361701E-3</c:v>
                </c:pt>
                <c:pt idx="5021">
                  <c:v>2.3096225576434599E-3</c:v>
                </c:pt>
                <c:pt idx="5022">
                  <c:v>2.1455131518628295E-3</c:v>
                </c:pt>
                <c:pt idx="5023">
                  <c:v>2.1241175545011356E-3</c:v>
                </c:pt>
                <c:pt idx="5024">
                  <c:v>2.0945808407257125E-3</c:v>
                </c:pt>
                <c:pt idx="5025">
                  <c:v>2.073297025586915E-3</c:v>
                </c:pt>
                <c:pt idx="5026">
                  <c:v>2.0835967770635117E-3</c:v>
                </c:pt>
                <c:pt idx="5027">
                  <c:v>2.0840829332895716E-3</c:v>
                </c:pt>
                <c:pt idx="5028">
                  <c:v>2.0808482689566379E-3</c:v>
                </c:pt>
                <c:pt idx="5029">
                  <c:v>2.0783311771635543E-3</c:v>
                </c:pt>
                <c:pt idx="5030">
                  <c:v>2.1097011786999392E-3</c:v>
                </c:pt>
                <c:pt idx="5031">
                  <c:v>2.2609986708189539E-3</c:v>
                </c:pt>
                <c:pt idx="5032">
                  <c:v>2.3861613143406324E-3</c:v>
                </c:pt>
                <c:pt idx="5033">
                  <c:v>2.4882586205427228E-3</c:v>
                </c:pt>
                <c:pt idx="5034">
                  <c:v>2.5543926232853239E-3</c:v>
                </c:pt>
                <c:pt idx="5035">
                  <c:v>2.638705082606E-3</c:v>
                </c:pt>
                <c:pt idx="5036">
                  <c:v>2.7017520141576512E-3</c:v>
                </c:pt>
                <c:pt idx="5037">
                  <c:v>2.7613844798171751E-3</c:v>
                </c:pt>
                <c:pt idx="5038">
                  <c:v>2.7981987701310228E-3</c:v>
                </c:pt>
                <c:pt idx="5039">
                  <c:v>2.8383890631507114E-3</c:v>
                </c:pt>
                <c:pt idx="5040">
                  <c:v>2.8795075803064291E-3</c:v>
                </c:pt>
                <c:pt idx="5041">
                  <c:v>2.898927346450282E-3</c:v>
                </c:pt>
                <c:pt idx="5042">
                  <c:v>2.9190432409800186E-3</c:v>
                </c:pt>
                <c:pt idx="5043">
                  <c:v>2.9157524958078819E-3</c:v>
                </c:pt>
                <c:pt idx="5044">
                  <c:v>2.8887661247993281E-3</c:v>
                </c:pt>
                <c:pt idx="5045">
                  <c:v>2.8580802270766511E-3</c:v>
                </c:pt>
                <c:pt idx="5046">
                  <c:v>2.8095418569843043E-3</c:v>
                </c:pt>
                <c:pt idx="5047">
                  <c:v>2.7449636836980097E-3</c:v>
                </c:pt>
                <c:pt idx="5048">
                  <c:v>2.6704913726233906E-3</c:v>
                </c:pt>
                <c:pt idx="5049">
                  <c:v>2.5932386508505005E-3</c:v>
                </c:pt>
                <c:pt idx="5050">
                  <c:v>2.4889745828151027E-3</c:v>
                </c:pt>
                <c:pt idx="5051">
                  <c:v>2.3557906513382654E-3</c:v>
                </c:pt>
                <c:pt idx="5052">
                  <c:v>2.2272924335555184E-3</c:v>
                </c:pt>
                <c:pt idx="5053">
                  <c:v>2.1190451504967283E-3</c:v>
                </c:pt>
                <c:pt idx="5054">
                  <c:v>2.0069344448678684E-3</c:v>
                </c:pt>
                <c:pt idx="5055">
                  <c:v>1.9071790740402225E-3</c:v>
                </c:pt>
                <c:pt idx="5056">
                  <c:v>1.8216251393769311E-3</c:v>
                </c:pt>
                <c:pt idx="5057">
                  <c:v>1.7051034519336287E-3</c:v>
                </c:pt>
                <c:pt idx="5058">
                  <c:v>1.5703908565123806E-3</c:v>
                </c:pt>
                <c:pt idx="5059">
                  <c:v>1.4867042575035696E-3</c:v>
                </c:pt>
                <c:pt idx="5060">
                  <c:v>1.462791304813735E-3</c:v>
                </c:pt>
                <c:pt idx="5061">
                  <c:v>1.4923180232779044E-3</c:v>
                </c:pt>
                <c:pt idx="5062">
                  <c:v>1.5573476949498335E-3</c:v>
                </c:pt>
                <c:pt idx="5063">
                  <c:v>1.6167453817920829E-3</c:v>
                </c:pt>
                <c:pt idx="5064">
                  <c:v>1.655647191632501E-3</c:v>
                </c:pt>
                <c:pt idx="5065">
                  <c:v>1.6880265534461286E-3</c:v>
                </c:pt>
                <c:pt idx="5066">
                  <c:v>1.7221743393525924E-3</c:v>
                </c:pt>
                <c:pt idx="5067">
                  <c:v>1.7423796058557682E-3</c:v>
                </c:pt>
                <c:pt idx="5068">
                  <c:v>1.7572872642603438E-3</c:v>
                </c:pt>
                <c:pt idx="5069">
                  <c:v>1.8124172453695415E-3</c:v>
                </c:pt>
                <c:pt idx="5070">
                  <c:v>1.9326312138289211E-3</c:v>
                </c:pt>
                <c:pt idx="5071">
                  <c:v>2.038442032409553E-3</c:v>
                </c:pt>
                <c:pt idx="5072">
                  <c:v>2.1296805671098705E-3</c:v>
                </c:pt>
                <c:pt idx="5073">
                  <c:v>2.2141934075599924E-3</c:v>
                </c:pt>
                <c:pt idx="5074">
                  <c:v>2.2709116287680494E-3</c:v>
                </c:pt>
                <c:pt idx="5075">
                  <c:v>2.3180943402481254E-3</c:v>
                </c:pt>
                <c:pt idx="5076">
                  <c:v>2.3721601017854467E-3</c:v>
                </c:pt>
                <c:pt idx="5077">
                  <c:v>2.4384991809424956E-3</c:v>
                </c:pt>
                <c:pt idx="5078">
                  <c:v>2.47604151543562E-3</c:v>
                </c:pt>
                <c:pt idx="5079">
                  <c:v>2.5163042874509754E-3</c:v>
                </c:pt>
                <c:pt idx="5080">
                  <c:v>2.5514271588625861E-3</c:v>
                </c:pt>
                <c:pt idx="5081">
                  <c:v>2.5759779953109549E-3</c:v>
                </c:pt>
                <c:pt idx="5082">
                  <c:v>2.5979946220515038E-3</c:v>
                </c:pt>
                <c:pt idx="5083">
                  <c:v>2.6212103867800764E-3</c:v>
                </c:pt>
                <c:pt idx="5084">
                  <c:v>2.6213915048021942E-3</c:v>
                </c:pt>
                <c:pt idx="5085">
                  <c:v>2.6251510349181257E-3</c:v>
                </c:pt>
                <c:pt idx="5086">
                  <c:v>2.6236853530245299E-3</c:v>
                </c:pt>
                <c:pt idx="5087">
                  <c:v>2.601525079244116E-3</c:v>
                </c:pt>
                <c:pt idx="5088">
                  <c:v>2.5770528074478736E-3</c:v>
                </c:pt>
                <c:pt idx="5089">
                  <c:v>2.5788594581471038E-3</c:v>
                </c:pt>
                <c:pt idx="5090">
                  <c:v>2.5627614491863537E-3</c:v>
                </c:pt>
                <c:pt idx="5091">
                  <c:v>2.5332715803966965E-3</c:v>
                </c:pt>
                <c:pt idx="5092">
                  <c:v>2.5371149720530397E-3</c:v>
                </c:pt>
                <c:pt idx="5093">
                  <c:v>2.5204543265445294E-3</c:v>
                </c:pt>
                <c:pt idx="5094">
                  <c:v>2.4768386663261061E-3</c:v>
                </c:pt>
                <c:pt idx="5095">
                  <c:v>2.4241664434337534E-3</c:v>
                </c:pt>
                <c:pt idx="5096">
                  <c:v>2.3829003564148237E-3</c:v>
                </c:pt>
                <c:pt idx="5097">
                  <c:v>2.3199138437439721E-3</c:v>
                </c:pt>
                <c:pt idx="5098">
                  <c:v>2.2391118409706172E-3</c:v>
                </c:pt>
                <c:pt idx="5099">
                  <c:v>2.1688330208494921E-3</c:v>
                </c:pt>
                <c:pt idx="5100">
                  <c:v>2.1513655459708967E-3</c:v>
                </c:pt>
                <c:pt idx="5101">
                  <c:v>2.1360608990950956E-3</c:v>
                </c:pt>
                <c:pt idx="5102">
                  <c:v>2.1063323174778403E-3</c:v>
                </c:pt>
                <c:pt idx="5103">
                  <c:v>2.0751464933834517E-3</c:v>
                </c:pt>
                <c:pt idx="5104">
                  <c:v>2.0293839269985479E-3</c:v>
                </c:pt>
                <c:pt idx="5105">
                  <c:v>1.9762409770222155E-3</c:v>
                </c:pt>
                <c:pt idx="5106">
                  <c:v>1.9323398404605238E-3</c:v>
                </c:pt>
                <c:pt idx="5107">
                  <c:v>1.8945599342426256E-3</c:v>
                </c:pt>
                <c:pt idx="5108">
                  <c:v>1.8437720253176705E-3</c:v>
                </c:pt>
                <c:pt idx="5109">
                  <c:v>1.7921184236163047E-3</c:v>
                </c:pt>
                <c:pt idx="5110">
                  <c:v>1.7498759026851629E-3</c:v>
                </c:pt>
                <c:pt idx="5111">
                  <c:v>1.7045869571642599E-3</c:v>
                </c:pt>
                <c:pt idx="5112">
                  <c:v>1.6390950779253189E-3</c:v>
                </c:pt>
                <c:pt idx="5113">
                  <c:v>1.6270160904392557E-3</c:v>
                </c:pt>
                <c:pt idx="5114">
                  <c:v>1.5975928055124967E-3</c:v>
                </c:pt>
                <c:pt idx="5115">
                  <c:v>1.5656732376766456E-3</c:v>
                </c:pt>
                <c:pt idx="5116">
                  <c:v>1.5507078499569101E-3</c:v>
                </c:pt>
                <c:pt idx="5117">
                  <c:v>1.5262539832005717E-3</c:v>
                </c:pt>
                <c:pt idx="5118">
                  <c:v>1.5377516464485481E-3</c:v>
                </c:pt>
                <c:pt idx="5119">
                  <c:v>1.5574226590744649E-3</c:v>
                </c:pt>
                <c:pt idx="5120">
                  <c:v>1.5731124979670376E-3</c:v>
                </c:pt>
                <c:pt idx="5121">
                  <c:v>1.5929018517675368E-3</c:v>
                </c:pt>
                <c:pt idx="5122">
                  <c:v>1.6469550576876768E-3</c:v>
                </c:pt>
                <c:pt idx="5123">
                  <c:v>1.6880755255934742E-3</c:v>
                </c:pt>
                <c:pt idx="5124">
                  <c:v>1.7205555230061847E-3</c:v>
                </c:pt>
                <c:pt idx="5125">
                  <c:v>1.7592306590792839E-3</c:v>
                </c:pt>
                <c:pt idx="5126">
                  <c:v>1.8055025498036779E-3</c:v>
                </c:pt>
                <c:pt idx="5127">
                  <c:v>1.8451926316038906E-3</c:v>
                </c:pt>
                <c:pt idx="5128">
                  <c:v>1.9021689734788811E-3</c:v>
                </c:pt>
                <c:pt idx="5129">
                  <c:v>1.9514160309424416E-3</c:v>
                </c:pt>
                <c:pt idx="5130">
                  <c:v>2.006288039499773E-3</c:v>
                </c:pt>
                <c:pt idx="5131">
                  <c:v>2.0839528598825749E-3</c:v>
                </c:pt>
                <c:pt idx="5132">
                  <c:v>2.1498354248943772E-3</c:v>
                </c:pt>
                <c:pt idx="5133">
                  <c:v>2.197884427961364E-3</c:v>
                </c:pt>
                <c:pt idx="5134">
                  <c:v>2.2323007841810209E-3</c:v>
                </c:pt>
                <c:pt idx="5135">
                  <c:v>2.2715533758550072E-3</c:v>
                </c:pt>
                <c:pt idx="5136">
                  <c:v>2.2936404731270211E-3</c:v>
                </c:pt>
                <c:pt idx="5137">
                  <c:v>2.3038027930723181E-3</c:v>
                </c:pt>
                <c:pt idx="5138">
                  <c:v>2.2983172532117192E-3</c:v>
                </c:pt>
                <c:pt idx="5139">
                  <c:v>2.2879722709771453E-3</c:v>
                </c:pt>
                <c:pt idx="5140">
                  <c:v>2.267780975372528E-3</c:v>
                </c:pt>
                <c:pt idx="5141">
                  <c:v>2.2264727910494527E-3</c:v>
                </c:pt>
                <c:pt idx="5142">
                  <c:v>2.161297787766055E-3</c:v>
                </c:pt>
                <c:pt idx="5143">
                  <c:v>2.1189547029889194E-3</c:v>
                </c:pt>
                <c:pt idx="5144">
                  <c:v>2.0651284346865396E-3</c:v>
                </c:pt>
                <c:pt idx="5145">
                  <c:v>1.9927536035848638E-3</c:v>
                </c:pt>
                <c:pt idx="5146">
                  <c:v>1.9162836581639753E-3</c:v>
                </c:pt>
                <c:pt idx="5147">
                  <c:v>1.8154914424514882E-3</c:v>
                </c:pt>
                <c:pt idx="5148">
                  <c:v>1.7371717171762084E-3</c:v>
                </c:pt>
                <c:pt idx="5149">
                  <c:v>1.6759595669048758E-3</c:v>
                </c:pt>
                <c:pt idx="5150">
                  <c:v>1.6239302677624535E-3</c:v>
                </c:pt>
                <c:pt idx="5151">
                  <c:v>1.5804093614609994E-3</c:v>
                </c:pt>
                <c:pt idx="5152">
                  <c:v>1.5647260675494203E-3</c:v>
                </c:pt>
                <c:pt idx="5153">
                  <c:v>1.5448468139455161E-3</c:v>
                </c:pt>
                <c:pt idx="5154">
                  <c:v>1.5178026210989264E-3</c:v>
                </c:pt>
                <c:pt idx="5155">
                  <c:v>1.4967004030263227E-3</c:v>
                </c:pt>
                <c:pt idx="5156">
                  <c:v>1.4655763138020149E-3</c:v>
                </c:pt>
                <c:pt idx="5157">
                  <c:v>1.4315255605422833E-3</c:v>
                </c:pt>
                <c:pt idx="5158">
                  <c:v>1.528899357751852E-3</c:v>
                </c:pt>
                <c:pt idx="5159">
                  <c:v>1.8322594366144195E-3</c:v>
                </c:pt>
                <c:pt idx="5160">
                  <c:v>2.1335326103848742E-3</c:v>
                </c:pt>
                <c:pt idx="5161">
                  <c:v>2.3879112018318823E-3</c:v>
                </c:pt>
                <c:pt idx="5162">
                  <c:v>2.807529701650404E-3</c:v>
                </c:pt>
                <c:pt idx="5163">
                  <c:v>3.1645772222943509E-3</c:v>
                </c:pt>
                <c:pt idx="5164">
                  <c:v>3.4572725840354376E-3</c:v>
                </c:pt>
                <c:pt idx="5165">
                  <c:v>3.7937346282253624E-3</c:v>
                </c:pt>
                <c:pt idx="5166">
                  <c:v>4.2016542685449822E-3</c:v>
                </c:pt>
                <c:pt idx="5167">
                  <c:v>4.6694016469976552E-3</c:v>
                </c:pt>
                <c:pt idx="5168">
                  <c:v>5.0999057621492925E-3</c:v>
                </c:pt>
                <c:pt idx="5169">
                  <c:v>5.5039473668189358E-3</c:v>
                </c:pt>
                <c:pt idx="5170">
                  <c:v>6.1782533609035326E-3</c:v>
                </c:pt>
                <c:pt idx="5171">
                  <c:v>6.7292938605973147E-3</c:v>
                </c:pt>
                <c:pt idx="5172">
                  <c:v>7.1952742815088585E-3</c:v>
                </c:pt>
                <c:pt idx="5173">
                  <c:v>7.5612455716860694E-3</c:v>
                </c:pt>
                <c:pt idx="5174">
                  <c:v>7.8418967049993186E-3</c:v>
                </c:pt>
                <c:pt idx="5175">
                  <c:v>8.0457406667558407E-3</c:v>
                </c:pt>
                <c:pt idx="5176">
                  <c:v>8.1839829410337416E-3</c:v>
                </c:pt>
                <c:pt idx="5177">
                  <c:v>8.2547920119639892E-3</c:v>
                </c:pt>
                <c:pt idx="5178">
                  <c:v>8.2658443223586481E-3</c:v>
                </c:pt>
                <c:pt idx="5179">
                  <c:v>8.239178849514809E-3</c:v>
                </c:pt>
                <c:pt idx="5180">
                  <c:v>8.1630010994724125E-3</c:v>
                </c:pt>
                <c:pt idx="5181">
                  <c:v>8.0421523454736188E-3</c:v>
                </c:pt>
                <c:pt idx="5182">
                  <c:v>7.8783159278686624E-3</c:v>
                </c:pt>
                <c:pt idx="5183">
                  <c:v>7.6631071196881454E-3</c:v>
                </c:pt>
                <c:pt idx="5184">
                  <c:v>7.3854371972762083E-3</c:v>
                </c:pt>
                <c:pt idx="5185">
                  <c:v>7.0481641479414013E-3</c:v>
                </c:pt>
                <c:pt idx="5186">
                  <c:v>6.6341834108224352E-3</c:v>
                </c:pt>
                <c:pt idx="5187">
                  <c:v>6.1491882977536194E-3</c:v>
                </c:pt>
                <c:pt idx="5188">
                  <c:v>5.6816974948854038E-3</c:v>
                </c:pt>
                <c:pt idx="5189">
                  <c:v>5.3064422860374929E-3</c:v>
                </c:pt>
                <c:pt idx="5190">
                  <c:v>4.8986308885016587E-3</c:v>
                </c:pt>
                <c:pt idx="5191">
                  <c:v>4.4009405033113682E-3</c:v>
                </c:pt>
                <c:pt idx="5192">
                  <c:v>4.0199807047756652E-3</c:v>
                </c:pt>
                <c:pt idx="5193">
                  <c:v>3.5828615842554575E-3</c:v>
                </c:pt>
                <c:pt idx="5194">
                  <c:v>3.0400197578347534E-3</c:v>
                </c:pt>
                <c:pt idx="5195">
                  <c:v>2.4900100541732162E-3</c:v>
                </c:pt>
                <c:pt idx="5196">
                  <c:v>1.9991863784854648E-3</c:v>
                </c:pt>
                <c:pt idx="5197">
                  <c:v>1.5835082375688524E-3</c:v>
                </c:pt>
                <c:pt idx="5198">
                  <c:v>1.1082081970051373E-3</c:v>
                </c:pt>
                <c:pt idx="5199">
                  <c:v>4.175949544301879E-4</c:v>
                </c:pt>
                <c:pt idx="5200">
                  <c:v>3.7573361732112743E-4</c:v>
                </c:pt>
                <c:pt idx="5201">
                  <c:v>3.4950377791810724E-4</c:v>
                </c:pt>
                <c:pt idx="5202">
                  <c:v>3.4969384480340718E-4</c:v>
                </c:pt>
                <c:pt idx="5203">
                  <c:v>3.4878199970129754E-4</c:v>
                </c:pt>
                <c:pt idx="5204">
                  <c:v>3.4677772651073335E-4</c:v>
                </c:pt>
                <c:pt idx="5205">
                  <c:v>3.4361471234895181E-4</c:v>
                </c:pt>
                <c:pt idx="5206">
                  <c:v>3.4180542653160689E-4</c:v>
                </c:pt>
                <c:pt idx="5207">
                  <c:v>3.3859906843555413E-4</c:v>
                </c:pt>
                <c:pt idx="5208">
                  <c:v>3.3391115631553777E-4</c:v>
                </c:pt>
                <c:pt idx="5209">
                  <c:v>3.2958601562314919E-4</c:v>
                </c:pt>
                <c:pt idx="5210">
                  <c:v>3.2485465907858914E-4</c:v>
                </c:pt>
                <c:pt idx="5211">
                  <c:v>3.2022982147173064E-4</c:v>
                </c:pt>
                <c:pt idx="5212">
                  <c:v>3.2433771409461244E-4</c:v>
                </c:pt>
                <c:pt idx="5213">
                  <c:v>3.2778623447559302E-4</c:v>
                </c:pt>
                <c:pt idx="5214">
                  <c:v>3.2885409854478253E-4</c:v>
                </c:pt>
                <c:pt idx="5215">
                  <c:v>3.2945577887070804E-4</c:v>
                </c:pt>
                <c:pt idx="5216">
                  <c:v>3.3915721203781643E-4</c:v>
                </c:pt>
                <c:pt idx="5217">
                  <c:v>3.5934606868867587E-4</c:v>
                </c:pt>
                <c:pt idx="5218">
                  <c:v>3.824994494859243E-4</c:v>
                </c:pt>
                <c:pt idx="5219">
                  <c:v>4.0407666229469691E-4</c:v>
                </c:pt>
                <c:pt idx="5220">
                  <c:v>4.2312166470828759E-4</c:v>
                </c:pt>
                <c:pt idx="5221">
                  <c:v>4.4877534633425104E-4</c:v>
                </c:pt>
                <c:pt idx="5222">
                  <c:v>4.7626577028862295E-4</c:v>
                </c:pt>
                <c:pt idx="5223">
                  <c:v>5.0752438653985153E-4</c:v>
                </c:pt>
                <c:pt idx="5224">
                  <c:v>5.3360999717668822E-4</c:v>
                </c:pt>
                <c:pt idx="5225">
                  <c:v>5.5538001027444358E-4</c:v>
                </c:pt>
                <c:pt idx="5226">
                  <c:v>5.7238923146682148E-4</c:v>
                </c:pt>
                <c:pt idx="5227">
                  <c:v>5.856072021000507E-4</c:v>
                </c:pt>
                <c:pt idx="5228">
                  <c:v>5.9541892438981872E-4</c:v>
                </c:pt>
                <c:pt idx="5229">
                  <c:v>6.019762886084704E-4</c:v>
                </c:pt>
                <c:pt idx="5230">
                  <c:v>6.081689853447038E-4</c:v>
                </c:pt>
                <c:pt idx="5231">
                  <c:v>6.1576479896570532E-4</c:v>
                </c:pt>
                <c:pt idx="5232">
                  <c:v>0.27227508912578136</c:v>
                </c:pt>
                <c:pt idx="5233">
                  <c:v>0.41794050187375242</c:v>
                </c:pt>
                <c:pt idx="5234">
                  <c:v>0.55448473627239858</c:v>
                </c:pt>
                <c:pt idx="5235">
                  <c:v>0.75375543389431821</c:v>
                </c:pt>
                <c:pt idx="5236">
                  <c:v>0.90420391285134516</c:v>
                </c:pt>
                <c:pt idx="5237">
                  <c:v>1.0446446758617074</c:v>
                </c:pt>
                <c:pt idx="5238">
                  <c:v>1.2096527897715867</c:v>
                </c:pt>
                <c:pt idx="5239">
                  <c:v>1.3925918853078441</c:v>
                </c:pt>
                <c:pt idx="5240">
                  <c:v>1.6457667497013977</c:v>
                </c:pt>
                <c:pt idx="5241">
                  <c:v>2.0176232364053166</c:v>
                </c:pt>
                <c:pt idx="5242">
                  <c:v>2.3078938112119487</c:v>
                </c:pt>
                <c:pt idx="5243">
                  <c:v>2.5598708707009941</c:v>
                </c:pt>
                <c:pt idx="5244">
                  <c:v>2.7858251807806949</c:v>
                </c:pt>
                <c:pt idx="5245">
                  <c:v>3.0120842414195108</c:v>
                </c:pt>
                <c:pt idx="5246">
                  <c:v>3.2151675588450717</c:v>
                </c:pt>
                <c:pt idx="5247">
                  <c:v>7.5022818666597066</c:v>
                </c:pt>
                <c:pt idx="5248">
                  <c:v>8.634961497778642</c:v>
                </c:pt>
                <c:pt idx="5249">
                  <c:v>8.5929815687486428</c:v>
                </c:pt>
                <c:pt idx="5250">
                  <c:v>11.465748037781953</c:v>
                </c:pt>
                <c:pt idx="5251">
                  <c:v>17.0953052117274</c:v>
                </c:pt>
                <c:pt idx="5252">
                  <c:v>22.468029765468909</c:v>
                </c:pt>
                <c:pt idx="5253">
                  <c:v>27.297577025659454</c:v>
                </c:pt>
                <c:pt idx="5254">
                  <c:v>31.041206740553648</c:v>
                </c:pt>
                <c:pt idx="5255">
                  <c:v>34.054447293850792</c:v>
                </c:pt>
                <c:pt idx="5256">
                  <c:v>36.537253491979115</c:v>
                </c:pt>
                <c:pt idx="5257">
                  <c:v>38.575697023140052</c:v>
                </c:pt>
                <c:pt idx="5258">
                  <c:v>40.260536693000354</c:v>
                </c:pt>
                <c:pt idx="5259">
                  <c:v>41.609186380911247</c:v>
                </c:pt>
                <c:pt idx="5260">
                  <c:v>42.653030330724071</c:v>
                </c:pt>
                <c:pt idx="5261">
                  <c:v>43.413539750100441</c:v>
                </c:pt>
                <c:pt idx="5262">
                  <c:v>43.964530575593471</c:v>
                </c:pt>
                <c:pt idx="5263">
                  <c:v>44.27436550504779</c:v>
                </c:pt>
                <c:pt idx="5264">
                  <c:v>44.348113460602363</c:v>
                </c:pt>
                <c:pt idx="5265">
                  <c:v>44.223916991859248</c:v>
                </c:pt>
                <c:pt idx="5266">
                  <c:v>43.855896525929651</c:v>
                </c:pt>
                <c:pt idx="5267">
                  <c:v>43.248772876365706</c:v>
                </c:pt>
                <c:pt idx="5268">
                  <c:v>42.408942219922295</c:v>
                </c:pt>
                <c:pt idx="5269">
                  <c:v>41.325728179221713</c:v>
                </c:pt>
                <c:pt idx="5270">
                  <c:v>40.017581652069431</c:v>
                </c:pt>
                <c:pt idx="5271">
                  <c:v>38.507483142252156</c:v>
                </c:pt>
                <c:pt idx="5272">
                  <c:v>36.669626373289582</c:v>
                </c:pt>
                <c:pt idx="5273">
                  <c:v>34.419846433870802</c:v>
                </c:pt>
                <c:pt idx="5274">
                  <c:v>31.737115061243092</c:v>
                </c:pt>
                <c:pt idx="5275">
                  <c:v>28.53221275041868</c:v>
                </c:pt>
                <c:pt idx="5276">
                  <c:v>24.574603069990012</c:v>
                </c:pt>
                <c:pt idx="5277">
                  <c:v>22.778019042758462</c:v>
                </c:pt>
                <c:pt idx="5278">
                  <c:v>19.394812760567234</c:v>
                </c:pt>
                <c:pt idx="5279">
                  <c:v>10.380244854896667</c:v>
                </c:pt>
                <c:pt idx="5280">
                  <c:v>4.5287068501908472</c:v>
                </c:pt>
                <c:pt idx="5281">
                  <c:v>1.9648397939577318</c:v>
                </c:pt>
                <c:pt idx="5282">
                  <c:v>1.0041258835016256</c:v>
                </c:pt>
                <c:pt idx="5283">
                  <c:v>1.0345395793181478</c:v>
                </c:pt>
                <c:pt idx="5284">
                  <c:v>1.0673987214449689</c:v>
                </c:pt>
                <c:pt idx="5285">
                  <c:v>1.1011975644360645</c:v>
                </c:pt>
                <c:pt idx="5286">
                  <c:v>1.1396644584517404</c:v>
                </c:pt>
                <c:pt idx="5287">
                  <c:v>1.1780660446511035</c:v>
                </c:pt>
                <c:pt idx="5288">
                  <c:v>1.2300245470785958</c:v>
                </c:pt>
                <c:pt idx="5289">
                  <c:v>1.2772825053387755</c:v>
                </c:pt>
                <c:pt idx="5290">
                  <c:v>1.3248109114786704</c:v>
                </c:pt>
                <c:pt idx="5291">
                  <c:v>1.3691578684100258</c:v>
                </c:pt>
                <c:pt idx="5292">
                  <c:v>1.4031035653202562</c:v>
                </c:pt>
                <c:pt idx="5293">
                  <c:v>1.4277836404811342</c:v>
                </c:pt>
                <c:pt idx="5294">
                  <c:v>1.4443467727358736</c:v>
                </c:pt>
                <c:pt idx="5295">
                  <c:v>1.4367775368359739</c:v>
                </c:pt>
                <c:pt idx="5296">
                  <c:v>1.3841703181481551</c:v>
                </c:pt>
                <c:pt idx="5297">
                  <c:v>1.3192530598904568</c:v>
                </c:pt>
                <c:pt idx="5298">
                  <c:v>1.243092210880322</c:v>
                </c:pt>
                <c:pt idx="5299">
                  <c:v>1.1517062715838204</c:v>
                </c:pt>
                <c:pt idx="5300">
                  <c:v>1.0403505774875625</c:v>
                </c:pt>
                <c:pt idx="5301">
                  <c:v>0.89435696085508609</c:v>
                </c:pt>
                <c:pt idx="5302">
                  <c:v>0.68829334567461897</c:v>
                </c:pt>
                <c:pt idx="5303">
                  <c:v>0.66577058765949804</c:v>
                </c:pt>
                <c:pt idx="5304">
                  <c:v>0.64352546909490138</c:v>
                </c:pt>
                <c:pt idx="5305">
                  <c:v>0.62175201924508117</c:v>
                </c:pt>
                <c:pt idx="5306">
                  <c:v>0.60012078712508188</c:v>
                </c:pt>
                <c:pt idx="5307">
                  <c:v>0.58139900859995752</c:v>
                </c:pt>
                <c:pt idx="5308">
                  <c:v>0.57513772623682657</c:v>
                </c:pt>
                <c:pt idx="5309">
                  <c:v>0.56994789153236869</c:v>
                </c:pt>
                <c:pt idx="5310">
                  <c:v>0.56801672733250863</c:v>
                </c:pt>
                <c:pt idx="5311">
                  <c:v>0.76579193131845436</c:v>
                </c:pt>
                <c:pt idx="5312">
                  <c:v>0.85816219371747049</c:v>
                </c:pt>
                <c:pt idx="5313">
                  <c:v>0.86731225693349168</c:v>
                </c:pt>
                <c:pt idx="5314">
                  <c:v>0.97016216038988279</c:v>
                </c:pt>
                <c:pt idx="5315">
                  <c:v>0.97310448812430028</c:v>
                </c:pt>
                <c:pt idx="5316">
                  <c:v>1.0819998632955408</c:v>
                </c:pt>
                <c:pt idx="5317">
                  <c:v>1.1647784581433085</c:v>
                </c:pt>
                <c:pt idx="5318">
                  <c:v>1.1801047159428164</c:v>
                </c:pt>
                <c:pt idx="5319">
                  <c:v>1.2856814271042627</c:v>
                </c:pt>
                <c:pt idx="5320">
                  <c:v>1.3114569407687451</c:v>
                </c:pt>
                <c:pt idx="5321">
                  <c:v>1.393856292617488</c:v>
                </c:pt>
                <c:pt idx="5322">
                  <c:v>1.5117853483411765</c:v>
                </c:pt>
                <c:pt idx="5323">
                  <c:v>1.5650860993175006</c:v>
                </c:pt>
                <c:pt idx="5324">
                  <c:v>1.5773408637830595</c:v>
                </c:pt>
                <c:pt idx="5325">
                  <c:v>1.5962888954263057</c:v>
                </c:pt>
                <c:pt idx="5326">
                  <c:v>1.6152586148845141</c:v>
                </c:pt>
                <c:pt idx="5327">
                  <c:v>1.6391891438944106</c:v>
                </c:pt>
                <c:pt idx="5328">
                  <c:v>1.6672383851243153</c:v>
                </c:pt>
                <c:pt idx="5329">
                  <c:v>1.7187440131407774</c:v>
                </c:pt>
                <c:pt idx="5330">
                  <c:v>1.771146800554215</c:v>
                </c:pt>
                <c:pt idx="5331">
                  <c:v>1.8968252681678879</c:v>
                </c:pt>
                <c:pt idx="5332">
                  <c:v>2.1484148641822065</c:v>
                </c:pt>
                <c:pt idx="5333">
                  <c:v>2.2379756346529036</c:v>
                </c:pt>
                <c:pt idx="5334">
                  <c:v>2.312497554151876</c:v>
                </c:pt>
                <c:pt idx="5335">
                  <c:v>2.4255431205692184</c:v>
                </c:pt>
                <c:pt idx="5336">
                  <c:v>2.450951181583485</c:v>
                </c:pt>
                <c:pt idx="5337">
                  <c:v>2.450738196297602</c:v>
                </c:pt>
                <c:pt idx="5338">
                  <c:v>2.4506642239927543</c:v>
                </c:pt>
                <c:pt idx="5339">
                  <c:v>2.4534756031283016</c:v>
                </c:pt>
                <c:pt idx="5340">
                  <c:v>2.4775269889152236</c:v>
                </c:pt>
                <c:pt idx="5341">
                  <c:v>2.458380260718823</c:v>
                </c:pt>
                <c:pt idx="5342">
                  <c:v>2.4403898070107433</c:v>
                </c:pt>
                <c:pt idx="5343">
                  <c:v>2.4585028238524655</c:v>
                </c:pt>
                <c:pt idx="5344">
                  <c:v>2.5139215707019482</c:v>
                </c:pt>
                <c:pt idx="5345">
                  <c:v>2.5825005495982691</c:v>
                </c:pt>
                <c:pt idx="5346">
                  <c:v>2.6145143927592489</c:v>
                </c:pt>
                <c:pt idx="5347">
                  <c:v>2.6333561225711346</c:v>
                </c:pt>
                <c:pt idx="5348">
                  <c:v>2.6803321843497394</c:v>
                </c:pt>
                <c:pt idx="5349">
                  <c:v>2.6484665288336409</c:v>
                </c:pt>
                <c:pt idx="5350">
                  <c:v>2.6827638489156787</c:v>
                </c:pt>
                <c:pt idx="5351">
                  <c:v>2.6488881016951349</c:v>
                </c:pt>
                <c:pt idx="5352">
                  <c:v>2.6470416179947347</c:v>
                </c:pt>
                <c:pt idx="5353">
                  <c:v>2.6312883216070726</c:v>
                </c:pt>
                <c:pt idx="5354">
                  <c:v>2.8074080322175852</c:v>
                </c:pt>
                <c:pt idx="5355">
                  <c:v>2.8995054309252981</c:v>
                </c:pt>
                <c:pt idx="5356">
                  <c:v>2.8781145885516506</c:v>
                </c:pt>
                <c:pt idx="5357">
                  <c:v>2.859281981171772</c:v>
                </c:pt>
                <c:pt idx="5358">
                  <c:v>2.833034187114245</c:v>
                </c:pt>
                <c:pt idx="5359">
                  <c:v>2.9333595362002041</c:v>
                </c:pt>
                <c:pt idx="5360">
                  <c:v>2.8843200930897113</c:v>
                </c:pt>
                <c:pt idx="5361">
                  <c:v>3.1530685237643801</c:v>
                </c:pt>
                <c:pt idx="5362">
                  <c:v>3.2191593738220909</c:v>
                </c:pt>
                <c:pt idx="5363">
                  <c:v>3.4351257143980285</c:v>
                </c:pt>
                <c:pt idx="5364">
                  <c:v>3.5263987511384669</c:v>
                </c:pt>
                <c:pt idx="5365">
                  <c:v>3.7119252814789951</c:v>
                </c:pt>
                <c:pt idx="5366">
                  <c:v>3.9545355001496341</c:v>
                </c:pt>
                <c:pt idx="5367">
                  <c:v>4.2136890599741585</c:v>
                </c:pt>
                <c:pt idx="5368">
                  <c:v>4.5120462681409395</c:v>
                </c:pt>
                <c:pt idx="5369">
                  <c:v>4.8276298108962417</c:v>
                </c:pt>
                <c:pt idx="5370">
                  <c:v>4.9508077017412617</c:v>
                </c:pt>
                <c:pt idx="5371">
                  <c:v>5.1499556660174379</c:v>
                </c:pt>
                <c:pt idx="5372">
                  <c:v>5.2698291642720063</c:v>
                </c:pt>
                <c:pt idx="5373">
                  <c:v>5.6452548749284244</c:v>
                </c:pt>
                <c:pt idx="5374">
                  <c:v>5.9183879401077366</c:v>
                </c:pt>
                <c:pt idx="5375">
                  <c:v>6.0054474396076722</c:v>
                </c:pt>
                <c:pt idx="5376">
                  <c:v>6.151594196486446</c:v>
                </c:pt>
                <c:pt idx="5377">
                  <c:v>6.2364703222703994</c:v>
                </c:pt>
                <c:pt idx="5378">
                  <c:v>6.3930668483390667</c:v>
                </c:pt>
                <c:pt idx="5379">
                  <c:v>6.6096497318712677</c:v>
                </c:pt>
                <c:pt idx="5380">
                  <c:v>6.8106366555544442</c:v>
                </c:pt>
                <c:pt idx="5381">
                  <c:v>7.2869620291862187</c:v>
                </c:pt>
                <c:pt idx="5382">
                  <c:v>7.5290303784693542</c:v>
                </c:pt>
                <c:pt idx="5383">
                  <c:v>7.5626642504188606</c:v>
                </c:pt>
                <c:pt idx="5384">
                  <c:v>15.512762416996974</c:v>
                </c:pt>
                <c:pt idx="5385">
                  <c:v>22.532214115406251</c:v>
                </c:pt>
                <c:pt idx="5386">
                  <c:v>23.794254187857629</c:v>
                </c:pt>
                <c:pt idx="5387">
                  <c:v>38.06641281675892</c:v>
                </c:pt>
                <c:pt idx="5388">
                  <c:v>38.131336102707053</c:v>
                </c:pt>
                <c:pt idx="5389">
                  <c:v>39.996179484809915</c:v>
                </c:pt>
                <c:pt idx="5390">
                  <c:v>43.208550071707045</c:v>
                </c:pt>
                <c:pt idx="5391">
                  <c:v>43.246264032409464</c:v>
                </c:pt>
                <c:pt idx="5392">
                  <c:v>52.184747357756876</c:v>
                </c:pt>
                <c:pt idx="5393">
                  <c:v>52.209382695304726</c:v>
                </c:pt>
                <c:pt idx="5394">
                  <c:v>53.781882490617384</c:v>
                </c:pt>
                <c:pt idx="5395">
                  <c:v>55.181494099541922</c:v>
                </c:pt>
                <c:pt idx="5396">
                  <c:v>57.297066732617225</c:v>
                </c:pt>
                <c:pt idx="5397">
                  <c:v>59.656142419394712</c:v>
                </c:pt>
                <c:pt idx="5398">
                  <c:v>64.78939656230861</c:v>
                </c:pt>
                <c:pt idx="5399">
                  <c:v>64.901386251561391</c:v>
                </c:pt>
                <c:pt idx="5400">
                  <c:v>66.076972380065499</c:v>
                </c:pt>
                <c:pt idx="5401">
                  <c:v>67.999683315055464</c:v>
                </c:pt>
                <c:pt idx="5402">
                  <c:v>76.240801940384614</c:v>
                </c:pt>
                <c:pt idx="5403">
                  <c:v>81.63696303156415</c:v>
                </c:pt>
                <c:pt idx="5404">
                  <c:v>82.134722894531933</c:v>
                </c:pt>
                <c:pt idx="5405">
                  <c:v>82.547028103518997</c:v>
                </c:pt>
                <c:pt idx="5406">
                  <c:v>84.126524345385917</c:v>
                </c:pt>
                <c:pt idx="5407">
                  <c:v>86.280240129631011</c:v>
                </c:pt>
                <c:pt idx="5408">
                  <c:v>88.211790173050261</c:v>
                </c:pt>
                <c:pt idx="5409">
                  <c:v>96.372188458258947</c:v>
                </c:pt>
                <c:pt idx="5410">
                  <c:v>96.511118127156621</c:v>
                </c:pt>
                <c:pt idx="5411">
                  <c:v>97.050717584844648</c:v>
                </c:pt>
                <c:pt idx="5412">
                  <c:v>97.612176674111737</c:v>
                </c:pt>
                <c:pt idx="5413">
                  <c:v>98.949701126103704</c:v>
                </c:pt>
                <c:pt idx="5414">
                  <c:v>99.402336439946538</c:v>
                </c:pt>
                <c:pt idx="5415">
                  <c:v>99.512002833159926</c:v>
                </c:pt>
                <c:pt idx="5416">
                  <c:v>99.364913953380636</c:v>
                </c:pt>
                <c:pt idx="5417">
                  <c:v>96.201601113526067</c:v>
                </c:pt>
                <c:pt idx="5418">
                  <c:v>97.75450335266153</c:v>
                </c:pt>
                <c:pt idx="5419">
                  <c:v>98.604542505634768</c:v>
                </c:pt>
                <c:pt idx="5420">
                  <c:v>103.51043585239285</c:v>
                </c:pt>
                <c:pt idx="5421">
                  <c:v>103.62188251005328</c:v>
                </c:pt>
                <c:pt idx="5422">
                  <c:v>100.00440103556745</c:v>
                </c:pt>
                <c:pt idx="5423">
                  <c:v>101.27259191078873</c:v>
                </c:pt>
                <c:pt idx="5424">
                  <c:v>101.87129960653456</c:v>
                </c:pt>
                <c:pt idx="5425">
                  <c:v>102.45662950773546</c:v>
                </c:pt>
                <c:pt idx="5426">
                  <c:v>107.96541394655229</c:v>
                </c:pt>
                <c:pt idx="5427">
                  <c:v>106.9445162287124</c:v>
                </c:pt>
                <c:pt idx="5428">
                  <c:v>104.542405510645</c:v>
                </c:pt>
                <c:pt idx="5429">
                  <c:v>105.70572189838022</c:v>
                </c:pt>
                <c:pt idx="5430">
                  <c:v>106.59067865567283</c:v>
                </c:pt>
                <c:pt idx="5431">
                  <c:v>106.96003569864715</c:v>
                </c:pt>
                <c:pt idx="5432">
                  <c:v>101.09618677938752</c:v>
                </c:pt>
                <c:pt idx="5433">
                  <c:v>105.10365235606076</c:v>
                </c:pt>
                <c:pt idx="5434">
                  <c:v>104.47040919590047</c:v>
                </c:pt>
                <c:pt idx="5435">
                  <c:v>104.78356702742772</c:v>
                </c:pt>
                <c:pt idx="5436">
                  <c:v>104.774508079434</c:v>
                </c:pt>
                <c:pt idx="5437">
                  <c:v>104.73165076749716</c:v>
                </c:pt>
                <c:pt idx="5438">
                  <c:v>104.77780634131888</c:v>
                </c:pt>
                <c:pt idx="5439">
                  <c:v>96.60073994383049</c:v>
                </c:pt>
                <c:pt idx="5440">
                  <c:v>95.98019768468032</c:v>
                </c:pt>
                <c:pt idx="5441">
                  <c:v>97.185204537007337</c:v>
                </c:pt>
                <c:pt idx="5442">
                  <c:v>104.99202021448956</c:v>
                </c:pt>
                <c:pt idx="5443">
                  <c:v>111.31372224839758</c:v>
                </c:pt>
                <c:pt idx="5444">
                  <c:v>110.09479957951011</c:v>
                </c:pt>
                <c:pt idx="5445">
                  <c:v>108.26389979930812</c:v>
                </c:pt>
                <c:pt idx="5446">
                  <c:v>108.62566152101003</c:v>
                </c:pt>
                <c:pt idx="5447">
                  <c:v>108.93219143326665</c:v>
                </c:pt>
                <c:pt idx="5448">
                  <c:v>109.13756498782872</c:v>
                </c:pt>
                <c:pt idx="5449">
                  <c:v>109.31770410573527</c:v>
                </c:pt>
                <c:pt idx="5450">
                  <c:v>103.31111455068178</c:v>
                </c:pt>
                <c:pt idx="5451">
                  <c:v>103.74947727986266</c:v>
                </c:pt>
                <c:pt idx="5452">
                  <c:v>104.57537608602637</c:v>
                </c:pt>
                <c:pt idx="5453">
                  <c:v>104.82132756581012</c:v>
                </c:pt>
                <c:pt idx="5454">
                  <c:v>104.97434132971595</c:v>
                </c:pt>
                <c:pt idx="5455">
                  <c:v>105.12239672687127</c:v>
                </c:pt>
                <c:pt idx="5456">
                  <c:v>96.146965550025868</c:v>
                </c:pt>
                <c:pt idx="5457">
                  <c:v>95.968175315825619</c:v>
                </c:pt>
                <c:pt idx="5458">
                  <c:v>96.439853556533876</c:v>
                </c:pt>
                <c:pt idx="5459">
                  <c:v>96.545719147186304</c:v>
                </c:pt>
                <c:pt idx="5460">
                  <c:v>96.407352395956849</c:v>
                </c:pt>
                <c:pt idx="5461">
                  <c:v>96.240861812306107</c:v>
                </c:pt>
                <c:pt idx="5462">
                  <c:v>96.637128582108787</c:v>
                </c:pt>
                <c:pt idx="5463">
                  <c:v>83.06852039673241</c:v>
                </c:pt>
                <c:pt idx="5464">
                  <c:v>82.172424728121328</c:v>
                </c:pt>
                <c:pt idx="5465">
                  <c:v>82.419819430212527</c:v>
                </c:pt>
                <c:pt idx="5466">
                  <c:v>82.558254082056308</c:v>
                </c:pt>
                <c:pt idx="5467">
                  <c:v>82.465710248453746</c:v>
                </c:pt>
                <c:pt idx="5468">
                  <c:v>82.31484313674585</c:v>
                </c:pt>
                <c:pt idx="5469">
                  <c:v>82.388251826373661</c:v>
                </c:pt>
                <c:pt idx="5470">
                  <c:v>82.256961971995608</c:v>
                </c:pt>
                <c:pt idx="5471">
                  <c:v>78.981696491577381</c:v>
                </c:pt>
                <c:pt idx="5472">
                  <c:v>60.994507015393452</c:v>
                </c:pt>
                <c:pt idx="5473">
                  <c:v>29.735395316918076</c:v>
                </c:pt>
                <c:pt idx="5474">
                  <c:v>21.760849192828612</c:v>
                </c:pt>
                <c:pt idx="5475">
                  <c:v>6.749300206459151</c:v>
                </c:pt>
                <c:pt idx="5476">
                  <c:v>3.370707123466858</c:v>
                </c:pt>
                <c:pt idx="5477">
                  <c:v>2.8538805220572385</c:v>
                </c:pt>
                <c:pt idx="5478">
                  <c:v>2.6185160711725515</c:v>
                </c:pt>
                <c:pt idx="5479">
                  <c:v>2.392250968157879</c:v>
                </c:pt>
                <c:pt idx="5480">
                  <c:v>2.1758849204601352</c:v>
                </c:pt>
                <c:pt idx="5481">
                  <c:v>1.9702697345589608</c:v>
                </c:pt>
                <c:pt idx="5482">
                  <c:v>1.7914239699512069</c:v>
                </c:pt>
                <c:pt idx="5483">
                  <c:v>1.6832913587835983</c:v>
                </c:pt>
                <c:pt idx="5484">
                  <c:v>1.6169839119804732</c:v>
                </c:pt>
                <c:pt idx="5485">
                  <c:v>2.1935904042520895</c:v>
                </c:pt>
                <c:pt idx="5486">
                  <c:v>2.1899394065623032</c:v>
                </c:pt>
                <c:pt idx="5487">
                  <c:v>11.326420995861545</c:v>
                </c:pt>
                <c:pt idx="5488">
                  <c:v>15.28829992345451</c:v>
                </c:pt>
                <c:pt idx="5489">
                  <c:v>17.353921452573509</c:v>
                </c:pt>
                <c:pt idx="5490">
                  <c:v>19.49970026499749</c:v>
                </c:pt>
                <c:pt idx="5491">
                  <c:v>20.900054747274154</c:v>
                </c:pt>
                <c:pt idx="5492">
                  <c:v>21.3573789950789</c:v>
                </c:pt>
                <c:pt idx="5493">
                  <c:v>21.351800504400071</c:v>
                </c:pt>
                <c:pt idx="5494">
                  <c:v>21.248587969434443</c:v>
                </c:pt>
                <c:pt idx="5495">
                  <c:v>21.188546717621499</c:v>
                </c:pt>
                <c:pt idx="5496">
                  <c:v>21.1226539866304</c:v>
                </c:pt>
                <c:pt idx="5497">
                  <c:v>21.317833526284403</c:v>
                </c:pt>
                <c:pt idx="5498">
                  <c:v>21.273844107074776</c:v>
                </c:pt>
                <c:pt idx="5499">
                  <c:v>21.410031904204953</c:v>
                </c:pt>
                <c:pt idx="5500">
                  <c:v>21.353957372919901</c:v>
                </c:pt>
                <c:pt idx="5501">
                  <c:v>21.435197376829002</c:v>
                </c:pt>
                <c:pt idx="5502">
                  <c:v>21.415786343305314</c:v>
                </c:pt>
                <c:pt idx="5503">
                  <c:v>21.609536190805162</c:v>
                </c:pt>
                <c:pt idx="5504">
                  <c:v>21.754303097388537</c:v>
                </c:pt>
                <c:pt idx="5505">
                  <c:v>21.847533632368943</c:v>
                </c:pt>
                <c:pt idx="5506">
                  <c:v>21.830881929163596</c:v>
                </c:pt>
                <c:pt idx="5507">
                  <c:v>21.923476657773044</c:v>
                </c:pt>
                <c:pt idx="5508">
                  <c:v>21.994164325599524</c:v>
                </c:pt>
                <c:pt idx="5509">
                  <c:v>22.048475737010889</c:v>
                </c:pt>
                <c:pt idx="5510">
                  <c:v>22.087530050984522</c:v>
                </c:pt>
                <c:pt idx="5511">
                  <c:v>22.110211672062555</c:v>
                </c:pt>
                <c:pt idx="5512">
                  <c:v>22.124223531046567</c:v>
                </c:pt>
                <c:pt idx="5513">
                  <c:v>22.139740327070168</c:v>
                </c:pt>
                <c:pt idx="5514">
                  <c:v>22.135842765334132</c:v>
                </c:pt>
                <c:pt idx="5515">
                  <c:v>21.869598994032273</c:v>
                </c:pt>
                <c:pt idx="5516">
                  <c:v>21.895854994711275</c:v>
                </c:pt>
                <c:pt idx="5517">
                  <c:v>19.883640040135688</c:v>
                </c:pt>
                <c:pt idx="5518">
                  <c:v>17.640134745555791</c:v>
                </c:pt>
                <c:pt idx="5519">
                  <c:v>15.780449816479036</c:v>
                </c:pt>
                <c:pt idx="5520">
                  <c:v>12.739056066502528</c:v>
                </c:pt>
                <c:pt idx="5521">
                  <c:v>9.32980383355555</c:v>
                </c:pt>
                <c:pt idx="5522">
                  <c:v>6.9705645222125741</c:v>
                </c:pt>
                <c:pt idx="5523">
                  <c:v>5.804720027522885</c:v>
                </c:pt>
                <c:pt idx="5524">
                  <c:v>5.1546279930838663</c:v>
                </c:pt>
                <c:pt idx="5525">
                  <c:v>3.2319319358221517</c:v>
                </c:pt>
                <c:pt idx="5526">
                  <c:v>3.0837807367598296</c:v>
                </c:pt>
                <c:pt idx="5527">
                  <c:v>2.8790127643283827</c:v>
                </c:pt>
                <c:pt idx="5528">
                  <c:v>2.7898285806659509</c:v>
                </c:pt>
                <c:pt idx="5529">
                  <c:v>2.688989517438495</c:v>
                </c:pt>
                <c:pt idx="5530">
                  <c:v>2.560320871220449</c:v>
                </c:pt>
                <c:pt idx="5531">
                  <c:v>2.5554630379829653</c:v>
                </c:pt>
                <c:pt idx="5532">
                  <c:v>2.529607391696302</c:v>
                </c:pt>
                <c:pt idx="5533">
                  <c:v>2.2520807539033965</c:v>
                </c:pt>
                <c:pt idx="5534">
                  <c:v>2.0536308048008993</c:v>
                </c:pt>
                <c:pt idx="5535">
                  <c:v>1.9608855404577761</c:v>
                </c:pt>
                <c:pt idx="5536">
                  <c:v>1.9235175120075565</c:v>
                </c:pt>
                <c:pt idx="5537">
                  <c:v>1.8286651967298262</c:v>
                </c:pt>
                <c:pt idx="5538">
                  <c:v>1.7818483090962702</c:v>
                </c:pt>
                <c:pt idx="5539">
                  <c:v>1.8106677927418624</c:v>
                </c:pt>
                <c:pt idx="5540">
                  <c:v>1.8268910828943161</c:v>
                </c:pt>
                <c:pt idx="5541">
                  <c:v>1.8312694332389712</c:v>
                </c:pt>
                <c:pt idx="5542">
                  <c:v>1.8243870427108808</c:v>
                </c:pt>
                <c:pt idx="5543">
                  <c:v>1.8550614976391873</c:v>
                </c:pt>
                <c:pt idx="5544">
                  <c:v>1.7669239862414921</c:v>
                </c:pt>
                <c:pt idx="5545">
                  <c:v>1.7152381719826737</c:v>
                </c:pt>
                <c:pt idx="5546">
                  <c:v>1.6926303930170341</c:v>
                </c:pt>
                <c:pt idx="5547">
                  <c:v>1.6925666420582324</c:v>
                </c:pt>
                <c:pt idx="5548">
                  <c:v>1.693972929984181</c:v>
                </c:pt>
                <c:pt idx="5549">
                  <c:v>1.6935838701252148</c:v>
                </c:pt>
                <c:pt idx="5550">
                  <c:v>1.6881947962340407</c:v>
                </c:pt>
                <c:pt idx="5551">
                  <c:v>1.6762756868857822</c:v>
                </c:pt>
                <c:pt idx="5552">
                  <c:v>1.3031861649471179</c:v>
                </c:pt>
                <c:pt idx="5553">
                  <c:v>1.1009514175442396</c:v>
                </c:pt>
                <c:pt idx="5554">
                  <c:v>1.1556928748647941</c:v>
                </c:pt>
                <c:pt idx="5555">
                  <c:v>1.2346239885670567</c:v>
                </c:pt>
                <c:pt idx="5556">
                  <c:v>1.352601238092886</c:v>
                </c:pt>
                <c:pt idx="5557">
                  <c:v>1.4719614638223877</c:v>
                </c:pt>
                <c:pt idx="5558">
                  <c:v>1.5902963139575594</c:v>
                </c:pt>
                <c:pt idx="5559">
                  <c:v>1.6670727458165961</c:v>
                </c:pt>
                <c:pt idx="5560">
                  <c:v>1.6443652933782762</c:v>
                </c:pt>
                <c:pt idx="5561">
                  <c:v>2.034120600804012</c:v>
                </c:pt>
                <c:pt idx="5562">
                  <c:v>2.0202849323335825</c:v>
                </c:pt>
                <c:pt idx="5563">
                  <c:v>2.0127775674710247</c:v>
                </c:pt>
                <c:pt idx="5564">
                  <c:v>2.0116910190882136</c:v>
                </c:pt>
                <c:pt idx="5565">
                  <c:v>2.0138533082206642</c:v>
                </c:pt>
                <c:pt idx="5566">
                  <c:v>2.0184430366735864</c:v>
                </c:pt>
                <c:pt idx="5567">
                  <c:v>2.0241767239289126</c:v>
                </c:pt>
                <c:pt idx="5568">
                  <c:v>2.0240770511602424</c:v>
                </c:pt>
                <c:pt idx="5569">
                  <c:v>1.9944975577642472</c:v>
                </c:pt>
                <c:pt idx="5570">
                  <c:v>1.9609636695484944</c:v>
                </c:pt>
                <c:pt idx="5571">
                  <c:v>1.9607301112944657</c:v>
                </c:pt>
                <c:pt idx="5572">
                  <c:v>2.0635182306625373</c:v>
                </c:pt>
                <c:pt idx="5573">
                  <c:v>1.9880825439995737</c:v>
                </c:pt>
                <c:pt idx="5574">
                  <c:v>1.9351029304783105</c:v>
                </c:pt>
                <c:pt idx="5575">
                  <c:v>1.9549811054970385</c:v>
                </c:pt>
                <c:pt idx="5576">
                  <c:v>1.9463990391738299</c:v>
                </c:pt>
                <c:pt idx="5577">
                  <c:v>1.9380315495118061</c:v>
                </c:pt>
                <c:pt idx="5578">
                  <c:v>1.9337054751875666</c:v>
                </c:pt>
                <c:pt idx="5579">
                  <c:v>1.9323714977646205</c:v>
                </c:pt>
                <c:pt idx="5580">
                  <c:v>1.9331509651205814</c:v>
                </c:pt>
                <c:pt idx="5581">
                  <c:v>1.9363027567940858</c:v>
                </c:pt>
                <c:pt idx="5582">
                  <c:v>1.9375790422382051</c:v>
                </c:pt>
                <c:pt idx="5583">
                  <c:v>1.9326671814609042</c:v>
                </c:pt>
                <c:pt idx="5584">
                  <c:v>1.921750964787079</c:v>
                </c:pt>
                <c:pt idx="5585">
                  <c:v>1.89706300148957</c:v>
                </c:pt>
                <c:pt idx="5586">
                  <c:v>1.8433633502229605</c:v>
                </c:pt>
                <c:pt idx="5587">
                  <c:v>1.7776517201912743</c:v>
                </c:pt>
                <c:pt idx="5588">
                  <c:v>1.6942081781186777</c:v>
                </c:pt>
                <c:pt idx="5589">
                  <c:v>1.6268796834722745</c:v>
                </c:pt>
                <c:pt idx="5590">
                  <c:v>1.6438280887677281</c:v>
                </c:pt>
                <c:pt idx="5591">
                  <c:v>1.0666997501139592</c:v>
                </c:pt>
                <c:pt idx="5592">
                  <c:v>1.0860555750563277</c:v>
                </c:pt>
                <c:pt idx="5593">
                  <c:v>1.1062129124157707</c:v>
                </c:pt>
                <c:pt idx="5594">
                  <c:v>1.1260277348641345</c:v>
                </c:pt>
                <c:pt idx="5595">
                  <c:v>1.1465602026478412</c:v>
                </c:pt>
                <c:pt idx="5596">
                  <c:v>1.1696881468131737</c:v>
                </c:pt>
                <c:pt idx="5597">
                  <c:v>1.1951510292874763</c:v>
                </c:pt>
                <c:pt idx="5598">
                  <c:v>1.2244241912087144</c:v>
                </c:pt>
                <c:pt idx="5599">
                  <c:v>1.2565067562388559</c:v>
                </c:pt>
                <c:pt idx="5600">
                  <c:v>1.2866732127271794</c:v>
                </c:pt>
                <c:pt idx="5601">
                  <c:v>1.7352541606217442</c:v>
                </c:pt>
                <c:pt idx="5602">
                  <c:v>1.6480246069173139</c:v>
                </c:pt>
                <c:pt idx="5603">
                  <c:v>1.68081601180352</c:v>
                </c:pt>
                <c:pt idx="5604">
                  <c:v>1.8514737453065864</c:v>
                </c:pt>
                <c:pt idx="5605">
                  <c:v>2.0599904870395491</c:v>
                </c:pt>
                <c:pt idx="5606">
                  <c:v>2.2339869567199422</c:v>
                </c:pt>
                <c:pt idx="5607">
                  <c:v>2.3986540422447384</c:v>
                </c:pt>
                <c:pt idx="5608">
                  <c:v>2.5388733266079058</c:v>
                </c:pt>
                <c:pt idx="5609">
                  <c:v>2.6517441714145558</c:v>
                </c:pt>
                <c:pt idx="5610">
                  <c:v>2.7424618255588995</c:v>
                </c:pt>
                <c:pt idx="5611">
                  <c:v>2.8199426645694841</c:v>
                </c:pt>
                <c:pt idx="5612">
                  <c:v>2.854898170041726</c:v>
                </c:pt>
                <c:pt idx="5613">
                  <c:v>2.8985979299884619</c:v>
                </c:pt>
                <c:pt idx="5614">
                  <c:v>2.9560418609108194</c:v>
                </c:pt>
                <c:pt idx="5615">
                  <c:v>3.2350251896319744</c:v>
                </c:pt>
                <c:pt idx="5616">
                  <c:v>3.2448146300117697</c:v>
                </c:pt>
                <c:pt idx="5617">
                  <c:v>3.2346843031404688</c:v>
                </c:pt>
                <c:pt idx="5618">
                  <c:v>3.4392124415371446</c:v>
                </c:pt>
                <c:pt idx="5619">
                  <c:v>3.7476897741365804</c:v>
                </c:pt>
                <c:pt idx="5620">
                  <c:v>3.7436095829590412</c:v>
                </c:pt>
                <c:pt idx="5621">
                  <c:v>3.7199341985049288</c:v>
                </c:pt>
                <c:pt idx="5622">
                  <c:v>3.9478874571706566</c:v>
                </c:pt>
                <c:pt idx="5623">
                  <c:v>4.0247858511469836</c:v>
                </c:pt>
                <c:pt idx="5624">
                  <c:v>3.9868874798806635</c:v>
                </c:pt>
                <c:pt idx="5625">
                  <c:v>3.9419243856448758</c:v>
                </c:pt>
                <c:pt idx="5626">
                  <c:v>3.8895684203968299</c:v>
                </c:pt>
                <c:pt idx="5627">
                  <c:v>3.8287122872096266</c:v>
                </c:pt>
                <c:pt idx="5628">
                  <c:v>3.7885884573345519</c:v>
                </c:pt>
                <c:pt idx="5629">
                  <c:v>3.7429819368696218</c:v>
                </c:pt>
                <c:pt idx="5630">
                  <c:v>3.694131003193009</c:v>
                </c:pt>
                <c:pt idx="5631">
                  <c:v>3.3118667478703419</c:v>
                </c:pt>
                <c:pt idx="5632">
                  <c:v>3.1239328666888881</c:v>
                </c:pt>
                <c:pt idx="5633">
                  <c:v>3.1696085308720061</c:v>
                </c:pt>
                <c:pt idx="5634">
                  <c:v>3.2135946404578899</c:v>
                </c:pt>
                <c:pt idx="5635">
                  <c:v>3.2262476527264434</c:v>
                </c:pt>
                <c:pt idx="5636">
                  <c:v>3.2339509076007449</c:v>
                </c:pt>
                <c:pt idx="5637">
                  <c:v>3.2366061368987289</c:v>
                </c:pt>
                <c:pt idx="5638">
                  <c:v>3.234408099981454</c:v>
                </c:pt>
                <c:pt idx="5639">
                  <c:v>3.2313973941337517</c:v>
                </c:pt>
                <c:pt idx="5640">
                  <c:v>3.2280028991597391</c:v>
                </c:pt>
                <c:pt idx="5641">
                  <c:v>3.2235562994254705</c:v>
                </c:pt>
                <c:pt idx="5642">
                  <c:v>3.2538100197089102</c:v>
                </c:pt>
                <c:pt idx="5643">
                  <c:v>3.2775213335490085</c:v>
                </c:pt>
                <c:pt idx="5644">
                  <c:v>3.2864712712624957</c:v>
                </c:pt>
                <c:pt idx="5645">
                  <c:v>3.0709520214935409</c:v>
                </c:pt>
                <c:pt idx="5646">
                  <c:v>3.0971930046156837</c:v>
                </c:pt>
                <c:pt idx="5647">
                  <c:v>3.1166364241008777</c:v>
                </c:pt>
                <c:pt idx="5648">
                  <c:v>2.8160526985057333</c:v>
                </c:pt>
                <c:pt idx="5649">
                  <c:v>2.1844893410645745</c:v>
                </c:pt>
                <c:pt idx="5650">
                  <c:v>2.0600378519416855</c:v>
                </c:pt>
                <c:pt idx="5651">
                  <c:v>2.0835114562979249</c:v>
                </c:pt>
                <c:pt idx="5652">
                  <c:v>1.8061682456365133</c:v>
                </c:pt>
                <c:pt idx="5653">
                  <c:v>1.4234854776943733</c:v>
                </c:pt>
                <c:pt idx="5654">
                  <c:v>1.5145848853703456</c:v>
                </c:pt>
                <c:pt idx="5655">
                  <c:v>1.5714743419489503</c:v>
                </c:pt>
                <c:pt idx="5656">
                  <c:v>1.5936922330955072</c:v>
                </c:pt>
                <c:pt idx="5657">
                  <c:v>1.5879468952927731</c:v>
                </c:pt>
                <c:pt idx="5658">
                  <c:v>1.6511833977570909</c:v>
                </c:pt>
                <c:pt idx="5659">
                  <c:v>1.7013743092931752</c:v>
                </c:pt>
                <c:pt idx="5660">
                  <c:v>1.7424168220901728</c:v>
                </c:pt>
                <c:pt idx="5661">
                  <c:v>1.7639102071957724</c:v>
                </c:pt>
                <c:pt idx="5662">
                  <c:v>1.7665403096202563</c:v>
                </c:pt>
                <c:pt idx="5663">
                  <c:v>2.6417309730323586</c:v>
                </c:pt>
                <c:pt idx="5664">
                  <c:v>2.6362708282274308</c:v>
                </c:pt>
                <c:pt idx="5665">
                  <c:v>2.6461869734735068</c:v>
                </c:pt>
                <c:pt idx="5666">
                  <c:v>2.9736609045087499</c:v>
                </c:pt>
                <c:pt idx="5667">
                  <c:v>2.9543934324842711</c:v>
                </c:pt>
                <c:pt idx="5668">
                  <c:v>2.9401822137420588</c:v>
                </c:pt>
                <c:pt idx="5669">
                  <c:v>2.9251989135602114</c:v>
                </c:pt>
                <c:pt idx="5670">
                  <c:v>2.9090155903657999</c:v>
                </c:pt>
                <c:pt idx="5671">
                  <c:v>2.9723654661443351</c:v>
                </c:pt>
                <c:pt idx="5672">
                  <c:v>3.1173193566797894</c:v>
                </c:pt>
                <c:pt idx="5673">
                  <c:v>3.1450959615696576</c:v>
                </c:pt>
                <c:pt idx="5674">
                  <c:v>3.1004490472646906</c:v>
                </c:pt>
                <c:pt idx="5675">
                  <c:v>3.0028975757749397</c:v>
                </c:pt>
                <c:pt idx="5676">
                  <c:v>2.9305519103488549</c:v>
                </c:pt>
                <c:pt idx="5677">
                  <c:v>2.8600316003695014</c:v>
                </c:pt>
                <c:pt idx="5678">
                  <c:v>2.8357013244115148</c:v>
                </c:pt>
                <c:pt idx="5679">
                  <c:v>2.8718802061632416</c:v>
                </c:pt>
                <c:pt idx="5680">
                  <c:v>2.9467978536483019</c:v>
                </c:pt>
                <c:pt idx="5681">
                  <c:v>3.0566652705875454</c:v>
                </c:pt>
                <c:pt idx="5682">
                  <c:v>3.1336048591937504</c:v>
                </c:pt>
                <c:pt idx="5683">
                  <c:v>3.1843608838935551</c:v>
                </c:pt>
                <c:pt idx="5684">
                  <c:v>3.1769984502899504</c:v>
                </c:pt>
                <c:pt idx="5685">
                  <c:v>3.1670286084515813</c:v>
                </c:pt>
                <c:pt idx="5686">
                  <c:v>3.1560954873140878</c:v>
                </c:pt>
                <c:pt idx="5687">
                  <c:v>3.1462626720634175</c:v>
                </c:pt>
                <c:pt idx="5688">
                  <c:v>3.1362951315384211</c:v>
                </c:pt>
                <c:pt idx="5689">
                  <c:v>3.1272058707371797</c:v>
                </c:pt>
                <c:pt idx="5690">
                  <c:v>3.1183012088321633</c:v>
                </c:pt>
                <c:pt idx="5691">
                  <c:v>3.1136268785537164</c:v>
                </c:pt>
                <c:pt idx="5692">
                  <c:v>3.1130444588335271</c:v>
                </c:pt>
                <c:pt idx="5693">
                  <c:v>2.4431086102306936</c:v>
                </c:pt>
                <c:pt idx="5694">
                  <c:v>2.4395509261706874</c:v>
                </c:pt>
                <c:pt idx="5695">
                  <c:v>2.4113301477552218</c:v>
                </c:pt>
                <c:pt idx="5696">
                  <c:v>1.8983651438581715</c:v>
                </c:pt>
                <c:pt idx="5697">
                  <c:v>1.8917794214462402</c:v>
                </c:pt>
                <c:pt idx="5698">
                  <c:v>1.8956509460634574</c:v>
                </c:pt>
                <c:pt idx="5699">
                  <c:v>1.8992957484492259</c:v>
                </c:pt>
                <c:pt idx="5700">
                  <c:v>1.903117064788072</c:v>
                </c:pt>
                <c:pt idx="5701">
                  <c:v>1.6627776163578749</c:v>
                </c:pt>
                <c:pt idx="5702">
                  <c:v>1.4089321818279479</c:v>
                </c:pt>
                <c:pt idx="5703">
                  <c:v>1.292961700773561</c:v>
                </c:pt>
                <c:pt idx="5704">
                  <c:v>1.2743325482862418</c:v>
                </c:pt>
                <c:pt idx="5705">
                  <c:v>1.2738596864008469</c:v>
                </c:pt>
                <c:pt idx="5706">
                  <c:v>1.1911574402570524</c:v>
                </c:pt>
                <c:pt idx="5707">
                  <c:v>3.617408159664909</c:v>
                </c:pt>
                <c:pt idx="5708">
                  <c:v>4.6368541967582546</c:v>
                </c:pt>
                <c:pt idx="5709">
                  <c:v>5.1833948790728908</c:v>
                </c:pt>
                <c:pt idx="5710">
                  <c:v>5.1618235706992506</c:v>
                </c:pt>
                <c:pt idx="5711">
                  <c:v>5.0976127491697154</c:v>
                </c:pt>
                <c:pt idx="5712">
                  <c:v>5.0929983154361933</c:v>
                </c:pt>
                <c:pt idx="5713">
                  <c:v>5.013507462649522</c:v>
                </c:pt>
                <c:pt idx="5714">
                  <c:v>4.9985985006326725</c:v>
                </c:pt>
                <c:pt idx="5715">
                  <c:v>5.0020646664171027</c:v>
                </c:pt>
                <c:pt idx="5716">
                  <c:v>5.0356402081911167</c:v>
                </c:pt>
                <c:pt idx="5717">
                  <c:v>5.0766877978567679</c:v>
                </c:pt>
                <c:pt idx="5718">
                  <c:v>5.1146213477965752</c:v>
                </c:pt>
                <c:pt idx="5719">
                  <c:v>5.1484868714473748</c:v>
                </c:pt>
                <c:pt idx="5720">
                  <c:v>5.1785103000098314</c:v>
                </c:pt>
                <c:pt idx="5721">
                  <c:v>5.2050437918873707</c:v>
                </c:pt>
                <c:pt idx="5722">
                  <c:v>5.2236938943218005</c:v>
                </c:pt>
                <c:pt idx="5723">
                  <c:v>5.2375886445635542</c:v>
                </c:pt>
                <c:pt idx="5724">
                  <c:v>5.2490369739018226</c:v>
                </c:pt>
                <c:pt idx="5725">
                  <c:v>5.2584554154801753</c:v>
                </c:pt>
                <c:pt idx="5726">
                  <c:v>5.265963580104307</c:v>
                </c:pt>
                <c:pt idx="5727">
                  <c:v>5.2704508109601713</c:v>
                </c:pt>
                <c:pt idx="5728">
                  <c:v>5.273726248997896</c:v>
                </c:pt>
                <c:pt idx="5729">
                  <c:v>5.2757746172257702</c:v>
                </c:pt>
                <c:pt idx="5730">
                  <c:v>5.3304734178718194</c:v>
                </c:pt>
                <c:pt idx="5731">
                  <c:v>5.4815714526173531</c:v>
                </c:pt>
                <c:pt idx="5732">
                  <c:v>5.5781105585793309</c:v>
                </c:pt>
                <c:pt idx="5733">
                  <c:v>5.6104563638327951</c:v>
                </c:pt>
                <c:pt idx="5734">
                  <c:v>5.6123820051157471</c:v>
                </c:pt>
                <c:pt idx="5735">
                  <c:v>5.6108251444773405</c:v>
                </c:pt>
                <c:pt idx="5736">
                  <c:v>5.6127379035678633</c:v>
                </c:pt>
                <c:pt idx="5737">
                  <c:v>4.5927998735758901</c:v>
                </c:pt>
                <c:pt idx="5738">
                  <c:v>3.5880352625735354</c:v>
                </c:pt>
                <c:pt idx="5739">
                  <c:v>2.5182974742873592</c:v>
                </c:pt>
                <c:pt idx="5740">
                  <c:v>2.3404229014452946</c:v>
                </c:pt>
                <c:pt idx="5741">
                  <c:v>2.3364696735736588</c:v>
                </c:pt>
                <c:pt idx="5742">
                  <c:v>1.9566550730528733</c:v>
                </c:pt>
                <c:pt idx="5743">
                  <c:v>1.9091312503051958</c:v>
                </c:pt>
                <c:pt idx="5744">
                  <c:v>1.9075203487662511</c:v>
                </c:pt>
                <c:pt idx="5745">
                  <c:v>1.919000843421552</c:v>
                </c:pt>
                <c:pt idx="5746">
                  <c:v>1.9211463290357327</c:v>
                </c:pt>
                <c:pt idx="5747">
                  <c:v>1.9149506116072013</c:v>
                </c:pt>
                <c:pt idx="5748">
                  <c:v>1.9154624552662844</c:v>
                </c:pt>
                <c:pt idx="5749">
                  <c:v>1.9160028590613369</c:v>
                </c:pt>
                <c:pt idx="5750">
                  <c:v>1.9167841539109149</c:v>
                </c:pt>
                <c:pt idx="5751">
                  <c:v>1.9177664998871189</c:v>
                </c:pt>
                <c:pt idx="5752">
                  <c:v>1.9246675060755765</c:v>
                </c:pt>
                <c:pt idx="5753">
                  <c:v>1.9345687633965174</c:v>
                </c:pt>
                <c:pt idx="5754">
                  <c:v>1.9495889835689817</c:v>
                </c:pt>
                <c:pt idx="5755">
                  <c:v>1.9565093936244982</c:v>
                </c:pt>
                <c:pt idx="5756">
                  <c:v>1.9544359526605866</c:v>
                </c:pt>
                <c:pt idx="5757">
                  <c:v>1.976537043217039</c:v>
                </c:pt>
                <c:pt idx="5758">
                  <c:v>2.0350208423520453</c:v>
                </c:pt>
                <c:pt idx="5759">
                  <c:v>2.0319206828012435</c:v>
                </c:pt>
                <c:pt idx="5760">
                  <c:v>1.9321821332151019</c:v>
                </c:pt>
                <c:pt idx="5761">
                  <c:v>1.560564044806436</c:v>
                </c:pt>
                <c:pt idx="5762">
                  <c:v>1.8227908687596968</c:v>
                </c:pt>
                <c:pt idx="5763">
                  <c:v>1.7501188514792698</c:v>
                </c:pt>
                <c:pt idx="5764">
                  <c:v>1.7730077990221966</c:v>
                </c:pt>
                <c:pt idx="5765">
                  <c:v>1.7898711708392272</c:v>
                </c:pt>
                <c:pt idx="5766">
                  <c:v>1.7869663797032753</c:v>
                </c:pt>
                <c:pt idx="5767">
                  <c:v>1.90016049777442</c:v>
                </c:pt>
                <c:pt idx="5768">
                  <c:v>1.851943995060958</c:v>
                </c:pt>
                <c:pt idx="5769">
                  <c:v>2.1715464960782955</c:v>
                </c:pt>
                <c:pt idx="5770">
                  <c:v>2.3463881527992334</c:v>
                </c:pt>
                <c:pt idx="5771">
                  <c:v>2.4723932092189171</c:v>
                </c:pt>
                <c:pt idx="5772">
                  <c:v>2.5619840086619385</c:v>
                </c:pt>
                <c:pt idx="5773">
                  <c:v>2.6213396748912849</c:v>
                </c:pt>
                <c:pt idx="5774">
                  <c:v>2.6586059452339681</c:v>
                </c:pt>
                <c:pt idx="5775">
                  <c:v>2.6790146022870842</c:v>
                </c:pt>
                <c:pt idx="5776">
                  <c:v>2.6867881040388766</c:v>
                </c:pt>
                <c:pt idx="5777">
                  <c:v>2.6842141649954985</c:v>
                </c:pt>
                <c:pt idx="5778">
                  <c:v>2.677769470703018</c:v>
                </c:pt>
                <c:pt idx="5779">
                  <c:v>2.6698335717644701</c:v>
                </c:pt>
                <c:pt idx="5780">
                  <c:v>2.6600864706820566</c:v>
                </c:pt>
                <c:pt idx="5781">
                  <c:v>2.6483876872948064</c:v>
                </c:pt>
                <c:pt idx="5782">
                  <c:v>2.6345298735039901</c:v>
                </c:pt>
                <c:pt idx="5783">
                  <c:v>2.6181778351434866</c:v>
                </c:pt>
                <c:pt idx="5784">
                  <c:v>2.5950669419893306</c:v>
                </c:pt>
                <c:pt idx="5785">
                  <c:v>2.5770680494530231</c:v>
                </c:pt>
                <c:pt idx="5786">
                  <c:v>2.5682289770043631</c:v>
                </c:pt>
                <c:pt idx="5787">
                  <c:v>2.5325019960965589</c:v>
                </c:pt>
                <c:pt idx="5788">
                  <c:v>2.4506541979646608</c:v>
                </c:pt>
                <c:pt idx="5789">
                  <c:v>2.4495408072512244</c:v>
                </c:pt>
                <c:pt idx="5790">
                  <c:v>2.4540167406739637</c:v>
                </c:pt>
                <c:pt idx="5791">
                  <c:v>2.4822046439707597</c:v>
                </c:pt>
                <c:pt idx="5792">
                  <c:v>1.9165865917760008</c:v>
                </c:pt>
                <c:pt idx="5793">
                  <c:v>1.9913221336030189</c:v>
                </c:pt>
                <c:pt idx="5794">
                  <c:v>2.0227605830735462</c:v>
                </c:pt>
                <c:pt idx="5795">
                  <c:v>1.957416135253701</c:v>
                </c:pt>
                <c:pt idx="5796">
                  <c:v>1.9297700892887573</c:v>
                </c:pt>
                <c:pt idx="5797">
                  <c:v>1.8901216176490334</c:v>
                </c:pt>
                <c:pt idx="5798">
                  <c:v>1.8910023616986875</c:v>
                </c:pt>
                <c:pt idx="5799">
                  <c:v>1.7013787611879532</c:v>
                </c:pt>
                <c:pt idx="5800">
                  <c:v>1.7465045522771974</c:v>
                </c:pt>
                <c:pt idx="5801">
                  <c:v>1.6163541056314412</c:v>
                </c:pt>
                <c:pt idx="5802">
                  <c:v>1.4956877836320568</c:v>
                </c:pt>
                <c:pt idx="5803">
                  <c:v>1.4151477199824272</c:v>
                </c:pt>
                <c:pt idx="5804">
                  <c:v>1.3657466176229467</c:v>
                </c:pt>
                <c:pt idx="5805">
                  <c:v>1.3451072980404151</c:v>
                </c:pt>
                <c:pt idx="5806">
                  <c:v>1.3490167077653159</c:v>
                </c:pt>
                <c:pt idx="5807">
                  <c:v>1.3805510214601699</c:v>
                </c:pt>
                <c:pt idx="5808">
                  <c:v>1.415710309994467</c:v>
                </c:pt>
                <c:pt idx="5809">
                  <c:v>1.4506098108297683</c:v>
                </c:pt>
                <c:pt idx="5810">
                  <c:v>1.4851457737415197</c:v>
                </c:pt>
                <c:pt idx="5811">
                  <c:v>1.5215590171351097</c:v>
                </c:pt>
                <c:pt idx="5812">
                  <c:v>1.559658487166026</c:v>
                </c:pt>
                <c:pt idx="5813">
                  <c:v>1.5962964605099608</c:v>
                </c:pt>
                <c:pt idx="5814">
                  <c:v>1.6367028121185239</c:v>
                </c:pt>
                <c:pt idx="5815">
                  <c:v>1.6751174518813956</c:v>
                </c:pt>
                <c:pt idx="5816">
                  <c:v>1.7111625713838523</c:v>
                </c:pt>
                <c:pt idx="5817">
                  <c:v>1.7473277623736001</c:v>
                </c:pt>
                <c:pt idx="5818">
                  <c:v>1.7830615072455527</c:v>
                </c:pt>
                <c:pt idx="5819">
                  <c:v>1.9991324060834417</c:v>
                </c:pt>
                <c:pt idx="5820">
                  <c:v>2.1702411115919302</c:v>
                </c:pt>
                <c:pt idx="5821">
                  <c:v>2.2901560563743404</c:v>
                </c:pt>
                <c:pt idx="5822">
                  <c:v>2.3806172767231772</c:v>
                </c:pt>
                <c:pt idx="5823">
                  <c:v>2.4457107814771977</c:v>
                </c:pt>
                <c:pt idx="5824">
                  <c:v>2.5187144952747085</c:v>
                </c:pt>
                <c:pt idx="5825">
                  <c:v>2.5276181882951065</c:v>
                </c:pt>
                <c:pt idx="5826">
                  <c:v>2.5311057822852963</c:v>
                </c:pt>
                <c:pt idx="5827">
                  <c:v>2.5339048758180698</c:v>
                </c:pt>
                <c:pt idx="5828">
                  <c:v>2.5319515858375801</c:v>
                </c:pt>
                <c:pt idx="5829">
                  <c:v>2.4924367308285875</c:v>
                </c:pt>
                <c:pt idx="5830">
                  <c:v>2.3868397906984353</c:v>
                </c:pt>
                <c:pt idx="5831">
                  <c:v>2.3722149065325806</c:v>
                </c:pt>
                <c:pt idx="5832">
                  <c:v>2.3725289036753998</c:v>
                </c:pt>
                <c:pt idx="5833">
                  <c:v>2.3826522070712746</c:v>
                </c:pt>
                <c:pt idx="5834">
                  <c:v>2.4144527259501616</c:v>
                </c:pt>
                <c:pt idx="5835">
                  <c:v>2.4769061472641392</c:v>
                </c:pt>
                <c:pt idx="5836">
                  <c:v>2.5783582055993333</c:v>
                </c:pt>
                <c:pt idx="5837">
                  <c:v>2.6640765046978001</c:v>
                </c:pt>
                <c:pt idx="5838">
                  <c:v>2.7215421691273236</c:v>
                </c:pt>
                <c:pt idx="5839">
                  <c:v>2.7456173811842124</c:v>
                </c:pt>
                <c:pt idx="5840">
                  <c:v>2.7508505813986974</c:v>
                </c:pt>
                <c:pt idx="5841">
                  <c:v>2.7373473357849725</c:v>
                </c:pt>
                <c:pt idx="5842">
                  <c:v>2.706074894503105</c:v>
                </c:pt>
                <c:pt idx="5843">
                  <c:v>2.6602597343384327</c:v>
                </c:pt>
                <c:pt idx="5844">
                  <c:v>2.5938051804146371</c:v>
                </c:pt>
                <c:pt idx="5845">
                  <c:v>2.516387985478481</c:v>
                </c:pt>
                <c:pt idx="5846">
                  <c:v>2.433294975944325</c:v>
                </c:pt>
                <c:pt idx="5847">
                  <c:v>2.3405385583384022</c:v>
                </c:pt>
                <c:pt idx="5848">
                  <c:v>2.2388044567452416</c:v>
                </c:pt>
                <c:pt idx="5849">
                  <c:v>2.192260780422064</c:v>
                </c:pt>
                <c:pt idx="5850">
                  <c:v>2.1468079160734272</c:v>
                </c:pt>
                <c:pt idx="5851">
                  <c:v>2.1028719623876184</c:v>
                </c:pt>
                <c:pt idx="5852">
                  <c:v>2.0601043046488057</c:v>
                </c:pt>
                <c:pt idx="5853">
                  <c:v>2.0070356025459568</c:v>
                </c:pt>
                <c:pt idx="5854">
                  <c:v>1.9506269008494848</c:v>
                </c:pt>
                <c:pt idx="5855">
                  <c:v>1.9342398270145396</c:v>
                </c:pt>
                <c:pt idx="5856">
                  <c:v>1.9106722719480731</c:v>
                </c:pt>
                <c:pt idx="5857">
                  <c:v>1.8790442126898921</c:v>
                </c:pt>
                <c:pt idx="5858">
                  <c:v>1.8276108356987535</c:v>
                </c:pt>
                <c:pt idx="5859">
                  <c:v>1.7741394687560563</c:v>
                </c:pt>
                <c:pt idx="5860">
                  <c:v>1.6990184676866762</c:v>
                </c:pt>
                <c:pt idx="5861">
                  <c:v>1.6758946666797834</c:v>
                </c:pt>
                <c:pt idx="5862">
                  <c:v>1.6868792874858982</c:v>
                </c:pt>
                <c:pt idx="5863">
                  <c:v>1.7131757026469578</c:v>
                </c:pt>
                <c:pt idx="5864">
                  <c:v>1.721846301695714</c:v>
                </c:pt>
                <c:pt idx="5865">
                  <c:v>1.6879052145297322</c:v>
                </c:pt>
                <c:pt idx="5866">
                  <c:v>1.5649355142078574</c:v>
                </c:pt>
                <c:pt idx="5867">
                  <c:v>1.419579433504103</c:v>
                </c:pt>
                <c:pt idx="5868">
                  <c:v>1.271984207680944</c:v>
                </c:pt>
                <c:pt idx="5869">
                  <c:v>1.2051667133969466</c:v>
                </c:pt>
                <c:pt idx="5870">
                  <c:v>1.2999475312744855</c:v>
                </c:pt>
                <c:pt idx="5871">
                  <c:v>1.3544411107100776</c:v>
                </c:pt>
                <c:pt idx="5872">
                  <c:v>1.3867350905117735</c:v>
                </c:pt>
                <c:pt idx="5873">
                  <c:v>1.4031473919802708</c:v>
                </c:pt>
                <c:pt idx="5874">
                  <c:v>1.422458779364498</c:v>
                </c:pt>
                <c:pt idx="5875">
                  <c:v>1.4509299225863002</c:v>
                </c:pt>
                <c:pt idx="5876">
                  <c:v>1.4691576776914517</c:v>
                </c:pt>
                <c:pt idx="5877">
                  <c:v>1.480114594547935</c:v>
                </c:pt>
                <c:pt idx="5878">
                  <c:v>1.4863408367758029</c:v>
                </c:pt>
                <c:pt idx="5879">
                  <c:v>1.480543593110865</c:v>
                </c:pt>
                <c:pt idx="5880">
                  <c:v>1.4787440479424359</c:v>
                </c:pt>
                <c:pt idx="5881">
                  <c:v>1.4780267874167425</c:v>
                </c:pt>
                <c:pt idx="5882">
                  <c:v>1.4803583761741148</c:v>
                </c:pt>
                <c:pt idx="5883">
                  <c:v>1.4824875621166029</c:v>
                </c:pt>
                <c:pt idx="5884">
                  <c:v>1.4862963317726927</c:v>
                </c:pt>
                <c:pt idx="5885">
                  <c:v>1.5577278695629682</c:v>
                </c:pt>
                <c:pt idx="5886">
                  <c:v>1.632682685832044</c:v>
                </c:pt>
                <c:pt idx="5887">
                  <c:v>1.7037216453344994</c:v>
                </c:pt>
                <c:pt idx="5888">
                  <c:v>1.7652662187279371</c:v>
                </c:pt>
                <c:pt idx="5889">
                  <c:v>1.8273770617157419</c:v>
                </c:pt>
                <c:pt idx="5890">
                  <c:v>1.8906926216722508</c:v>
                </c:pt>
                <c:pt idx="5891">
                  <c:v>1.9522980491953636</c:v>
                </c:pt>
                <c:pt idx="5892">
                  <c:v>2.0087283660273703</c:v>
                </c:pt>
                <c:pt idx="5893">
                  <c:v>2.0084684280426193</c:v>
                </c:pt>
                <c:pt idx="5894">
                  <c:v>2.0507470764736713</c:v>
                </c:pt>
                <c:pt idx="5895">
                  <c:v>2.2179707966156661</c:v>
                </c:pt>
                <c:pt idx="5896">
                  <c:v>2.3442437315162712</c:v>
                </c:pt>
                <c:pt idx="5897">
                  <c:v>2.4325598758355533</c:v>
                </c:pt>
                <c:pt idx="5898">
                  <c:v>2.4900618052284904</c:v>
                </c:pt>
                <c:pt idx="5899">
                  <c:v>2.4564606682981363</c:v>
                </c:pt>
                <c:pt idx="5900">
                  <c:v>2.4675216402575981</c:v>
                </c:pt>
                <c:pt idx="5901">
                  <c:v>2.4744751819425832</c:v>
                </c:pt>
                <c:pt idx="5902">
                  <c:v>2.4681164442971228</c:v>
                </c:pt>
                <c:pt idx="5903">
                  <c:v>2.4652431400917596</c:v>
                </c:pt>
                <c:pt idx="5904">
                  <c:v>2.4752896110369851</c:v>
                </c:pt>
                <c:pt idx="5905">
                  <c:v>2.4613495584114924</c:v>
                </c:pt>
                <c:pt idx="5906">
                  <c:v>2.4438954581492296</c:v>
                </c:pt>
                <c:pt idx="5907">
                  <c:v>2.4532898505225025</c:v>
                </c:pt>
                <c:pt idx="5908">
                  <c:v>2.4903768457027327</c:v>
                </c:pt>
                <c:pt idx="5909">
                  <c:v>2.4882782905143519</c:v>
                </c:pt>
                <c:pt idx="5910">
                  <c:v>2.4913650524753379</c:v>
                </c:pt>
                <c:pt idx="5911">
                  <c:v>2.4927680834707613</c:v>
                </c:pt>
                <c:pt idx="5912">
                  <c:v>2.492266661855524</c:v>
                </c:pt>
                <c:pt idx="5913">
                  <c:v>2.548295595999758</c:v>
                </c:pt>
                <c:pt idx="5914">
                  <c:v>2.5452401976683592</c:v>
                </c:pt>
                <c:pt idx="5915">
                  <c:v>2.491922444090847</c:v>
                </c:pt>
                <c:pt idx="5916">
                  <c:v>2.4257726487263067</c:v>
                </c:pt>
                <c:pt idx="5917">
                  <c:v>2.4361744945780348</c:v>
                </c:pt>
                <c:pt idx="5918">
                  <c:v>2.3617900836554822</c:v>
                </c:pt>
                <c:pt idx="5919">
                  <c:v>2.2963541203428326</c:v>
                </c:pt>
                <c:pt idx="5920">
                  <c:v>2.2517512844251253</c:v>
                </c:pt>
                <c:pt idx="5921">
                  <c:v>2.1961809600281303</c:v>
                </c:pt>
                <c:pt idx="5922">
                  <c:v>2.1364985770206215</c:v>
                </c:pt>
                <c:pt idx="5923">
                  <c:v>2.1783752926794508</c:v>
                </c:pt>
                <c:pt idx="5924">
                  <c:v>2.2257186847642592</c:v>
                </c:pt>
                <c:pt idx="5925">
                  <c:v>2.1761103346851995</c:v>
                </c:pt>
                <c:pt idx="5926">
                  <c:v>2.1037194754225998</c:v>
                </c:pt>
                <c:pt idx="5927">
                  <c:v>2.0281236555581232</c:v>
                </c:pt>
                <c:pt idx="5928">
                  <c:v>1.9498084451106368</c:v>
                </c:pt>
                <c:pt idx="5929">
                  <c:v>1.8700732354027139</c:v>
                </c:pt>
                <c:pt idx="5930">
                  <c:v>1.7912147852129605</c:v>
                </c:pt>
                <c:pt idx="5931">
                  <c:v>1.7135154551337926</c:v>
                </c:pt>
                <c:pt idx="5932">
                  <c:v>1.6558325107540841</c:v>
                </c:pt>
                <c:pt idx="5933">
                  <c:v>1.6578120301877033</c:v>
                </c:pt>
                <c:pt idx="5934">
                  <c:v>1.6433018596991806</c:v>
                </c:pt>
                <c:pt idx="5935">
                  <c:v>1.6763090009920065</c:v>
                </c:pt>
                <c:pt idx="5936">
                  <c:v>1.6898586595297846</c:v>
                </c:pt>
                <c:pt idx="5937">
                  <c:v>1.6505220174120399</c:v>
                </c:pt>
                <c:pt idx="5938">
                  <c:v>2.8200295689577173</c:v>
                </c:pt>
                <c:pt idx="5939">
                  <c:v>2.9033208540029762</c:v>
                </c:pt>
                <c:pt idx="5940">
                  <c:v>2.9130221234270364</c:v>
                </c:pt>
                <c:pt idx="5941">
                  <c:v>2.891635373703406</c:v>
                </c:pt>
                <c:pt idx="5942">
                  <c:v>3.2348202110726061</c:v>
                </c:pt>
                <c:pt idx="5943">
                  <c:v>3.1372281927638865</c:v>
                </c:pt>
                <c:pt idx="5944">
                  <c:v>3.1204090096250563</c:v>
                </c:pt>
                <c:pt idx="5945">
                  <c:v>3.1178107173341214</c:v>
                </c:pt>
                <c:pt idx="5946">
                  <c:v>3.0882663372224295</c:v>
                </c:pt>
                <c:pt idx="5947">
                  <c:v>3.0763536093479886</c:v>
                </c:pt>
                <c:pt idx="5948">
                  <c:v>3.0254733256151165</c:v>
                </c:pt>
                <c:pt idx="5949">
                  <c:v>2.9180332426109317</c:v>
                </c:pt>
                <c:pt idx="5950">
                  <c:v>2.9595850872476226</c:v>
                </c:pt>
                <c:pt idx="5951">
                  <c:v>2.9692517444420967</c:v>
                </c:pt>
                <c:pt idx="5952">
                  <c:v>2.9781133441249525</c:v>
                </c:pt>
                <c:pt idx="5953">
                  <c:v>2.9862191965393268</c:v>
                </c:pt>
                <c:pt idx="5954">
                  <c:v>2.9937873601136631</c:v>
                </c:pt>
                <c:pt idx="5955">
                  <c:v>3.0007211129110232</c:v>
                </c:pt>
                <c:pt idx="5956">
                  <c:v>3.007075446293773</c:v>
                </c:pt>
                <c:pt idx="5957">
                  <c:v>3.0130383315748648</c:v>
                </c:pt>
                <c:pt idx="5958">
                  <c:v>3.0184774493527384</c:v>
                </c:pt>
                <c:pt idx="5959">
                  <c:v>3.0235084804177395</c:v>
                </c:pt>
                <c:pt idx="5960">
                  <c:v>3.0280922654902751</c:v>
                </c:pt>
                <c:pt idx="5961">
                  <c:v>3.0322589434151985</c:v>
                </c:pt>
                <c:pt idx="5962">
                  <c:v>3.0362138440145059</c:v>
                </c:pt>
                <c:pt idx="5963">
                  <c:v>3.0398313767714762</c:v>
                </c:pt>
                <c:pt idx="5964">
                  <c:v>3.0436153415441716</c:v>
                </c:pt>
                <c:pt idx="5965">
                  <c:v>3.0135796923010978</c:v>
                </c:pt>
                <c:pt idx="5966">
                  <c:v>3.015859795257307</c:v>
                </c:pt>
                <c:pt idx="5967">
                  <c:v>3.0125986685576382</c:v>
                </c:pt>
                <c:pt idx="5968">
                  <c:v>1.8046914054927548</c:v>
                </c:pt>
                <c:pt idx="5969">
                  <c:v>1.5819538115926033</c:v>
                </c:pt>
                <c:pt idx="5970">
                  <c:v>1.5559926853614148</c:v>
                </c:pt>
                <c:pt idx="5971">
                  <c:v>1.6523186510845891</c:v>
                </c:pt>
                <c:pt idx="5972">
                  <c:v>1.3398979547403929</c:v>
                </c:pt>
                <c:pt idx="5973">
                  <c:v>1.6308150461800224</c:v>
                </c:pt>
                <c:pt idx="5974">
                  <c:v>1.6334232672741575</c:v>
                </c:pt>
                <c:pt idx="5975">
                  <c:v>1.8123512508941035</c:v>
                </c:pt>
                <c:pt idx="5976">
                  <c:v>1.8088259905517268</c:v>
                </c:pt>
                <c:pt idx="5977">
                  <c:v>1.8215757746202605</c:v>
                </c:pt>
                <c:pt idx="5978">
                  <c:v>2.1988877253986869</c:v>
                </c:pt>
                <c:pt idx="5979">
                  <c:v>2.1876765789066761</c:v>
                </c:pt>
                <c:pt idx="5980">
                  <c:v>1.9931654973891142</c:v>
                </c:pt>
                <c:pt idx="5981">
                  <c:v>2.0038568988330994</c:v>
                </c:pt>
                <c:pt idx="5982">
                  <c:v>2.0146752294840233</c:v>
                </c:pt>
                <c:pt idx="5983">
                  <c:v>2.0256241219404099</c:v>
                </c:pt>
                <c:pt idx="5984">
                  <c:v>2.0366727335980848</c:v>
                </c:pt>
                <c:pt idx="5985">
                  <c:v>2.0478079102993423</c:v>
                </c:pt>
                <c:pt idx="5986">
                  <c:v>2.0595787924153774</c:v>
                </c:pt>
                <c:pt idx="5987">
                  <c:v>2.0717887273395834</c:v>
                </c:pt>
                <c:pt idx="5988">
                  <c:v>2.0840111554341503</c:v>
                </c:pt>
                <c:pt idx="5989">
                  <c:v>2.0963305601091258</c:v>
                </c:pt>
                <c:pt idx="5990">
                  <c:v>2.110996765032993</c:v>
                </c:pt>
                <c:pt idx="5991">
                  <c:v>2.12554296834695</c:v>
                </c:pt>
                <c:pt idx="5992">
                  <c:v>2.1399441974105375</c:v>
                </c:pt>
                <c:pt idx="5993">
                  <c:v>2.1541962163030783</c:v>
                </c:pt>
                <c:pt idx="5994">
                  <c:v>2.1681084217475823</c:v>
                </c:pt>
                <c:pt idx="5995">
                  <c:v>2.1856782104298356</c:v>
                </c:pt>
                <c:pt idx="5996">
                  <c:v>2.2231080448881069</c:v>
                </c:pt>
                <c:pt idx="5997">
                  <c:v>2.2649258236997785</c:v>
                </c:pt>
                <c:pt idx="5998">
                  <c:v>2.3103154385746465</c:v>
                </c:pt>
                <c:pt idx="5999">
                  <c:v>2.3563175533659808</c:v>
                </c:pt>
                <c:pt idx="6000">
                  <c:v>2.8368560319785403</c:v>
                </c:pt>
                <c:pt idx="6001">
                  <c:v>3.1768054376008301</c:v>
                </c:pt>
                <c:pt idx="6002">
                  <c:v>3.2803516915776942</c:v>
                </c:pt>
                <c:pt idx="6003">
                  <c:v>3.195320157123795</c:v>
                </c:pt>
                <c:pt idx="6004">
                  <c:v>3.2178051753204806</c:v>
                </c:pt>
                <c:pt idx="6005">
                  <c:v>3.0198908061663001</c:v>
                </c:pt>
                <c:pt idx="6006">
                  <c:v>3.0553869490212433</c:v>
                </c:pt>
                <c:pt idx="6007">
                  <c:v>3.0535633397012125</c:v>
                </c:pt>
                <c:pt idx="6008">
                  <c:v>2.5357961111775342</c:v>
                </c:pt>
                <c:pt idx="6009">
                  <c:v>2.4729220356548716</c:v>
                </c:pt>
                <c:pt idx="6010">
                  <c:v>2.4688457609041667</c:v>
                </c:pt>
                <c:pt idx="6011">
                  <c:v>2.4661862118750659</c:v>
                </c:pt>
                <c:pt idx="6012">
                  <c:v>2.449753298634513</c:v>
                </c:pt>
                <c:pt idx="6013">
                  <c:v>2.5074165844401177</c:v>
                </c:pt>
                <c:pt idx="6014">
                  <c:v>2.4983458132630867</c:v>
                </c:pt>
                <c:pt idx="6015">
                  <c:v>2.6540673094673846</c:v>
                </c:pt>
                <c:pt idx="6016">
                  <c:v>2.6406784192689061</c:v>
                </c:pt>
                <c:pt idx="6017">
                  <c:v>2.6506372193835692</c:v>
                </c:pt>
                <c:pt idx="6018">
                  <c:v>2.6827822627046833</c:v>
                </c:pt>
                <c:pt idx="6019">
                  <c:v>2.7432699896255626</c:v>
                </c:pt>
                <c:pt idx="6020">
                  <c:v>2.8600777528648114</c:v>
                </c:pt>
                <c:pt idx="6021">
                  <c:v>2.8533314234937714</c:v>
                </c:pt>
                <c:pt idx="6022">
                  <c:v>2.8510743354844146</c:v>
                </c:pt>
                <c:pt idx="6023">
                  <c:v>2.8510719851064961</c:v>
                </c:pt>
                <c:pt idx="6024">
                  <c:v>2.986416081868811</c:v>
                </c:pt>
                <c:pt idx="6025">
                  <c:v>3.1119077776578976</c:v>
                </c:pt>
                <c:pt idx="6026">
                  <c:v>3.1501842306034904</c:v>
                </c:pt>
                <c:pt idx="6027">
                  <c:v>3.1891890920026706</c:v>
                </c:pt>
                <c:pt idx="6028">
                  <c:v>3.223762264359229</c:v>
                </c:pt>
                <c:pt idx="6029">
                  <c:v>3.2513239716881723</c:v>
                </c:pt>
                <c:pt idx="6030">
                  <c:v>3.0336489225272616</c:v>
                </c:pt>
                <c:pt idx="6031">
                  <c:v>2.7608103123677301</c:v>
                </c:pt>
                <c:pt idx="6032">
                  <c:v>2.5605373373361413</c:v>
                </c:pt>
                <c:pt idx="6033">
                  <c:v>2.4323224527302783</c:v>
                </c:pt>
                <c:pt idx="6034">
                  <c:v>2.3683596067164379</c:v>
                </c:pt>
                <c:pt idx="6035">
                  <c:v>2.3689677917663974</c:v>
                </c:pt>
                <c:pt idx="6036">
                  <c:v>2.2299969869573175</c:v>
                </c:pt>
                <c:pt idx="6037">
                  <c:v>2.2253004606112388</c:v>
                </c:pt>
                <c:pt idx="6038">
                  <c:v>2.225515764706576</c:v>
                </c:pt>
                <c:pt idx="6039">
                  <c:v>2.2031243832586576</c:v>
                </c:pt>
                <c:pt idx="6040">
                  <c:v>2.1534788194242904</c:v>
                </c:pt>
                <c:pt idx="6041">
                  <c:v>2.0934332326660492</c:v>
                </c:pt>
                <c:pt idx="6042">
                  <c:v>2.062182820426016</c:v>
                </c:pt>
                <c:pt idx="6043">
                  <c:v>2.0411180272119651</c:v>
                </c:pt>
                <c:pt idx="6044">
                  <c:v>2.0495218067487579</c:v>
                </c:pt>
                <c:pt idx="6045">
                  <c:v>1.9339609449693778</c:v>
                </c:pt>
                <c:pt idx="6046">
                  <c:v>1.947392786883497</c:v>
                </c:pt>
                <c:pt idx="6047">
                  <c:v>1.9426476030515865</c:v>
                </c:pt>
                <c:pt idx="6048">
                  <c:v>2.1076563387139489</c:v>
                </c:pt>
                <c:pt idx="6049">
                  <c:v>2.0697381327675606</c:v>
                </c:pt>
                <c:pt idx="6050">
                  <c:v>1.9438045472769294</c:v>
                </c:pt>
                <c:pt idx="6051">
                  <c:v>2.6176739612245781</c:v>
                </c:pt>
                <c:pt idx="6052">
                  <c:v>2.8859160256198364</c:v>
                </c:pt>
                <c:pt idx="6053">
                  <c:v>3.0569097238415042</c:v>
                </c:pt>
                <c:pt idx="6054">
                  <c:v>2.9233145093997592</c:v>
                </c:pt>
                <c:pt idx="6055">
                  <c:v>2.6848323693108695</c:v>
                </c:pt>
                <c:pt idx="6056">
                  <c:v>2.7065146755422553</c:v>
                </c:pt>
                <c:pt idx="6057">
                  <c:v>2.7053422664261788</c:v>
                </c:pt>
                <c:pt idx="6058">
                  <c:v>2.7110474331205086</c:v>
                </c:pt>
                <c:pt idx="6059">
                  <c:v>2.7240428587466043</c:v>
                </c:pt>
                <c:pt idx="6060">
                  <c:v>2.7361574521482992</c:v>
                </c:pt>
                <c:pt idx="6061">
                  <c:v>2.7393078886667608</c:v>
                </c:pt>
                <c:pt idx="6062">
                  <c:v>2.7406502639152457</c:v>
                </c:pt>
                <c:pt idx="6063">
                  <c:v>2.7407094517623003</c:v>
                </c:pt>
                <c:pt idx="6064">
                  <c:v>2.7396648365058613</c:v>
                </c:pt>
                <c:pt idx="6065">
                  <c:v>2.7376474517168021</c:v>
                </c:pt>
                <c:pt idx="6066">
                  <c:v>2.7347275255875769</c:v>
                </c:pt>
                <c:pt idx="6067">
                  <c:v>2.7314519130593298</c:v>
                </c:pt>
                <c:pt idx="6068">
                  <c:v>2.7267304852469194</c:v>
                </c:pt>
                <c:pt idx="6069">
                  <c:v>2.7170966402659742</c:v>
                </c:pt>
                <c:pt idx="6070">
                  <c:v>2.7045899714926298</c:v>
                </c:pt>
                <c:pt idx="6071">
                  <c:v>2.6888996804927712</c:v>
                </c:pt>
                <c:pt idx="6072">
                  <c:v>2.6693584811389868</c:v>
                </c:pt>
                <c:pt idx="6073">
                  <c:v>2.6456473661485123</c:v>
                </c:pt>
                <c:pt idx="6074">
                  <c:v>2.614255010336501</c:v>
                </c:pt>
                <c:pt idx="6075">
                  <c:v>2.5767424756977526</c:v>
                </c:pt>
                <c:pt idx="6076">
                  <c:v>2.5174770541550839</c:v>
                </c:pt>
                <c:pt idx="6077">
                  <c:v>2.4895583110681998</c:v>
                </c:pt>
                <c:pt idx="6078">
                  <c:v>2.1682604864885029</c:v>
                </c:pt>
                <c:pt idx="6079">
                  <c:v>2.1882228558352503</c:v>
                </c:pt>
                <c:pt idx="6080">
                  <c:v>2.1675553757646693</c:v>
                </c:pt>
                <c:pt idx="6081">
                  <c:v>1.7704426761116476</c:v>
                </c:pt>
                <c:pt idx="6082">
                  <c:v>1.6435933556843934</c:v>
                </c:pt>
                <c:pt idx="6083">
                  <c:v>1.5528397238985896</c:v>
                </c:pt>
                <c:pt idx="6084">
                  <c:v>1.4776984606038943</c:v>
                </c:pt>
                <c:pt idx="6085">
                  <c:v>1.3941443270186893</c:v>
                </c:pt>
                <c:pt idx="6086">
                  <c:v>1.3456166578567683</c:v>
                </c:pt>
                <c:pt idx="6087">
                  <c:v>1.3435141110259929</c:v>
                </c:pt>
                <c:pt idx="6088">
                  <c:v>1.4244596701383161</c:v>
                </c:pt>
                <c:pt idx="6089">
                  <c:v>2.2370935718717133</c:v>
                </c:pt>
                <c:pt idx="6090">
                  <c:v>2.8015669200969127</c:v>
                </c:pt>
                <c:pt idx="6091">
                  <c:v>2.7996875867741218</c:v>
                </c:pt>
                <c:pt idx="6092">
                  <c:v>2.8200307432915288</c:v>
                </c:pt>
                <c:pt idx="6093">
                  <c:v>3.1053126639397499</c:v>
                </c:pt>
                <c:pt idx="6094">
                  <c:v>3.131770638108399</c:v>
                </c:pt>
                <c:pt idx="6095">
                  <c:v>3.2534499905424479</c:v>
                </c:pt>
                <c:pt idx="6096">
                  <c:v>3.3218105502039728</c:v>
                </c:pt>
                <c:pt idx="6097">
                  <c:v>3.3636882115722577</c:v>
                </c:pt>
                <c:pt idx="6098">
                  <c:v>3.3869313022422673</c:v>
                </c:pt>
                <c:pt idx="6099">
                  <c:v>3.3699924529295635</c:v>
                </c:pt>
                <c:pt idx="6100">
                  <c:v>3.4193788990531289</c:v>
                </c:pt>
                <c:pt idx="6101">
                  <c:v>3.4472896067178742</c:v>
                </c:pt>
                <c:pt idx="6102">
                  <c:v>3.4216559097679049</c:v>
                </c:pt>
                <c:pt idx="6103">
                  <c:v>3.5071958347851968</c:v>
                </c:pt>
                <c:pt idx="6104">
                  <c:v>3.4981960254376498</c:v>
                </c:pt>
                <c:pt idx="6105">
                  <c:v>3.4814313986583971</c:v>
                </c:pt>
                <c:pt idx="6106">
                  <c:v>3.4728791459683892</c:v>
                </c:pt>
                <c:pt idx="6107">
                  <c:v>3.4707404981127983</c:v>
                </c:pt>
                <c:pt idx="6108">
                  <c:v>3.4895365570474195</c:v>
                </c:pt>
                <c:pt idx="6109">
                  <c:v>3.5619838085335926</c:v>
                </c:pt>
                <c:pt idx="6110">
                  <c:v>3.6474114070178292</c:v>
                </c:pt>
                <c:pt idx="6111">
                  <c:v>3.7351176117579108</c:v>
                </c:pt>
                <c:pt idx="6112">
                  <c:v>3.8021391643297897</c:v>
                </c:pt>
                <c:pt idx="6113">
                  <c:v>3.8377520464993364</c:v>
                </c:pt>
                <c:pt idx="6114">
                  <c:v>3.8542422453588134</c:v>
                </c:pt>
                <c:pt idx="6115">
                  <c:v>3.8569529661886537</c:v>
                </c:pt>
                <c:pt idx="6116">
                  <c:v>3.8556673633653409</c:v>
                </c:pt>
                <c:pt idx="6117">
                  <c:v>3.8548831680463369</c:v>
                </c:pt>
                <c:pt idx="6118">
                  <c:v>3.8225978256148219</c:v>
                </c:pt>
                <c:pt idx="6119">
                  <c:v>3.4070095026526204</c:v>
                </c:pt>
                <c:pt idx="6120">
                  <c:v>2.8913266028859383</c:v>
                </c:pt>
                <c:pt idx="6121">
                  <c:v>2.8882397609532808</c:v>
                </c:pt>
                <c:pt idx="6122">
                  <c:v>2.8353364872428743</c:v>
                </c:pt>
                <c:pt idx="6123">
                  <c:v>2.3592524275225326</c:v>
                </c:pt>
                <c:pt idx="6124">
                  <c:v>2.3552983220176662</c:v>
                </c:pt>
                <c:pt idx="6125">
                  <c:v>2.2647838944813645</c:v>
                </c:pt>
                <c:pt idx="6126">
                  <c:v>2.2099181393506409</c:v>
                </c:pt>
                <c:pt idx="6127">
                  <c:v>2.1689314429826849</c:v>
                </c:pt>
                <c:pt idx="6128">
                  <c:v>2.1418316020767092</c:v>
                </c:pt>
                <c:pt idx="6129">
                  <c:v>2.1245888740025878</c:v>
                </c:pt>
                <c:pt idx="6130">
                  <c:v>2.0226698223841204</c:v>
                </c:pt>
                <c:pt idx="6131">
                  <c:v>2.212829284811229</c:v>
                </c:pt>
                <c:pt idx="6132">
                  <c:v>2.2723251425565762</c:v>
                </c:pt>
                <c:pt idx="6133">
                  <c:v>2.2221035573033734</c:v>
                </c:pt>
                <c:pt idx="6134">
                  <c:v>2.0644778951455387</c:v>
                </c:pt>
                <c:pt idx="6135">
                  <c:v>1.8809277408226159</c:v>
                </c:pt>
                <c:pt idx="6136">
                  <c:v>2.2640553695846029</c:v>
                </c:pt>
                <c:pt idx="6137">
                  <c:v>2.5993815917665337</c:v>
                </c:pt>
                <c:pt idx="6138">
                  <c:v>2.8742272851100008</c:v>
                </c:pt>
                <c:pt idx="6139">
                  <c:v>2.973156050918714</c:v>
                </c:pt>
                <c:pt idx="6140">
                  <c:v>2.9353822684795174</c:v>
                </c:pt>
                <c:pt idx="6141">
                  <c:v>2.88383648125162</c:v>
                </c:pt>
                <c:pt idx="6142">
                  <c:v>2.8300994990469102</c:v>
                </c:pt>
                <c:pt idx="6143">
                  <c:v>2.8392183637803088</c:v>
                </c:pt>
                <c:pt idx="6144">
                  <c:v>2.868256718199484</c:v>
                </c:pt>
                <c:pt idx="6145">
                  <c:v>2.9110177403113453</c:v>
                </c:pt>
                <c:pt idx="6146">
                  <c:v>2.9486156242189434</c:v>
                </c:pt>
                <c:pt idx="6147">
                  <c:v>2.9758332450737637</c:v>
                </c:pt>
                <c:pt idx="6148">
                  <c:v>2.9954346549840047</c:v>
                </c:pt>
                <c:pt idx="6149">
                  <c:v>3.0089291053996687</c:v>
                </c:pt>
                <c:pt idx="6150">
                  <c:v>3.0151411136959361</c:v>
                </c:pt>
                <c:pt idx="6151">
                  <c:v>3.015791250049376</c:v>
                </c:pt>
                <c:pt idx="6152">
                  <c:v>3.0154979312450476</c:v>
                </c:pt>
                <c:pt idx="6153">
                  <c:v>3.0143566041972014</c:v>
                </c:pt>
                <c:pt idx="6154">
                  <c:v>3.0121119946530337</c:v>
                </c:pt>
                <c:pt idx="6155">
                  <c:v>3.008926601189045</c:v>
                </c:pt>
                <c:pt idx="6156">
                  <c:v>3.0057266969584564</c:v>
                </c:pt>
                <c:pt idx="6157">
                  <c:v>3.0028924924967009</c:v>
                </c:pt>
                <c:pt idx="6158">
                  <c:v>3.0017596571778582</c:v>
                </c:pt>
                <c:pt idx="6159">
                  <c:v>3.0017596571778582</c:v>
                </c:pt>
                <c:pt idx="6160">
                  <c:v>3.0165670603099923</c:v>
                </c:pt>
                <c:pt idx="6161">
                  <c:v>3.0917956012959089</c:v>
                </c:pt>
                <c:pt idx="6162">
                  <c:v>3.3686265365620547</c:v>
                </c:pt>
                <c:pt idx="6163">
                  <c:v>3.5769975446374533</c:v>
                </c:pt>
                <c:pt idx="6164">
                  <c:v>3.6953162422099215</c:v>
                </c:pt>
                <c:pt idx="6165">
                  <c:v>3.7546471113319999</c:v>
                </c:pt>
                <c:pt idx="6166">
                  <c:v>3.5161998116749582</c:v>
                </c:pt>
                <c:pt idx="6167">
                  <c:v>4.1868382264207868</c:v>
                </c:pt>
                <c:pt idx="6168">
                  <c:v>4.4979390545329618</c:v>
                </c:pt>
                <c:pt idx="6169">
                  <c:v>4.6673739576973725</c:v>
                </c:pt>
                <c:pt idx="6170">
                  <c:v>4.6878811309285595</c:v>
                </c:pt>
                <c:pt idx="6171">
                  <c:v>4.7205867201313154</c:v>
                </c:pt>
                <c:pt idx="6172">
                  <c:v>4.7366646727182662</c:v>
                </c:pt>
                <c:pt idx="6173">
                  <c:v>4.7601182288410433</c:v>
                </c:pt>
                <c:pt idx="6174">
                  <c:v>4.7694748808466629</c:v>
                </c:pt>
                <c:pt idx="6175">
                  <c:v>4.7714284788515249</c:v>
                </c:pt>
                <c:pt idx="6176">
                  <c:v>4.7687656645303749</c:v>
                </c:pt>
                <c:pt idx="6177">
                  <c:v>4.7637016793681397</c:v>
                </c:pt>
                <c:pt idx="6178">
                  <c:v>4.7587962927230345</c:v>
                </c:pt>
                <c:pt idx="6179">
                  <c:v>4.7603102362059175</c:v>
                </c:pt>
                <c:pt idx="6180">
                  <c:v>4.7695736789369603</c:v>
                </c:pt>
                <c:pt idx="6181">
                  <c:v>4.7792849806442756</c:v>
                </c:pt>
                <c:pt idx="6182">
                  <c:v>4.7834535074782858</c:v>
                </c:pt>
                <c:pt idx="6183">
                  <c:v>4.7843713425614744</c:v>
                </c:pt>
                <c:pt idx="6184">
                  <c:v>4.7849034097899787</c:v>
                </c:pt>
                <c:pt idx="6185">
                  <c:v>4.8498021304003407</c:v>
                </c:pt>
                <c:pt idx="6186">
                  <c:v>4.8537583867819132</c:v>
                </c:pt>
                <c:pt idx="6187">
                  <c:v>4.8545077730557633</c:v>
                </c:pt>
                <c:pt idx="6188">
                  <c:v>4.8542247587165956</c:v>
                </c:pt>
                <c:pt idx="6189">
                  <c:v>4.8545751184874435</c:v>
                </c:pt>
                <c:pt idx="6190">
                  <c:v>4.8413524658180256</c:v>
                </c:pt>
                <c:pt idx="6191">
                  <c:v>4.630712228269223</c:v>
                </c:pt>
                <c:pt idx="6192">
                  <c:v>4.3601588942876424</c:v>
                </c:pt>
                <c:pt idx="6193">
                  <c:v>4.1053706600107951</c:v>
                </c:pt>
                <c:pt idx="6194">
                  <c:v>3.8808588795522336</c:v>
                </c:pt>
                <c:pt idx="6195">
                  <c:v>3.6900438705228606</c:v>
                </c:pt>
                <c:pt idx="6196">
                  <c:v>3.6938126052404967</c:v>
                </c:pt>
                <c:pt idx="6197">
                  <c:v>3.0069276932115505</c:v>
                </c:pt>
                <c:pt idx="6198">
                  <c:v>2.4904361019658072</c:v>
                </c:pt>
                <c:pt idx="6199">
                  <c:v>2.1860938024029504</c:v>
                </c:pt>
                <c:pt idx="6200">
                  <c:v>2.7644591545969659</c:v>
                </c:pt>
                <c:pt idx="6201">
                  <c:v>3.2378354415998647</c:v>
                </c:pt>
                <c:pt idx="6202">
                  <c:v>4.2532471312439419</c:v>
                </c:pt>
                <c:pt idx="6203">
                  <c:v>5.5812378730631647</c:v>
                </c:pt>
                <c:pt idx="6204">
                  <c:v>7.2527249971774701</c:v>
                </c:pt>
                <c:pt idx="6205">
                  <c:v>8.502838515382722</c:v>
                </c:pt>
                <c:pt idx="6206">
                  <c:v>8.4704266661177119</c:v>
                </c:pt>
                <c:pt idx="6207">
                  <c:v>8.4510085872265091</c:v>
                </c:pt>
                <c:pt idx="6208">
                  <c:v>8.4192784153090994</c:v>
                </c:pt>
                <c:pt idx="6209">
                  <c:v>18.804770658563864</c:v>
                </c:pt>
                <c:pt idx="6210">
                  <c:v>19.005373078379311</c:v>
                </c:pt>
                <c:pt idx="6211">
                  <c:v>18.992507260671129</c:v>
                </c:pt>
                <c:pt idx="6212">
                  <c:v>19.176242118514246</c:v>
                </c:pt>
                <c:pt idx="6213">
                  <c:v>21.374719239314526</c:v>
                </c:pt>
                <c:pt idx="6214">
                  <c:v>21.434772596585962</c:v>
                </c:pt>
                <c:pt idx="6215">
                  <c:v>21.67755339200291</c:v>
                </c:pt>
                <c:pt idx="6216">
                  <c:v>21.810502343799762</c:v>
                </c:pt>
                <c:pt idx="6217">
                  <c:v>21.751236788938854</c:v>
                </c:pt>
                <c:pt idx="6218">
                  <c:v>21.932795103069054</c:v>
                </c:pt>
                <c:pt idx="6219">
                  <c:v>25.338197974254808</c:v>
                </c:pt>
                <c:pt idx="6220">
                  <c:v>25.573382449507964</c:v>
                </c:pt>
                <c:pt idx="6221">
                  <c:v>25.669022864141962</c:v>
                </c:pt>
                <c:pt idx="6222">
                  <c:v>25.710943147044354</c:v>
                </c:pt>
                <c:pt idx="6223">
                  <c:v>25.777564654768582</c:v>
                </c:pt>
                <c:pt idx="6224">
                  <c:v>25.995102380247438</c:v>
                </c:pt>
                <c:pt idx="6225">
                  <c:v>26.045290772604918</c:v>
                </c:pt>
                <c:pt idx="6226">
                  <c:v>26.218879460337131</c:v>
                </c:pt>
                <c:pt idx="6227">
                  <c:v>26.414799315923371</c:v>
                </c:pt>
                <c:pt idx="6228">
                  <c:v>26.383118941830702</c:v>
                </c:pt>
                <c:pt idx="6229">
                  <c:v>27.906818940979207</c:v>
                </c:pt>
                <c:pt idx="6230">
                  <c:v>29.022196842386585</c:v>
                </c:pt>
                <c:pt idx="6231">
                  <c:v>29.483057602041558</c:v>
                </c:pt>
                <c:pt idx="6232">
                  <c:v>33.040770932183882</c:v>
                </c:pt>
                <c:pt idx="6233">
                  <c:v>33.077067929058039</c:v>
                </c:pt>
                <c:pt idx="6234">
                  <c:v>33.037927759023205</c:v>
                </c:pt>
                <c:pt idx="6235">
                  <c:v>33.347754916093649</c:v>
                </c:pt>
                <c:pt idx="6236">
                  <c:v>33.996280688555437</c:v>
                </c:pt>
                <c:pt idx="6237">
                  <c:v>33.856510061165238</c:v>
                </c:pt>
                <c:pt idx="6238">
                  <c:v>35.380275412896317</c:v>
                </c:pt>
                <c:pt idx="6239">
                  <c:v>32.472858968880999</c:v>
                </c:pt>
                <c:pt idx="6240">
                  <c:v>32.148723789900558</c:v>
                </c:pt>
                <c:pt idx="6241">
                  <c:v>31.973971846729683</c:v>
                </c:pt>
                <c:pt idx="6242">
                  <c:v>31.48837444006525</c:v>
                </c:pt>
                <c:pt idx="6243">
                  <c:v>31.151499023229686</c:v>
                </c:pt>
                <c:pt idx="6244">
                  <c:v>31.642668611122765</c:v>
                </c:pt>
                <c:pt idx="6245">
                  <c:v>31.463107065518461</c:v>
                </c:pt>
                <c:pt idx="6246">
                  <c:v>31.539575276715961</c:v>
                </c:pt>
                <c:pt idx="6247">
                  <c:v>31.946037323119562</c:v>
                </c:pt>
                <c:pt idx="6248">
                  <c:v>33.535470172865494</c:v>
                </c:pt>
                <c:pt idx="6249">
                  <c:v>33.247051102062237</c:v>
                </c:pt>
                <c:pt idx="6250">
                  <c:v>32.86566691258075</c:v>
                </c:pt>
                <c:pt idx="6251">
                  <c:v>33.049597586123866</c:v>
                </c:pt>
                <c:pt idx="6252">
                  <c:v>32.930810343083522</c:v>
                </c:pt>
                <c:pt idx="6253">
                  <c:v>33.338834579105296</c:v>
                </c:pt>
                <c:pt idx="6254">
                  <c:v>32.811323182625046</c:v>
                </c:pt>
                <c:pt idx="6255">
                  <c:v>33.05685139691618</c:v>
                </c:pt>
                <c:pt idx="6256">
                  <c:v>32.984198693541167</c:v>
                </c:pt>
                <c:pt idx="6257">
                  <c:v>32.984198693541167</c:v>
                </c:pt>
                <c:pt idx="6258">
                  <c:v>34.125123969722438</c:v>
                </c:pt>
                <c:pt idx="6259">
                  <c:v>33.771989823072936</c:v>
                </c:pt>
                <c:pt idx="6260">
                  <c:v>33.342699197989575</c:v>
                </c:pt>
                <c:pt idx="6261">
                  <c:v>33.221284714438575</c:v>
                </c:pt>
                <c:pt idx="6262">
                  <c:v>31.024951942382412</c:v>
                </c:pt>
                <c:pt idx="6263">
                  <c:v>31.433424424741428</c:v>
                </c:pt>
                <c:pt idx="6264">
                  <c:v>31.523058088353014</c:v>
                </c:pt>
                <c:pt idx="6265">
                  <c:v>31.146412229638489</c:v>
                </c:pt>
                <c:pt idx="6266">
                  <c:v>30.55917459398038</c:v>
                </c:pt>
                <c:pt idx="6267">
                  <c:v>31.000437316523602</c:v>
                </c:pt>
                <c:pt idx="6268">
                  <c:v>28.875799208925454</c:v>
                </c:pt>
                <c:pt idx="6269">
                  <c:v>28.870526335422067</c:v>
                </c:pt>
                <c:pt idx="6270">
                  <c:v>30.533450792904059</c:v>
                </c:pt>
                <c:pt idx="6271">
                  <c:v>30.676864075671791</c:v>
                </c:pt>
                <c:pt idx="6272">
                  <c:v>30.685152225003229</c:v>
                </c:pt>
                <c:pt idx="6273">
                  <c:v>30.591570776301836</c:v>
                </c:pt>
                <c:pt idx="6274">
                  <c:v>30.590880106879524</c:v>
                </c:pt>
                <c:pt idx="6275">
                  <c:v>30.33350771734364</c:v>
                </c:pt>
                <c:pt idx="6276">
                  <c:v>36.939888797115458</c:v>
                </c:pt>
                <c:pt idx="6277">
                  <c:v>36.481882039063933</c:v>
                </c:pt>
                <c:pt idx="6278">
                  <c:v>34.783739211579032</c:v>
                </c:pt>
                <c:pt idx="6279">
                  <c:v>33.923557070178283</c:v>
                </c:pt>
                <c:pt idx="6280">
                  <c:v>33.859941731038489</c:v>
                </c:pt>
                <c:pt idx="6281">
                  <c:v>33.859941731038482</c:v>
                </c:pt>
                <c:pt idx="6282">
                  <c:v>33.82342584477886</c:v>
                </c:pt>
                <c:pt idx="6283">
                  <c:v>33.255901537892093</c:v>
                </c:pt>
                <c:pt idx="6284">
                  <c:v>33.214805341134969</c:v>
                </c:pt>
                <c:pt idx="6285">
                  <c:v>32.885843203682477</c:v>
                </c:pt>
                <c:pt idx="6286">
                  <c:v>32.434115491553051</c:v>
                </c:pt>
                <c:pt idx="6287">
                  <c:v>32.082787259570992</c:v>
                </c:pt>
                <c:pt idx="6288">
                  <c:v>31.119419082418162</c:v>
                </c:pt>
                <c:pt idx="6289">
                  <c:v>30.732042806803708</c:v>
                </c:pt>
                <c:pt idx="6290">
                  <c:v>30.470717557026063</c:v>
                </c:pt>
                <c:pt idx="6291">
                  <c:v>31.59551804820304</c:v>
                </c:pt>
                <c:pt idx="6292">
                  <c:v>31.116873199285045</c:v>
                </c:pt>
                <c:pt idx="6293">
                  <c:v>31.448344830807827</c:v>
                </c:pt>
                <c:pt idx="6294">
                  <c:v>31.879815715203588</c:v>
                </c:pt>
                <c:pt idx="6295">
                  <c:v>31.897806871155634</c:v>
                </c:pt>
                <c:pt idx="6296">
                  <c:v>32.436565362601819</c:v>
                </c:pt>
                <c:pt idx="6297">
                  <c:v>32.284308166427024</c:v>
                </c:pt>
                <c:pt idx="6298">
                  <c:v>32.288452735063181</c:v>
                </c:pt>
                <c:pt idx="6299">
                  <c:v>42.075406605696259</c:v>
                </c:pt>
                <c:pt idx="6300">
                  <c:v>49.108048119262051</c:v>
                </c:pt>
                <c:pt idx="6301">
                  <c:v>51.884658762771011</c:v>
                </c:pt>
                <c:pt idx="6302">
                  <c:v>53.763104925923294</c:v>
                </c:pt>
                <c:pt idx="6303">
                  <c:v>55.146458766694387</c:v>
                </c:pt>
                <c:pt idx="6304">
                  <c:v>55.181256360086053</c:v>
                </c:pt>
                <c:pt idx="6305">
                  <c:v>54.973035684568856</c:v>
                </c:pt>
                <c:pt idx="6306">
                  <c:v>52.02087563924961</c:v>
                </c:pt>
                <c:pt idx="6307">
                  <c:v>52.029728784686583</c:v>
                </c:pt>
                <c:pt idx="6308">
                  <c:v>52.008242358714099</c:v>
                </c:pt>
                <c:pt idx="6309">
                  <c:v>51.160680258357019</c:v>
                </c:pt>
                <c:pt idx="6310">
                  <c:v>50.879820781174701</c:v>
                </c:pt>
                <c:pt idx="6311">
                  <c:v>50.820987185696353</c:v>
                </c:pt>
                <c:pt idx="6312">
                  <c:v>50.684906484252735</c:v>
                </c:pt>
                <c:pt idx="6313">
                  <c:v>50.872915987049375</c:v>
                </c:pt>
                <c:pt idx="6314">
                  <c:v>51.627735637786031</c:v>
                </c:pt>
                <c:pt idx="6315">
                  <c:v>52.081799815688143</c:v>
                </c:pt>
                <c:pt idx="6316">
                  <c:v>52.441381080261856</c:v>
                </c:pt>
                <c:pt idx="6317">
                  <c:v>52.778255592344728</c:v>
                </c:pt>
                <c:pt idx="6318">
                  <c:v>52.480695419808505</c:v>
                </c:pt>
                <c:pt idx="6319">
                  <c:v>52.32024841366772</c:v>
                </c:pt>
                <c:pt idx="6320">
                  <c:v>51.902629815882349</c:v>
                </c:pt>
                <c:pt idx="6321">
                  <c:v>51.809351405321721</c:v>
                </c:pt>
                <c:pt idx="6322">
                  <c:v>52.006784267168406</c:v>
                </c:pt>
                <c:pt idx="6323">
                  <c:v>52.012851585927422</c:v>
                </c:pt>
                <c:pt idx="6324">
                  <c:v>51.988885817129443</c:v>
                </c:pt>
                <c:pt idx="6325">
                  <c:v>51.807557308618634</c:v>
                </c:pt>
                <c:pt idx="6326">
                  <c:v>51.284385146677096</c:v>
                </c:pt>
                <c:pt idx="6327">
                  <c:v>51.170937719689753</c:v>
                </c:pt>
                <c:pt idx="6328">
                  <c:v>51.45506888989236</c:v>
                </c:pt>
                <c:pt idx="6329">
                  <c:v>45.812430133900435</c:v>
                </c:pt>
                <c:pt idx="6330">
                  <c:v>37.855923145556808</c:v>
                </c:pt>
                <c:pt idx="6331">
                  <c:v>38.504693564145022</c:v>
                </c:pt>
                <c:pt idx="6332">
                  <c:v>38.818369536363775</c:v>
                </c:pt>
                <c:pt idx="6333">
                  <c:v>35.981004332538575</c:v>
                </c:pt>
                <c:pt idx="6334">
                  <c:v>33.832857567518481</c:v>
                </c:pt>
                <c:pt idx="6335">
                  <c:v>33.974016049027995</c:v>
                </c:pt>
                <c:pt idx="6336">
                  <c:v>33.973996395377071</c:v>
                </c:pt>
                <c:pt idx="6337">
                  <c:v>33.925671383479205</c:v>
                </c:pt>
                <c:pt idx="6338">
                  <c:v>33.973640739843404</c:v>
                </c:pt>
                <c:pt idx="6339">
                  <c:v>33.855477001456329</c:v>
                </c:pt>
                <c:pt idx="6340">
                  <c:v>33.338729596948298</c:v>
                </c:pt>
                <c:pt idx="6341">
                  <c:v>33.122951091395088</c:v>
                </c:pt>
                <c:pt idx="6342">
                  <c:v>33.130057138619392</c:v>
                </c:pt>
                <c:pt idx="6343">
                  <c:v>33.199412728983049</c:v>
                </c:pt>
                <c:pt idx="6344">
                  <c:v>32.860801097395189</c:v>
                </c:pt>
                <c:pt idx="6345">
                  <c:v>32.867703241966964</c:v>
                </c:pt>
                <c:pt idx="6346">
                  <c:v>33.149884730357499</c:v>
                </c:pt>
                <c:pt idx="6347">
                  <c:v>32.692034863149139</c:v>
                </c:pt>
                <c:pt idx="6348">
                  <c:v>32.465878571491174</c:v>
                </c:pt>
                <c:pt idx="6349">
                  <c:v>32.938188554922981</c:v>
                </c:pt>
                <c:pt idx="6350">
                  <c:v>32.937092626945471</c:v>
                </c:pt>
                <c:pt idx="6351">
                  <c:v>33.010039980928042</c:v>
                </c:pt>
                <c:pt idx="6352">
                  <c:v>33.064778757618143</c:v>
                </c:pt>
                <c:pt idx="6353">
                  <c:v>33.510070262233171</c:v>
                </c:pt>
                <c:pt idx="6354">
                  <c:v>33.246861628580334</c:v>
                </c:pt>
                <c:pt idx="6355">
                  <c:v>34.199034174644133</c:v>
                </c:pt>
                <c:pt idx="6356">
                  <c:v>34.15232715331171</c:v>
                </c:pt>
                <c:pt idx="6357">
                  <c:v>33.985609984358348</c:v>
                </c:pt>
                <c:pt idx="6358">
                  <c:v>34.016552883693493</c:v>
                </c:pt>
                <c:pt idx="6359">
                  <c:v>33.902732211470877</c:v>
                </c:pt>
                <c:pt idx="6360">
                  <c:v>33.831466921582738</c:v>
                </c:pt>
                <c:pt idx="6361">
                  <c:v>27.438293036263552</c:v>
                </c:pt>
                <c:pt idx="6362">
                  <c:v>20.661643071952504</c:v>
                </c:pt>
                <c:pt idx="6363">
                  <c:v>17.763140320256745</c:v>
                </c:pt>
                <c:pt idx="6364">
                  <c:v>16.772700914021442</c:v>
                </c:pt>
                <c:pt idx="6365">
                  <c:v>17.136949263833568</c:v>
                </c:pt>
                <c:pt idx="6366">
                  <c:v>17.0642960191817</c:v>
                </c:pt>
                <c:pt idx="6367">
                  <c:v>16.98819914334813</c:v>
                </c:pt>
                <c:pt idx="6368">
                  <c:v>17.026148873525287</c:v>
                </c:pt>
                <c:pt idx="6369">
                  <c:v>17.013222686907948</c:v>
                </c:pt>
                <c:pt idx="6370">
                  <c:v>17.039152670412292</c:v>
                </c:pt>
                <c:pt idx="6371">
                  <c:v>17.100413024918552</c:v>
                </c:pt>
                <c:pt idx="6372">
                  <c:v>16.928853030128227</c:v>
                </c:pt>
                <c:pt idx="6373">
                  <c:v>16.944378070561552</c:v>
                </c:pt>
                <c:pt idx="6374">
                  <c:v>16.9689203245131</c:v>
                </c:pt>
                <c:pt idx="6375">
                  <c:v>16.985711958808555</c:v>
                </c:pt>
                <c:pt idx="6376">
                  <c:v>15.018855792312712</c:v>
                </c:pt>
                <c:pt idx="6377">
                  <c:v>15.030386444298117</c:v>
                </c:pt>
                <c:pt idx="6378">
                  <c:v>14.928752684281033</c:v>
                </c:pt>
                <c:pt idx="6379">
                  <c:v>16.123653209437098</c:v>
                </c:pt>
                <c:pt idx="6380">
                  <c:v>16.331955404152758</c:v>
                </c:pt>
                <c:pt idx="6381">
                  <c:v>16.933997120011735</c:v>
                </c:pt>
                <c:pt idx="6382">
                  <c:v>18.339380124645494</c:v>
                </c:pt>
                <c:pt idx="6383">
                  <c:v>18.151001835155796</c:v>
                </c:pt>
                <c:pt idx="6384">
                  <c:v>18.114186495784224</c:v>
                </c:pt>
                <c:pt idx="6385">
                  <c:v>14.78286239101311</c:v>
                </c:pt>
                <c:pt idx="6386">
                  <c:v>14.579927960839131</c:v>
                </c:pt>
                <c:pt idx="6387">
                  <c:v>14.665993296025011</c:v>
                </c:pt>
                <c:pt idx="6388">
                  <c:v>14.638371578310366</c:v>
                </c:pt>
                <c:pt idx="6389">
                  <c:v>14.536475481036847</c:v>
                </c:pt>
                <c:pt idx="6390">
                  <c:v>14.780986626869582</c:v>
                </c:pt>
                <c:pt idx="6391">
                  <c:v>14.783896033830208</c:v>
                </c:pt>
                <c:pt idx="6392">
                  <c:v>14.762183607693316</c:v>
                </c:pt>
                <c:pt idx="6393">
                  <c:v>14.556482465869053</c:v>
                </c:pt>
                <c:pt idx="6394">
                  <c:v>14.529236289320437</c:v>
                </c:pt>
                <c:pt idx="6395">
                  <c:v>14.30015258126242</c:v>
                </c:pt>
                <c:pt idx="6396">
                  <c:v>14.311483484673625</c:v>
                </c:pt>
                <c:pt idx="6397">
                  <c:v>14.322681560902232</c:v>
                </c:pt>
                <c:pt idx="6398">
                  <c:v>14.338220778775433</c:v>
                </c:pt>
                <c:pt idx="6399">
                  <c:v>14.367307970926472</c:v>
                </c:pt>
                <c:pt idx="6400">
                  <c:v>14.366879534016986</c:v>
                </c:pt>
                <c:pt idx="6401">
                  <c:v>14.318458106696676</c:v>
                </c:pt>
                <c:pt idx="6402">
                  <c:v>14.061801246376103</c:v>
                </c:pt>
                <c:pt idx="6403">
                  <c:v>14.065271316687779</c:v>
                </c:pt>
                <c:pt idx="6404">
                  <c:v>14.054581298218309</c:v>
                </c:pt>
                <c:pt idx="6405">
                  <c:v>14.031307618298991</c:v>
                </c:pt>
                <c:pt idx="6406">
                  <c:v>13.99445837846554</c:v>
                </c:pt>
                <c:pt idx="6407">
                  <c:v>13.947947102520267</c:v>
                </c:pt>
                <c:pt idx="6408">
                  <c:v>13.937136439771844</c:v>
                </c:pt>
                <c:pt idx="6409">
                  <c:v>12.029883812484236</c:v>
                </c:pt>
                <c:pt idx="6410">
                  <c:v>11.852083496724827</c:v>
                </c:pt>
                <c:pt idx="6411">
                  <c:v>9.4357480672549787</c:v>
                </c:pt>
                <c:pt idx="6412">
                  <c:v>4.7729844944820012</c:v>
                </c:pt>
                <c:pt idx="6413">
                  <c:v>3.2108578539398538</c:v>
                </c:pt>
                <c:pt idx="6414">
                  <c:v>2.8663175891975587</c:v>
                </c:pt>
                <c:pt idx="6415">
                  <c:v>2.8065965741855083</c:v>
                </c:pt>
                <c:pt idx="6416">
                  <c:v>2.4413863734510151</c:v>
                </c:pt>
                <c:pt idx="6417">
                  <c:v>2.4033278421719015</c:v>
                </c:pt>
                <c:pt idx="6418">
                  <c:v>2.3664678290923713</c:v>
                </c:pt>
                <c:pt idx="6419">
                  <c:v>2.3732180284848443</c:v>
                </c:pt>
                <c:pt idx="6420">
                  <c:v>1.7344646065883735</c:v>
                </c:pt>
                <c:pt idx="6421">
                  <c:v>1.7351597311457381</c:v>
                </c:pt>
                <c:pt idx="6422">
                  <c:v>1.5678627683307962</c:v>
                </c:pt>
                <c:pt idx="6423">
                  <c:v>1.5627393050636902</c:v>
                </c:pt>
                <c:pt idx="6424">
                  <c:v>1.5628414893188689</c:v>
                </c:pt>
                <c:pt idx="6425">
                  <c:v>1.5621178868769068</c:v>
                </c:pt>
                <c:pt idx="6426">
                  <c:v>1.5615204102866058</c:v>
                </c:pt>
                <c:pt idx="6427">
                  <c:v>1.5594251415282248</c:v>
                </c:pt>
                <c:pt idx="6428">
                  <c:v>1.6593069517661534</c:v>
                </c:pt>
                <c:pt idx="6429">
                  <c:v>2.0315406532734714</c:v>
                </c:pt>
                <c:pt idx="6430">
                  <c:v>2.133806471878394</c:v>
                </c:pt>
                <c:pt idx="6431">
                  <c:v>2.1214758053249434</c:v>
                </c:pt>
                <c:pt idx="6432">
                  <c:v>2.0835775192619108</c:v>
                </c:pt>
                <c:pt idx="6433">
                  <c:v>3.699483854389487</c:v>
                </c:pt>
                <c:pt idx="6434">
                  <c:v>3.9940862774730039</c:v>
                </c:pt>
                <c:pt idx="6435">
                  <c:v>3.9726576067272941</c:v>
                </c:pt>
                <c:pt idx="6436">
                  <c:v>3.967194612225045</c:v>
                </c:pt>
                <c:pt idx="6437">
                  <c:v>3.980141864360156</c:v>
                </c:pt>
                <c:pt idx="6438">
                  <c:v>3.9910785807963021</c:v>
                </c:pt>
                <c:pt idx="6439">
                  <c:v>17.862961931454493</c:v>
                </c:pt>
                <c:pt idx="6440">
                  <c:v>28.645911151063711</c:v>
                </c:pt>
                <c:pt idx="6441">
                  <c:v>33.082474026116522</c:v>
                </c:pt>
                <c:pt idx="6442">
                  <c:v>34.215667785051664</c:v>
                </c:pt>
                <c:pt idx="6443">
                  <c:v>35.928230713770937</c:v>
                </c:pt>
                <c:pt idx="6444">
                  <c:v>36.924941211164082</c:v>
                </c:pt>
                <c:pt idx="6445">
                  <c:v>38.152162101638744</c:v>
                </c:pt>
                <c:pt idx="6446">
                  <c:v>38.309276617885153</c:v>
                </c:pt>
                <c:pt idx="6447">
                  <c:v>39.152954197458051</c:v>
                </c:pt>
                <c:pt idx="6448">
                  <c:v>38.914307044207646</c:v>
                </c:pt>
                <c:pt idx="6449">
                  <c:v>38.896501424817444</c:v>
                </c:pt>
                <c:pt idx="6450">
                  <c:v>39.053622674122245</c:v>
                </c:pt>
                <c:pt idx="6451">
                  <c:v>39.110993693211178</c:v>
                </c:pt>
                <c:pt idx="6452">
                  <c:v>39.178246675880061</c:v>
                </c:pt>
                <c:pt idx="6453">
                  <c:v>39.287785321995749</c:v>
                </c:pt>
                <c:pt idx="6454">
                  <c:v>39.339068531209982</c:v>
                </c:pt>
                <c:pt idx="6455">
                  <c:v>39.34039802571688</c:v>
                </c:pt>
                <c:pt idx="6456">
                  <c:v>39.333681586602189</c:v>
                </c:pt>
                <c:pt idx="6457">
                  <c:v>39.324401991930628</c:v>
                </c:pt>
                <c:pt idx="6458">
                  <c:v>39.242372298270347</c:v>
                </c:pt>
                <c:pt idx="6459">
                  <c:v>38.973362515232949</c:v>
                </c:pt>
                <c:pt idx="6460">
                  <c:v>38.683009444094516</c:v>
                </c:pt>
                <c:pt idx="6461">
                  <c:v>38.48801809146908</c:v>
                </c:pt>
                <c:pt idx="6462">
                  <c:v>38.351051197848378</c:v>
                </c:pt>
                <c:pt idx="6463">
                  <c:v>38.528229089859174</c:v>
                </c:pt>
                <c:pt idx="6464">
                  <c:v>38.285908342741735</c:v>
                </c:pt>
                <c:pt idx="6465">
                  <c:v>38.276756462660273</c:v>
                </c:pt>
                <c:pt idx="6466">
                  <c:v>38.292483926435082</c:v>
                </c:pt>
                <c:pt idx="6467">
                  <c:v>38.553846812596944</c:v>
                </c:pt>
                <c:pt idx="6468">
                  <c:v>38.812113525725863</c:v>
                </c:pt>
                <c:pt idx="6469">
                  <c:v>36.682806341598429</c:v>
                </c:pt>
                <c:pt idx="6470">
                  <c:v>34.877670509579062</c:v>
                </c:pt>
                <c:pt idx="6471">
                  <c:v>41.791588347473052</c:v>
                </c:pt>
                <c:pt idx="6472">
                  <c:v>55.864342571257218</c:v>
                </c:pt>
                <c:pt idx="6473">
                  <c:v>62.15379703338369</c:v>
                </c:pt>
                <c:pt idx="6474">
                  <c:v>63.953753038729658</c:v>
                </c:pt>
                <c:pt idx="6475">
                  <c:v>63.976657174192439</c:v>
                </c:pt>
                <c:pt idx="6476">
                  <c:v>63.4680396229423</c:v>
                </c:pt>
                <c:pt idx="6477">
                  <c:v>63.206328199826693</c:v>
                </c:pt>
                <c:pt idx="6478">
                  <c:v>63.341490473754</c:v>
                </c:pt>
                <c:pt idx="6479">
                  <c:v>63.287364258567777</c:v>
                </c:pt>
                <c:pt idx="6480">
                  <c:v>63.073461746435441</c:v>
                </c:pt>
                <c:pt idx="6481">
                  <c:v>62.700696433023523</c:v>
                </c:pt>
                <c:pt idx="6482">
                  <c:v>62.817847938853518</c:v>
                </c:pt>
                <c:pt idx="6483">
                  <c:v>62.508908057485591</c:v>
                </c:pt>
                <c:pt idx="6484">
                  <c:v>62.332819845681364</c:v>
                </c:pt>
                <c:pt idx="6485">
                  <c:v>62.077244403374827</c:v>
                </c:pt>
                <c:pt idx="6486">
                  <c:v>61.639614283252961</c:v>
                </c:pt>
                <c:pt idx="6487">
                  <c:v>61.603649984861981</c:v>
                </c:pt>
                <c:pt idx="6488">
                  <c:v>61.350387760395385</c:v>
                </c:pt>
                <c:pt idx="6489">
                  <c:v>61.562399318437585</c:v>
                </c:pt>
                <c:pt idx="6490">
                  <c:v>61.531209537539446</c:v>
                </c:pt>
                <c:pt idx="6491">
                  <c:v>62.025153841197877</c:v>
                </c:pt>
                <c:pt idx="6492">
                  <c:v>62.079768032297395</c:v>
                </c:pt>
                <c:pt idx="6493">
                  <c:v>61.974183421443101</c:v>
                </c:pt>
                <c:pt idx="6494">
                  <c:v>61.617225680601621</c:v>
                </c:pt>
                <c:pt idx="6495">
                  <c:v>61.862320320394218</c:v>
                </c:pt>
                <c:pt idx="6496">
                  <c:v>61.50487307472779</c:v>
                </c:pt>
                <c:pt idx="6497">
                  <c:v>60.789623582824234</c:v>
                </c:pt>
                <c:pt idx="6498">
                  <c:v>62.67634115545026</c:v>
                </c:pt>
                <c:pt idx="6499">
                  <c:v>63.403431477593919</c:v>
                </c:pt>
                <c:pt idx="6500">
                  <c:v>62.767513290255195</c:v>
                </c:pt>
                <c:pt idx="6501">
                  <c:v>58.856891787880365</c:v>
                </c:pt>
                <c:pt idx="6502">
                  <c:v>48.376526477294178</c:v>
                </c:pt>
                <c:pt idx="6503">
                  <c:v>39.855968492678137</c:v>
                </c:pt>
                <c:pt idx="6504">
                  <c:v>36.153339668890588</c:v>
                </c:pt>
                <c:pt idx="6505">
                  <c:v>35.063171347240576</c:v>
                </c:pt>
                <c:pt idx="6506">
                  <c:v>35.021917998144005</c:v>
                </c:pt>
                <c:pt idx="6507">
                  <c:v>35.34897193895187</c:v>
                </c:pt>
                <c:pt idx="6508">
                  <c:v>35.750447224741009</c:v>
                </c:pt>
                <c:pt idx="6509">
                  <c:v>36.029944051427151</c:v>
                </c:pt>
                <c:pt idx="6510">
                  <c:v>36.204630410907981</c:v>
                </c:pt>
                <c:pt idx="6511">
                  <c:v>36.482007026727779</c:v>
                </c:pt>
                <c:pt idx="6512">
                  <c:v>36.210540708223348</c:v>
                </c:pt>
                <c:pt idx="6513">
                  <c:v>36.626460376747772</c:v>
                </c:pt>
                <c:pt idx="6514">
                  <c:v>35.886773296176401</c:v>
                </c:pt>
                <c:pt idx="6515">
                  <c:v>35.184429518954495</c:v>
                </c:pt>
                <c:pt idx="6516">
                  <c:v>35.064204436723472</c:v>
                </c:pt>
                <c:pt idx="6517">
                  <c:v>35.118126193499137</c:v>
                </c:pt>
                <c:pt idx="6518">
                  <c:v>35.271091065707097</c:v>
                </c:pt>
                <c:pt idx="6519">
                  <c:v>35.253214279135634</c:v>
                </c:pt>
                <c:pt idx="6520">
                  <c:v>35.41185645692741</c:v>
                </c:pt>
                <c:pt idx="6521">
                  <c:v>35.272835194348666</c:v>
                </c:pt>
                <c:pt idx="6522">
                  <c:v>35.358010233068306</c:v>
                </c:pt>
                <c:pt idx="6523">
                  <c:v>35.54084193181636</c:v>
                </c:pt>
                <c:pt idx="6524">
                  <c:v>35.776451576020506</c:v>
                </c:pt>
                <c:pt idx="6525">
                  <c:v>35.748310465786908</c:v>
                </c:pt>
                <c:pt idx="6526">
                  <c:v>35.90680407741975</c:v>
                </c:pt>
                <c:pt idx="6527">
                  <c:v>35.248545097836072</c:v>
                </c:pt>
                <c:pt idx="6528">
                  <c:v>24.648135592955146</c:v>
                </c:pt>
                <c:pt idx="6529">
                  <c:v>17.071638351521564</c:v>
                </c:pt>
                <c:pt idx="6530">
                  <c:v>9.8677636594382037</c:v>
                </c:pt>
                <c:pt idx="6531">
                  <c:v>9.1822167262041905</c:v>
                </c:pt>
                <c:pt idx="6532">
                  <c:v>9.0316820878384068</c:v>
                </c:pt>
                <c:pt idx="6533">
                  <c:v>8.9239750414303636</c:v>
                </c:pt>
                <c:pt idx="6534">
                  <c:v>7.7473982796395147</c:v>
                </c:pt>
                <c:pt idx="6535">
                  <c:v>5.919235725367316</c:v>
                </c:pt>
                <c:pt idx="6536">
                  <c:v>4.1806235592694332</c:v>
                </c:pt>
                <c:pt idx="6537">
                  <c:v>4.2972110305980058</c:v>
                </c:pt>
                <c:pt idx="6538">
                  <c:v>4.1645656826271882</c:v>
                </c:pt>
                <c:pt idx="6539">
                  <c:v>4.0550936771540833</c:v>
                </c:pt>
                <c:pt idx="6540">
                  <c:v>4.1082804443556631</c:v>
                </c:pt>
                <c:pt idx="6541">
                  <c:v>4.0997838461084095</c:v>
                </c:pt>
                <c:pt idx="6542">
                  <c:v>4.1652125670469982</c:v>
                </c:pt>
                <c:pt idx="6543">
                  <c:v>4.1223454151087919</c:v>
                </c:pt>
                <c:pt idx="6544">
                  <c:v>4.1641535692870733</c:v>
                </c:pt>
                <c:pt idx="6545">
                  <c:v>4.1463506348735439</c:v>
                </c:pt>
                <c:pt idx="6546">
                  <c:v>4.1935496802348817</c:v>
                </c:pt>
                <c:pt idx="6547">
                  <c:v>4.2496031498022173</c:v>
                </c:pt>
                <c:pt idx="6548">
                  <c:v>4.3667349497641821</c:v>
                </c:pt>
                <c:pt idx="6549">
                  <c:v>4.5545661224362899</c:v>
                </c:pt>
                <c:pt idx="6550">
                  <c:v>4.923771229668584</c:v>
                </c:pt>
                <c:pt idx="6551">
                  <c:v>5.3615455505123455</c:v>
                </c:pt>
                <c:pt idx="6552">
                  <c:v>5.7404539298867236</c:v>
                </c:pt>
                <c:pt idx="6553">
                  <c:v>5.9597053944682568</c:v>
                </c:pt>
                <c:pt idx="6554">
                  <c:v>5.7685663557859757</c:v>
                </c:pt>
                <c:pt idx="6555">
                  <c:v>5.6252902122143107</c:v>
                </c:pt>
                <c:pt idx="6556">
                  <c:v>5.7375629353904838</c:v>
                </c:pt>
                <c:pt idx="6557">
                  <c:v>5.8418378659914225</c:v>
                </c:pt>
                <c:pt idx="6558">
                  <c:v>5.57897520233825</c:v>
                </c:pt>
                <c:pt idx="6559">
                  <c:v>5.6368833538619443</c:v>
                </c:pt>
                <c:pt idx="6560">
                  <c:v>5.6271174826254304</c:v>
                </c:pt>
                <c:pt idx="6561">
                  <c:v>5.4584316270542095</c:v>
                </c:pt>
                <c:pt idx="6562">
                  <c:v>5.4823690732116352</c:v>
                </c:pt>
                <c:pt idx="6563">
                  <c:v>5.483418983835862</c:v>
                </c:pt>
                <c:pt idx="6564">
                  <c:v>5.4882011442912058</c:v>
                </c:pt>
                <c:pt idx="6565">
                  <c:v>5.4807458887752825</c:v>
                </c:pt>
                <c:pt idx="6566">
                  <c:v>5.4811827498763348</c:v>
                </c:pt>
                <c:pt idx="6567">
                  <c:v>5.4906673582378636</c:v>
                </c:pt>
                <c:pt idx="6568">
                  <c:v>5.6490424430592565</c:v>
                </c:pt>
                <c:pt idx="6569">
                  <c:v>5.7313096256580698</c:v>
                </c:pt>
                <c:pt idx="6570">
                  <c:v>15.227170681778857</c:v>
                </c:pt>
                <c:pt idx="6571">
                  <c:v>18.376949583117678</c:v>
                </c:pt>
                <c:pt idx="6572">
                  <c:v>18.326954801120671</c:v>
                </c:pt>
                <c:pt idx="6573">
                  <c:v>18.35696681177652</c:v>
                </c:pt>
                <c:pt idx="6574">
                  <c:v>18.356440017140866</c:v>
                </c:pt>
                <c:pt idx="6575">
                  <c:v>18.339063682628932</c:v>
                </c:pt>
                <c:pt idx="6576">
                  <c:v>18.470773879242152</c:v>
                </c:pt>
                <c:pt idx="6577">
                  <c:v>18.469811104466427</c:v>
                </c:pt>
                <c:pt idx="6578">
                  <c:v>18.480145558806395</c:v>
                </c:pt>
                <c:pt idx="6579">
                  <c:v>18.613513881863224</c:v>
                </c:pt>
                <c:pt idx="6580">
                  <c:v>18.594291528656846</c:v>
                </c:pt>
                <c:pt idx="6581">
                  <c:v>18.555848978082995</c:v>
                </c:pt>
                <c:pt idx="6582">
                  <c:v>20.892217267523758</c:v>
                </c:pt>
                <c:pt idx="6583">
                  <c:v>20.934698712183106</c:v>
                </c:pt>
                <c:pt idx="6584">
                  <c:v>21.058665396764635</c:v>
                </c:pt>
                <c:pt idx="6585">
                  <c:v>21.054895134660736</c:v>
                </c:pt>
                <c:pt idx="6586">
                  <c:v>20.916201644446399</c:v>
                </c:pt>
                <c:pt idx="6587">
                  <c:v>20.884932380182246</c:v>
                </c:pt>
                <c:pt idx="6588">
                  <c:v>20.939195739035977</c:v>
                </c:pt>
                <c:pt idx="6589">
                  <c:v>20.930704342141084</c:v>
                </c:pt>
                <c:pt idx="6590">
                  <c:v>20.920311296712569</c:v>
                </c:pt>
                <c:pt idx="6591">
                  <c:v>20.94845265222731</c:v>
                </c:pt>
                <c:pt idx="6592">
                  <c:v>20.989434022054805</c:v>
                </c:pt>
                <c:pt idx="6593">
                  <c:v>20.886222469325439</c:v>
                </c:pt>
                <c:pt idx="6594">
                  <c:v>20.863587823115953</c:v>
                </c:pt>
                <c:pt idx="6595">
                  <c:v>20.868772647483546</c:v>
                </c:pt>
                <c:pt idx="6596">
                  <c:v>20.864398556568542</c:v>
                </c:pt>
                <c:pt idx="6597">
                  <c:v>20.736906754279527</c:v>
                </c:pt>
                <c:pt idx="6598">
                  <c:v>20.586856221071741</c:v>
                </c:pt>
                <c:pt idx="6599">
                  <c:v>20.625592958467664</c:v>
                </c:pt>
                <c:pt idx="6600">
                  <c:v>15.744830210113118</c:v>
                </c:pt>
                <c:pt idx="6601">
                  <c:v>11.847228431685041</c:v>
                </c:pt>
                <c:pt idx="6602">
                  <c:v>11.773420903910248</c:v>
                </c:pt>
                <c:pt idx="6603">
                  <c:v>11.773420903910248</c:v>
                </c:pt>
                <c:pt idx="6604">
                  <c:v>11.787628803626751</c:v>
                </c:pt>
                <c:pt idx="6605">
                  <c:v>11.751284183580919</c:v>
                </c:pt>
                <c:pt idx="6606">
                  <c:v>11.609622851176194</c:v>
                </c:pt>
                <c:pt idx="6607">
                  <c:v>11.610723379785211</c:v>
                </c:pt>
                <c:pt idx="6608">
                  <c:v>11.609101111446442</c:v>
                </c:pt>
                <c:pt idx="6609">
                  <c:v>11.314037574766749</c:v>
                </c:pt>
                <c:pt idx="6610">
                  <c:v>11.307760501935656</c:v>
                </c:pt>
                <c:pt idx="6611">
                  <c:v>11.336438094809555</c:v>
                </c:pt>
                <c:pt idx="6612">
                  <c:v>4.5364089813707951</c:v>
                </c:pt>
                <c:pt idx="6613">
                  <c:v>4.540983090500128</c:v>
                </c:pt>
                <c:pt idx="6614">
                  <c:v>4.3631586752796636</c:v>
                </c:pt>
                <c:pt idx="6615">
                  <c:v>3.9081922408380283</c:v>
                </c:pt>
                <c:pt idx="6616">
                  <c:v>3.8521434428622854</c:v>
                </c:pt>
                <c:pt idx="6617">
                  <c:v>4.0259867223152863</c:v>
                </c:pt>
                <c:pt idx="6618">
                  <c:v>3.8770230048423571</c:v>
                </c:pt>
                <c:pt idx="6619">
                  <c:v>4.0471627986382117</c:v>
                </c:pt>
                <c:pt idx="6620">
                  <c:v>5.84553173702857</c:v>
                </c:pt>
                <c:pt idx="6621">
                  <c:v>5.9920212632513152</c:v>
                </c:pt>
                <c:pt idx="6622">
                  <c:v>9.7707636428194409</c:v>
                </c:pt>
                <c:pt idx="6623">
                  <c:v>20.220765989140308</c:v>
                </c:pt>
                <c:pt idx="6624">
                  <c:v>26.548294144859184</c:v>
                </c:pt>
                <c:pt idx="6625">
                  <c:v>30.116809578857072</c:v>
                </c:pt>
                <c:pt idx="6626">
                  <c:v>33.05706439707933</c:v>
                </c:pt>
                <c:pt idx="6627">
                  <c:v>33.280927380110505</c:v>
                </c:pt>
                <c:pt idx="6628">
                  <c:v>33.251440808217133</c:v>
                </c:pt>
                <c:pt idx="6629">
                  <c:v>33.020389763457224</c:v>
                </c:pt>
                <c:pt idx="6630">
                  <c:v>33.195503285621577</c:v>
                </c:pt>
                <c:pt idx="6631">
                  <c:v>33.312709379513294</c:v>
                </c:pt>
                <c:pt idx="6632">
                  <c:v>33.241397183005716</c:v>
                </c:pt>
                <c:pt idx="6633">
                  <c:v>33.040437844700634</c:v>
                </c:pt>
                <c:pt idx="6634">
                  <c:v>33.099362164495439</c:v>
                </c:pt>
                <c:pt idx="6635">
                  <c:v>33.283039414855658</c:v>
                </c:pt>
                <c:pt idx="6636">
                  <c:v>33.468907836415411</c:v>
                </c:pt>
                <c:pt idx="6637">
                  <c:v>33.64899422375278</c:v>
                </c:pt>
                <c:pt idx="6638">
                  <c:v>33.814240988265738</c:v>
                </c:pt>
                <c:pt idx="6639">
                  <c:v>33.885136355087781</c:v>
                </c:pt>
                <c:pt idx="6640">
                  <c:v>34.069270546525374</c:v>
                </c:pt>
                <c:pt idx="6641">
                  <c:v>33.920905909577669</c:v>
                </c:pt>
                <c:pt idx="6642">
                  <c:v>33.777300237206283</c:v>
                </c:pt>
                <c:pt idx="6643">
                  <c:v>33.646411570600641</c:v>
                </c:pt>
                <c:pt idx="6644">
                  <c:v>33.507976761021546</c:v>
                </c:pt>
                <c:pt idx="6645">
                  <c:v>33.373455138575771</c:v>
                </c:pt>
                <c:pt idx="6646">
                  <c:v>33.282662710643507</c:v>
                </c:pt>
                <c:pt idx="6647">
                  <c:v>33.104694982578536</c:v>
                </c:pt>
                <c:pt idx="6648">
                  <c:v>33.136195087507112</c:v>
                </c:pt>
                <c:pt idx="6649">
                  <c:v>32.949733693744591</c:v>
                </c:pt>
                <c:pt idx="6650">
                  <c:v>33.10060251696062</c:v>
                </c:pt>
                <c:pt idx="6651">
                  <c:v>33.104449924221363</c:v>
                </c:pt>
                <c:pt idx="6652">
                  <c:v>32.741737867673464</c:v>
                </c:pt>
                <c:pt idx="6653">
                  <c:v>29.313290045018054</c:v>
                </c:pt>
                <c:pt idx="6654">
                  <c:v>24.955711583376573</c:v>
                </c:pt>
                <c:pt idx="6655">
                  <c:v>20.559298469944199</c:v>
                </c:pt>
                <c:pt idx="6656">
                  <c:v>16.241354388068252</c:v>
                </c:pt>
                <c:pt idx="6657">
                  <c:v>26.681979982731132</c:v>
                </c:pt>
                <c:pt idx="6658">
                  <c:v>31.396945977089331</c:v>
                </c:pt>
                <c:pt idx="6659">
                  <c:v>32.941509929780338</c:v>
                </c:pt>
                <c:pt idx="6660">
                  <c:v>33.045548852021682</c:v>
                </c:pt>
                <c:pt idx="6661">
                  <c:v>32.821544213867234</c:v>
                </c:pt>
                <c:pt idx="6662">
                  <c:v>32.755084795952264</c:v>
                </c:pt>
                <c:pt idx="6663">
                  <c:v>32.771092714987262</c:v>
                </c:pt>
                <c:pt idx="6664">
                  <c:v>32.761366275347328</c:v>
                </c:pt>
                <c:pt idx="6665">
                  <c:v>32.559766002684796</c:v>
                </c:pt>
                <c:pt idx="6666">
                  <c:v>32.424122149399139</c:v>
                </c:pt>
                <c:pt idx="6667">
                  <c:v>32.296854507470023</c:v>
                </c:pt>
                <c:pt idx="6668">
                  <c:v>32.189445059225591</c:v>
                </c:pt>
                <c:pt idx="6669">
                  <c:v>32.211493829960716</c:v>
                </c:pt>
                <c:pt idx="6670">
                  <c:v>32.086272246431498</c:v>
                </c:pt>
                <c:pt idx="6671">
                  <c:v>32.341637713353627</c:v>
                </c:pt>
                <c:pt idx="6672">
                  <c:v>32.580308520299788</c:v>
                </c:pt>
                <c:pt idx="6673">
                  <c:v>32.732803588258946</c:v>
                </c:pt>
                <c:pt idx="6674">
                  <c:v>32.795069781005083</c:v>
                </c:pt>
                <c:pt idx="6675">
                  <c:v>32.809382753647434</c:v>
                </c:pt>
                <c:pt idx="6676">
                  <c:v>33.74343020298209</c:v>
                </c:pt>
                <c:pt idx="6677">
                  <c:v>34.497500641230786</c:v>
                </c:pt>
                <c:pt idx="6678">
                  <c:v>34.634302285653476</c:v>
                </c:pt>
                <c:pt idx="6679">
                  <c:v>34.373513865226585</c:v>
                </c:pt>
                <c:pt idx="6680">
                  <c:v>34.227942942429053</c:v>
                </c:pt>
                <c:pt idx="6681">
                  <c:v>33.761344166197254</c:v>
                </c:pt>
                <c:pt idx="6682">
                  <c:v>33.643632255381249</c:v>
                </c:pt>
                <c:pt idx="6683">
                  <c:v>33.584204861841215</c:v>
                </c:pt>
                <c:pt idx="6684">
                  <c:v>33.523461484635419</c:v>
                </c:pt>
                <c:pt idx="6685">
                  <c:v>33.739434959315851</c:v>
                </c:pt>
                <c:pt idx="6686">
                  <c:v>33.951130328006656</c:v>
                </c:pt>
                <c:pt idx="6687">
                  <c:v>28.356069136317895</c:v>
                </c:pt>
                <c:pt idx="6688">
                  <c:v>24.250198463858876</c:v>
                </c:pt>
                <c:pt idx="6689">
                  <c:v>22.250955423797357</c:v>
                </c:pt>
                <c:pt idx="6690">
                  <c:v>22.005125608170701</c:v>
                </c:pt>
                <c:pt idx="6691">
                  <c:v>22.174702979086813</c:v>
                </c:pt>
                <c:pt idx="6692">
                  <c:v>22.424711215565253</c:v>
                </c:pt>
                <c:pt idx="6693">
                  <c:v>22.560190075070885</c:v>
                </c:pt>
                <c:pt idx="6694">
                  <c:v>22.562963985436756</c:v>
                </c:pt>
                <c:pt idx="6695">
                  <c:v>22.525729451611454</c:v>
                </c:pt>
                <c:pt idx="6696">
                  <c:v>22.459353541670328</c:v>
                </c:pt>
                <c:pt idx="6697">
                  <c:v>23.824394955438493</c:v>
                </c:pt>
                <c:pt idx="6698">
                  <c:v>32.500762097875416</c:v>
                </c:pt>
                <c:pt idx="6699">
                  <c:v>38.791074455538549</c:v>
                </c:pt>
                <c:pt idx="6700">
                  <c:v>41.886434002944299</c:v>
                </c:pt>
                <c:pt idx="6701">
                  <c:v>42.470788624758249</c:v>
                </c:pt>
                <c:pt idx="6702">
                  <c:v>42.132115967822351</c:v>
                </c:pt>
                <c:pt idx="6703">
                  <c:v>41.594566214290118</c:v>
                </c:pt>
                <c:pt idx="6704">
                  <c:v>41.256453810789665</c:v>
                </c:pt>
                <c:pt idx="6705">
                  <c:v>41.263385207038922</c:v>
                </c:pt>
                <c:pt idx="6706">
                  <c:v>41.253397800399647</c:v>
                </c:pt>
                <c:pt idx="6707">
                  <c:v>40.837253372138342</c:v>
                </c:pt>
                <c:pt idx="6708">
                  <c:v>40.846424615561872</c:v>
                </c:pt>
                <c:pt idx="6709">
                  <c:v>40.921442728698402</c:v>
                </c:pt>
                <c:pt idx="6710">
                  <c:v>41.085487647770798</c:v>
                </c:pt>
                <c:pt idx="6711">
                  <c:v>41.553567558133423</c:v>
                </c:pt>
                <c:pt idx="6712">
                  <c:v>41.753446586272034</c:v>
                </c:pt>
                <c:pt idx="6713">
                  <c:v>41.933337115180045</c:v>
                </c:pt>
                <c:pt idx="6714">
                  <c:v>42.380169560461034</c:v>
                </c:pt>
                <c:pt idx="6715">
                  <c:v>43.56082476169567</c:v>
                </c:pt>
                <c:pt idx="6716">
                  <c:v>49.014239422142211</c:v>
                </c:pt>
                <c:pt idx="6717">
                  <c:v>52.235011153491051</c:v>
                </c:pt>
                <c:pt idx="6718">
                  <c:v>52.71375025061203</c:v>
                </c:pt>
                <c:pt idx="6719">
                  <c:v>52.566798864755114</c:v>
                </c:pt>
                <c:pt idx="6720">
                  <c:v>51.959931360252064</c:v>
                </c:pt>
                <c:pt idx="6721">
                  <c:v>51.699738092541864</c:v>
                </c:pt>
                <c:pt idx="6722">
                  <c:v>51.523681199243832</c:v>
                </c:pt>
                <c:pt idx="6723">
                  <c:v>51.377023293763671</c:v>
                </c:pt>
                <c:pt idx="6724">
                  <c:v>51.308706124277641</c:v>
                </c:pt>
                <c:pt idx="6725">
                  <c:v>51.472126965360204</c:v>
                </c:pt>
                <c:pt idx="6726">
                  <c:v>51.573744042705108</c:v>
                </c:pt>
                <c:pt idx="6727">
                  <c:v>52.098598002854423</c:v>
                </c:pt>
                <c:pt idx="6728">
                  <c:v>49.289009853430898</c:v>
                </c:pt>
                <c:pt idx="6729">
                  <c:v>45.76880989152567</c:v>
                </c:pt>
                <c:pt idx="6730">
                  <c:v>43.244952352585919</c:v>
                </c:pt>
                <c:pt idx="6731">
                  <c:v>42.422986878893759</c:v>
                </c:pt>
                <c:pt idx="6732">
                  <c:v>42.392159551554329</c:v>
                </c:pt>
                <c:pt idx="6733">
                  <c:v>42.560019608705325</c:v>
                </c:pt>
                <c:pt idx="6734">
                  <c:v>42.761552310791245</c:v>
                </c:pt>
                <c:pt idx="6735">
                  <c:v>42.821112222765699</c:v>
                </c:pt>
                <c:pt idx="6736">
                  <c:v>42.875887349656693</c:v>
                </c:pt>
                <c:pt idx="6737">
                  <c:v>42.889029341284044</c:v>
                </c:pt>
                <c:pt idx="6738">
                  <c:v>42.628649025702636</c:v>
                </c:pt>
                <c:pt idx="6739">
                  <c:v>42.763068612374603</c:v>
                </c:pt>
                <c:pt idx="6740">
                  <c:v>42.838323346377621</c:v>
                </c:pt>
                <c:pt idx="6741">
                  <c:v>42.721654269363867</c:v>
                </c:pt>
                <c:pt idx="6742">
                  <c:v>42.796617422885127</c:v>
                </c:pt>
                <c:pt idx="6743">
                  <c:v>42.827401611135066</c:v>
                </c:pt>
                <c:pt idx="6744">
                  <c:v>42.710009000515548</c:v>
                </c:pt>
                <c:pt idx="6745">
                  <c:v>40.972441384467899</c:v>
                </c:pt>
                <c:pt idx="6746">
                  <c:v>33.416463306537878</c:v>
                </c:pt>
                <c:pt idx="6747">
                  <c:v>26.358553690662927</c:v>
                </c:pt>
                <c:pt idx="6748">
                  <c:v>21.530921297793142</c:v>
                </c:pt>
                <c:pt idx="6749">
                  <c:v>20.942619151761455</c:v>
                </c:pt>
                <c:pt idx="6750">
                  <c:v>20.93427280775186</c:v>
                </c:pt>
                <c:pt idx="6751">
                  <c:v>20.927534523981372</c:v>
                </c:pt>
                <c:pt idx="6752">
                  <c:v>20.895738862074751</c:v>
                </c:pt>
                <c:pt idx="6753">
                  <c:v>20.892030506378731</c:v>
                </c:pt>
                <c:pt idx="6754">
                  <c:v>20.880351655593149</c:v>
                </c:pt>
                <c:pt idx="6755">
                  <c:v>20.801725477799547</c:v>
                </c:pt>
                <c:pt idx="6756">
                  <c:v>20.761753643011385</c:v>
                </c:pt>
                <c:pt idx="6757">
                  <c:v>20.70900401873228</c:v>
                </c:pt>
                <c:pt idx="6758">
                  <c:v>21.02327087307421</c:v>
                </c:pt>
                <c:pt idx="6759">
                  <c:v>20.909211917897693</c:v>
                </c:pt>
                <c:pt idx="6760">
                  <c:v>20.842993837056753</c:v>
                </c:pt>
                <c:pt idx="6761">
                  <c:v>20.839994113032709</c:v>
                </c:pt>
                <c:pt idx="6762">
                  <c:v>20.804244712390847</c:v>
                </c:pt>
                <c:pt idx="6763">
                  <c:v>20.966237693799574</c:v>
                </c:pt>
                <c:pt idx="6764">
                  <c:v>21.056189367016117</c:v>
                </c:pt>
                <c:pt idx="6765">
                  <c:v>21.110457370559462</c:v>
                </c:pt>
                <c:pt idx="6766">
                  <c:v>21.154943291265578</c:v>
                </c:pt>
                <c:pt idx="6767">
                  <c:v>21.102992980056001</c:v>
                </c:pt>
                <c:pt idx="6768">
                  <c:v>21.072097913847422</c:v>
                </c:pt>
                <c:pt idx="6769">
                  <c:v>20.988922970361113</c:v>
                </c:pt>
                <c:pt idx="6770">
                  <c:v>20.974414225324985</c:v>
                </c:pt>
                <c:pt idx="6771">
                  <c:v>21.141499659500159</c:v>
                </c:pt>
                <c:pt idx="6772">
                  <c:v>21.103710516044558</c:v>
                </c:pt>
                <c:pt idx="6773">
                  <c:v>21.114008212914044</c:v>
                </c:pt>
                <c:pt idx="6774">
                  <c:v>21.042092089079286</c:v>
                </c:pt>
                <c:pt idx="6775">
                  <c:v>20.460073541918533</c:v>
                </c:pt>
                <c:pt idx="6776">
                  <c:v>16.368559604111677</c:v>
                </c:pt>
                <c:pt idx="6777">
                  <c:v>10.138082319520452</c:v>
                </c:pt>
                <c:pt idx="6778">
                  <c:v>8.4356803278462902</c:v>
                </c:pt>
                <c:pt idx="6779">
                  <c:v>7.3702965273693799</c:v>
                </c:pt>
                <c:pt idx="6780">
                  <c:v>6.9100678852921362</c:v>
                </c:pt>
                <c:pt idx="6781">
                  <c:v>6.9111753263428533</c:v>
                </c:pt>
                <c:pt idx="6782">
                  <c:v>6.9054595556545211</c:v>
                </c:pt>
                <c:pt idx="6783">
                  <c:v>6.8975929754049004</c:v>
                </c:pt>
                <c:pt idx="6784">
                  <c:v>6.8952640423649338</c:v>
                </c:pt>
                <c:pt idx="6785">
                  <c:v>7.0959932236984988</c:v>
                </c:pt>
                <c:pt idx="6786">
                  <c:v>7.1971654081923093</c:v>
                </c:pt>
                <c:pt idx="6787">
                  <c:v>7.2634780444748914</c:v>
                </c:pt>
                <c:pt idx="6788">
                  <c:v>4.529341721776202</c:v>
                </c:pt>
                <c:pt idx="6789">
                  <c:v>4.0661230560445905</c:v>
                </c:pt>
                <c:pt idx="6790">
                  <c:v>4.0637861462902718</c:v>
                </c:pt>
                <c:pt idx="6791">
                  <c:v>4.0749164231162354</c:v>
                </c:pt>
                <c:pt idx="6792">
                  <c:v>4.0885132637602153</c:v>
                </c:pt>
                <c:pt idx="6793">
                  <c:v>3.8607918238657071</c:v>
                </c:pt>
                <c:pt idx="6794">
                  <c:v>4.0095111044269549</c:v>
                </c:pt>
                <c:pt idx="6795">
                  <c:v>4.9512479711773638</c:v>
                </c:pt>
                <c:pt idx="6796">
                  <c:v>6.3377660377390095</c:v>
                </c:pt>
                <c:pt idx="6797">
                  <c:v>7.0259427873969145</c:v>
                </c:pt>
                <c:pt idx="6798">
                  <c:v>7.3287162056521149</c:v>
                </c:pt>
                <c:pt idx="6799">
                  <c:v>7.4104129878153797</c:v>
                </c:pt>
                <c:pt idx="6800">
                  <c:v>7.4564618842034509</c:v>
                </c:pt>
                <c:pt idx="6801">
                  <c:v>7.2039873201966778</c:v>
                </c:pt>
                <c:pt idx="6802">
                  <c:v>7.19690522055744</c:v>
                </c:pt>
                <c:pt idx="6803">
                  <c:v>8.906733040053922</c:v>
                </c:pt>
                <c:pt idx="6804">
                  <c:v>13.664037484251409</c:v>
                </c:pt>
                <c:pt idx="6805">
                  <c:v>13.833812243303372</c:v>
                </c:pt>
                <c:pt idx="6806">
                  <c:v>13.870115892255422</c:v>
                </c:pt>
                <c:pt idx="6807">
                  <c:v>14.096546998031434</c:v>
                </c:pt>
                <c:pt idx="6808">
                  <c:v>14.10138800290652</c:v>
                </c:pt>
                <c:pt idx="6809">
                  <c:v>14.093967644250121</c:v>
                </c:pt>
                <c:pt idx="6810">
                  <c:v>14.100263276602851</c:v>
                </c:pt>
                <c:pt idx="6811">
                  <c:v>16.445204188678062</c:v>
                </c:pt>
                <c:pt idx="6812">
                  <c:v>18.136171688235049</c:v>
                </c:pt>
                <c:pt idx="6813">
                  <c:v>18.142992321088055</c:v>
                </c:pt>
                <c:pt idx="6814">
                  <c:v>18.167045676620816</c:v>
                </c:pt>
                <c:pt idx="6815">
                  <c:v>17.967011676801583</c:v>
                </c:pt>
                <c:pt idx="6816">
                  <c:v>17.834536196640997</c:v>
                </c:pt>
                <c:pt idx="6817">
                  <c:v>17.658561312222602</c:v>
                </c:pt>
                <c:pt idx="6818">
                  <c:v>17.828864959316466</c:v>
                </c:pt>
                <c:pt idx="6819">
                  <c:v>17.775389971622893</c:v>
                </c:pt>
                <c:pt idx="6820">
                  <c:v>17.720172533935777</c:v>
                </c:pt>
                <c:pt idx="6821">
                  <c:v>17.660145311590043</c:v>
                </c:pt>
                <c:pt idx="6822">
                  <c:v>17.600422584417409</c:v>
                </c:pt>
                <c:pt idx="6823">
                  <c:v>17.64361046179155</c:v>
                </c:pt>
                <c:pt idx="6824">
                  <c:v>17.403172552156676</c:v>
                </c:pt>
                <c:pt idx="6825">
                  <c:v>17.480149589688498</c:v>
                </c:pt>
                <c:pt idx="6826">
                  <c:v>17.418242991682877</c:v>
                </c:pt>
                <c:pt idx="6827">
                  <c:v>17.429349000943315</c:v>
                </c:pt>
                <c:pt idx="6828">
                  <c:v>17.485860006966757</c:v>
                </c:pt>
                <c:pt idx="6829">
                  <c:v>17.557127770157646</c:v>
                </c:pt>
                <c:pt idx="6830">
                  <c:v>17.624388379648494</c:v>
                </c:pt>
                <c:pt idx="6831">
                  <c:v>17.687438459582957</c:v>
                </c:pt>
                <c:pt idx="6832">
                  <c:v>17.739771181494188</c:v>
                </c:pt>
                <c:pt idx="6833">
                  <c:v>17.138910942782637</c:v>
                </c:pt>
                <c:pt idx="6834">
                  <c:v>13.689792783767345</c:v>
                </c:pt>
                <c:pt idx="6835">
                  <c:v>13.585504784018958</c:v>
                </c:pt>
                <c:pt idx="6836">
                  <c:v>13.74681987259132</c:v>
                </c:pt>
                <c:pt idx="6837">
                  <c:v>13.554614206559391</c:v>
                </c:pt>
                <c:pt idx="6838">
                  <c:v>13.641848347312086</c:v>
                </c:pt>
                <c:pt idx="6839">
                  <c:v>13.664044151041166</c:v>
                </c:pt>
                <c:pt idx="6840">
                  <c:v>13.884716514739971</c:v>
                </c:pt>
                <c:pt idx="6841">
                  <c:v>11.495132756958537</c:v>
                </c:pt>
                <c:pt idx="6842">
                  <c:v>7.7382930471645066</c:v>
                </c:pt>
                <c:pt idx="6843">
                  <c:v>7.2568171342024232</c:v>
                </c:pt>
                <c:pt idx="6844">
                  <c:v>7.2450183513656539</c:v>
                </c:pt>
                <c:pt idx="6845">
                  <c:v>7.2459413648593243</c:v>
                </c:pt>
                <c:pt idx="6846">
                  <c:v>7.2931423826589894</c:v>
                </c:pt>
                <c:pt idx="6847">
                  <c:v>6.8542943216569281</c:v>
                </c:pt>
                <c:pt idx="6848">
                  <c:v>6.6597283810211687</c:v>
                </c:pt>
                <c:pt idx="6849">
                  <c:v>6.6850649571917247</c:v>
                </c:pt>
                <c:pt idx="6850">
                  <c:v>6.7591617515518951</c:v>
                </c:pt>
                <c:pt idx="6851">
                  <c:v>6.9036792560867077</c:v>
                </c:pt>
                <c:pt idx="6852">
                  <c:v>6.9875470031736846</c:v>
                </c:pt>
                <c:pt idx="6853">
                  <c:v>7.0284832783810849</c:v>
                </c:pt>
                <c:pt idx="6854">
                  <c:v>7.0291574617720363</c:v>
                </c:pt>
                <c:pt idx="6855">
                  <c:v>7.0299677574675057</c:v>
                </c:pt>
                <c:pt idx="6856">
                  <c:v>7.030757794732768</c:v>
                </c:pt>
                <c:pt idx="6857">
                  <c:v>7.0781556115178725</c:v>
                </c:pt>
                <c:pt idx="6858">
                  <c:v>7.186475653934929</c:v>
                </c:pt>
                <c:pt idx="6859">
                  <c:v>7.2046319493706248</c:v>
                </c:pt>
                <c:pt idx="6860">
                  <c:v>7.2183474569108066</c:v>
                </c:pt>
                <c:pt idx="6861">
                  <c:v>7.2282113869867697</c:v>
                </c:pt>
                <c:pt idx="6862">
                  <c:v>7.2349323388941036</c:v>
                </c:pt>
                <c:pt idx="6863">
                  <c:v>7.2400331335516732</c:v>
                </c:pt>
                <c:pt idx="6864">
                  <c:v>7.2421385645411558</c:v>
                </c:pt>
                <c:pt idx="6865">
                  <c:v>7.2423820361498361</c:v>
                </c:pt>
                <c:pt idx="6866">
                  <c:v>7.089714377252931</c:v>
                </c:pt>
                <c:pt idx="6867">
                  <c:v>7.0807245680629105</c:v>
                </c:pt>
                <c:pt idx="6868">
                  <c:v>7.0333594873060141</c:v>
                </c:pt>
                <c:pt idx="6869">
                  <c:v>7.0337272111559885</c:v>
                </c:pt>
                <c:pt idx="6870">
                  <c:v>6.1413304136744662</c:v>
                </c:pt>
                <c:pt idx="6871">
                  <c:v>3.105979903040633</c:v>
                </c:pt>
                <c:pt idx="6872">
                  <c:v>2.8551662076718531</c:v>
                </c:pt>
                <c:pt idx="6873">
                  <c:v>2.8780768656959141</c:v>
                </c:pt>
                <c:pt idx="6874">
                  <c:v>2.9249130584933818</c:v>
                </c:pt>
                <c:pt idx="6875">
                  <c:v>7.1023492497515193</c:v>
                </c:pt>
                <c:pt idx="6876">
                  <c:v>13.857360904958945</c:v>
                </c:pt>
                <c:pt idx="6877">
                  <c:v>27.16084726372242</c:v>
                </c:pt>
                <c:pt idx="6878">
                  <c:v>33.335303088891365</c:v>
                </c:pt>
                <c:pt idx="6879">
                  <c:v>33.683425170601879</c:v>
                </c:pt>
                <c:pt idx="6880">
                  <c:v>35.631192562454828</c:v>
                </c:pt>
                <c:pt idx="6881">
                  <c:v>36.03151634632286</c:v>
                </c:pt>
                <c:pt idx="6882">
                  <c:v>35.793464568349741</c:v>
                </c:pt>
                <c:pt idx="6883">
                  <c:v>35.588025723875191</c:v>
                </c:pt>
                <c:pt idx="6884">
                  <c:v>35.50898543920794</c:v>
                </c:pt>
                <c:pt idx="6885">
                  <c:v>35.700055752863591</c:v>
                </c:pt>
                <c:pt idx="6886">
                  <c:v>35.715500809207633</c:v>
                </c:pt>
                <c:pt idx="6887">
                  <c:v>35.803391627497646</c:v>
                </c:pt>
                <c:pt idx="6888">
                  <c:v>35.787328889160349</c:v>
                </c:pt>
                <c:pt idx="6889">
                  <c:v>35.844282331987891</c:v>
                </c:pt>
                <c:pt idx="6890">
                  <c:v>35.885397830462722</c:v>
                </c:pt>
                <c:pt idx="6891">
                  <c:v>35.910959997800745</c:v>
                </c:pt>
                <c:pt idx="6892">
                  <c:v>35.921685342890946</c:v>
                </c:pt>
                <c:pt idx="6893">
                  <c:v>35.934197220744551</c:v>
                </c:pt>
                <c:pt idx="6894">
                  <c:v>35.900246753627748</c:v>
                </c:pt>
                <c:pt idx="6895">
                  <c:v>35.858875097520453</c:v>
                </c:pt>
                <c:pt idx="6896">
                  <c:v>35.813074749417446</c:v>
                </c:pt>
                <c:pt idx="6897">
                  <c:v>35.762723965575411</c:v>
                </c:pt>
                <c:pt idx="6898">
                  <c:v>35.710179229139584</c:v>
                </c:pt>
                <c:pt idx="6899">
                  <c:v>35.66220742592747</c:v>
                </c:pt>
                <c:pt idx="6900">
                  <c:v>35.716740512020635</c:v>
                </c:pt>
                <c:pt idx="6901">
                  <c:v>35.835280699597753</c:v>
                </c:pt>
                <c:pt idx="6902">
                  <c:v>36.342118360594291</c:v>
                </c:pt>
                <c:pt idx="6903">
                  <c:v>36.579597394572467</c:v>
                </c:pt>
                <c:pt idx="6904">
                  <c:v>36.677100026103382</c:v>
                </c:pt>
                <c:pt idx="6905">
                  <c:v>38.560370458772617</c:v>
                </c:pt>
                <c:pt idx="6906">
                  <c:v>38.916669858239331</c:v>
                </c:pt>
                <c:pt idx="6907">
                  <c:v>33.420162667405776</c:v>
                </c:pt>
                <c:pt idx="6908">
                  <c:v>28.55713386850806</c:v>
                </c:pt>
                <c:pt idx="6909">
                  <c:v>28.528701153698581</c:v>
                </c:pt>
                <c:pt idx="6910">
                  <c:v>26.274178397667647</c:v>
                </c:pt>
                <c:pt idx="6911">
                  <c:v>25.20685470189607</c:v>
                </c:pt>
                <c:pt idx="6912">
                  <c:v>26.081171337777235</c:v>
                </c:pt>
                <c:pt idx="6913">
                  <c:v>26.113095469397599</c:v>
                </c:pt>
                <c:pt idx="6914">
                  <c:v>26.061105003988477</c:v>
                </c:pt>
                <c:pt idx="6915">
                  <c:v>26.061105003988477</c:v>
                </c:pt>
                <c:pt idx="6916">
                  <c:v>25.957615119595811</c:v>
                </c:pt>
                <c:pt idx="6917">
                  <c:v>25.957615119595808</c:v>
                </c:pt>
                <c:pt idx="6918">
                  <c:v>25.838624242184697</c:v>
                </c:pt>
                <c:pt idx="6919">
                  <c:v>25.671591622229283</c:v>
                </c:pt>
                <c:pt idx="6920">
                  <c:v>25.755986884474336</c:v>
                </c:pt>
                <c:pt idx="6921">
                  <c:v>25.729183076697172</c:v>
                </c:pt>
                <c:pt idx="6922">
                  <c:v>25.713340222979966</c:v>
                </c:pt>
                <c:pt idx="6923">
                  <c:v>25.692404621822632</c:v>
                </c:pt>
                <c:pt idx="6924">
                  <c:v>25.716795826432968</c:v>
                </c:pt>
                <c:pt idx="6925">
                  <c:v>25.662045328792601</c:v>
                </c:pt>
                <c:pt idx="6926">
                  <c:v>25.590600226818889</c:v>
                </c:pt>
                <c:pt idx="6927">
                  <c:v>25.509770527977416</c:v>
                </c:pt>
                <c:pt idx="6928">
                  <c:v>25.563234555858489</c:v>
                </c:pt>
                <c:pt idx="6929">
                  <c:v>25.665958081158198</c:v>
                </c:pt>
                <c:pt idx="6930">
                  <c:v>25.848827293519406</c:v>
                </c:pt>
                <c:pt idx="6931">
                  <c:v>25.666321615319006</c:v>
                </c:pt>
                <c:pt idx="6932">
                  <c:v>24.499030375648942</c:v>
                </c:pt>
                <c:pt idx="6933">
                  <c:v>24.411977395427293</c:v>
                </c:pt>
                <c:pt idx="6934">
                  <c:v>23.65633328090032</c:v>
                </c:pt>
                <c:pt idx="6935">
                  <c:v>18.593760604784016</c:v>
                </c:pt>
                <c:pt idx="6936">
                  <c:v>14.02669221847213</c:v>
                </c:pt>
                <c:pt idx="6937">
                  <c:v>13.878357066822023</c:v>
                </c:pt>
                <c:pt idx="6938">
                  <c:v>13.53086864910499</c:v>
                </c:pt>
                <c:pt idx="6939">
                  <c:v>13.417774582270425</c:v>
                </c:pt>
                <c:pt idx="6940">
                  <c:v>13.305665112040561</c:v>
                </c:pt>
                <c:pt idx="6941">
                  <c:v>13.420288629705759</c:v>
                </c:pt>
                <c:pt idx="6942">
                  <c:v>10.162142020049334</c:v>
                </c:pt>
                <c:pt idx="6943">
                  <c:v>9.4899423964377672</c:v>
                </c:pt>
                <c:pt idx="6944">
                  <c:v>9.235230092368635</c:v>
                </c:pt>
                <c:pt idx="6945">
                  <c:v>9.0791227551128184</c:v>
                </c:pt>
                <c:pt idx="6946">
                  <c:v>9.0600253941706317</c:v>
                </c:pt>
                <c:pt idx="6947">
                  <c:v>8.8505198453944462</c:v>
                </c:pt>
                <c:pt idx="6948">
                  <c:v>8.8229137328001652</c:v>
                </c:pt>
                <c:pt idx="6949">
                  <c:v>8.8547230269431267</c:v>
                </c:pt>
                <c:pt idx="6950">
                  <c:v>8.8422359122553633</c:v>
                </c:pt>
                <c:pt idx="6951">
                  <c:v>8.8676219789497139</c:v>
                </c:pt>
                <c:pt idx="6952">
                  <c:v>8.8701992929745312</c:v>
                </c:pt>
                <c:pt idx="6953">
                  <c:v>8.8727813025000053</c:v>
                </c:pt>
                <c:pt idx="6954">
                  <c:v>9.0586106679994352</c:v>
                </c:pt>
                <c:pt idx="6955">
                  <c:v>8.1302847996788383</c:v>
                </c:pt>
                <c:pt idx="6956">
                  <c:v>6.86512127121531</c:v>
                </c:pt>
                <c:pt idx="6957">
                  <c:v>6.7388008263994159</c:v>
                </c:pt>
                <c:pt idx="6958">
                  <c:v>6.7339186074803701</c:v>
                </c:pt>
                <c:pt idx="6959">
                  <c:v>6.8408136000527424</c:v>
                </c:pt>
                <c:pt idx="6960">
                  <c:v>6.7271816392759449</c:v>
                </c:pt>
                <c:pt idx="6961">
                  <c:v>6.6852318375906803</c:v>
                </c:pt>
                <c:pt idx="6962">
                  <c:v>6.6471824174471221</c:v>
                </c:pt>
                <c:pt idx="6963">
                  <c:v>6.6120441166497583</c:v>
                </c:pt>
                <c:pt idx="6964">
                  <c:v>6.6597913640998367</c:v>
                </c:pt>
                <c:pt idx="6965">
                  <c:v>6.6511367855897143</c:v>
                </c:pt>
                <c:pt idx="6966">
                  <c:v>6.5586806933521995</c:v>
                </c:pt>
                <c:pt idx="6967">
                  <c:v>6.5618538753667091</c:v>
                </c:pt>
                <c:pt idx="6968">
                  <c:v>6.55828490336014</c:v>
                </c:pt>
                <c:pt idx="6969">
                  <c:v>6.5974010385279431</c:v>
                </c:pt>
                <c:pt idx="6970">
                  <c:v>6.7184615066097271</c:v>
                </c:pt>
                <c:pt idx="6971">
                  <c:v>5.5533005519480865</c:v>
                </c:pt>
                <c:pt idx="6972">
                  <c:v>5.6361152802758614</c:v>
                </c:pt>
                <c:pt idx="6973">
                  <c:v>5.7306647855190045</c:v>
                </c:pt>
                <c:pt idx="6974">
                  <c:v>5.8115052178634068</c:v>
                </c:pt>
                <c:pt idx="6975">
                  <c:v>5.9338933020410218</c:v>
                </c:pt>
                <c:pt idx="6976">
                  <c:v>6.0646833939175151</c:v>
                </c:pt>
                <c:pt idx="6977">
                  <c:v>6.1937621013764499</c:v>
                </c:pt>
                <c:pt idx="6978">
                  <c:v>6.3311722074036956</c:v>
                </c:pt>
                <c:pt idx="6979">
                  <c:v>6.3207663732701853</c:v>
                </c:pt>
                <c:pt idx="6980">
                  <c:v>6.4856295867005294</c:v>
                </c:pt>
                <c:pt idx="6981">
                  <c:v>6.6844068153894556</c:v>
                </c:pt>
                <c:pt idx="6982">
                  <c:v>6.8074039933569201</c:v>
                </c:pt>
                <c:pt idx="6983">
                  <c:v>6.9291660135655713</c:v>
                </c:pt>
                <c:pt idx="6984">
                  <c:v>6.9673662355017596</c:v>
                </c:pt>
                <c:pt idx="6985">
                  <c:v>6.9663625897568329</c:v>
                </c:pt>
                <c:pt idx="6986">
                  <c:v>6.966113772013812</c:v>
                </c:pt>
                <c:pt idx="6987">
                  <c:v>6.9031354290624991</c:v>
                </c:pt>
                <c:pt idx="6988">
                  <c:v>7.2076932586175886</c:v>
                </c:pt>
                <c:pt idx="6989">
                  <c:v>6.9719749205779227</c:v>
                </c:pt>
                <c:pt idx="6990">
                  <c:v>7.2679446500081575</c:v>
                </c:pt>
                <c:pt idx="6991">
                  <c:v>7.2498154665158347</c:v>
                </c:pt>
                <c:pt idx="6992">
                  <c:v>7.8155839806145622</c:v>
                </c:pt>
                <c:pt idx="6993">
                  <c:v>8.4136820916887931</c:v>
                </c:pt>
                <c:pt idx="6994">
                  <c:v>9.7051999527676003</c:v>
                </c:pt>
                <c:pt idx="6995">
                  <c:v>3.9949773404143776</c:v>
                </c:pt>
                <c:pt idx="6996">
                  <c:v>1.6313865609721374</c:v>
                </c:pt>
              </c:numCache>
            </c:numRef>
          </c:val>
          <c:smooth val="0"/>
          <c:extLst>
            <c:ext xmlns:c16="http://schemas.microsoft.com/office/drawing/2014/chart" uri="{C3380CC4-5D6E-409C-BE32-E72D297353CC}">
              <c16:uniqueId val="{00000001-34E5-0744-AA2C-554353F9D891}"/>
            </c:ext>
          </c:extLst>
        </c:ser>
        <c:ser>
          <c:idx val="2"/>
          <c:order val="2"/>
          <c:tx>
            <c:strRef>
              <c:f>'Rolling Stdev Data'!$C$1:$C$2</c:f>
              <c:strCache>
                <c:ptCount val="2"/>
                <c:pt idx="0">
                  <c:v>rpm</c:v>
                </c:pt>
                <c:pt idx="1">
                  <c:v>ROTATIONAL_PUMP_RPM</c:v>
                </c:pt>
              </c:strCache>
            </c:strRef>
          </c:tx>
          <c:spPr>
            <a:ln w="28575" cap="rnd">
              <a:solidFill>
                <a:schemeClr val="accent3"/>
              </a:solidFill>
              <a:round/>
            </a:ln>
            <a:effectLst/>
          </c:spPr>
          <c:marker>
            <c:symbol val="none"/>
          </c:marker>
          <c:val>
            <c:numRef>
              <c:f>'Rolling Stdev Data'!$C$3:$C$7000</c:f>
              <c:numCache>
                <c:formatCode>General</c:formatCode>
                <c:ptCount val="699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18257418583505536</c:v>
                </c:pt>
                <c:pt idx="322">
                  <c:v>0.25370813170246242</c:v>
                </c:pt>
                <c:pt idx="323">
                  <c:v>0.30512857662936466</c:v>
                </c:pt>
                <c:pt idx="324">
                  <c:v>0.34574590364176039</c:v>
                </c:pt>
                <c:pt idx="325">
                  <c:v>0.37904902178945171</c:v>
                </c:pt>
                <c:pt idx="326">
                  <c:v>0.40683810217248623</c:v>
                </c:pt>
                <c:pt idx="327">
                  <c:v>0.43018306715207638</c:v>
                </c:pt>
                <c:pt idx="328">
                  <c:v>0.44977644510880366</c:v>
                </c:pt>
                <c:pt idx="329">
                  <c:v>0.46609159969939901</c:v>
                </c:pt>
                <c:pt idx="330">
                  <c:v>0.47946330148538413</c:v>
                </c:pt>
                <c:pt idx="331">
                  <c:v>0.49013251785356099</c:v>
                </c:pt>
                <c:pt idx="332">
                  <c:v>0.49827287912243978</c:v>
                </c:pt>
                <c:pt idx="333">
                  <c:v>0.50400693299373089</c:v>
                </c:pt>
                <c:pt idx="334">
                  <c:v>0.50741626340492485</c:v>
                </c:pt>
                <c:pt idx="335">
                  <c:v>0.5085476277156078</c:v>
                </c:pt>
                <c:pt idx="336">
                  <c:v>0.50741626340492485</c:v>
                </c:pt>
                <c:pt idx="337">
                  <c:v>0.50400693299373089</c:v>
                </c:pt>
                <c:pt idx="338">
                  <c:v>0.49827287912243978</c:v>
                </c:pt>
                <c:pt idx="339">
                  <c:v>0.49013251785356099</c:v>
                </c:pt>
                <c:pt idx="340">
                  <c:v>0.47946330148538413</c:v>
                </c:pt>
                <c:pt idx="341">
                  <c:v>0.46609159969939906</c:v>
                </c:pt>
                <c:pt idx="342">
                  <c:v>0.44977644510880366</c:v>
                </c:pt>
                <c:pt idx="343">
                  <c:v>0.43018306715207638</c:v>
                </c:pt>
                <c:pt idx="344">
                  <c:v>0.40683810217248628</c:v>
                </c:pt>
                <c:pt idx="345">
                  <c:v>0.37904902178945177</c:v>
                </c:pt>
                <c:pt idx="346">
                  <c:v>0.34574590364176033</c:v>
                </c:pt>
                <c:pt idx="347">
                  <c:v>0.30512857662936466</c:v>
                </c:pt>
                <c:pt idx="348">
                  <c:v>0.25370813170246248</c:v>
                </c:pt>
                <c:pt idx="349">
                  <c:v>0.18257418583505522</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4624267518827011</c:v>
                </c:pt>
                <c:pt idx="1625">
                  <c:v>0.856618851754129</c:v>
                </c:pt>
                <c:pt idx="1626">
                  <c:v>1.1592654241952862</c:v>
                </c:pt>
                <c:pt idx="1627">
                  <c:v>1.5463017982303904</c:v>
                </c:pt>
                <c:pt idx="1628">
                  <c:v>6.2920015620096894</c:v>
                </c:pt>
                <c:pt idx="1629">
                  <c:v>8.6720585475758085</c:v>
                </c:pt>
                <c:pt idx="1630">
                  <c:v>10.447198585220349</c:v>
                </c:pt>
                <c:pt idx="1631">
                  <c:v>11.904686710947798</c:v>
                </c:pt>
                <c:pt idx="1632">
                  <c:v>13.156701612491615</c:v>
                </c:pt>
                <c:pt idx="1633">
                  <c:v>14.296472962453127</c:v>
                </c:pt>
                <c:pt idx="1634">
                  <c:v>16.161461119068559</c:v>
                </c:pt>
                <c:pt idx="1635">
                  <c:v>17.701087002380074</c:v>
                </c:pt>
                <c:pt idx="1636">
                  <c:v>19.019849941341342</c:v>
                </c:pt>
                <c:pt idx="1637">
                  <c:v>20.128227098075985</c:v>
                </c:pt>
                <c:pt idx="1638">
                  <c:v>21.080312688532025</c:v>
                </c:pt>
                <c:pt idx="1639">
                  <c:v>21.869242170772434</c:v>
                </c:pt>
                <c:pt idx="1640">
                  <c:v>22.509813768132254</c:v>
                </c:pt>
                <c:pt idx="1641">
                  <c:v>23.010155933177636</c:v>
                </c:pt>
                <c:pt idx="1642">
                  <c:v>23.37670441069351</c:v>
                </c:pt>
                <c:pt idx="1643">
                  <c:v>23.612922491579823</c:v>
                </c:pt>
                <c:pt idx="1644">
                  <c:v>23.719907363192963</c:v>
                </c:pt>
                <c:pt idx="1645">
                  <c:v>23.696082234282144</c:v>
                </c:pt>
                <c:pt idx="1646">
                  <c:v>23.553234893706076</c:v>
                </c:pt>
                <c:pt idx="1647">
                  <c:v>23.26902957499124</c:v>
                </c:pt>
                <c:pt idx="1648">
                  <c:v>22.848504273685801</c:v>
                </c:pt>
                <c:pt idx="1649">
                  <c:v>22.264854944967833</c:v>
                </c:pt>
                <c:pt idx="1650">
                  <c:v>21.488857617960463</c:v>
                </c:pt>
                <c:pt idx="1651">
                  <c:v>20.510364491672107</c:v>
                </c:pt>
                <c:pt idx="1652">
                  <c:v>19.605326070311943</c:v>
                </c:pt>
                <c:pt idx="1653">
                  <c:v>18.377786287672876</c:v>
                </c:pt>
                <c:pt idx="1654">
                  <c:v>16.993191900820886</c:v>
                </c:pt>
                <c:pt idx="1655">
                  <c:v>15.329151257599108</c:v>
                </c:pt>
                <c:pt idx="1656">
                  <c:v>13.176097509935861</c:v>
                </c:pt>
                <c:pt idx="1657">
                  <c:v>10.400621259042698</c:v>
                </c:pt>
                <c:pt idx="1658">
                  <c:v>10.053324523627074</c:v>
                </c:pt>
                <c:pt idx="1659">
                  <c:v>9.6011130485194744</c:v>
                </c:pt>
                <c:pt idx="1660">
                  <c:v>9.0337589840123815</c:v>
                </c:pt>
                <c:pt idx="1661">
                  <c:v>8.3512831693197782</c:v>
                </c:pt>
                <c:pt idx="1662">
                  <c:v>7.5447124086690236</c:v>
                </c:pt>
                <c:pt idx="1663">
                  <c:v>6.6479499734021852</c:v>
                </c:pt>
                <c:pt idx="1664">
                  <c:v>6.5475151111170575</c:v>
                </c:pt>
                <c:pt idx="1665">
                  <c:v>6.4158684218057891</c:v>
                </c:pt>
                <c:pt idx="1666">
                  <c:v>6.2764646008490876</c:v>
                </c:pt>
                <c:pt idx="1667">
                  <c:v>6.1092822934351645</c:v>
                </c:pt>
                <c:pt idx="1668">
                  <c:v>5.9377308791171144</c:v>
                </c:pt>
                <c:pt idx="1669">
                  <c:v>5.7422848215762992</c:v>
                </c:pt>
                <c:pt idx="1670">
                  <c:v>5.5237290409203945</c:v>
                </c:pt>
                <c:pt idx="1671">
                  <c:v>5.2802009751386434</c:v>
                </c:pt>
                <c:pt idx="1672">
                  <c:v>5.0110399233290019</c:v>
                </c:pt>
                <c:pt idx="1673">
                  <c:v>4.7146909659790204</c:v>
                </c:pt>
                <c:pt idx="1674">
                  <c:v>4.3885948772126415</c:v>
                </c:pt>
                <c:pt idx="1675">
                  <c:v>4.027572199882453</c:v>
                </c:pt>
                <c:pt idx="1676">
                  <c:v>3.6615549924849882</c:v>
                </c:pt>
                <c:pt idx="1677">
                  <c:v>3.252334547974689</c:v>
                </c:pt>
                <c:pt idx="1678">
                  <c:v>2.8283817581225068</c:v>
                </c:pt>
                <c:pt idx="1679">
                  <c:v>2.3346407991796134</c:v>
                </c:pt>
                <c:pt idx="1680">
                  <c:v>1.6431676725155</c:v>
                </c:pt>
                <c:pt idx="1681">
                  <c:v>0</c:v>
                </c:pt>
                <c:pt idx="1682">
                  <c:v>0</c:v>
                </c:pt>
                <c:pt idx="1683">
                  <c:v>0</c:v>
                </c:pt>
                <c:pt idx="1684">
                  <c:v>0</c:v>
                </c:pt>
                <c:pt idx="1685">
                  <c:v>0</c:v>
                </c:pt>
                <c:pt idx="1686">
                  <c:v>0</c:v>
                </c:pt>
                <c:pt idx="1687">
                  <c:v>0</c:v>
                </c:pt>
                <c:pt idx="1688">
                  <c:v>0.30509865388997426</c:v>
                </c:pt>
                <c:pt idx="1689">
                  <c:v>0.95247600662860554</c:v>
                </c:pt>
                <c:pt idx="1690">
                  <c:v>1.9252424156149928</c:v>
                </c:pt>
                <c:pt idx="1691">
                  <c:v>4.0065898832240618</c:v>
                </c:pt>
                <c:pt idx="1692">
                  <c:v>9.6641540887372201</c:v>
                </c:pt>
                <c:pt idx="1693">
                  <c:v>14.743799453392088</c:v>
                </c:pt>
                <c:pt idx="1694">
                  <c:v>18.437123357304554</c:v>
                </c:pt>
                <c:pt idx="1695">
                  <c:v>21.271145243254718</c:v>
                </c:pt>
                <c:pt idx="1696">
                  <c:v>23.558054442660623</c:v>
                </c:pt>
                <c:pt idx="1697">
                  <c:v>25.171610747258356</c:v>
                </c:pt>
                <c:pt idx="1698">
                  <c:v>26.462194525061566</c:v>
                </c:pt>
                <c:pt idx="1699">
                  <c:v>27.085087377294506</c:v>
                </c:pt>
                <c:pt idx="1700">
                  <c:v>27.253076378190872</c:v>
                </c:pt>
                <c:pt idx="1701">
                  <c:v>27.133095289541643</c:v>
                </c:pt>
                <c:pt idx="1702">
                  <c:v>26.966202914598966</c:v>
                </c:pt>
                <c:pt idx="1703">
                  <c:v>26.751521283759608</c:v>
                </c:pt>
                <c:pt idx="1704">
                  <c:v>26.487888441393334</c:v>
                </c:pt>
                <c:pt idx="1705">
                  <c:v>26.173825262962456</c:v>
                </c:pt>
                <c:pt idx="1706">
                  <c:v>25.807490684540088</c:v>
                </c:pt>
                <c:pt idx="1707">
                  <c:v>25.386621943324648</c:v>
                </c:pt>
                <c:pt idx="1708">
                  <c:v>24.908454863320994</c:v>
                </c:pt>
                <c:pt idx="1709">
                  <c:v>24.369616849409926</c:v>
                </c:pt>
                <c:pt idx="1710">
                  <c:v>23.765981545480656</c:v>
                </c:pt>
                <c:pt idx="1711">
                  <c:v>23.092468122254662</c:v>
                </c:pt>
                <c:pt idx="1712">
                  <c:v>22.342758130067701</c:v>
                </c:pt>
                <c:pt idx="1713">
                  <c:v>21.508885360803863</c:v>
                </c:pt>
                <c:pt idx="1714">
                  <c:v>20.580622191611141</c:v>
                </c:pt>
                <c:pt idx="1715">
                  <c:v>19.544524088542282</c:v>
                </c:pt>
                <c:pt idx="1716">
                  <c:v>18.382366159597627</c:v>
                </c:pt>
                <c:pt idx="1717">
                  <c:v>17.068418237422232</c:v>
                </c:pt>
                <c:pt idx="1718">
                  <c:v>15.70343948401781</c:v>
                </c:pt>
                <c:pt idx="1719">
                  <c:v>14.419534349714313</c:v>
                </c:pt>
                <c:pt idx="1720">
                  <c:v>13.322913734750143</c:v>
                </c:pt>
                <c:pt idx="1721">
                  <c:v>12.832517277042001</c:v>
                </c:pt>
                <c:pt idx="1722">
                  <c:v>12.798776981302669</c:v>
                </c:pt>
                <c:pt idx="1723">
                  <c:v>12.037587118733837</c:v>
                </c:pt>
                <c:pt idx="1724">
                  <c:v>10.957881967044507</c:v>
                </c:pt>
                <c:pt idx="1725">
                  <c:v>9.6303376104054479</c:v>
                </c:pt>
                <c:pt idx="1726">
                  <c:v>7.9314676763659522</c:v>
                </c:pt>
                <c:pt idx="1727">
                  <c:v>6.2149556228254088</c:v>
                </c:pt>
                <c:pt idx="1728">
                  <c:v>3.7826898981541284</c:v>
                </c:pt>
                <c:pt idx="1729">
                  <c:v>1.7261560256098849</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28948964549174044</c:v>
                </c:pt>
                <c:pt idx="2228">
                  <c:v>1.4791812352632721</c:v>
                </c:pt>
                <c:pt idx="2229">
                  <c:v>5.263488037068579</c:v>
                </c:pt>
                <c:pt idx="2230">
                  <c:v>7.8200373995413903</c:v>
                </c:pt>
                <c:pt idx="2231">
                  <c:v>9.596781505704195</c:v>
                </c:pt>
                <c:pt idx="2232">
                  <c:v>10.979070877372278</c:v>
                </c:pt>
                <c:pt idx="2233">
                  <c:v>12.10282327048693</c:v>
                </c:pt>
                <c:pt idx="2234">
                  <c:v>13.035076395136846</c:v>
                </c:pt>
                <c:pt idx="2235">
                  <c:v>13.81465359180625</c:v>
                </c:pt>
                <c:pt idx="2236">
                  <c:v>14.46625877068066</c:v>
                </c:pt>
                <c:pt idx="2237">
                  <c:v>15.006571344018681</c:v>
                </c:pt>
                <c:pt idx="2238">
                  <c:v>15.447274060820188</c:v>
                </c:pt>
                <c:pt idx="2239">
                  <c:v>15.796705987046531</c:v>
                </c:pt>
                <c:pt idx="2240">
                  <c:v>16.060825504824869</c:v>
                </c:pt>
                <c:pt idx="2241">
                  <c:v>16.24379461443084</c:v>
                </c:pt>
                <c:pt idx="2242">
                  <c:v>16.348338226845254</c:v>
                </c:pt>
                <c:pt idx="2243">
                  <c:v>16.37595840880725</c:v>
                </c:pt>
                <c:pt idx="2244">
                  <c:v>16.32704555511431</c:v>
                </c:pt>
                <c:pt idx="2245">
                  <c:v>16.200906488055196</c:v>
                </c:pt>
                <c:pt idx="2246">
                  <c:v>15.99571433962166</c:v>
                </c:pt>
                <c:pt idx="2247">
                  <c:v>15.708371499267034</c:v>
                </c:pt>
                <c:pt idx="2248">
                  <c:v>15.334260491048457</c:v>
                </c:pt>
                <c:pt idx="2249">
                  <c:v>14.866832419174315</c:v>
                </c:pt>
                <c:pt idx="2250">
                  <c:v>14.296937408984945</c:v>
                </c:pt>
                <c:pt idx="2251">
                  <c:v>13.611711284669235</c:v>
                </c:pt>
                <c:pt idx="2252">
                  <c:v>12.792634624739673</c:v>
                </c:pt>
                <c:pt idx="2253">
                  <c:v>11.811895229433878</c:v>
                </c:pt>
                <c:pt idx="2254">
                  <c:v>10.624819476315595</c:v>
                </c:pt>
                <c:pt idx="2255">
                  <c:v>9.1514622122153551</c:v>
                </c:pt>
                <c:pt idx="2256">
                  <c:v>7.2186067951547157</c:v>
                </c:pt>
                <c:pt idx="2257">
                  <c:v>4.6237766322377194</c:v>
                </c:pt>
                <c:pt idx="2258">
                  <c:v>0.9128709291752769</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30248873180366925</c:v>
                </c:pt>
                <c:pt idx="2286">
                  <c:v>0.64416647986362152</c:v>
                </c:pt>
                <c:pt idx="2287">
                  <c:v>0.95072317987414423</c:v>
                </c:pt>
                <c:pt idx="2288">
                  <c:v>3.8958468526197545</c:v>
                </c:pt>
                <c:pt idx="2289">
                  <c:v>7.0153185879497135</c:v>
                </c:pt>
                <c:pt idx="2290">
                  <c:v>8.8655403061637745</c:v>
                </c:pt>
                <c:pt idx="2291">
                  <c:v>10.038821900972186</c:v>
                </c:pt>
                <c:pt idx="2292">
                  <c:v>10.920269645396376</c:v>
                </c:pt>
                <c:pt idx="2293">
                  <c:v>11.622145203302422</c:v>
                </c:pt>
                <c:pt idx="2294">
                  <c:v>12.181824638428369</c:v>
                </c:pt>
                <c:pt idx="2295">
                  <c:v>12.62245531535387</c:v>
                </c:pt>
                <c:pt idx="2296">
                  <c:v>12.960724978686207</c:v>
                </c:pt>
                <c:pt idx="2297">
                  <c:v>13.208507653570512</c:v>
                </c:pt>
                <c:pt idx="2298">
                  <c:v>13.375460282176798</c:v>
                </c:pt>
                <c:pt idx="2299">
                  <c:v>13.468723784707507</c:v>
                </c:pt>
                <c:pt idx="2300">
                  <c:v>13.493880307441957</c:v>
                </c:pt>
                <c:pt idx="2301">
                  <c:v>13.440990501320236</c:v>
                </c:pt>
                <c:pt idx="2302">
                  <c:v>13.296786601902397</c:v>
                </c:pt>
                <c:pt idx="2303">
                  <c:v>13.104591213387884</c:v>
                </c:pt>
                <c:pt idx="2304">
                  <c:v>12.865557128386252</c:v>
                </c:pt>
                <c:pt idx="2305">
                  <c:v>12.571459958503167</c:v>
                </c:pt>
                <c:pt idx="2306">
                  <c:v>12.234842210301485</c:v>
                </c:pt>
                <c:pt idx="2307">
                  <c:v>12.112000267858992</c:v>
                </c:pt>
                <c:pt idx="2308">
                  <c:v>12.110989776449321</c:v>
                </c:pt>
                <c:pt idx="2309">
                  <c:v>12.110989776449321</c:v>
                </c:pt>
                <c:pt idx="2310">
                  <c:v>12.110989776449321</c:v>
                </c:pt>
                <c:pt idx="2311">
                  <c:v>12.110989776449321</c:v>
                </c:pt>
                <c:pt idx="2312">
                  <c:v>12.110989776449321</c:v>
                </c:pt>
                <c:pt idx="2313">
                  <c:v>12.110989776449321</c:v>
                </c:pt>
                <c:pt idx="2314">
                  <c:v>12.110989776449321</c:v>
                </c:pt>
                <c:pt idx="2315">
                  <c:v>12.182248553649547</c:v>
                </c:pt>
                <c:pt idx="2316">
                  <c:v>12.310106495185501</c:v>
                </c:pt>
                <c:pt idx="2317">
                  <c:v>12.463536385634345</c:v>
                </c:pt>
                <c:pt idx="2318">
                  <c:v>12.74289162737421</c:v>
                </c:pt>
                <c:pt idx="2319">
                  <c:v>12.559583119552791</c:v>
                </c:pt>
                <c:pt idx="2320">
                  <c:v>12.330584389895019</c:v>
                </c:pt>
                <c:pt idx="2321">
                  <c:v>12.142943629524787</c:v>
                </c:pt>
                <c:pt idx="2322">
                  <c:v>11.924692877931498</c:v>
                </c:pt>
                <c:pt idx="2323">
                  <c:v>11.652913071010447</c:v>
                </c:pt>
                <c:pt idx="2324">
                  <c:v>11.326308212221219</c:v>
                </c:pt>
                <c:pt idx="2325">
                  <c:v>10.944064595681775</c:v>
                </c:pt>
                <c:pt idx="2326">
                  <c:v>10.503811157198244</c:v>
                </c:pt>
                <c:pt idx="2327">
                  <c:v>10.002255062484688</c:v>
                </c:pt>
                <c:pt idx="2328">
                  <c:v>9.4330134672482284</c:v>
                </c:pt>
                <c:pt idx="2329">
                  <c:v>8.7870471901356115</c:v>
                </c:pt>
                <c:pt idx="2330">
                  <c:v>8.0502643736248949</c:v>
                </c:pt>
                <c:pt idx="2331">
                  <c:v>7.2503896671821337</c:v>
                </c:pt>
                <c:pt idx="2332">
                  <c:v>6.4775068398763951</c:v>
                </c:pt>
                <c:pt idx="2333">
                  <c:v>5.5705223973736979</c:v>
                </c:pt>
                <c:pt idx="2334">
                  <c:v>4.4571488067046694</c:v>
                </c:pt>
                <c:pt idx="2335">
                  <c:v>3.1329041095214865</c:v>
                </c:pt>
                <c:pt idx="2336">
                  <c:v>0.54759782816674918</c:v>
                </c:pt>
                <c:pt idx="2337">
                  <c:v>4.0512304443095183E-3</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pt idx="2452">
                  <c:v>0</c:v>
                </c:pt>
                <c:pt idx="2453">
                  <c:v>0</c:v>
                </c:pt>
                <c:pt idx="2454">
                  <c:v>0</c:v>
                </c:pt>
                <c:pt idx="2455">
                  <c:v>0</c:v>
                </c:pt>
                <c:pt idx="2456">
                  <c:v>0</c:v>
                </c:pt>
                <c:pt idx="2457">
                  <c:v>0</c:v>
                </c:pt>
                <c:pt idx="2458">
                  <c:v>0</c:v>
                </c:pt>
                <c:pt idx="2459">
                  <c:v>0</c:v>
                </c:pt>
                <c:pt idx="2460">
                  <c:v>0</c:v>
                </c:pt>
                <c:pt idx="2461">
                  <c:v>0</c:v>
                </c:pt>
                <c:pt idx="2462">
                  <c:v>0</c:v>
                </c:pt>
                <c:pt idx="2463">
                  <c:v>0</c:v>
                </c:pt>
                <c:pt idx="2464">
                  <c:v>0</c:v>
                </c:pt>
                <c:pt idx="2465">
                  <c:v>0</c:v>
                </c:pt>
                <c:pt idx="2466">
                  <c:v>0</c:v>
                </c:pt>
                <c:pt idx="2467">
                  <c:v>0</c:v>
                </c:pt>
                <c:pt idx="2468">
                  <c:v>0</c:v>
                </c:pt>
                <c:pt idx="2469">
                  <c:v>0</c:v>
                </c:pt>
                <c:pt idx="2470">
                  <c:v>0</c:v>
                </c:pt>
                <c:pt idx="2471">
                  <c:v>0</c:v>
                </c:pt>
                <c:pt idx="2472">
                  <c:v>0</c:v>
                </c:pt>
                <c:pt idx="2473">
                  <c:v>0</c:v>
                </c:pt>
                <c:pt idx="2474">
                  <c:v>0</c:v>
                </c:pt>
                <c:pt idx="2475">
                  <c:v>0</c:v>
                </c:pt>
                <c:pt idx="2476">
                  <c:v>0</c:v>
                </c:pt>
                <c:pt idx="2477">
                  <c:v>0</c:v>
                </c:pt>
                <c:pt idx="2478">
                  <c:v>0</c:v>
                </c:pt>
                <c:pt idx="2479">
                  <c:v>0</c:v>
                </c:pt>
                <c:pt idx="2480">
                  <c:v>0</c:v>
                </c:pt>
                <c:pt idx="2481">
                  <c:v>0</c:v>
                </c:pt>
                <c:pt idx="2482">
                  <c:v>0</c:v>
                </c:pt>
                <c:pt idx="2483">
                  <c:v>0</c:v>
                </c:pt>
                <c:pt idx="2484">
                  <c:v>0</c:v>
                </c:pt>
                <c:pt idx="2485">
                  <c:v>0</c:v>
                </c:pt>
                <c:pt idx="2486">
                  <c:v>0</c:v>
                </c:pt>
                <c:pt idx="2487">
                  <c:v>0</c:v>
                </c:pt>
                <c:pt idx="2488">
                  <c:v>0</c:v>
                </c:pt>
                <c:pt idx="2489">
                  <c:v>0</c:v>
                </c:pt>
                <c:pt idx="2490">
                  <c:v>0</c:v>
                </c:pt>
                <c:pt idx="2491">
                  <c:v>0</c:v>
                </c:pt>
                <c:pt idx="2492">
                  <c:v>0</c:v>
                </c:pt>
                <c:pt idx="2493">
                  <c:v>0</c:v>
                </c:pt>
                <c:pt idx="2494">
                  <c:v>0</c:v>
                </c:pt>
                <c:pt idx="2495">
                  <c:v>0</c:v>
                </c:pt>
                <c:pt idx="2496">
                  <c:v>0</c:v>
                </c:pt>
                <c:pt idx="2497">
                  <c:v>0</c:v>
                </c:pt>
                <c:pt idx="2498">
                  <c:v>0</c:v>
                </c:pt>
                <c:pt idx="2499">
                  <c:v>0</c:v>
                </c:pt>
                <c:pt idx="2500">
                  <c:v>0</c:v>
                </c:pt>
                <c:pt idx="2501">
                  <c:v>0</c:v>
                </c:pt>
                <c:pt idx="2502">
                  <c:v>0</c:v>
                </c:pt>
                <c:pt idx="2503">
                  <c:v>0</c:v>
                </c:pt>
                <c:pt idx="2504">
                  <c:v>0</c:v>
                </c:pt>
                <c:pt idx="2505">
                  <c:v>0</c:v>
                </c:pt>
                <c:pt idx="2506">
                  <c:v>0</c:v>
                </c:pt>
                <c:pt idx="2507">
                  <c:v>0</c:v>
                </c:pt>
                <c:pt idx="2508">
                  <c:v>0</c:v>
                </c:pt>
                <c:pt idx="2509">
                  <c:v>0</c:v>
                </c:pt>
                <c:pt idx="2510">
                  <c:v>0</c:v>
                </c:pt>
                <c:pt idx="2511">
                  <c:v>0</c:v>
                </c:pt>
                <c:pt idx="2512">
                  <c:v>0</c:v>
                </c:pt>
                <c:pt idx="2513">
                  <c:v>0</c:v>
                </c:pt>
                <c:pt idx="2514">
                  <c:v>0</c:v>
                </c:pt>
                <c:pt idx="2515">
                  <c:v>0</c:v>
                </c:pt>
                <c:pt idx="2516">
                  <c:v>0</c:v>
                </c:pt>
                <c:pt idx="2517">
                  <c:v>0</c:v>
                </c:pt>
                <c:pt idx="2518">
                  <c:v>0</c:v>
                </c:pt>
                <c:pt idx="2519">
                  <c:v>0</c:v>
                </c:pt>
                <c:pt idx="2520">
                  <c:v>0</c:v>
                </c:pt>
                <c:pt idx="2521">
                  <c:v>0</c:v>
                </c:pt>
                <c:pt idx="2522">
                  <c:v>0</c:v>
                </c:pt>
                <c:pt idx="2523">
                  <c:v>0</c:v>
                </c:pt>
                <c:pt idx="2524">
                  <c:v>0</c:v>
                </c:pt>
                <c:pt idx="2525">
                  <c:v>0</c:v>
                </c:pt>
                <c:pt idx="2526">
                  <c:v>0</c:v>
                </c:pt>
                <c:pt idx="2527">
                  <c:v>0</c:v>
                </c:pt>
                <c:pt idx="2528">
                  <c:v>0</c:v>
                </c:pt>
                <c:pt idx="2529">
                  <c:v>0</c:v>
                </c:pt>
                <c:pt idx="2530">
                  <c:v>0</c:v>
                </c:pt>
                <c:pt idx="2531">
                  <c:v>0</c:v>
                </c:pt>
                <c:pt idx="2532">
                  <c:v>0</c:v>
                </c:pt>
                <c:pt idx="2533">
                  <c:v>0</c:v>
                </c:pt>
                <c:pt idx="2534">
                  <c:v>0</c:v>
                </c:pt>
                <c:pt idx="2535">
                  <c:v>0</c:v>
                </c:pt>
                <c:pt idx="2536">
                  <c:v>0</c:v>
                </c:pt>
                <c:pt idx="2537">
                  <c:v>0</c:v>
                </c:pt>
                <c:pt idx="2538">
                  <c:v>0</c:v>
                </c:pt>
                <c:pt idx="2539">
                  <c:v>0</c:v>
                </c:pt>
                <c:pt idx="2540">
                  <c:v>0</c:v>
                </c:pt>
                <c:pt idx="2541">
                  <c:v>0</c:v>
                </c:pt>
                <c:pt idx="2542">
                  <c:v>0</c:v>
                </c:pt>
                <c:pt idx="2543">
                  <c:v>0</c:v>
                </c:pt>
                <c:pt idx="2544">
                  <c:v>0</c:v>
                </c:pt>
                <c:pt idx="2545">
                  <c:v>0</c:v>
                </c:pt>
                <c:pt idx="2546">
                  <c:v>0</c:v>
                </c:pt>
                <c:pt idx="2547">
                  <c:v>0</c:v>
                </c:pt>
                <c:pt idx="2548">
                  <c:v>0</c:v>
                </c:pt>
                <c:pt idx="2549">
                  <c:v>0</c:v>
                </c:pt>
                <c:pt idx="2550">
                  <c:v>0</c:v>
                </c:pt>
                <c:pt idx="2551">
                  <c:v>0</c:v>
                </c:pt>
                <c:pt idx="2552">
                  <c:v>0</c:v>
                </c:pt>
                <c:pt idx="2553">
                  <c:v>0</c:v>
                </c:pt>
                <c:pt idx="2554">
                  <c:v>0</c:v>
                </c:pt>
                <c:pt idx="2555">
                  <c:v>0</c:v>
                </c:pt>
                <c:pt idx="2556">
                  <c:v>0</c:v>
                </c:pt>
                <c:pt idx="2557">
                  <c:v>0</c:v>
                </c:pt>
                <c:pt idx="2558">
                  <c:v>0</c:v>
                </c:pt>
                <c:pt idx="2559">
                  <c:v>0</c:v>
                </c:pt>
                <c:pt idx="2560">
                  <c:v>0</c:v>
                </c:pt>
                <c:pt idx="2561">
                  <c:v>0</c:v>
                </c:pt>
                <c:pt idx="2562">
                  <c:v>0</c:v>
                </c:pt>
                <c:pt idx="2563">
                  <c:v>0</c:v>
                </c:pt>
                <c:pt idx="2564">
                  <c:v>0</c:v>
                </c:pt>
                <c:pt idx="2565">
                  <c:v>0</c:v>
                </c:pt>
                <c:pt idx="2566">
                  <c:v>0</c:v>
                </c:pt>
                <c:pt idx="2567">
                  <c:v>0</c:v>
                </c:pt>
                <c:pt idx="2568">
                  <c:v>0</c:v>
                </c:pt>
                <c:pt idx="2569">
                  <c:v>0</c:v>
                </c:pt>
                <c:pt idx="2570">
                  <c:v>0</c:v>
                </c:pt>
                <c:pt idx="2571">
                  <c:v>0</c:v>
                </c:pt>
                <c:pt idx="2572">
                  <c:v>0</c:v>
                </c:pt>
                <c:pt idx="2573">
                  <c:v>0</c:v>
                </c:pt>
                <c:pt idx="2574">
                  <c:v>0</c:v>
                </c:pt>
                <c:pt idx="2575">
                  <c:v>0</c:v>
                </c:pt>
                <c:pt idx="2576">
                  <c:v>0</c:v>
                </c:pt>
                <c:pt idx="2577">
                  <c:v>0</c:v>
                </c:pt>
                <c:pt idx="2578">
                  <c:v>0</c:v>
                </c:pt>
                <c:pt idx="2579">
                  <c:v>0</c:v>
                </c:pt>
                <c:pt idx="2580">
                  <c:v>0</c:v>
                </c:pt>
                <c:pt idx="2581">
                  <c:v>0</c:v>
                </c:pt>
                <c:pt idx="2582">
                  <c:v>0</c:v>
                </c:pt>
                <c:pt idx="2583">
                  <c:v>0</c:v>
                </c:pt>
                <c:pt idx="2584">
                  <c:v>0</c:v>
                </c:pt>
                <c:pt idx="2585">
                  <c:v>0</c:v>
                </c:pt>
                <c:pt idx="2586">
                  <c:v>0</c:v>
                </c:pt>
                <c:pt idx="2587">
                  <c:v>0</c:v>
                </c:pt>
                <c:pt idx="2588">
                  <c:v>0</c:v>
                </c:pt>
                <c:pt idx="2589">
                  <c:v>0</c:v>
                </c:pt>
                <c:pt idx="2590">
                  <c:v>0</c:v>
                </c:pt>
                <c:pt idx="2591">
                  <c:v>0</c:v>
                </c:pt>
                <c:pt idx="2592">
                  <c:v>0</c:v>
                </c:pt>
                <c:pt idx="2593">
                  <c:v>0</c:v>
                </c:pt>
                <c:pt idx="2594">
                  <c:v>0</c:v>
                </c:pt>
                <c:pt idx="2595">
                  <c:v>0</c:v>
                </c:pt>
                <c:pt idx="2596">
                  <c:v>0</c:v>
                </c:pt>
                <c:pt idx="2597">
                  <c:v>0</c:v>
                </c:pt>
                <c:pt idx="2598">
                  <c:v>0</c:v>
                </c:pt>
                <c:pt idx="2599">
                  <c:v>0</c:v>
                </c:pt>
                <c:pt idx="2600">
                  <c:v>0</c:v>
                </c:pt>
                <c:pt idx="2601">
                  <c:v>0</c:v>
                </c:pt>
                <c:pt idx="2602">
                  <c:v>0</c:v>
                </c:pt>
                <c:pt idx="2603">
                  <c:v>0</c:v>
                </c:pt>
                <c:pt idx="2604">
                  <c:v>0</c:v>
                </c:pt>
                <c:pt idx="2605">
                  <c:v>0</c:v>
                </c:pt>
                <c:pt idx="2606">
                  <c:v>0</c:v>
                </c:pt>
                <c:pt idx="2607">
                  <c:v>0</c:v>
                </c:pt>
                <c:pt idx="2608">
                  <c:v>0</c:v>
                </c:pt>
                <c:pt idx="2609">
                  <c:v>0</c:v>
                </c:pt>
                <c:pt idx="2610">
                  <c:v>0</c:v>
                </c:pt>
                <c:pt idx="2611">
                  <c:v>0</c:v>
                </c:pt>
                <c:pt idx="2612">
                  <c:v>0</c:v>
                </c:pt>
                <c:pt idx="2613">
                  <c:v>0</c:v>
                </c:pt>
                <c:pt idx="2614">
                  <c:v>0</c:v>
                </c:pt>
                <c:pt idx="2615">
                  <c:v>0</c:v>
                </c:pt>
                <c:pt idx="2616">
                  <c:v>0</c:v>
                </c:pt>
                <c:pt idx="2617">
                  <c:v>0</c:v>
                </c:pt>
                <c:pt idx="2618">
                  <c:v>0</c:v>
                </c:pt>
                <c:pt idx="2619">
                  <c:v>0</c:v>
                </c:pt>
                <c:pt idx="2620">
                  <c:v>0</c:v>
                </c:pt>
                <c:pt idx="2621">
                  <c:v>0</c:v>
                </c:pt>
                <c:pt idx="2622">
                  <c:v>0</c:v>
                </c:pt>
                <c:pt idx="2623">
                  <c:v>0</c:v>
                </c:pt>
                <c:pt idx="2624">
                  <c:v>0</c:v>
                </c:pt>
                <c:pt idx="2625">
                  <c:v>0</c:v>
                </c:pt>
                <c:pt idx="2626">
                  <c:v>0</c:v>
                </c:pt>
                <c:pt idx="2627">
                  <c:v>0</c:v>
                </c:pt>
                <c:pt idx="2628">
                  <c:v>0</c:v>
                </c:pt>
                <c:pt idx="2629">
                  <c:v>0</c:v>
                </c:pt>
                <c:pt idx="2630">
                  <c:v>0</c:v>
                </c:pt>
                <c:pt idx="2631">
                  <c:v>0</c:v>
                </c:pt>
                <c:pt idx="2632">
                  <c:v>0</c:v>
                </c:pt>
                <c:pt idx="2633">
                  <c:v>0</c:v>
                </c:pt>
                <c:pt idx="2634">
                  <c:v>0</c:v>
                </c:pt>
                <c:pt idx="2635">
                  <c:v>0</c:v>
                </c:pt>
                <c:pt idx="2636">
                  <c:v>0</c:v>
                </c:pt>
                <c:pt idx="2637">
                  <c:v>0</c:v>
                </c:pt>
                <c:pt idx="2638">
                  <c:v>0</c:v>
                </c:pt>
                <c:pt idx="2639">
                  <c:v>0</c:v>
                </c:pt>
                <c:pt idx="2640">
                  <c:v>0</c:v>
                </c:pt>
                <c:pt idx="2641">
                  <c:v>0</c:v>
                </c:pt>
                <c:pt idx="2642">
                  <c:v>0</c:v>
                </c:pt>
                <c:pt idx="2643">
                  <c:v>0</c:v>
                </c:pt>
                <c:pt idx="2644">
                  <c:v>0</c:v>
                </c:pt>
                <c:pt idx="2645">
                  <c:v>0</c:v>
                </c:pt>
                <c:pt idx="2646">
                  <c:v>0</c:v>
                </c:pt>
                <c:pt idx="2647">
                  <c:v>0</c:v>
                </c:pt>
                <c:pt idx="2648">
                  <c:v>0</c:v>
                </c:pt>
                <c:pt idx="2649">
                  <c:v>0</c:v>
                </c:pt>
                <c:pt idx="2650">
                  <c:v>0</c:v>
                </c:pt>
                <c:pt idx="2651">
                  <c:v>0</c:v>
                </c:pt>
                <c:pt idx="2652">
                  <c:v>0</c:v>
                </c:pt>
                <c:pt idx="2653">
                  <c:v>0</c:v>
                </c:pt>
                <c:pt idx="2654">
                  <c:v>0</c:v>
                </c:pt>
                <c:pt idx="2655">
                  <c:v>0</c:v>
                </c:pt>
                <c:pt idx="2656">
                  <c:v>0</c:v>
                </c:pt>
                <c:pt idx="2657">
                  <c:v>0</c:v>
                </c:pt>
                <c:pt idx="2658">
                  <c:v>0</c:v>
                </c:pt>
                <c:pt idx="2659">
                  <c:v>0</c:v>
                </c:pt>
                <c:pt idx="2660">
                  <c:v>0</c:v>
                </c:pt>
                <c:pt idx="2661">
                  <c:v>0</c:v>
                </c:pt>
                <c:pt idx="2662">
                  <c:v>0</c:v>
                </c:pt>
                <c:pt idx="2663">
                  <c:v>0</c:v>
                </c:pt>
                <c:pt idx="2664">
                  <c:v>0</c:v>
                </c:pt>
                <c:pt idx="2665">
                  <c:v>0</c:v>
                </c:pt>
                <c:pt idx="2666">
                  <c:v>0</c:v>
                </c:pt>
                <c:pt idx="2667">
                  <c:v>0</c:v>
                </c:pt>
                <c:pt idx="2668">
                  <c:v>0</c:v>
                </c:pt>
                <c:pt idx="2669">
                  <c:v>0</c:v>
                </c:pt>
                <c:pt idx="2670">
                  <c:v>0</c:v>
                </c:pt>
                <c:pt idx="2671">
                  <c:v>0</c:v>
                </c:pt>
                <c:pt idx="2672">
                  <c:v>0</c:v>
                </c:pt>
                <c:pt idx="2673">
                  <c:v>0</c:v>
                </c:pt>
                <c:pt idx="2674">
                  <c:v>0</c:v>
                </c:pt>
                <c:pt idx="2675">
                  <c:v>0</c:v>
                </c:pt>
                <c:pt idx="2676">
                  <c:v>0</c:v>
                </c:pt>
                <c:pt idx="2677">
                  <c:v>0</c:v>
                </c:pt>
                <c:pt idx="2678">
                  <c:v>0</c:v>
                </c:pt>
                <c:pt idx="2679">
                  <c:v>0</c:v>
                </c:pt>
                <c:pt idx="2680">
                  <c:v>0</c:v>
                </c:pt>
                <c:pt idx="2681">
                  <c:v>0</c:v>
                </c:pt>
                <c:pt idx="2682">
                  <c:v>0</c:v>
                </c:pt>
                <c:pt idx="2683">
                  <c:v>0</c:v>
                </c:pt>
                <c:pt idx="2684">
                  <c:v>0</c:v>
                </c:pt>
                <c:pt idx="2685">
                  <c:v>0</c:v>
                </c:pt>
                <c:pt idx="2686">
                  <c:v>0</c:v>
                </c:pt>
                <c:pt idx="2687">
                  <c:v>0</c:v>
                </c:pt>
                <c:pt idx="2688">
                  <c:v>0</c:v>
                </c:pt>
                <c:pt idx="2689">
                  <c:v>0</c:v>
                </c:pt>
                <c:pt idx="2690">
                  <c:v>0</c:v>
                </c:pt>
                <c:pt idx="2691">
                  <c:v>0</c:v>
                </c:pt>
                <c:pt idx="2692">
                  <c:v>0</c:v>
                </c:pt>
                <c:pt idx="2693">
                  <c:v>0</c:v>
                </c:pt>
                <c:pt idx="2694">
                  <c:v>0</c:v>
                </c:pt>
                <c:pt idx="2695">
                  <c:v>0</c:v>
                </c:pt>
                <c:pt idx="2696">
                  <c:v>0</c:v>
                </c:pt>
                <c:pt idx="2697">
                  <c:v>0</c:v>
                </c:pt>
                <c:pt idx="2698">
                  <c:v>0</c:v>
                </c:pt>
                <c:pt idx="2699">
                  <c:v>0</c:v>
                </c:pt>
                <c:pt idx="2700">
                  <c:v>0</c:v>
                </c:pt>
                <c:pt idx="2701">
                  <c:v>0</c:v>
                </c:pt>
                <c:pt idx="2702">
                  <c:v>0</c:v>
                </c:pt>
                <c:pt idx="2703">
                  <c:v>0</c:v>
                </c:pt>
                <c:pt idx="2704">
                  <c:v>0</c:v>
                </c:pt>
                <c:pt idx="2705">
                  <c:v>0</c:v>
                </c:pt>
                <c:pt idx="2706">
                  <c:v>0</c:v>
                </c:pt>
                <c:pt idx="2707">
                  <c:v>0</c:v>
                </c:pt>
                <c:pt idx="2708">
                  <c:v>0</c:v>
                </c:pt>
                <c:pt idx="2709">
                  <c:v>0</c:v>
                </c:pt>
                <c:pt idx="2710">
                  <c:v>0</c:v>
                </c:pt>
                <c:pt idx="2711">
                  <c:v>0</c:v>
                </c:pt>
                <c:pt idx="2712">
                  <c:v>0</c:v>
                </c:pt>
                <c:pt idx="2713">
                  <c:v>0</c:v>
                </c:pt>
                <c:pt idx="2714">
                  <c:v>0</c:v>
                </c:pt>
                <c:pt idx="2715">
                  <c:v>0</c:v>
                </c:pt>
                <c:pt idx="2716">
                  <c:v>0</c:v>
                </c:pt>
                <c:pt idx="2717">
                  <c:v>0</c:v>
                </c:pt>
                <c:pt idx="2718">
                  <c:v>0</c:v>
                </c:pt>
                <c:pt idx="2719">
                  <c:v>0</c:v>
                </c:pt>
                <c:pt idx="2720">
                  <c:v>0</c:v>
                </c:pt>
                <c:pt idx="2721">
                  <c:v>0</c:v>
                </c:pt>
                <c:pt idx="2722">
                  <c:v>0</c:v>
                </c:pt>
                <c:pt idx="2723">
                  <c:v>0</c:v>
                </c:pt>
                <c:pt idx="2724">
                  <c:v>0</c:v>
                </c:pt>
                <c:pt idx="2725">
                  <c:v>0</c:v>
                </c:pt>
                <c:pt idx="2726">
                  <c:v>0</c:v>
                </c:pt>
                <c:pt idx="2727">
                  <c:v>0</c:v>
                </c:pt>
                <c:pt idx="2728">
                  <c:v>0</c:v>
                </c:pt>
                <c:pt idx="2729">
                  <c:v>0</c:v>
                </c:pt>
                <c:pt idx="2730">
                  <c:v>0</c:v>
                </c:pt>
                <c:pt idx="2731">
                  <c:v>0</c:v>
                </c:pt>
                <c:pt idx="2732">
                  <c:v>0</c:v>
                </c:pt>
                <c:pt idx="2733">
                  <c:v>0</c:v>
                </c:pt>
                <c:pt idx="2734">
                  <c:v>0</c:v>
                </c:pt>
                <c:pt idx="2735">
                  <c:v>0</c:v>
                </c:pt>
                <c:pt idx="2736">
                  <c:v>0</c:v>
                </c:pt>
                <c:pt idx="2737">
                  <c:v>0</c:v>
                </c:pt>
                <c:pt idx="2738">
                  <c:v>0</c:v>
                </c:pt>
                <c:pt idx="2739">
                  <c:v>0</c:v>
                </c:pt>
                <c:pt idx="2740">
                  <c:v>0</c:v>
                </c:pt>
                <c:pt idx="2741">
                  <c:v>0</c:v>
                </c:pt>
                <c:pt idx="2742">
                  <c:v>0</c:v>
                </c:pt>
                <c:pt idx="2743">
                  <c:v>0</c:v>
                </c:pt>
                <c:pt idx="2744">
                  <c:v>0</c:v>
                </c:pt>
                <c:pt idx="2745">
                  <c:v>0</c:v>
                </c:pt>
                <c:pt idx="2746">
                  <c:v>0</c:v>
                </c:pt>
                <c:pt idx="2747">
                  <c:v>0</c:v>
                </c:pt>
                <c:pt idx="2748">
                  <c:v>0</c:v>
                </c:pt>
                <c:pt idx="2749">
                  <c:v>0</c:v>
                </c:pt>
                <c:pt idx="2750">
                  <c:v>0</c:v>
                </c:pt>
                <c:pt idx="2751">
                  <c:v>0</c:v>
                </c:pt>
                <c:pt idx="2752">
                  <c:v>0</c:v>
                </c:pt>
                <c:pt idx="2753">
                  <c:v>0</c:v>
                </c:pt>
                <c:pt idx="2754">
                  <c:v>0</c:v>
                </c:pt>
                <c:pt idx="2755">
                  <c:v>0</c:v>
                </c:pt>
                <c:pt idx="2756">
                  <c:v>0</c:v>
                </c:pt>
                <c:pt idx="2757">
                  <c:v>0</c:v>
                </c:pt>
                <c:pt idx="2758">
                  <c:v>0</c:v>
                </c:pt>
                <c:pt idx="2759">
                  <c:v>0</c:v>
                </c:pt>
                <c:pt idx="2760">
                  <c:v>0</c:v>
                </c:pt>
                <c:pt idx="2761">
                  <c:v>0</c:v>
                </c:pt>
                <c:pt idx="2762">
                  <c:v>0</c:v>
                </c:pt>
                <c:pt idx="2763">
                  <c:v>0</c:v>
                </c:pt>
                <c:pt idx="2764">
                  <c:v>0</c:v>
                </c:pt>
                <c:pt idx="2765">
                  <c:v>0</c:v>
                </c:pt>
                <c:pt idx="2766">
                  <c:v>0</c:v>
                </c:pt>
                <c:pt idx="2767">
                  <c:v>0</c:v>
                </c:pt>
                <c:pt idx="2768">
                  <c:v>0</c:v>
                </c:pt>
                <c:pt idx="2769">
                  <c:v>0</c:v>
                </c:pt>
                <c:pt idx="2770">
                  <c:v>0</c:v>
                </c:pt>
                <c:pt idx="2771">
                  <c:v>0</c:v>
                </c:pt>
                <c:pt idx="2772">
                  <c:v>0</c:v>
                </c:pt>
                <c:pt idx="2773">
                  <c:v>0</c:v>
                </c:pt>
                <c:pt idx="2774">
                  <c:v>0</c:v>
                </c:pt>
                <c:pt idx="2775">
                  <c:v>0</c:v>
                </c:pt>
                <c:pt idx="2776">
                  <c:v>0</c:v>
                </c:pt>
                <c:pt idx="2777">
                  <c:v>0</c:v>
                </c:pt>
                <c:pt idx="2778">
                  <c:v>0</c:v>
                </c:pt>
                <c:pt idx="2779">
                  <c:v>0</c:v>
                </c:pt>
                <c:pt idx="2780">
                  <c:v>0</c:v>
                </c:pt>
                <c:pt idx="2781">
                  <c:v>0</c:v>
                </c:pt>
                <c:pt idx="2782">
                  <c:v>0</c:v>
                </c:pt>
                <c:pt idx="2783">
                  <c:v>0</c:v>
                </c:pt>
                <c:pt idx="2784">
                  <c:v>0</c:v>
                </c:pt>
                <c:pt idx="2785">
                  <c:v>0</c:v>
                </c:pt>
                <c:pt idx="2786">
                  <c:v>0</c:v>
                </c:pt>
                <c:pt idx="2787">
                  <c:v>0</c:v>
                </c:pt>
                <c:pt idx="2788">
                  <c:v>0</c:v>
                </c:pt>
                <c:pt idx="2789">
                  <c:v>0</c:v>
                </c:pt>
                <c:pt idx="2790">
                  <c:v>0</c:v>
                </c:pt>
                <c:pt idx="2791">
                  <c:v>0</c:v>
                </c:pt>
                <c:pt idx="2792">
                  <c:v>0</c:v>
                </c:pt>
                <c:pt idx="2793">
                  <c:v>0</c:v>
                </c:pt>
                <c:pt idx="2794">
                  <c:v>0</c:v>
                </c:pt>
                <c:pt idx="2795">
                  <c:v>0</c:v>
                </c:pt>
                <c:pt idx="2796">
                  <c:v>0</c:v>
                </c:pt>
                <c:pt idx="2797">
                  <c:v>0</c:v>
                </c:pt>
                <c:pt idx="2798">
                  <c:v>0</c:v>
                </c:pt>
                <c:pt idx="2799">
                  <c:v>0</c:v>
                </c:pt>
                <c:pt idx="2800">
                  <c:v>0</c:v>
                </c:pt>
                <c:pt idx="2801">
                  <c:v>0</c:v>
                </c:pt>
                <c:pt idx="2802">
                  <c:v>0</c:v>
                </c:pt>
                <c:pt idx="2803">
                  <c:v>0</c:v>
                </c:pt>
                <c:pt idx="2804">
                  <c:v>0</c:v>
                </c:pt>
                <c:pt idx="2805">
                  <c:v>0</c:v>
                </c:pt>
                <c:pt idx="2806">
                  <c:v>0</c:v>
                </c:pt>
                <c:pt idx="2807">
                  <c:v>0</c:v>
                </c:pt>
                <c:pt idx="2808">
                  <c:v>0</c:v>
                </c:pt>
                <c:pt idx="2809">
                  <c:v>0</c:v>
                </c:pt>
                <c:pt idx="2810">
                  <c:v>0</c:v>
                </c:pt>
                <c:pt idx="2811">
                  <c:v>0</c:v>
                </c:pt>
                <c:pt idx="2812">
                  <c:v>0</c:v>
                </c:pt>
                <c:pt idx="2813">
                  <c:v>0</c:v>
                </c:pt>
                <c:pt idx="2814">
                  <c:v>0</c:v>
                </c:pt>
                <c:pt idx="2815">
                  <c:v>0</c:v>
                </c:pt>
                <c:pt idx="2816">
                  <c:v>0</c:v>
                </c:pt>
                <c:pt idx="2817">
                  <c:v>0</c:v>
                </c:pt>
                <c:pt idx="2818">
                  <c:v>0</c:v>
                </c:pt>
                <c:pt idx="2819">
                  <c:v>0</c:v>
                </c:pt>
                <c:pt idx="2820">
                  <c:v>0</c:v>
                </c:pt>
                <c:pt idx="2821">
                  <c:v>0</c:v>
                </c:pt>
                <c:pt idx="2822">
                  <c:v>0</c:v>
                </c:pt>
                <c:pt idx="2823">
                  <c:v>0</c:v>
                </c:pt>
                <c:pt idx="2824">
                  <c:v>0</c:v>
                </c:pt>
                <c:pt idx="2825">
                  <c:v>0</c:v>
                </c:pt>
                <c:pt idx="2826">
                  <c:v>0</c:v>
                </c:pt>
                <c:pt idx="2827">
                  <c:v>0</c:v>
                </c:pt>
                <c:pt idx="2828">
                  <c:v>0</c:v>
                </c:pt>
                <c:pt idx="2829">
                  <c:v>0</c:v>
                </c:pt>
                <c:pt idx="2830">
                  <c:v>0</c:v>
                </c:pt>
                <c:pt idx="2831">
                  <c:v>0</c:v>
                </c:pt>
                <c:pt idx="2832">
                  <c:v>0</c:v>
                </c:pt>
                <c:pt idx="2833">
                  <c:v>0</c:v>
                </c:pt>
                <c:pt idx="2834">
                  <c:v>0</c:v>
                </c:pt>
                <c:pt idx="2835">
                  <c:v>0</c:v>
                </c:pt>
                <c:pt idx="2836">
                  <c:v>0</c:v>
                </c:pt>
                <c:pt idx="2837">
                  <c:v>0</c:v>
                </c:pt>
                <c:pt idx="2838">
                  <c:v>0</c:v>
                </c:pt>
                <c:pt idx="2839">
                  <c:v>0</c:v>
                </c:pt>
                <c:pt idx="2840">
                  <c:v>0</c:v>
                </c:pt>
                <c:pt idx="2841">
                  <c:v>0</c:v>
                </c:pt>
                <c:pt idx="2842">
                  <c:v>0</c:v>
                </c:pt>
                <c:pt idx="2843">
                  <c:v>0</c:v>
                </c:pt>
                <c:pt idx="2844">
                  <c:v>0</c:v>
                </c:pt>
                <c:pt idx="2845">
                  <c:v>0</c:v>
                </c:pt>
                <c:pt idx="2846">
                  <c:v>0</c:v>
                </c:pt>
                <c:pt idx="2847">
                  <c:v>0</c:v>
                </c:pt>
                <c:pt idx="2848">
                  <c:v>0</c:v>
                </c:pt>
                <c:pt idx="2849">
                  <c:v>0</c:v>
                </c:pt>
                <c:pt idx="2850">
                  <c:v>0</c:v>
                </c:pt>
                <c:pt idx="2851">
                  <c:v>0</c:v>
                </c:pt>
                <c:pt idx="2852">
                  <c:v>0</c:v>
                </c:pt>
                <c:pt idx="2853">
                  <c:v>0</c:v>
                </c:pt>
                <c:pt idx="2854">
                  <c:v>0</c:v>
                </c:pt>
                <c:pt idx="2855">
                  <c:v>0</c:v>
                </c:pt>
                <c:pt idx="2856">
                  <c:v>0</c:v>
                </c:pt>
                <c:pt idx="2857">
                  <c:v>0</c:v>
                </c:pt>
                <c:pt idx="2858">
                  <c:v>0</c:v>
                </c:pt>
                <c:pt idx="2859">
                  <c:v>0</c:v>
                </c:pt>
                <c:pt idx="2860">
                  <c:v>0</c:v>
                </c:pt>
                <c:pt idx="2861">
                  <c:v>0</c:v>
                </c:pt>
                <c:pt idx="2862">
                  <c:v>0</c:v>
                </c:pt>
                <c:pt idx="2863">
                  <c:v>0</c:v>
                </c:pt>
                <c:pt idx="2864">
                  <c:v>0</c:v>
                </c:pt>
                <c:pt idx="2865">
                  <c:v>0</c:v>
                </c:pt>
                <c:pt idx="2866">
                  <c:v>0</c:v>
                </c:pt>
                <c:pt idx="2867">
                  <c:v>0</c:v>
                </c:pt>
                <c:pt idx="2868">
                  <c:v>0</c:v>
                </c:pt>
                <c:pt idx="2869">
                  <c:v>0</c:v>
                </c:pt>
                <c:pt idx="2870">
                  <c:v>0</c:v>
                </c:pt>
                <c:pt idx="2871">
                  <c:v>0</c:v>
                </c:pt>
                <c:pt idx="2872">
                  <c:v>0</c:v>
                </c:pt>
                <c:pt idx="2873">
                  <c:v>0</c:v>
                </c:pt>
                <c:pt idx="2874">
                  <c:v>0</c:v>
                </c:pt>
                <c:pt idx="2875">
                  <c:v>0</c:v>
                </c:pt>
                <c:pt idx="2876">
                  <c:v>0</c:v>
                </c:pt>
                <c:pt idx="2877">
                  <c:v>0</c:v>
                </c:pt>
                <c:pt idx="2878">
                  <c:v>0</c:v>
                </c:pt>
                <c:pt idx="2879">
                  <c:v>0</c:v>
                </c:pt>
                <c:pt idx="2880">
                  <c:v>0</c:v>
                </c:pt>
                <c:pt idx="2881">
                  <c:v>0</c:v>
                </c:pt>
                <c:pt idx="2882">
                  <c:v>0</c:v>
                </c:pt>
                <c:pt idx="2883">
                  <c:v>0</c:v>
                </c:pt>
                <c:pt idx="2884">
                  <c:v>0</c:v>
                </c:pt>
                <c:pt idx="2885">
                  <c:v>0</c:v>
                </c:pt>
                <c:pt idx="2886">
                  <c:v>0</c:v>
                </c:pt>
                <c:pt idx="2887">
                  <c:v>0</c:v>
                </c:pt>
                <c:pt idx="2888">
                  <c:v>0</c:v>
                </c:pt>
                <c:pt idx="2889">
                  <c:v>0</c:v>
                </c:pt>
                <c:pt idx="2890">
                  <c:v>0</c:v>
                </c:pt>
                <c:pt idx="2891">
                  <c:v>0</c:v>
                </c:pt>
                <c:pt idx="2892">
                  <c:v>0</c:v>
                </c:pt>
                <c:pt idx="2893">
                  <c:v>0</c:v>
                </c:pt>
                <c:pt idx="2894">
                  <c:v>0</c:v>
                </c:pt>
                <c:pt idx="2895">
                  <c:v>0</c:v>
                </c:pt>
                <c:pt idx="2896">
                  <c:v>0</c:v>
                </c:pt>
                <c:pt idx="2897">
                  <c:v>0</c:v>
                </c:pt>
                <c:pt idx="2898">
                  <c:v>0</c:v>
                </c:pt>
                <c:pt idx="2899">
                  <c:v>0</c:v>
                </c:pt>
                <c:pt idx="2900">
                  <c:v>0</c:v>
                </c:pt>
                <c:pt idx="2901">
                  <c:v>0</c:v>
                </c:pt>
                <c:pt idx="2902">
                  <c:v>0</c:v>
                </c:pt>
                <c:pt idx="2903">
                  <c:v>0</c:v>
                </c:pt>
                <c:pt idx="2904">
                  <c:v>0</c:v>
                </c:pt>
                <c:pt idx="2905">
                  <c:v>0</c:v>
                </c:pt>
                <c:pt idx="2906">
                  <c:v>0</c:v>
                </c:pt>
                <c:pt idx="2907">
                  <c:v>0</c:v>
                </c:pt>
                <c:pt idx="2908">
                  <c:v>0</c:v>
                </c:pt>
                <c:pt idx="2909">
                  <c:v>0</c:v>
                </c:pt>
                <c:pt idx="2910">
                  <c:v>0</c:v>
                </c:pt>
                <c:pt idx="2911">
                  <c:v>0</c:v>
                </c:pt>
                <c:pt idx="2912">
                  <c:v>0</c:v>
                </c:pt>
                <c:pt idx="2913">
                  <c:v>0</c:v>
                </c:pt>
                <c:pt idx="2914">
                  <c:v>0</c:v>
                </c:pt>
                <c:pt idx="2915">
                  <c:v>0</c:v>
                </c:pt>
                <c:pt idx="2916">
                  <c:v>0</c:v>
                </c:pt>
                <c:pt idx="2917">
                  <c:v>0</c:v>
                </c:pt>
                <c:pt idx="2918">
                  <c:v>0</c:v>
                </c:pt>
                <c:pt idx="2919">
                  <c:v>0</c:v>
                </c:pt>
                <c:pt idx="2920">
                  <c:v>0</c:v>
                </c:pt>
                <c:pt idx="2921">
                  <c:v>0</c:v>
                </c:pt>
                <c:pt idx="2922">
                  <c:v>0</c:v>
                </c:pt>
                <c:pt idx="2923">
                  <c:v>0</c:v>
                </c:pt>
                <c:pt idx="2924">
                  <c:v>0</c:v>
                </c:pt>
                <c:pt idx="2925">
                  <c:v>0</c:v>
                </c:pt>
                <c:pt idx="2926">
                  <c:v>0</c:v>
                </c:pt>
                <c:pt idx="2927">
                  <c:v>0</c:v>
                </c:pt>
                <c:pt idx="2928">
                  <c:v>0</c:v>
                </c:pt>
                <c:pt idx="2929">
                  <c:v>0</c:v>
                </c:pt>
                <c:pt idx="2930">
                  <c:v>0</c:v>
                </c:pt>
                <c:pt idx="2931">
                  <c:v>0</c:v>
                </c:pt>
                <c:pt idx="2932">
                  <c:v>0</c:v>
                </c:pt>
                <c:pt idx="2933">
                  <c:v>0</c:v>
                </c:pt>
                <c:pt idx="2934">
                  <c:v>0</c:v>
                </c:pt>
                <c:pt idx="2935">
                  <c:v>0</c:v>
                </c:pt>
                <c:pt idx="2936">
                  <c:v>0</c:v>
                </c:pt>
                <c:pt idx="2937">
                  <c:v>0</c:v>
                </c:pt>
                <c:pt idx="2938">
                  <c:v>0</c:v>
                </c:pt>
                <c:pt idx="2939">
                  <c:v>0</c:v>
                </c:pt>
                <c:pt idx="2940">
                  <c:v>0</c:v>
                </c:pt>
                <c:pt idx="2941">
                  <c:v>0</c:v>
                </c:pt>
                <c:pt idx="2942">
                  <c:v>0</c:v>
                </c:pt>
                <c:pt idx="2943">
                  <c:v>0</c:v>
                </c:pt>
                <c:pt idx="2944">
                  <c:v>0</c:v>
                </c:pt>
                <c:pt idx="2945">
                  <c:v>0</c:v>
                </c:pt>
                <c:pt idx="2946">
                  <c:v>0</c:v>
                </c:pt>
                <c:pt idx="2947">
                  <c:v>0</c:v>
                </c:pt>
                <c:pt idx="2948">
                  <c:v>0</c:v>
                </c:pt>
                <c:pt idx="2949">
                  <c:v>0</c:v>
                </c:pt>
                <c:pt idx="2950">
                  <c:v>0</c:v>
                </c:pt>
                <c:pt idx="2951">
                  <c:v>0</c:v>
                </c:pt>
                <c:pt idx="2952">
                  <c:v>0</c:v>
                </c:pt>
                <c:pt idx="2953">
                  <c:v>0</c:v>
                </c:pt>
                <c:pt idx="2954">
                  <c:v>0</c:v>
                </c:pt>
                <c:pt idx="2955">
                  <c:v>0</c:v>
                </c:pt>
                <c:pt idx="2956">
                  <c:v>0</c:v>
                </c:pt>
                <c:pt idx="2957">
                  <c:v>0</c:v>
                </c:pt>
                <c:pt idx="2958">
                  <c:v>0</c:v>
                </c:pt>
                <c:pt idx="2959">
                  <c:v>0</c:v>
                </c:pt>
                <c:pt idx="2960">
                  <c:v>0</c:v>
                </c:pt>
                <c:pt idx="2961">
                  <c:v>0</c:v>
                </c:pt>
                <c:pt idx="2962">
                  <c:v>0</c:v>
                </c:pt>
                <c:pt idx="2963">
                  <c:v>0</c:v>
                </c:pt>
                <c:pt idx="2964">
                  <c:v>0</c:v>
                </c:pt>
                <c:pt idx="2965">
                  <c:v>0</c:v>
                </c:pt>
                <c:pt idx="2966">
                  <c:v>0</c:v>
                </c:pt>
                <c:pt idx="2967">
                  <c:v>0</c:v>
                </c:pt>
                <c:pt idx="2968">
                  <c:v>0</c:v>
                </c:pt>
                <c:pt idx="2969">
                  <c:v>0</c:v>
                </c:pt>
                <c:pt idx="2970">
                  <c:v>0</c:v>
                </c:pt>
                <c:pt idx="2971">
                  <c:v>0</c:v>
                </c:pt>
                <c:pt idx="2972">
                  <c:v>0</c:v>
                </c:pt>
                <c:pt idx="2973">
                  <c:v>0</c:v>
                </c:pt>
                <c:pt idx="2974">
                  <c:v>0</c:v>
                </c:pt>
                <c:pt idx="2975">
                  <c:v>0</c:v>
                </c:pt>
                <c:pt idx="2976">
                  <c:v>0</c:v>
                </c:pt>
                <c:pt idx="2977">
                  <c:v>0</c:v>
                </c:pt>
                <c:pt idx="2978">
                  <c:v>0</c:v>
                </c:pt>
                <c:pt idx="2979">
                  <c:v>0</c:v>
                </c:pt>
                <c:pt idx="2980">
                  <c:v>0</c:v>
                </c:pt>
                <c:pt idx="2981">
                  <c:v>0</c:v>
                </c:pt>
                <c:pt idx="2982">
                  <c:v>0</c:v>
                </c:pt>
                <c:pt idx="2983">
                  <c:v>0</c:v>
                </c:pt>
                <c:pt idx="2984">
                  <c:v>0</c:v>
                </c:pt>
                <c:pt idx="2985">
                  <c:v>0</c:v>
                </c:pt>
                <c:pt idx="2986">
                  <c:v>0</c:v>
                </c:pt>
                <c:pt idx="2987">
                  <c:v>0</c:v>
                </c:pt>
                <c:pt idx="2988">
                  <c:v>0</c:v>
                </c:pt>
                <c:pt idx="2989">
                  <c:v>0</c:v>
                </c:pt>
                <c:pt idx="2990">
                  <c:v>0</c:v>
                </c:pt>
                <c:pt idx="2991">
                  <c:v>0</c:v>
                </c:pt>
                <c:pt idx="2992">
                  <c:v>0</c:v>
                </c:pt>
                <c:pt idx="2993">
                  <c:v>0</c:v>
                </c:pt>
                <c:pt idx="2994">
                  <c:v>0</c:v>
                </c:pt>
                <c:pt idx="2995">
                  <c:v>0</c:v>
                </c:pt>
                <c:pt idx="2996">
                  <c:v>0</c:v>
                </c:pt>
                <c:pt idx="2997">
                  <c:v>0</c:v>
                </c:pt>
                <c:pt idx="2998">
                  <c:v>0</c:v>
                </c:pt>
                <c:pt idx="2999">
                  <c:v>0</c:v>
                </c:pt>
                <c:pt idx="3000">
                  <c:v>0</c:v>
                </c:pt>
                <c:pt idx="3001">
                  <c:v>0</c:v>
                </c:pt>
                <c:pt idx="3002">
                  <c:v>0</c:v>
                </c:pt>
                <c:pt idx="3003">
                  <c:v>0</c:v>
                </c:pt>
                <c:pt idx="3004">
                  <c:v>0</c:v>
                </c:pt>
                <c:pt idx="3005">
                  <c:v>0</c:v>
                </c:pt>
                <c:pt idx="3006">
                  <c:v>0</c:v>
                </c:pt>
                <c:pt idx="3007">
                  <c:v>0</c:v>
                </c:pt>
                <c:pt idx="3008">
                  <c:v>0</c:v>
                </c:pt>
                <c:pt idx="3009">
                  <c:v>0</c:v>
                </c:pt>
                <c:pt idx="3010">
                  <c:v>0</c:v>
                </c:pt>
                <c:pt idx="3011">
                  <c:v>0</c:v>
                </c:pt>
                <c:pt idx="3012">
                  <c:v>0</c:v>
                </c:pt>
                <c:pt idx="3013">
                  <c:v>0</c:v>
                </c:pt>
                <c:pt idx="3014">
                  <c:v>0</c:v>
                </c:pt>
                <c:pt idx="3015">
                  <c:v>0</c:v>
                </c:pt>
                <c:pt idx="3016">
                  <c:v>0</c:v>
                </c:pt>
                <c:pt idx="3017">
                  <c:v>0</c:v>
                </c:pt>
                <c:pt idx="3018">
                  <c:v>0</c:v>
                </c:pt>
                <c:pt idx="3019">
                  <c:v>0</c:v>
                </c:pt>
                <c:pt idx="3020">
                  <c:v>0</c:v>
                </c:pt>
                <c:pt idx="3021">
                  <c:v>0</c:v>
                </c:pt>
                <c:pt idx="3022">
                  <c:v>0</c:v>
                </c:pt>
                <c:pt idx="3023">
                  <c:v>0</c:v>
                </c:pt>
                <c:pt idx="3024">
                  <c:v>0</c:v>
                </c:pt>
                <c:pt idx="3025">
                  <c:v>0</c:v>
                </c:pt>
                <c:pt idx="3026">
                  <c:v>0</c:v>
                </c:pt>
                <c:pt idx="3027">
                  <c:v>0</c:v>
                </c:pt>
                <c:pt idx="3028">
                  <c:v>0</c:v>
                </c:pt>
                <c:pt idx="3029">
                  <c:v>0</c:v>
                </c:pt>
                <c:pt idx="3030">
                  <c:v>0</c:v>
                </c:pt>
                <c:pt idx="3031">
                  <c:v>0</c:v>
                </c:pt>
                <c:pt idx="3032">
                  <c:v>0</c:v>
                </c:pt>
                <c:pt idx="3033">
                  <c:v>0</c:v>
                </c:pt>
                <c:pt idx="3034">
                  <c:v>0</c:v>
                </c:pt>
                <c:pt idx="3035">
                  <c:v>0</c:v>
                </c:pt>
                <c:pt idx="3036">
                  <c:v>0</c:v>
                </c:pt>
                <c:pt idx="3037">
                  <c:v>0</c:v>
                </c:pt>
                <c:pt idx="3038">
                  <c:v>0</c:v>
                </c:pt>
                <c:pt idx="3039">
                  <c:v>0</c:v>
                </c:pt>
                <c:pt idx="3040">
                  <c:v>0</c:v>
                </c:pt>
                <c:pt idx="3041">
                  <c:v>0</c:v>
                </c:pt>
                <c:pt idx="3042">
                  <c:v>0</c:v>
                </c:pt>
                <c:pt idx="3043">
                  <c:v>0</c:v>
                </c:pt>
                <c:pt idx="3044">
                  <c:v>0</c:v>
                </c:pt>
                <c:pt idx="3045">
                  <c:v>0</c:v>
                </c:pt>
                <c:pt idx="3046">
                  <c:v>0</c:v>
                </c:pt>
                <c:pt idx="3047">
                  <c:v>0</c:v>
                </c:pt>
                <c:pt idx="3048">
                  <c:v>0</c:v>
                </c:pt>
                <c:pt idx="3049">
                  <c:v>0</c:v>
                </c:pt>
                <c:pt idx="3050">
                  <c:v>0</c:v>
                </c:pt>
                <c:pt idx="3051">
                  <c:v>0</c:v>
                </c:pt>
                <c:pt idx="3052">
                  <c:v>0</c:v>
                </c:pt>
                <c:pt idx="3053">
                  <c:v>0</c:v>
                </c:pt>
                <c:pt idx="3054">
                  <c:v>0</c:v>
                </c:pt>
                <c:pt idx="3055">
                  <c:v>0</c:v>
                </c:pt>
                <c:pt idx="3056">
                  <c:v>0</c:v>
                </c:pt>
                <c:pt idx="3057">
                  <c:v>0</c:v>
                </c:pt>
                <c:pt idx="3058">
                  <c:v>0</c:v>
                </c:pt>
                <c:pt idx="3059">
                  <c:v>0</c:v>
                </c:pt>
                <c:pt idx="3060">
                  <c:v>0</c:v>
                </c:pt>
                <c:pt idx="3061">
                  <c:v>0</c:v>
                </c:pt>
                <c:pt idx="3062">
                  <c:v>0</c:v>
                </c:pt>
                <c:pt idx="3063">
                  <c:v>0</c:v>
                </c:pt>
                <c:pt idx="3064">
                  <c:v>0</c:v>
                </c:pt>
                <c:pt idx="3065">
                  <c:v>0</c:v>
                </c:pt>
                <c:pt idx="3066">
                  <c:v>0</c:v>
                </c:pt>
                <c:pt idx="3067">
                  <c:v>0</c:v>
                </c:pt>
                <c:pt idx="3068">
                  <c:v>0</c:v>
                </c:pt>
                <c:pt idx="3069">
                  <c:v>0</c:v>
                </c:pt>
                <c:pt idx="3070">
                  <c:v>0</c:v>
                </c:pt>
                <c:pt idx="3071">
                  <c:v>0</c:v>
                </c:pt>
                <c:pt idx="3072">
                  <c:v>0</c:v>
                </c:pt>
                <c:pt idx="3073">
                  <c:v>0</c:v>
                </c:pt>
                <c:pt idx="3074">
                  <c:v>0</c:v>
                </c:pt>
                <c:pt idx="3075">
                  <c:v>0</c:v>
                </c:pt>
                <c:pt idx="3076">
                  <c:v>0</c:v>
                </c:pt>
                <c:pt idx="3077">
                  <c:v>0</c:v>
                </c:pt>
                <c:pt idx="3078">
                  <c:v>0</c:v>
                </c:pt>
                <c:pt idx="3079">
                  <c:v>0</c:v>
                </c:pt>
                <c:pt idx="3080">
                  <c:v>0</c:v>
                </c:pt>
                <c:pt idx="3081">
                  <c:v>0</c:v>
                </c:pt>
                <c:pt idx="3082">
                  <c:v>0</c:v>
                </c:pt>
                <c:pt idx="3083">
                  <c:v>0</c:v>
                </c:pt>
                <c:pt idx="3084">
                  <c:v>0</c:v>
                </c:pt>
                <c:pt idx="3085">
                  <c:v>0</c:v>
                </c:pt>
                <c:pt idx="3086">
                  <c:v>0</c:v>
                </c:pt>
                <c:pt idx="3087">
                  <c:v>0</c:v>
                </c:pt>
                <c:pt idx="3088">
                  <c:v>0</c:v>
                </c:pt>
                <c:pt idx="3089">
                  <c:v>0</c:v>
                </c:pt>
                <c:pt idx="3090">
                  <c:v>0</c:v>
                </c:pt>
                <c:pt idx="3091">
                  <c:v>0</c:v>
                </c:pt>
                <c:pt idx="3092">
                  <c:v>0</c:v>
                </c:pt>
                <c:pt idx="3093">
                  <c:v>0</c:v>
                </c:pt>
                <c:pt idx="3094">
                  <c:v>0</c:v>
                </c:pt>
                <c:pt idx="3095">
                  <c:v>0</c:v>
                </c:pt>
                <c:pt idx="3096">
                  <c:v>0</c:v>
                </c:pt>
                <c:pt idx="3097">
                  <c:v>0</c:v>
                </c:pt>
                <c:pt idx="3098">
                  <c:v>0</c:v>
                </c:pt>
                <c:pt idx="3099">
                  <c:v>0</c:v>
                </c:pt>
                <c:pt idx="3100">
                  <c:v>0</c:v>
                </c:pt>
                <c:pt idx="3101">
                  <c:v>0</c:v>
                </c:pt>
                <c:pt idx="3102">
                  <c:v>0</c:v>
                </c:pt>
                <c:pt idx="3103">
                  <c:v>0</c:v>
                </c:pt>
                <c:pt idx="3104">
                  <c:v>0</c:v>
                </c:pt>
                <c:pt idx="3105">
                  <c:v>0</c:v>
                </c:pt>
                <c:pt idx="3106">
                  <c:v>0</c:v>
                </c:pt>
                <c:pt idx="3107">
                  <c:v>0</c:v>
                </c:pt>
                <c:pt idx="3108">
                  <c:v>0</c:v>
                </c:pt>
                <c:pt idx="3109">
                  <c:v>0</c:v>
                </c:pt>
                <c:pt idx="3110">
                  <c:v>0</c:v>
                </c:pt>
                <c:pt idx="3111">
                  <c:v>0</c:v>
                </c:pt>
                <c:pt idx="3112">
                  <c:v>0</c:v>
                </c:pt>
                <c:pt idx="3113">
                  <c:v>0</c:v>
                </c:pt>
                <c:pt idx="3114">
                  <c:v>0</c:v>
                </c:pt>
                <c:pt idx="3115">
                  <c:v>0</c:v>
                </c:pt>
                <c:pt idx="3116">
                  <c:v>0</c:v>
                </c:pt>
                <c:pt idx="3117">
                  <c:v>0</c:v>
                </c:pt>
                <c:pt idx="3118">
                  <c:v>0</c:v>
                </c:pt>
                <c:pt idx="3119">
                  <c:v>0</c:v>
                </c:pt>
                <c:pt idx="3120">
                  <c:v>0</c:v>
                </c:pt>
                <c:pt idx="3121">
                  <c:v>0</c:v>
                </c:pt>
                <c:pt idx="3122">
                  <c:v>0</c:v>
                </c:pt>
                <c:pt idx="3123">
                  <c:v>0</c:v>
                </c:pt>
                <c:pt idx="3124">
                  <c:v>0</c:v>
                </c:pt>
                <c:pt idx="3125">
                  <c:v>0</c:v>
                </c:pt>
                <c:pt idx="3126">
                  <c:v>0</c:v>
                </c:pt>
                <c:pt idx="3127">
                  <c:v>0</c:v>
                </c:pt>
                <c:pt idx="3128">
                  <c:v>0</c:v>
                </c:pt>
                <c:pt idx="3129">
                  <c:v>0</c:v>
                </c:pt>
                <c:pt idx="3130">
                  <c:v>0</c:v>
                </c:pt>
                <c:pt idx="3131">
                  <c:v>0</c:v>
                </c:pt>
                <c:pt idx="3132">
                  <c:v>0</c:v>
                </c:pt>
                <c:pt idx="3133">
                  <c:v>0</c:v>
                </c:pt>
                <c:pt idx="3134">
                  <c:v>0</c:v>
                </c:pt>
                <c:pt idx="3135">
                  <c:v>0</c:v>
                </c:pt>
                <c:pt idx="3136">
                  <c:v>0</c:v>
                </c:pt>
                <c:pt idx="3137">
                  <c:v>0</c:v>
                </c:pt>
                <c:pt idx="3138">
                  <c:v>0</c:v>
                </c:pt>
                <c:pt idx="3139">
                  <c:v>0</c:v>
                </c:pt>
                <c:pt idx="3140">
                  <c:v>0</c:v>
                </c:pt>
                <c:pt idx="3141">
                  <c:v>0</c:v>
                </c:pt>
                <c:pt idx="3142">
                  <c:v>0</c:v>
                </c:pt>
                <c:pt idx="3143">
                  <c:v>0</c:v>
                </c:pt>
                <c:pt idx="3144">
                  <c:v>0</c:v>
                </c:pt>
                <c:pt idx="3145">
                  <c:v>0</c:v>
                </c:pt>
                <c:pt idx="3146">
                  <c:v>0</c:v>
                </c:pt>
                <c:pt idx="3147">
                  <c:v>0</c:v>
                </c:pt>
                <c:pt idx="3148">
                  <c:v>0</c:v>
                </c:pt>
                <c:pt idx="3149">
                  <c:v>0</c:v>
                </c:pt>
                <c:pt idx="3150">
                  <c:v>0</c:v>
                </c:pt>
                <c:pt idx="3151">
                  <c:v>0</c:v>
                </c:pt>
                <c:pt idx="3152">
                  <c:v>0</c:v>
                </c:pt>
                <c:pt idx="3153">
                  <c:v>0</c:v>
                </c:pt>
                <c:pt idx="3154">
                  <c:v>0</c:v>
                </c:pt>
                <c:pt idx="3155">
                  <c:v>0</c:v>
                </c:pt>
                <c:pt idx="3156">
                  <c:v>0</c:v>
                </c:pt>
                <c:pt idx="3157">
                  <c:v>0</c:v>
                </c:pt>
                <c:pt idx="3158">
                  <c:v>0</c:v>
                </c:pt>
                <c:pt idx="3159">
                  <c:v>0</c:v>
                </c:pt>
                <c:pt idx="3160">
                  <c:v>0</c:v>
                </c:pt>
                <c:pt idx="3161">
                  <c:v>0</c:v>
                </c:pt>
                <c:pt idx="3162">
                  <c:v>0</c:v>
                </c:pt>
                <c:pt idx="3163">
                  <c:v>0</c:v>
                </c:pt>
                <c:pt idx="3164">
                  <c:v>0</c:v>
                </c:pt>
                <c:pt idx="3165">
                  <c:v>0</c:v>
                </c:pt>
                <c:pt idx="3166">
                  <c:v>0</c:v>
                </c:pt>
                <c:pt idx="3167">
                  <c:v>0</c:v>
                </c:pt>
                <c:pt idx="3168">
                  <c:v>0</c:v>
                </c:pt>
                <c:pt idx="3169">
                  <c:v>0</c:v>
                </c:pt>
                <c:pt idx="3170">
                  <c:v>0</c:v>
                </c:pt>
                <c:pt idx="3171">
                  <c:v>0</c:v>
                </c:pt>
                <c:pt idx="3172">
                  <c:v>0</c:v>
                </c:pt>
                <c:pt idx="3173">
                  <c:v>0</c:v>
                </c:pt>
                <c:pt idx="3174">
                  <c:v>0</c:v>
                </c:pt>
                <c:pt idx="3175">
                  <c:v>0</c:v>
                </c:pt>
                <c:pt idx="3176">
                  <c:v>0</c:v>
                </c:pt>
                <c:pt idx="3177">
                  <c:v>0</c:v>
                </c:pt>
                <c:pt idx="3178">
                  <c:v>0</c:v>
                </c:pt>
                <c:pt idx="3179">
                  <c:v>0</c:v>
                </c:pt>
                <c:pt idx="3180">
                  <c:v>0</c:v>
                </c:pt>
                <c:pt idx="3181">
                  <c:v>0</c:v>
                </c:pt>
                <c:pt idx="3182">
                  <c:v>0</c:v>
                </c:pt>
                <c:pt idx="3183">
                  <c:v>0</c:v>
                </c:pt>
                <c:pt idx="3184">
                  <c:v>0</c:v>
                </c:pt>
                <c:pt idx="3185">
                  <c:v>0</c:v>
                </c:pt>
                <c:pt idx="3186">
                  <c:v>0</c:v>
                </c:pt>
                <c:pt idx="3187">
                  <c:v>0</c:v>
                </c:pt>
                <c:pt idx="3188">
                  <c:v>0</c:v>
                </c:pt>
                <c:pt idx="3189">
                  <c:v>0</c:v>
                </c:pt>
                <c:pt idx="3190">
                  <c:v>0</c:v>
                </c:pt>
                <c:pt idx="3191">
                  <c:v>0</c:v>
                </c:pt>
                <c:pt idx="3192">
                  <c:v>0</c:v>
                </c:pt>
                <c:pt idx="3193">
                  <c:v>0</c:v>
                </c:pt>
                <c:pt idx="3194">
                  <c:v>0</c:v>
                </c:pt>
                <c:pt idx="3195">
                  <c:v>0</c:v>
                </c:pt>
                <c:pt idx="3196">
                  <c:v>0</c:v>
                </c:pt>
                <c:pt idx="3197">
                  <c:v>0</c:v>
                </c:pt>
                <c:pt idx="3198">
                  <c:v>0</c:v>
                </c:pt>
                <c:pt idx="3199">
                  <c:v>0</c:v>
                </c:pt>
                <c:pt idx="3200">
                  <c:v>0</c:v>
                </c:pt>
                <c:pt idx="3201">
                  <c:v>0</c:v>
                </c:pt>
                <c:pt idx="3202">
                  <c:v>0</c:v>
                </c:pt>
                <c:pt idx="3203">
                  <c:v>0</c:v>
                </c:pt>
                <c:pt idx="3204">
                  <c:v>0</c:v>
                </c:pt>
                <c:pt idx="3205">
                  <c:v>0</c:v>
                </c:pt>
                <c:pt idx="3206">
                  <c:v>0</c:v>
                </c:pt>
                <c:pt idx="3207">
                  <c:v>0</c:v>
                </c:pt>
                <c:pt idx="3208">
                  <c:v>0</c:v>
                </c:pt>
                <c:pt idx="3209">
                  <c:v>0</c:v>
                </c:pt>
                <c:pt idx="3210">
                  <c:v>0</c:v>
                </c:pt>
                <c:pt idx="3211">
                  <c:v>0</c:v>
                </c:pt>
                <c:pt idx="3212">
                  <c:v>0</c:v>
                </c:pt>
                <c:pt idx="3213">
                  <c:v>0</c:v>
                </c:pt>
                <c:pt idx="3214">
                  <c:v>0</c:v>
                </c:pt>
                <c:pt idx="3215">
                  <c:v>0</c:v>
                </c:pt>
                <c:pt idx="3216">
                  <c:v>0</c:v>
                </c:pt>
                <c:pt idx="3217">
                  <c:v>0</c:v>
                </c:pt>
                <c:pt idx="3218">
                  <c:v>0</c:v>
                </c:pt>
                <c:pt idx="3219">
                  <c:v>0</c:v>
                </c:pt>
                <c:pt idx="3220">
                  <c:v>0</c:v>
                </c:pt>
                <c:pt idx="3221">
                  <c:v>0</c:v>
                </c:pt>
                <c:pt idx="3222">
                  <c:v>0</c:v>
                </c:pt>
                <c:pt idx="3223">
                  <c:v>0</c:v>
                </c:pt>
                <c:pt idx="3224">
                  <c:v>0</c:v>
                </c:pt>
                <c:pt idx="3225">
                  <c:v>0</c:v>
                </c:pt>
                <c:pt idx="3226">
                  <c:v>0</c:v>
                </c:pt>
                <c:pt idx="3227">
                  <c:v>0</c:v>
                </c:pt>
                <c:pt idx="3228">
                  <c:v>0</c:v>
                </c:pt>
                <c:pt idx="3229">
                  <c:v>0</c:v>
                </c:pt>
                <c:pt idx="3230">
                  <c:v>0</c:v>
                </c:pt>
                <c:pt idx="3231">
                  <c:v>0</c:v>
                </c:pt>
                <c:pt idx="3232">
                  <c:v>0</c:v>
                </c:pt>
                <c:pt idx="3233">
                  <c:v>0</c:v>
                </c:pt>
                <c:pt idx="3234">
                  <c:v>0</c:v>
                </c:pt>
                <c:pt idx="3235">
                  <c:v>0</c:v>
                </c:pt>
                <c:pt idx="3236">
                  <c:v>0</c:v>
                </c:pt>
                <c:pt idx="3237">
                  <c:v>0</c:v>
                </c:pt>
                <c:pt idx="3238">
                  <c:v>0</c:v>
                </c:pt>
                <c:pt idx="3239">
                  <c:v>0</c:v>
                </c:pt>
                <c:pt idx="3240">
                  <c:v>0</c:v>
                </c:pt>
                <c:pt idx="3241">
                  <c:v>0</c:v>
                </c:pt>
                <c:pt idx="3242">
                  <c:v>0</c:v>
                </c:pt>
                <c:pt idx="3243">
                  <c:v>0</c:v>
                </c:pt>
                <c:pt idx="3244">
                  <c:v>0</c:v>
                </c:pt>
                <c:pt idx="3245">
                  <c:v>0</c:v>
                </c:pt>
                <c:pt idx="3246">
                  <c:v>0</c:v>
                </c:pt>
                <c:pt idx="3247">
                  <c:v>0</c:v>
                </c:pt>
                <c:pt idx="3248">
                  <c:v>0</c:v>
                </c:pt>
                <c:pt idx="3249">
                  <c:v>0</c:v>
                </c:pt>
                <c:pt idx="3250">
                  <c:v>0</c:v>
                </c:pt>
                <c:pt idx="3251">
                  <c:v>0</c:v>
                </c:pt>
                <c:pt idx="3252">
                  <c:v>0</c:v>
                </c:pt>
                <c:pt idx="3253">
                  <c:v>0</c:v>
                </c:pt>
                <c:pt idx="3254">
                  <c:v>0</c:v>
                </c:pt>
                <c:pt idx="3255">
                  <c:v>0</c:v>
                </c:pt>
                <c:pt idx="3256">
                  <c:v>0</c:v>
                </c:pt>
                <c:pt idx="3257">
                  <c:v>0</c:v>
                </c:pt>
                <c:pt idx="3258">
                  <c:v>0</c:v>
                </c:pt>
                <c:pt idx="3259">
                  <c:v>0</c:v>
                </c:pt>
                <c:pt idx="3260">
                  <c:v>0</c:v>
                </c:pt>
                <c:pt idx="3261">
                  <c:v>0</c:v>
                </c:pt>
                <c:pt idx="3262">
                  <c:v>0</c:v>
                </c:pt>
                <c:pt idx="3263">
                  <c:v>0</c:v>
                </c:pt>
                <c:pt idx="3264">
                  <c:v>0</c:v>
                </c:pt>
                <c:pt idx="3265">
                  <c:v>0</c:v>
                </c:pt>
                <c:pt idx="3266">
                  <c:v>0</c:v>
                </c:pt>
                <c:pt idx="3267">
                  <c:v>0</c:v>
                </c:pt>
                <c:pt idx="3268">
                  <c:v>0</c:v>
                </c:pt>
                <c:pt idx="3269">
                  <c:v>0</c:v>
                </c:pt>
                <c:pt idx="3270">
                  <c:v>0</c:v>
                </c:pt>
                <c:pt idx="3271">
                  <c:v>0</c:v>
                </c:pt>
                <c:pt idx="3272">
                  <c:v>0</c:v>
                </c:pt>
                <c:pt idx="3273">
                  <c:v>0</c:v>
                </c:pt>
                <c:pt idx="3274">
                  <c:v>0</c:v>
                </c:pt>
                <c:pt idx="3275">
                  <c:v>0</c:v>
                </c:pt>
                <c:pt idx="3276">
                  <c:v>0</c:v>
                </c:pt>
                <c:pt idx="3277">
                  <c:v>0</c:v>
                </c:pt>
                <c:pt idx="3278">
                  <c:v>0</c:v>
                </c:pt>
                <c:pt idx="3279">
                  <c:v>0</c:v>
                </c:pt>
                <c:pt idx="3280">
                  <c:v>0</c:v>
                </c:pt>
                <c:pt idx="3281">
                  <c:v>0</c:v>
                </c:pt>
                <c:pt idx="3282">
                  <c:v>0</c:v>
                </c:pt>
                <c:pt idx="3283">
                  <c:v>0</c:v>
                </c:pt>
                <c:pt idx="3284">
                  <c:v>0</c:v>
                </c:pt>
                <c:pt idx="3285">
                  <c:v>0</c:v>
                </c:pt>
                <c:pt idx="3286">
                  <c:v>0</c:v>
                </c:pt>
                <c:pt idx="3287">
                  <c:v>0</c:v>
                </c:pt>
                <c:pt idx="3288">
                  <c:v>0</c:v>
                </c:pt>
                <c:pt idx="3289">
                  <c:v>0</c:v>
                </c:pt>
                <c:pt idx="3290">
                  <c:v>0</c:v>
                </c:pt>
                <c:pt idx="3291">
                  <c:v>0</c:v>
                </c:pt>
                <c:pt idx="3292">
                  <c:v>0</c:v>
                </c:pt>
                <c:pt idx="3293">
                  <c:v>0</c:v>
                </c:pt>
                <c:pt idx="3294">
                  <c:v>0</c:v>
                </c:pt>
                <c:pt idx="3295">
                  <c:v>0</c:v>
                </c:pt>
                <c:pt idx="3296">
                  <c:v>0</c:v>
                </c:pt>
                <c:pt idx="3297">
                  <c:v>0</c:v>
                </c:pt>
                <c:pt idx="3298">
                  <c:v>0</c:v>
                </c:pt>
                <c:pt idx="3299">
                  <c:v>0</c:v>
                </c:pt>
                <c:pt idx="3300">
                  <c:v>0</c:v>
                </c:pt>
                <c:pt idx="3301">
                  <c:v>0</c:v>
                </c:pt>
                <c:pt idx="3302">
                  <c:v>0</c:v>
                </c:pt>
                <c:pt idx="3303">
                  <c:v>0</c:v>
                </c:pt>
                <c:pt idx="3304">
                  <c:v>0</c:v>
                </c:pt>
                <c:pt idx="3305">
                  <c:v>0</c:v>
                </c:pt>
                <c:pt idx="3306">
                  <c:v>0</c:v>
                </c:pt>
                <c:pt idx="3307">
                  <c:v>0</c:v>
                </c:pt>
                <c:pt idx="3308">
                  <c:v>0</c:v>
                </c:pt>
                <c:pt idx="3309">
                  <c:v>0</c:v>
                </c:pt>
                <c:pt idx="3310">
                  <c:v>0</c:v>
                </c:pt>
                <c:pt idx="3311">
                  <c:v>0</c:v>
                </c:pt>
                <c:pt idx="3312">
                  <c:v>0</c:v>
                </c:pt>
                <c:pt idx="3313">
                  <c:v>0</c:v>
                </c:pt>
                <c:pt idx="3314">
                  <c:v>0</c:v>
                </c:pt>
                <c:pt idx="3315">
                  <c:v>0</c:v>
                </c:pt>
                <c:pt idx="3316">
                  <c:v>0</c:v>
                </c:pt>
                <c:pt idx="3317">
                  <c:v>0</c:v>
                </c:pt>
                <c:pt idx="3318">
                  <c:v>0</c:v>
                </c:pt>
                <c:pt idx="3319">
                  <c:v>0</c:v>
                </c:pt>
                <c:pt idx="3320">
                  <c:v>0</c:v>
                </c:pt>
                <c:pt idx="3321">
                  <c:v>0</c:v>
                </c:pt>
                <c:pt idx="3322">
                  <c:v>0</c:v>
                </c:pt>
                <c:pt idx="3323">
                  <c:v>0</c:v>
                </c:pt>
                <c:pt idx="3324">
                  <c:v>0</c:v>
                </c:pt>
                <c:pt idx="3325">
                  <c:v>0</c:v>
                </c:pt>
                <c:pt idx="3326">
                  <c:v>0</c:v>
                </c:pt>
                <c:pt idx="3327">
                  <c:v>0</c:v>
                </c:pt>
                <c:pt idx="3328">
                  <c:v>0</c:v>
                </c:pt>
                <c:pt idx="3329">
                  <c:v>0</c:v>
                </c:pt>
                <c:pt idx="3330">
                  <c:v>0</c:v>
                </c:pt>
                <c:pt idx="3331">
                  <c:v>0</c:v>
                </c:pt>
                <c:pt idx="3332">
                  <c:v>0</c:v>
                </c:pt>
                <c:pt idx="3333">
                  <c:v>0</c:v>
                </c:pt>
                <c:pt idx="3334">
                  <c:v>0</c:v>
                </c:pt>
                <c:pt idx="3335">
                  <c:v>0</c:v>
                </c:pt>
                <c:pt idx="3336">
                  <c:v>0</c:v>
                </c:pt>
                <c:pt idx="3337">
                  <c:v>0</c:v>
                </c:pt>
                <c:pt idx="3338">
                  <c:v>0</c:v>
                </c:pt>
                <c:pt idx="3339">
                  <c:v>0</c:v>
                </c:pt>
                <c:pt idx="3340">
                  <c:v>0</c:v>
                </c:pt>
                <c:pt idx="3341">
                  <c:v>0</c:v>
                </c:pt>
                <c:pt idx="3342">
                  <c:v>0</c:v>
                </c:pt>
                <c:pt idx="3343">
                  <c:v>0</c:v>
                </c:pt>
                <c:pt idx="3344">
                  <c:v>0</c:v>
                </c:pt>
                <c:pt idx="3345">
                  <c:v>0</c:v>
                </c:pt>
                <c:pt idx="3346">
                  <c:v>0</c:v>
                </c:pt>
                <c:pt idx="3347">
                  <c:v>0</c:v>
                </c:pt>
                <c:pt idx="3348">
                  <c:v>0</c:v>
                </c:pt>
                <c:pt idx="3349">
                  <c:v>0</c:v>
                </c:pt>
                <c:pt idx="3350">
                  <c:v>0</c:v>
                </c:pt>
                <c:pt idx="3351">
                  <c:v>0</c:v>
                </c:pt>
                <c:pt idx="3352">
                  <c:v>0</c:v>
                </c:pt>
                <c:pt idx="3353">
                  <c:v>0</c:v>
                </c:pt>
                <c:pt idx="3354">
                  <c:v>0</c:v>
                </c:pt>
                <c:pt idx="3355">
                  <c:v>0</c:v>
                </c:pt>
                <c:pt idx="3356">
                  <c:v>0</c:v>
                </c:pt>
                <c:pt idx="3357">
                  <c:v>0</c:v>
                </c:pt>
                <c:pt idx="3358">
                  <c:v>0</c:v>
                </c:pt>
                <c:pt idx="3359">
                  <c:v>0</c:v>
                </c:pt>
                <c:pt idx="3360">
                  <c:v>0</c:v>
                </c:pt>
                <c:pt idx="3361">
                  <c:v>0</c:v>
                </c:pt>
                <c:pt idx="3362">
                  <c:v>0</c:v>
                </c:pt>
                <c:pt idx="3363">
                  <c:v>0</c:v>
                </c:pt>
                <c:pt idx="3364">
                  <c:v>0</c:v>
                </c:pt>
                <c:pt idx="3365">
                  <c:v>0</c:v>
                </c:pt>
                <c:pt idx="3366">
                  <c:v>0</c:v>
                </c:pt>
                <c:pt idx="3367">
                  <c:v>0</c:v>
                </c:pt>
                <c:pt idx="3368">
                  <c:v>0</c:v>
                </c:pt>
                <c:pt idx="3369">
                  <c:v>0</c:v>
                </c:pt>
                <c:pt idx="3370">
                  <c:v>0</c:v>
                </c:pt>
                <c:pt idx="3371">
                  <c:v>0</c:v>
                </c:pt>
                <c:pt idx="3372">
                  <c:v>0</c:v>
                </c:pt>
                <c:pt idx="3373">
                  <c:v>0</c:v>
                </c:pt>
                <c:pt idx="3374">
                  <c:v>0</c:v>
                </c:pt>
                <c:pt idx="3375">
                  <c:v>0</c:v>
                </c:pt>
                <c:pt idx="3376">
                  <c:v>0</c:v>
                </c:pt>
                <c:pt idx="3377">
                  <c:v>0</c:v>
                </c:pt>
                <c:pt idx="3378">
                  <c:v>0</c:v>
                </c:pt>
                <c:pt idx="3379">
                  <c:v>0</c:v>
                </c:pt>
                <c:pt idx="3380">
                  <c:v>0</c:v>
                </c:pt>
                <c:pt idx="3381">
                  <c:v>0</c:v>
                </c:pt>
                <c:pt idx="3382">
                  <c:v>0</c:v>
                </c:pt>
                <c:pt idx="3383">
                  <c:v>0</c:v>
                </c:pt>
                <c:pt idx="3384">
                  <c:v>0</c:v>
                </c:pt>
                <c:pt idx="3385">
                  <c:v>0</c:v>
                </c:pt>
                <c:pt idx="3386">
                  <c:v>0</c:v>
                </c:pt>
                <c:pt idx="3387">
                  <c:v>0</c:v>
                </c:pt>
                <c:pt idx="3388">
                  <c:v>0</c:v>
                </c:pt>
                <c:pt idx="3389">
                  <c:v>0</c:v>
                </c:pt>
                <c:pt idx="3390">
                  <c:v>0</c:v>
                </c:pt>
                <c:pt idx="3391">
                  <c:v>0</c:v>
                </c:pt>
                <c:pt idx="3392">
                  <c:v>0</c:v>
                </c:pt>
                <c:pt idx="3393">
                  <c:v>0</c:v>
                </c:pt>
                <c:pt idx="3394">
                  <c:v>0</c:v>
                </c:pt>
                <c:pt idx="3395">
                  <c:v>0</c:v>
                </c:pt>
                <c:pt idx="3396">
                  <c:v>0</c:v>
                </c:pt>
                <c:pt idx="3397">
                  <c:v>0</c:v>
                </c:pt>
                <c:pt idx="3398">
                  <c:v>0</c:v>
                </c:pt>
                <c:pt idx="3399">
                  <c:v>0</c:v>
                </c:pt>
                <c:pt idx="3400">
                  <c:v>0</c:v>
                </c:pt>
                <c:pt idx="3401">
                  <c:v>0</c:v>
                </c:pt>
                <c:pt idx="3402">
                  <c:v>0</c:v>
                </c:pt>
                <c:pt idx="3403">
                  <c:v>0</c:v>
                </c:pt>
                <c:pt idx="3404">
                  <c:v>0</c:v>
                </c:pt>
                <c:pt idx="3405">
                  <c:v>0</c:v>
                </c:pt>
                <c:pt idx="3406">
                  <c:v>0</c:v>
                </c:pt>
                <c:pt idx="3407">
                  <c:v>0</c:v>
                </c:pt>
                <c:pt idx="3408">
                  <c:v>0</c:v>
                </c:pt>
                <c:pt idx="3409">
                  <c:v>0</c:v>
                </c:pt>
                <c:pt idx="3410">
                  <c:v>0</c:v>
                </c:pt>
                <c:pt idx="3411">
                  <c:v>0</c:v>
                </c:pt>
                <c:pt idx="3412">
                  <c:v>0</c:v>
                </c:pt>
                <c:pt idx="3413">
                  <c:v>0</c:v>
                </c:pt>
                <c:pt idx="3414">
                  <c:v>0</c:v>
                </c:pt>
                <c:pt idx="3415">
                  <c:v>0</c:v>
                </c:pt>
                <c:pt idx="3416">
                  <c:v>0</c:v>
                </c:pt>
                <c:pt idx="3417">
                  <c:v>0</c:v>
                </c:pt>
                <c:pt idx="3418">
                  <c:v>0</c:v>
                </c:pt>
                <c:pt idx="3419">
                  <c:v>0</c:v>
                </c:pt>
                <c:pt idx="3420">
                  <c:v>0</c:v>
                </c:pt>
                <c:pt idx="3421">
                  <c:v>0</c:v>
                </c:pt>
                <c:pt idx="3422">
                  <c:v>0</c:v>
                </c:pt>
                <c:pt idx="3423">
                  <c:v>0</c:v>
                </c:pt>
                <c:pt idx="3424">
                  <c:v>0</c:v>
                </c:pt>
                <c:pt idx="3425">
                  <c:v>0</c:v>
                </c:pt>
                <c:pt idx="3426">
                  <c:v>0</c:v>
                </c:pt>
                <c:pt idx="3427">
                  <c:v>0</c:v>
                </c:pt>
                <c:pt idx="3428">
                  <c:v>0</c:v>
                </c:pt>
                <c:pt idx="3429">
                  <c:v>0</c:v>
                </c:pt>
                <c:pt idx="3430">
                  <c:v>0</c:v>
                </c:pt>
                <c:pt idx="3431">
                  <c:v>0</c:v>
                </c:pt>
                <c:pt idx="3432">
                  <c:v>0</c:v>
                </c:pt>
                <c:pt idx="3433">
                  <c:v>0</c:v>
                </c:pt>
                <c:pt idx="3434">
                  <c:v>0</c:v>
                </c:pt>
                <c:pt idx="3435">
                  <c:v>0</c:v>
                </c:pt>
                <c:pt idx="3436">
                  <c:v>0</c:v>
                </c:pt>
                <c:pt idx="3437">
                  <c:v>0</c:v>
                </c:pt>
                <c:pt idx="3438">
                  <c:v>0</c:v>
                </c:pt>
                <c:pt idx="3439">
                  <c:v>0</c:v>
                </c:pt>
                <c:pt idx="3440">
                  <c:v>0</c:v>
                </c:pt>
                <c:pt idx="3441">
                  <c:v>0</c:v>
                </c:pt>
                <c:pt idx="3442">
                  <c:v>0</c:v>
                </c:pt>
                <c:pt idx="3443">
                  <c:v>0</c:v>
                </c:pt>
                <c:pt idx="3444">
                  <c:v>0</c:v>
                </c:pt>
                <c:pt idx="3445">
                  <c:v>0</c:v>
                </c:pt>
                <c:pt idx="3446">
                  <c:v>0</c:v>
                </c:pt>
                <c:pt idx="3447">
                  <c:v>0</c:v>
                </c:pt>
                <c:pt idx="3448">
                  <c:v>0</c:v>
                </c:pt>
                <c:pt idx="3449">
                  <c:v>0</c:v>
                </c:pt>
                <c:pt idx="3450">
                  <c:v>0</c:v>
                </c:pt>
                <c:pt idx="3451">
                  <c:v>0</c:v>
                </c:pt>
                <c:pt idx="3452">
                  <c:v>0</c:v>
                </c:pt>
                <c:pt idx="3453">
                  <c:v>0</c:v>
                </c:pt>
                <c:pt idx="3454">
                  <c:v>0</c:v>
                </c:pt>
                <c:pt idx="3455">
                  <c:v>0</c:v>
                </c:pt>
                <c:pt idx="3456">
                  <c:v>0</c:v>
                </c:pt>
                <c:pt idx="3457">
                  <c:v>0</c:v>
                </c:pt>
                <c:pt idx="3458">
                  <c:v>0</c:v>
                </c:pt>
                <c:pt idx="3459">
                  <c:v>0</c:v>
                </c:pt>
                <c:pt idx="3460">
                  <c:v>0</c:v>
                </c:pt>
                <c:pt idx="3461">
                  <c:v>0</c:v>
                </c:pt>
                <c:pt idx="3462">
                  <c:v>0</c:v>
                </c:pt>
                <c:pt idx="3463">
                  <c:v>0</c:v>
                </c:pt>
                <c:pt idx="3464">
                  <c:v>0</c:v>
                </c:pt>
                <c:pt idx="3465">
                  <c:v>0</c:v>
                </c:pt>
                <c:pt idx="3466">
                  <c:v>0</c:v>
                </c:pt>
                <c:pt idx="3467">
                  <c:v>0</c:v>
                </c:pt>
                <c:pt idx="3468">
                  <c:v>0</c:v>
                </c:pt>
                <c:pt idx="3469">
                  <c:v>0</c:v>
                </c:pt>
                <c:pt idx="3470">
                  <c:v>0</c:v>
                </c:pt>
                <c:pt idx="3471">
                  <c:v>0</c:v>
                </c:pt>
                <c:pt idx="3472">
                  <c:v>0</c:v>
                </c:pt>
                <c:pt idx="3473">
                  <c:v>0</c:v>
                </c:pt>
                <c:pt idx="3474">
                  <c:v>0</c:v>
                </c:pt>
                <c:pt idx="3475">
                  <c:v>0</c:v>
                </c:pt>
                <c:pt idx="3476">
                  <c:v>0</c:v>
                </c:pt>
                <c:pt idx="3477">
                  <c:v>0</c:v>
                </c:pt>
                <c:pt idx="3478">
                  <c:v>0</c:v>
                </c:pt>
                <c:pt idx="3479">
                  <c:v>0</c:v>
                </c:pt>
                <c:pt idx="3480">
                  <c:v>0</c:v>
                </c:pt>
                <c:pt idx="3481">
                  <c:v>0</c:v>
                </c:pt>
                <c:pt idx="3482">
                  <c:v>0</c:v>
                </c:pt>
                <c:pt idx="3483">
                  <c:v>0</c:v>
                </c:pt>
                <c:pt idx="3484">
                  <c:v>0</c:v>
                </c:pt>
                <c:pt idx="3485">
                  <c:v>0</c:v>
                </c:pt>
                <c:pt idx="3486">
                  <c:v>0</c:v>
                </c:pt>
                <c:pt idx="3487">
                  <c:v>0</c:v>
                </c:pt>
                <c:pt idx="3488">
                  <c:v>0</c:v>
                </c:pt>
                <c:pt idx="3489">
                  <c:v>0</c:v>
                </c:pt>
                <c:pt idx="3490">
                  <c:v>0</c:v>
                </c:pt>
                <c:pt idx="3491">
                  <c:v>0</c:v>
                </c:pt>
                <c:pt idx="3492">
                  <c:v>0</c:v>
                </c:pt>
                <c:pt idx="3493">
                  <c:v>0</c:v>
                </c:pt>
                <c:pt idx="3494">
                  <c:v>0</c:v>
                </c:pt>
                <c:pt idx="3495">
                  <c:v>0</c:v>
                </c:pt>
                <c:pt idx="3496">
                  <c:v>0</c:v>
                </c:pt>
                <c:pt idx="3497">
                  <c:v>0</c:v>
                </c:pt>
                <c:pt idx="3498">
                  <c:v>0</c:v>
                </c:pt>
                <c:pt idx="3499">
                  <c:v>0</c:v>
                </c:pt>
                <c:pt idx="3500">
                  <c:v>0</c:v>
                </c:pt>
                <c:pt idx="3501">
                  <c:v>0</c:v>
                </c:pt>
                <c:pt idx="3502">
                  <c:v>0</c:v>
                </c:pt>
                <c:pt idx="3503">
                  <c:v>0</c:v>
                </c:pt>
                <c:pt idx="3504">
                  <c:v>0</c:v>
                </c:pt>
                <c:pt idx="3505">
                  <c:v>0</c:v>
                </c:pt>
                <c:pt idx="3506">
                  <c:v>0</c:v>
                </c:pt>
                <c:pt idx="3507">
                  <c:v>0</c:v>
                </c:pt>
                <c:pt idx="3508">
                  <c:v>0</c:v>
                </c:pt>
                <c:pt idx="3509">
                  <c:v>0</c:v>
                </c:pt>
                <c:pt idx="3510">
                  <c:v>0</c:v>
                </c:pt>
                <c:pt idx="3511">
                  <c:v>0</c:v>
                </c:pt>
                <c:pt idx="3512">
                  <c:v>0</c:v>
                </c:pt>
                <c:pt idx="3513">
                  <c:v>0</c:v>
                </c:pt>
                <c:pt idx="3514">
                  <c:v>0</c:v>
                </c:pt>
                <c:pt idx="3515">
                  <c:v>0</c:v>
                </c:pt>
                <c:pt idx="3516">
                  <c:v>0</c:v>
                </c:pt>
                <c:pt idx="3517">
                  <c:v>0</c:v>
                </c:pt>
                <c:pt idx="3518">
                  <c:v>0</c:v>
                </c:pt>
                <c:pt idx="3519">
                  <c:v>0</c:v>
                </c:pt>
                <c:pt idx="3520">
                  <c:v>0</c:v>
                </c:pt>
                <c:pt idx="3521">
                  <c:v>0</c:v>
                </c:pt>
                <c:pt idx="3522">
                  <c:v>0</c:v>
                </c:pt>
                <c:pt idx="3523">
                  <c:v>0</c:v>
                </c:pt>
                <c:pt idx="3524">
                  <c:v>0</c:v>
                </c:pt>
                <c:pt idx="3525">
                  <c:v>0</c:v>
                </c:pt>
                <c:pt idx="3526">
                  <c:v>0</c:v>
                </c:pt>
                <c:pt idx="3527">
                  <c:v>0</c:v>
                </c:pt>
                <c:pt idx="3528">
                  <c:v>0</c:v>
                </c:pt>
                <c:pt idx="3529">
                  <c:v>0</c:v>
                </c:pt>
                <c:pt idx="3530">
                  <c:v>0</c:v>
                </c:pt>
                <c:pt idx="3531">
                  <c:v>0</c:v>
                </c:pt>
                <c:pt idx="3532">
                  <c:v>0</c:v>
                </c:pt>
                <c:pt idx="3533">
                  <c:v>0</c:v>
                </c:pt>
                <c:pt idx="3534">
                  <c:v>0</c:v>
                </c:pt>
                <c:pt idx="3535">
                  <c:v>0</c:v>
                </c:pt>
                <c:pt idx="3536">
                  <c:v>0</c:v>
                </c:pt>
                <c:pt idx="3537">
                  <c:v>0</c:v>
                </c:pt>
                <c:pt idx="3538">
                  <c:v>0</c:v>
                </c:pt>
                <c:pt idx="3539">
                  <c:v>0</c:v>
                </c:pt>
                <c:pt idx="3540">
                  <c:v>0</c:v>
                </c:pt>
                <c:pt idx="3541">
                  <c:v>0</c:v>
                </c:pt>
                <c:pt idx="3542">
                  <c:v>0</c:v>
                </c:pt>
                <c:pt idx="3543">
                  <c:v>0</c:v>
                </c:pt>
                <c:pt idx="3544">
                  <c:v>0</c:v>
                </c:pt>
                <c:pt idx="3545">
                  <c:v>0</c:v>
                </c:pt>
                <c:pt idx="3546">
                  <c:v>0</c:v>
                </c:pt>
                <c:pt idx="3547">
                  <c:v>0</c:v>
                </c:pt>
                <c:pt idx="3548">
                  <c:v>0</c:v>
                </c:pt>
                <c:pt idx="3549">
                  <c:v>0</c:v>
                </c:pt>
                <c:pt idx="3550">
                  <c:v>0</c:v>
                </c:pt>
                <c:pt idx="3551">
                  <c:v>0</c:v>
                </c:pt>
                <c:pt idx="3552">
                  <c:v>0</c:v>
                </c:pt>
                <c:pt idx="3553">
                  <c:v>0</c:v>
                </c:pt>
                <c:pt idx="3554">
                  <c:v>0</c:v>
                </c:pt>
                <c:pt idx="3555">
                  <c:v>0</c:v>
                </c:pt>
                <c:pt idx="3556">
                  <c:v>0</c:v>
                </c:pt>
                <c:pt idx="3557">
                  <c:v>0</c:v>
                </c:pt>
                <c:pt idx="3558">
                  <c:v>0</c:v>
                </c:pt>
                <c:pt idx="3559">
                  <c:v>0</c:v>
                </c:pt>
                <c:pt idx="3560">
                  <c:v>0</c:v>
                </c:pt>
                <c:pt idx="3561">
                  <c:v>0</c:v>
                </c:pt>
                <c:pt idx="3562">
                  <c:v>0</c:v>
                </c:pt>
                <c:pt idx="3563">
                  <c:v>0</c:v>
                </c:pt>
                <c:pt idx="3564">
                  <c:v>0</c:v>
                </c:pt>
                <c:pt idx="3565">
                  <c:v>0</c:v>
                </c:pt>
                <c:pt idx="3566">
                  <c:v>0</c:v>
                </c:pt>
                <c:pt idx="3567">
                  <c:v>0</c:v>
                </c:pt>
                <c:pt idx="3568">
                  <c:v>0</c:v>
                </c:pt>
                <c:pt idx="3569">
                  <c:v>0</c:v>
                </c:pt>
                <c:pt idx="3570">
                  <c:v>0</c:v>
                </c:pt>
                <c:pt idx="3571">
                  <c:v>0</c:v>
                </c:pt>
                <c:pt idx="3572">
                  <c:v>0</c:v>
                </c:pt>
                <c:pt idx="3573">
                  <c:v>0</c:v>
                </c:pt>
                <c:pt idx="3574">
                  <c:v>0</c:v>
                </c:pt>
                <c:pt idx="3575">
                  <c:v>0</c:v>
                </c:pt>
                <c:pt idx="3576">
                  <c:v>0</c:v>
                </c:pt>
                <c:pt idx="3577">
                  <c:v>0</c:v>
                </c:pt>
                <c:pt idx="3578">
                  <c:v>0</c:v>
                </c:pt>
                <c:pt idx="3579">
                  <c:v>0</c:v>
                </c:pt>
                <c:pt idx="3580">
                  <c:v>0</c:v>
                </c:pt>
                <c:pt idx="3581">
                  <c:v>0</c:v>
                </c:pt>
                <c:pt idx="3582">
                  <c:v>0</c:v>
                </c:pt>
                <c:pt idx="3583">
                  <c:v>0</c:v>
                </c:pt>
                <c:pt idx="3584">
                  <c:v>0</c:v>
                </c:pt>
                <c:pt idx="3585">
                  <c:v>0</c:v>
                </c:pt>
                <c:pt idx="3586">
                  <c:v>0</c:v>
                </c:pt>
                <c:pt idx="3587">
                  <c:v>0</c:v>
                </c:pt>
                <c:pt idx="3588">
                  <c:v>0</c:v>
                </c:pt>
                <c:pt idx="3589">
                  <c:v>0</c:v>
                </c:pt>
                <c:pt idx="3590">
                  <c:v>0</c:v>
                </c:pt>
                <c:pt idx="3591">
                  <c:v>0</c:v>
                </c:pt>
                <c:pt idx="3592">
                  <c:v>0</c:v>
                </c:pt>
                <c:pt idx="3593">
                  <c:v>0</c:v>
                </c:pt>
                <c:pt idx="3594">
                  <c:v>0</c:v>
                </c:pt>
                <c:pt idx="3595">
                  <c:v>0</c:v>
                </c:pt>
                <c:pt idx="3596">
                  <c:v>0</c:v>
                </c:pt>
                <c:pt idx="3597">
                  <c:v>0</c:v>
                </c:pt>
                <c:pt idx="3598">
                  <c:v>0</c:v>
                </c:pt>
                <c:pt idx="3599">
                  <c:v>0</c:v>
                </c:pt>
                <c:pt idx="3600">
                  <c:v>0</c:v>
                </c:pt>
                <c:pt idx="3601">
                  <c:v>0</c:v>
                </c:pt>
                <c:pt idx="3602">
                  <c:v>0</c:v>
                </c:pt>
                <c:pt idx="3603">
                  <c:v>0</c:v>
                </c:pt>
                <c:pt idx="3604">
                  <c:v>0</c:v>
                </c:pt>
                <c:pt idx="3605">
                  <c:v>0</c:v>
                </c:pt>
                <c:pt idx="3606">
                  <c:v>0</c:v>
                </c:pt>
                <c:pt idx="3607">
                  <c:v>0</c:v>
                </c:pt>
                <c:pt idx="3608">
                  <c:v>0</c:v>
                </c:pt>
                <c:pt idx="3609">
                  <c:v>0</c:v>
                </c:pt>
                <c:pt idx="3610">
                  <c:v>0</c:v>
                </c:pt>
                <c:pt idx="3611">
                  <c:v>0</c:v>
                </c:pt>
                <c:pt idx="3612">
                  <c:v>0</c:v>
                </c:pt>
                <c:pt idx="3613">
                  <c:v>0</c:v>
                </c:pt>
                <c:pt idx="3614">
                  <c:v>0</c:v>
                </c:pt>
                <c:pt idx="3615">
                  <c:v>0</c:v>
                </c:pt>
                <c:pt idx="3616">
                  <c:v>0</c:v>
                </c:pt>
                <c:pt idx="3617">
                  <c:v>0</c:v>
                </c:pt>
                <c:pt idx="3618">
                  <c:v>0</c:v>
                </c:pt>
                <c:pt idx="3619">
                  <c:v>0</c:v>
                </c:pt>
                <c:pt idx="3620">
                  <c:v>0</c:v>
                </c:pt>
                <c:pt idx="3621">
                  <c:v>0</c:v>
                </c:pt>
                <c:pt idx="3622">
                  <c:v>0</c:v>
                </c:pt>
                <c:pt idx="3623">
                  <c:v>0</c:v>
                </c:pt>
                <c:pt idx="3624">
                  <c:v>0</c:v>
                </c:pt>
                <c:pt idx="3625">
                  <c:v>0</c:v>
                </c:pt>
                <c:pt idx="3626">
                  <c:v>0</c:v>
                </c:pt>
                <c:pt idx="3627">
                  <c:v>0</c:v>
                </c:pt>
                <c:pt idx="3628">
                  <c:v>0</c:v>
                </c:pt>
                <c:pt idx="3629">
                  <c:v>0</c:v>
                </c:pt>
                <c:pt idx="3630">
                  <c:v>0</c:v>
                </c:pt>
                <c:pt idx="3631">
                  <c:v>0</c:v>
                </c:pt>
                <c:pt idx="3632">
                  <c:v>0</c:v>
                </c:pt>
                <c:pt idx="3633">
                  <c:v>0</c:v>
                </c:pt>
                <c:pt idx="3634">
                  <c:v>0</c:v>
                </c:pt>
                <c:pt idx="3635">
                  <c:v>0</c:v>
                </c:pt>
                <c:pt idx="3636">
                  <c:v>0</c:v>
                </c:pt>
                <c:pt idx="3637">
                  <c:v>0</c:v>
                </c:pt>
                <c:pt idx="3638">
                  <c:v>0</c:v>
                </c:pt>
                <c:pt idx="3639">
                  <c:v>0</c:v>
                </c:pt>
                <c:pt idx="3640">
                  <c:v>0</c:v>
                </c:pt>
                <c:pt idx="3641">
                  <c:v>0</c:v>
                </c:pt>
                <c:pt idx="3642">
                  <c:v>0</c:v>
                </c:pt>
                <c:pt idx="3643">
                  <c:v>0</c:v>
                </c:pt>
                <c:pt idx="3644">
                  <c:v>0</c:v>
                </c:pt>
                <c:pt idx="3645">
                  <c:v>0</c:v>
                </c:pt>
                <c:pt idx="3646">
                  <c:v>0</c:v>
                </c:pt>
                <c:pt idx="3647">
                  <c:v>0</c:v>
                </c:pt>
                <c:pt idx="3648">
                  <c:v>0</c:v>
                </c:pt>
                <c:pt idx="3649">
                  <c:v>0</c:v>
                </c:pt>
                <c:pt idx="3650">
                  <c:v>0</c:v>
                </c:pt>
                <c:pt idx="3651">
                  <c:v>0</c:v>
                </c:pt>
                <c:pt idx="3652">
                  <c:v>0</c:v>
                </c:pt>
                <c:pt idx="3653">
                  <c:v>0</c:v>
                </c:pt>
                <c:pt idx="3654">
                  <c:v>0</c:v>
                </c:pt>
                <c:pt idx="3655">
                  <c:v>0</c:v>
                </c:pt>
                <c:pt idx="3656">
                  <c:v>0</c:v>
                </c:pt>
                <c:pt idx="3657">
                  <c:v>0</c:v>
                </c:pt>
                <c:pt idx="3658">
                  <c:v>0</c:v>
                </c:pt>
                <c:pt idx="3659">
                  <c:v>0</c:v>
                </c:pt>
                <c:pt idx="3660">
                  <c:v>0</c:v>
                </c:pt>
                <c:pt idx="3661">
                  <c:v>0</c:v>
                </c:pt>
                <c:pt idx="3662">
                  <c:v>0</c:v>
                </c:pt>
                <c:pt idx="3663">
                  <c:v>0</c:v>
                </c:pt>
                <c:pt idx="3664">
                  <c:v>0</c:v>
                </c:pt>
                <c:pt idx="3665">
                  <c:v>0</c:v>
                </c:pt>
                <c:pt idx="3666">
                  <c:v>0</c:v>
                </c:pt>
                <c:pt idx="3667">
                  <c:v>0</c:v>
                </c:pt>
                <c:pt idx="3668">
                  <c:v>0</c:v>
                </c:pt>
                <c:pt idx="3669">
                  <c:v>0</c:v>
                </c:pt>
                <c:pt idx="3670">
                  <c:v>0</c:v>
                </c:pt>
                <c:pt idx="3671">
                  <c:v>0</c:v>
                </c:pt>
                <c:pt idx="3672">
                  <c:v>0</c:v>
                </c:pt>
                <c:pt idx="3673">
                  <c:v>0</c:v>
                </c:pt>
                <c:pt idx="3674">
                  <c:v>0</c:v>
                </c:pt>
                <c:pt idx="3675">
                  <c:v>0</c:v>
                </c:pt>
                <c:pt idx="3676">
                  <c:v>0</c:v>
                </c:pt>
                <c:pt idx="3677">
                  <c:v>0</c:v>
                </c:pt>
                <c:pt idx="3678">
                  <c:v>0</c:v>
                </c:pt>
                <c:pt idx="3679">
                  <c:v>0</c:v>
                </c:pt>
                <c:pt idx="3680">
                  <c:v>0</c:v>
                </c:pt>
                <c:pt idx="3681">
                  <c:v>0</c:v>
                </c:pt>
                <c:pt idx="3682">
                  <c:v>0</c:v>
                </c:pt>
                <c:pt idx="3683">
                  <c:v>0</c:v>
                </c:pt>
                <c:pt idx="3684">
                  <c:v>0</c:v>
                </c:pt>
                <c:pt idx="3685">
                  <c:v>0</c:v>
                </c:pt>
                <c:pt idx="3686">
                  <c:v>0</c:v>
                </c:pt>
                <c:pt idx="3687">
                  <c:v>0</c:v>
                </c:pt>
                <c:pt idx="3688">
                  <c:v>0</c:v>
                </c:pt>
                <c:pt idx="3689">
                  <c:v>0</c:v>
                </c:pt>
                <c:pt idx="3690">
                  <c:v>0</c:v>
                </c:pt>
                <c:pt idx="3691">
                  <c:v>0</c:v>
                </c:pt>
                <c:pt idx="3692">
                  <c:v>0</c:v>
                </c:pt>
                <c:pt idx="3693">
                  <c:v>0</c:v>
                </c:pt>
                <c:pt idx="3694">
                  <c:v>0</c:v>
                </c:pt>
                <c:pt idx="3695">
                  <c:v>0</c:v>
                </c:pt>
                <c:pt idx="3696">
                  <c:v>0</c:v>
                </c:pt>
                <c:pt idx="3697">
                  <c:v>0</c:v>
                </c:pt>
                <c:pt idx="3698">
                  <c:v>0</c:v>
                </c:pt>
                <c:pt idx="3699">
                  <c:v>0</c:v>
                </c:pt>
                <c:pt idx="3700">
                  <c:v>0</c:v>
                </c:pt>
                <c:pt idx="3701">
                  <c:v>0</c:v>
                </c:pt>
                <c:pt idx="3702">
                  <c:v>0</c:v>
                </c:pt>
                <c:pt idx="3703">
                  <c:v>0</c:v>
                </c:pt>
                <c:pt idx="3704">
                  <c:v>0</c:v>
                </c:pt>
                <c:pt idx="3705">
                  <c:v>0</c:v>
                </c:pt>
                <c:pt idx="3706">
                  <c:v>0</c:v>
                </c:pt>
                <c:pt idx="3707">
                  <c:v>0</c:v>
                </c:pt>
                <c:pt idx="3708">
                  <c:v>0</c:v>
                </c:pt>
                <c:pt idx="3709">
                  <c:v>0</c:v>
                </c:pt>
                <c:pt idx="3710">
                  <c:v>0</c:v>
                </c:pt>
                <c:pt idx="3711">
                  <c:v>0</c:v>
                </c:pt>
                <c:pt idx="3712">
                  <c:v>0</c:v>
                </c:pt>
                <c:pt idx="3713">
                  <c:v>0</c:v>
                </c:pt>
                <c:pt idx="3714">
                  <c:v>0</c:v>
                </c:pt>
                <c:pt idx="3715">
                  <c:v>0</c:v>
                </c:pt>
                <c:pt idx="3716">
                  <c:v>0</c:v>
                </c:pt>
                <c:pt idx="3717">
                  <c:v>0</c:v>
                </c:pt>
                <c:pt idx="3718">
                  <c:v>0</c:v>
                </c:pt>
                <c:pt idx="3719">
                  <c:v>0</c:v>
                </c:pt>
                <c:pt idx="3720">
                  <c:v>0</c:v>
                </c:pt>
                <c:pt idx="3721">
                  <c:v>0</c:v>
                </c:pt>
                <c:pt idx="3722">
                  <c:v>0</c:v>
                </c:pt>
                <c:pt idx="3723">
                  <c:v>0</c:v>
                </c:pt>
                <c:pt idx="3724">
                  <c:v>0</c:v>
                </c:pt>
                <c:pt idx="3725">
                  <c:v>0</c:v>
                </c:pt>
                <c:pt idx="3726">
                  <c:v>0</c:v>
                </c:pt>
                <c:pt idx="3727">
                  <c:v>0</c:v>
                </c:pt>
                <c:pt idx="3728">
                  <c:v>0</c:v>
                </c:pt>
                <c:pt idx="3729">
                  <c:v>0</c:v>
                </c:pt>
                <c:pt idx="3730">
                  <c:v>0</c:v>
                </c:pt>
                <c:pt idx="3731">
                  <c:v>0</c:v>
                </c:pt>
                <c:pt idx="3732">
                  <c:v>0</c:v>
                </c:pt>
                <c:pt idx="3733">
                  <c:v>0</c:v>
                </c:pt>
                <c:pt idx="3734">
                  <c:v>0</c:v>
                </c:pt>
                <c:pt idx="3735">
                  <c:v>0</c:v>
                </c:pt>
                <c:pt idx="3736">
                  <c:v>0</c:v>
                </c:pt>
                <c:pt idx="3737">
                  <c:v>0</c:v>
                </c:pt>
                <c:pt idx="3738">
                  <c:v>0</c:v>
                </c:pt>
                <c:pt idx="3739">
                  <c:v>0</c:v>
                </c:pt>
                <c:pt idx="3740">
                  <c:v>0</c:v>
                </c:pt>
                <c:pt idx="3741">
                  <c:v>0</c:v>
                </c:pt>
                <c:pt idx="3742">
                  <c:v>0</c:v>
                </c:pt>
                <c:pt idx="3743">
                  <c:v>0</c:v>
                </c:pt>
                <c:pt idx="3744">
                  <c:v>0</c:v>
                </c:pt>
                <c:pt idx="3745">
                  <c:v>0</c:v>
                </c:pt>
                <c:pt idx="3746">
                  <c:v>0</c:v>
                </c:pt>
                <c:pt idx="3747">
                  <c:v>0</c:v>
                </c:pt>
                <c:pt idx="3748">
                  <c:v>0</c:v>
                </c:pt>
                <c:pt idx="3749">
                  <c:v>0</c:v>
                </c:pt>
                <c:pt idx="3750">
                  <c:v>0</c:v>
                </c:pt>
                <c:pt idx="3751">
                  <c:v>0</c:v>
                </c:pt>
                <c:pt idx="3752">
                  <c:v>0</c:v>
                </c:pt>
                <c:pt idx="3753">
                  <c:v>0</c:v>
                </c:pt>
                <c:pt idx="3754">
                  <c:v>0</c:v>
                </c:pt>
                <c:pt idx="3755">
                  <c:v>0</c:v>
                </c:pt>
                <c:pt idx="3756">
                  <c:v>0</c:v>
                </c:pt>
                <c:pt idx="3757">
                  <c:v>0</c:v>
                </c:pt>
                <c:pt idx="3758">
                  <c:v>0</c:v>
                </c:pt>
                <c:pt idx="3759">
                  <c:v>0</c:v>
                </c:pt>
                <c:pt idx="3760">
                  <c:v>0</c:v>
                </c:pt>
                <c:pt idx="3761">
                  <c:v>0</c:v>
                </c:pt>
                <c:pt idx="3762">
                  <c:v>0</c:v>
                </c:pt>
                <c:pt idx="3763">
                  <c:v>0</c:v>
                </c:pt>
                <c:pt idx="3764">
                  <c:v>0</c:v>
                </c:pt>
                <c:pt idx="3765">
                  <c:v>0</c:v>
                </c:pt>
                <c:pt idx="3766">
                  <c:v>0</c:v>
                </c:pt>
                <c:pt idx="3767">
                  <c:v>0</c:v>
                </c:pt>
                <c:pt idx="3768">
                  <c:v>0</c:v>
                </c:pt>
                <c:pt idx="3769">
                  <c:v>0</c:v>
                </c:pt>
                <c:pt idx="3770">
                  <c:v>0</c:v>
                </c:pt>
                <c:pt idx="3771">
                  <c:v>0</c:v>
                </c:pt>
                <c:pt idx="3772">
                  <c:v>0</c:v>
                </c:pt>
                <c:pt idx="3773">
                  <c:v>0</c:v>
                </c:pt>
                <c:pt idx="3774">
                  <c:v>0</c:v>
                </c:pt>
                <c:pt idx="3775">
                  <c:v>0</c:v>
                </c:pt>
                <c:pt idx="3776">
                  <c:v>0</c:v>
                </c:pt>
                <c:pt idx="3777">
                  <c:v>0</c:v>
                </c:pt>
                <c:pt idx="3778">
                  <c:v>0</c:v>
                </c:pt>
                <c:pt idx="3779">
                  <c:v>0</c:v>
                </c:pt>
                <c:pt idx="3780">
                  <c:v>0</c:v>
                </c:pt>
                <c:pt idx="3781">
                  <c:v>0</c:v>
                </c:pt>
                <c:pt idx="3782">
                  <c:v>0</c:v>
                </c:pt>
                <c:pt idx="3783">
                  <c:v>0</c:v>
                </c:pt>
                <c:pt idx="3784">
                  <c:v>0</c:v>
                </c:pt>
                <c:pt idx="3785">
                  <c:v>0</c:v>
                </c:pt>
                <c:pt idx="3786">
                  <c:v>0</c:v>
                </c:pt>
                <c:pt idx="3787">
                  <c:v>0</c:v>
                </c:pt>
                <c:pt idx="3788">
                  <c:v>0</c:v>
                </c:pt>
                <c:pt idx="3789">
                  <c:v>0</c:v>
                </c:pt>
                <c:pt idx="3790">
                  <c:v>0</c:v>
                </c:pt>
                <c:pt idx="3791">
                  <c:v>0</c:v>
                </c:pt>
                <c:pt idx="3792">
                  <c:v>0</c:v>
                </c:pt>
                <c:pt idx="3793">
                  <c:v>0</c:v>
                </c:pt>
                <c:pt idx="3794">
                  <c:v>0</c:v>
                </c:pt>
                <c:pt idx="3795">
                  <c:v>0</c:v>
                </c:pt>
                <c:pt idx="3796">
                  <c:v>0</c:v>
                </c:pt>
                <c:pt idx="3797">
                  <c:v>0</c:v>
                </c:pt>
                <c:pt idx="3798">
                  <c:v>0</c:v>
                </c:pt>
                <c:pt idx="3799">
                  <c:v>0</c:v>
                </c:pt>
                <c:pt idx="3800">
                  <c:v>0</c:v>
                </c:pt>
                <c:pt idx="3801">
                  <c:v>0</c:v>
                </c:pt>
                <c:pt idx="3802">
                  <c:v>0</c:v>
                </c:pt>
                <c:pt idx="3803">
                  <c:v>0</c:v>
                </c:pt>
                <c:pt idx="3804">
                  <c:v>0</c:v>
                </c:pt>
                <c:pt idx="3805">
                  <c:v>0</c:v>
                </c:pt>
                <c:pt idx="3806">
                  <c:v>0</c:v>
                </c:pt>
                <c:pt idx="3807">
                  <c:v>0</c:v>
                </c:pt>
                <c:pt idx="3808">
                  <c:v>0</c:v>
                </c:pt>
                <c:pt idx="3809">
                  <c:v>0</c:v>
                </c:pt>
                <c:pt idx="3810">
                  <c:v>0</c:v>
                </c:pt>
                <c:pt idx="3811">
                  <c:v>0</c:v>
                </c:pt>
                <c:pt idx="3812">
                  <c:v>0</c:v>
                </c:pt>
                <c:pt idx="3813">
                  <c:v>0</c:v>
                </c:pt>
                <c:pt idx="3814">
                  <c:v>0</c:v>
                </c:pt>
                <c:pt idx="3815">
                  <c:v>0</c:v>
                </c:pt>
                <c:pt idx="3816">
                  <c:v>0</c:v>
                </c:pt>
                <c:pt idx="3817">
                  <c:v>0</c:v>
                </c:pt>
                <c:pt idx="3818">
                  <c:v>0</c:v>
                </c:pt>
                <c:pt idx="3819">
                  <c:v>0</c:v>
                </c:pt>
                <c:pt idx="3820">
                  <c:v>0</c:v>
                </c:pt>
                <c:pt idx="3821">
                  <c:v>0</c:v>
                </c:pt>
                <c:pt idx="3822">
                  <c:v>0</c:v>
                </c:pt>
                <c:pt idx="3823">
                  <c:v>0</c:v>
                </c:pt>
                <c:pt idx="3824">
                  <c:v>0</c:v>
                </c:pt>
                <c:pt idx="3825">
                  <c:v>0</c:v>
                </c:pt>
                <c:pt idx="3826">
                  <c:v>0</c:v>
                </c:pt>
                <c:pt idx="3827">
                  <c:v>0</c:v>
                </c:pt>
                <c:pt idx="3828">
                  <c:v>0</c:v>
                </c:pt>
                <c:pt idx="3829">
                  <c:v>0</c:v>
                </c:pt>
                <c:pt idx="3830">
                  <c:v>0</c:v>
                </c:pt>
                <c:pt idx="3831">
                  <c:v>0</c:v>
                </c:pt>
                <c:pt idx="3832">
                  <c:v>0</c:v>
                </c:pt>
                <c:pt idx="3833">
                  <c:v>0</c:v>
                </c:pt>
                <c:pt idx="3834">
                  <c:v>0</c:v>
                </c:pt>
                <c:pt idx="3835">
                  <c:v>0</c:v>
                </c:pt>
                <c:pt idx="3836">
                  <c:v>0</c:v>
                </c:pt>
                <c:pt idx="3837">
                  <c:v>0</c:v>
                </c:pt>
                <c:pt idx="3838">
                  <c:v>0</c:v>
                </c:pt>
                <c:pt idx="3839">
                  <c:v>0</c:v>
                </c:pt>
                <c:pt idx="3840">
                  <c:v>0</c:v>
                </c:pt>
                <c:pt idx="3841">
                  <c:v>0</c:v>
                </c:pt>
                <c:pt idx="3842">
                  <c:v>0</c:v>
                </c:pt>
                <c:pt idx="3843">
                  <c:v>0</c:v>
                </c:pt>
                <c:pt idx="3844">
                  <c:v>0</c:v>
                </c:pt>
                <c:pt idx="3845">
                  <c:v>0</c:v>
                </c:pt>
                <c:pt idx="3846">
                  <c:v>0</c:v>
                </c:pt>
                <c:pt idx="3847">
                  <c:v>0</c:v>
                </c:pt>
                <c:pt idx="3848">
                  <c:v>0</c:v>
                </c:pt>
                <c:pt idx="3849">
                  <c:v>0</c:v>
                </c:pt>
                <c:pt idx="3850">
                  <c:v>0</c:v>
                </c:pt>
                <c:pt idx="3851">
                  <c:v>0</c:v>
                </c:pt>
                <c:pt idx="3852">
                  <c:v>0</c:v>
                </c:pt>
                <c:pt idx="3853">
                  <c:v>0</c:v>
                </c:pt>
                <c:pt idx="3854">
                  <c:v>0</c:v>
                </c:pt>
                <c:pt idx="3855">
                  <c:v>0</c:v>
                </c:pt>
                <c:pt idx="3856">
                  <c:v>0</c:v>
                </c:pt>
                <c:pt idx="3857">
                  <c:v>0</c:v>
                </c:pt>
                <c:pt idx="3858">
                  <c:v>0</c:v>
                </c:pt>
                <c:pt idx="3859">
                  <c:v>0</c:v>
                </c:pt>
                <c:pt idx="3860">
                  <c:v>0</c:v>
                </c:pt>
                <c:pt idx="3861">
                  <c:v>0</c:v>
                </c:pt>
                <c:pt idx="3862">
                  <c:v>0</c:v>
                </c:pt>
                <c:pt idx="3863">
                  <c:v>0</c:v>
                </c:pt>
                <c:pt idx="3864">
                  <c:v>0</c:v>
                </c:pt>
                <c:pt idx="3865">
                  <c:v>0</c:v>
                </c:pt>
                <c:pt idx="3866">
                  <c:v>0</c:v>
                </c:pt>
                <c:pt idx="3867">
                  <c:v>0</c:v>
                </c:pt>
                <c:pt idx="3868">
                  <c:v>0</c:v>
                </c:pt>
                <c:pt idx="3869">
                  <c:v>0</c:v>
                </c:pt>
                <c:pt idx="3870">
                  <c:v>0</c:v>
                </c:pt>
                <c:pt idx="3871">
                  <c:v>0</c:v>
                </c:pt>
                <c:pt idx="3872">
                  <c:v>0</c:v>
                </c:pt>
                <c:pt idx="3873">
                  <c:v>0</c:v>
                </c:pt>
                <c:pt idx="3874">
                  <c:v>0</c:v>
                </c:pt>
                <c:pt idx="3875">
                  <c:v>0</c:v>
                </c:pt>
                <c:pt idx="3876">
                  <c:v>0</c:v>
                </c:pt>
                <c:pt idx="3877">
                  <c:v>0</c:v>
                </c:pt>
                <c:pt idx="3878">
                  <c:v>0</c:v>
                </c:pt>
                <c:pt idx="3879">
                  <c:v>0</c:v>
                </c:pt>
                <c:pt idx="3880">
                  <c:v>0</c:v>
                </c:pt>
                <c:pt idx="3881">
                  <c:v>0</c:v>
                </c:pt>
                <c:pt idx="3882">
                  <c:v>0</c:v>
                </c:pt>
                <c:pt idx="3883">
                  <c:v>0</c:v>
                </c:pt>
                <c:pt idx="3884">
                  <c:v>0</c:v>
                </c:pt>
                <c:pt idx="3885">
                  <c:v>0</c:v>
                </c:pt>
                <c:pt idx="3886">
                  <c:v>0</c:v>
                </c:pt>
                <c:pt idx="3887">
                  <c:v>0</c:v>
                </c:pt>
                <c:pt idx="3888">
                  <c:v>0</c:v>
                </c:pt>
                <c:pt idx="3889">
                  <c:v>0</c:v>
                </c:pt>
                <c:pt idx="3890">
                  <c:v>0</c:v>
                </c:pt>
                <c:pt idx="3891">
                  <c:v>0</c:v>
                </c:pt>
                <c:pt idx="3892">
                  <c:v>0</c:v>
                </c:pt>
                <c:pt idx="3893">
                  <c:v>0</c:v>
                </c:pt>
                <c:pt idx="3894">
                  <c:v>0</c:v>
                </c:pt>
                <c:pt idx="3895">
                  <c:v>0</c:v>
                </c:pt>
                <c:pt idx="3896">
                  <c:v>0</c:v>
                </c:pt>
                <c:pt idx="3897">
                  <c:v>0</c:v>
                </c:pt>
                <c:pt idx="3898">
                  <c:v>0</c:v>
                </c:pt>
                <c:pt idx="3899">
                  <c:v>0</c:v>
                </c:pt>
                <c:pt idx="3900">
                  <c:v>0</c:v>
                </c:pt>
                <c:pt idx="3901">
                  <c:v>0</c:v>
                </c:pt>
                <c:pt idx="3902">
                  <c:v>0</c:v>
                </c:pt>
                <c:pt idx="3903">
                  <c:v>0</c:v>
                </c:pt>
                <c:pt idx="3904">
                  <c:v>0</c:v>
                </c:pt>
                <c:pt idx="3905">
                  <c:v>0</c:v>
                </c:pt>
                <c:pt idx="3906">
                  <c:v>0</c:v>
                </c:pt>
                <c:pt idx="3907">
                  <c:v>0</c:v>
                </c:pt>
                <c:pt idx="3908">
                  <c:v>0</c:v>
                </c:pt>
                <c:pt idx="3909">
                  <c:v>0</c:v>
                </c:pt>
                <c:pt idx="3910">
                  <c:v>0</c:v>
                </c:pt>
                <c:pt idx="3911">
                  <c:v>0</c:v>
                </c:pt>
                <c:pt idx="3912">
                  <c:v>0</c:v>
                </c:pt>
                <c:pt idx="3913">
                  <c:v>0</c:v>
                </c:pt>
                <c:pt idx="3914">
                  <c:v>0</c:v>
                </c:pt>
                <c:pt idx="3915">
                  <c:v>0</c:v>
                </c:pt>
                <c:pt idx="3916">
                  <c:v>0</c:v>
                </c:pt>
                <c:pt idx="3917">
                  <c:v>0</c:v>
                </c:pt>
                <c:pt idx="3918">
                  <c:v>0</c:v>
                </c:pt>
                <c:pt idx="3919">
                  <c:v>0</c:v>
                </c:pt>
                <c:pt idx="3920">
                  <c:v>0</c:v>
                </c:pt>
                <c:pt idx="3921">
                  <c:v>0</c:v>
                </c:pt>
                <c:pt idx="3922">
                  <c:v>0</c:v>
                </c:pt>
                <c:pt idx="3923">
                  <c:v>0</c:v>
                </c:pt>
                <c:pt idx="3924">
                  <c:v>0</c:v>
                </c:pt>
                <c:pt idx="3925">
                  <c:v>0</c:v>
                </c:pt>
                <c:pt idx="3926">
                  <c:v>0</c:v>
                </c:pt>
                <c:pt idx="3927">
                  <c:v>0</c:v>
                </c:pt>
                <c:pt idx="3928">
                  <c:v>0</c:v>
                </c:pt>
                <c:pt idx="3929">
                  <c:v>0</c:v>
                </c:pt>
                <c:pt idx="3930">
                  <c:v>0</c:v>
                </c:pt>
                <c:pt idx="3931">
                  <c:v>0</c:v>
                </c:pt>
                <c:pt idx="3932">
                  <c:v>0</c:v>
                </c:pt>
                <c:pt idx="3933">
                  <c:v>0</c:v>
                </c:pt>
                <c:pt idx="3934">
                  <c:v>0</c:v>
                </c:pt>
                <c:pt idx="3935">
                  <c:v>0</c:v>
                </c:pt>
                <c:pt idx="3936">
                  <c:v>0</c:v>
                </c:pt>
                <c:pt idx="3937">
                  <c:v>0</c:v>
                </c:pt>
                <c:pt idx="3938">
                  <c:v>0</c:v>
                </c:pt>
                <c:pt idx="3939">
                  <c:v>0</c:v>
                </c:pt>
                <c:pt idx="3940">
                  <c:v>0</c:v>
                </c:pt>
                <c:pt idx="3941">
                  <c:v>0</c:v>
                </c:pt>
                <c:pt idx="3942">
                  <c:v>0</c:v>
                </c:pt>
                <c:pt idx="3943">
                  <c:v>0</c:v>
                </c:pt>
                <c:pt idx="3944">
                  <c:v>0</c:v>
                </c:pt>
                <c:pt idx="3945">
                  <c:v>0</c:v>
                </c:pt>
                <c:pt idx="3946">
                  <c:v>0</c:v>
                </c:pt>
                <c:pt idx="3947">
                  <c:v>0</c:v>
                </c:pt>
                <c:pt idx="3948">
                  <c:v>0</c:v>
                </c:pt>
                <c:pt idx="3949">
                  <c:v>0</c:v>
                </c:pt>
                <c:pt idx="3950">
                  <c:v>0</c:v>
                </c:pt>
                <c:pt idx="3951">
                  <c:v>0</c:v>
                </c:pt>
                <c:pt idx="3952">
                  <c:v>0</c:v>
                </c:pt>
                <c:pt idx="3953">
                  <c:v>0</c:v>
                </c:pt>
                <c:pt idx="3954">
                  <c:v>0</c:v>
                </c:pt>
                <c:pt idx="3955">
                  <c:v>0</c:v>
                </c:pt>
                <c:pt idx="3956">
                  <c:v>0</c:v>
                </c:pt>
                <c:pt idx="3957">
                  <c:v>0</c:v>
                </c:pt>
                <c:pt idx="3958">
                  <c:v>0</c:v>
                </c:pt>
                <c:pt idx="3959">
                  <c:v>0</c:v>
                </c:pt>
                <c:pt idx="3960">
                  <c:v>0</c:v>
                </c:pt>
                <c:pt idx="3961">
                  <c:v>0</c:v>
                </c:pt>
                <c:pt idx="3962">
                  <c:v>0</c:v>
                </c:pt>
                <c:pt idx="3963">
                  <c:v>0</c:v>
                </c:pt>
                <c:pt idx="3964">
                  <c:v>0</c:v>
                </c:pt>
                <c:pt idx="3965">
                  <c:v>0</c:v>
                </c:pt>
                <c:pt idx="3966">
                  <c:v>0</c:v>
                </c:pt>
                <c:pt idx="3967">
                  <c:v>0</c:v>
                </c:pt>
                <c:pt idx="3968">
                  <c:v>0</c:v>
                </c:pt>
                <c:pt idx="3969">
                  <c:v>0</c:v>
                </c:pt>
                <c:pt idx="3970">
                  <c:v>0</c:v>
                </c:pt>
                <c:pt idx="3971">
                  <c:v>0</c:v>
                </c:pt>
                <c:pt idx="3972">
                  <c:v>0</c:v>
                </c:pt>
                <c:pt idx="3973">
                  <c:v>0</c:v>
                </c:pt>
                <c:pt idx="3974">
                  <c:v>0</c:v>
                </c:pt>
                <c:pt idx="3975">
                  <c:v>0</c:v>
                </c:pt>
                <c:pt idx="3976">
                  <c:v>0</c:v>
                </c:pt>
                <c:pt idx="3977">
                  <c:v>0</c:v>
                </c:pt>
                <c:pt idx="3978">
                  <c:v>0</c:v>
                </c:pt>
                <c:pt idx="3979">
                  <c:v>0</c:v>
                </c:pt>
                <c:pt idx="3980">
                  <c:v>0</c:v>
                </c:pt>
                <c:pt idx="3981">
                  <c:v>0</c:v>
                </c:pt>
                <c:pt idx="3982">
                  <c:v>0</c:v>
                </c:pt>
                <c:pt idx="3983">
                  <c:v>0</c:v>
                </c:pt>
                <c:pt idx="3984">
                  <c:v>0</c:v>
                </c:pt>
                <c:pt idx="3985">
                  <c:v>0</c:v>
                </c:pt>
                <c:pt idx="3986">
                  <c:v>0</c:v>
                </c:pt>
                <c:pt idx="3987">
                  <c:v>0</c:v>
                </c:pt>
                <c:pt idx="3988">
                  <c:v>0</c:v>
                </c:pt>
                <c:pt idx="3989">
                  <c:v>0</c:v>
                </c:pt>
                <c:pt idx="3990">
                  <c:v>0</c:v>
                </c:pt>
                <c:pt idx="3991">
                  <c:v>0</c:v>
                </c:pt>
                <c:pt idx="3992">
                  <c:v>0</c:v>
                </c:pt>
                <c:pt idx="3993">
                  <c:v>0</c:v>
                </c:pt>
                <c:pt idx="3994">
                  <c:v>0</c:v>
                </c:pt>
                <c:pt idx="3995">
                  <c:v>0</c:v>
                </c:pt>
                <c:pt idx="3996">
                  <c:v>0</c:v>
                </c:pt>
                <c:pt idx="3997">
                  <c:v>0</c:v>
                </c:pt>
                <c:pt idx="3998">
                  <c:v>0</c:v>
                </c:pt>
                <c:pt idx="3999">
                  <c:v>0</c:v>
                </c:pt>
                <c:pt idx="4000">
                  <c:v>0</c:v>
                </c:pt>
                <c:pt idx="4001">
                  <c:v>0</c:v>
                </c:pt>
                <c:pt idx="4002">
                  <c:v>0</c:v>
                </c:pt>
                <c:pt idx="4003">
                  <c:v>0</c:v>
                </c:pt>
                <c:pt idx="4004">
                  <c:v>0</c:v>
                </c:pt>
                <c:pt idx="4005">
                  <c:v>0</c:v>
                </c:pt>
                <c:pt idx="4006">
                  <c:v>0</c:v>
                </c:pt>
                <c:pt idx="4007">
                  <c:v>0</c:v>
                </c:pt>
                <c:pt idx="4008">
                  <c:v>0</c:v>
                </c:pt>
                <c:pt idx="4009">
                  <c:v>0</c:v>
                </c:pt>
                <c:pt idx="4010">
                  <c:v>0</c:v>
                </c:pt>
                <c:pt idx="4011">
                  <c:v>0</c:v>
                </c:pt>
                <c:pt idx="4012">
                  <c:v>0</c:v>
                </c:pt>
                <c:pt idx="4013">
                  <c:v>0</c:v>
                </c:pt>
                <c:pt idx="4014">
                  <c:v>0</c:v>
                </c:pt>
                <c:pt idx="4015">
                  <c:v>0</c:v>
                </c:pt>
                <c:pt idx="4016">
                  <c:v>0</c:v>
                </c:pt>
                <c:pt idx="4017">
                  <c:v>0</c:v>
                </c:pt>
                <c:pt idx="4018">
                  <c:v>0</c:v>
                </c:pt>
                <c:pt idx="4019">
                  <c:v>0</c:v>
                </c:pt>
                <c:pt idx="4020">
                  <c:v>0</c:v>
                </c:pt>
                <c:pt idx="4021">
                  <c:v>0</c:v>
                </c:pt>
                <c:pt idx="4022">
                  <c:v>0</c:v>
                </c:pt>
                <c:pt idx="4023">
                  <c:v>0</c:v>
                </c:pt>
                <c:pt idx="4024">
                  <c:v>0</c:v>
                </c:pt>
                <c:pt idx="4025">
                  <c:v>0</c:v>
                </c:pt>
                <c:pt idx="4026">
                  <c:v>0</c:v>
                </c:pt>
                <c:pt idx="4027">
                  <c:v>0</c:v>
                </c:pt>
                <c:pt idx="4028">
                  <c:v>0</c:v>
                </c:pt>
                <c:pt idx="4029">
                  <c:v>0</c:v>
                </c:pt>
                <c:pt idx="4030">
                  <c:v>0</c:v>
                </c:pt>
                <c:pt idx="4031">
                  <c:v>0</c:v>
                </c:pt>
                <c:pt idx="4032">
                  <c:v>0</c:v>
                </c:pt>
                <c:pt idx="4033">
                  <c:v>0</c:v>
                </c:pt>
                <c:pt idx="4034">
                  <c:v>0</c:v>
                </c:pt>
                <c:pt idx="4035">
                  <c:v>0</c:v>
                </c:pt>
                <c:pt idx="4036">
                  <c:v>0</c:v>
                </c:pt>
                <c:pt idx="4037">
                  <c:v>0</c:v>
                </c:pt>
                <c:pt idx="4038">
                  <c:v>0</c:v>
                </c:pt>
                <c:pt idx="4039">
                  <c:v>0</c:v>
                </c:pt>
                <c:pt idx="4040">
                  <c:v>0</c:v>
                </c:pt>
                <c:pt idx="4041">
                  <c:v>0</c:v>
                </c:pt>
                <c:pt idx="4042">
                  <c:v>0</c:v>
                </c:pt>
                <c:pt idx="4043">
                  <c:v>0</c:v>
                </c:pt>
                <c:pt idx="4044">
                  <c:v>0</c:v>
                </c:pt>
                <c:pt idx="4045">
                  <c:v>0</c:v>
                </c:pt>
                <c:pt idx="4046">
                  <c:v>0</c:v>
                </c:pt>
                <c:pt idx="4047">
                  <c:v>0</c:v>
                </c:pt>
                <c:pt idx="4048">
                  <c:v>0</c:v>
                </c:pt>
                <c:pt idx="4049">
                  <c:v>0</c:v>
                </c:pt>
                <c:pt idx="4050">
                  <c:v>0</c:v>
                </c:pt>
                <c:pt idx="4051">
                  <c:v>0</c:v>
                </c:pt>
                <c:pt idx="4052">
                  <c:v>0</c:v>
                </c:pt>
                <c:pt idx="4053">
                  <c:v>0</c:v>
                </c:pt>
                <c:pt idx="4054">
                  <c:v>0</c:v>
                </c:pt>
                <c:pt idx="4055">
                  <c:v>0</c:v>
                </c:pt>
                <c:pt idx="4056">
                  <c:v>0</c:v>
                </c:pt>
                <c:pt idx="4057">
                  <c:v>0</c:v>
                </c:pt>
                <c:pt idx="4058">
                  <c:v>0</c:v>
                </c:pt>
                <c:pt idx="4059">
                  <c:v>0</c:v>
                </c:pt>
                <c:pt idx="4060">
                  <c:v>0</c:v>
                </c:pt>
                <c:pt idx="4061">
                  <c:v>0</c:v>
                </c:pt>
                <c:pt idx="4062">
                  <c:v>0</c:v>
                </c:pt>
                <c:pt idx="4063">
                  <c:v>0</c:v>
                </c:pt>
                <c:pt idx="4064">
                  <c:v>0</c:v>
                </c:pt>
                <c:pt idx="4065">
                  <c:v>0</c:v>
                </c:pt>
                <c:pt idx="4066">
                  <c:v>0</c:v>
                </c:pt>
                <c:pt idx="4067">
                  <c:v>0</c:v>
                </c:pt>
                <c:pt idx="4068">
                  <c:v>0</c:v>
                </c:pt>
                <c:pt idx="4069">
                  <c:v>0</c:v>
                </c:pt>
                <c:pt idx="4070">
                  <c:v>0</c:v>
                </c:pt>
                <c:pt idx="4071">
                  <c:v>0</c:v>
                </c:pt>
                <c:pt idx="4072">
                  <c:v>0</c:v>
                </c:pt>
                <c:pt idx="4073">
                  <c:v>0</c:v>
                </c:pt>
                <c:pt idx="4074">
                  <c:v>0</c:v>
                </c:pt>
                <c:pt idx="4075">
                  <c:v>0</c:v>
                </c:pt>
                <c:pt idx="4076">
                  <c:v>0</c:v>
                </c:pt>
                <c:pt idx="4077">
                  <c:v>0</c:v>
                </c:pt>
                <c:pt idx="4078">
                  <c:v>0</c:v>
                </c:pt>
                <c:pt idx="4079">
                  <c:v>0</c:v>
                </c:pt>
                <c:pt idx="4080">
                  <c:v>0</c:v>
                </c:pt>
                <c:pt idx="4081">
                  <c:v>0</c:v>
                </c:pt>
                <c:pt idx="4082">
                  <c:v>0</c:v>
                </c:pt>
                <c:pt idx="4083">
                  <c:v>0</c:v>
                </c:pt>
                <c:pt idx="4084">
                  <c:v>0</c:v>
                </c:pt>
                <c:pt idx="4085">
                  <c:v>0</c:v>
                </c:pt>
                <c:pt idx="4086">
                  <c:v>0</c:v>
                </c:pt>
                <c:pt idx="4087">
                  <c:v>0</c:v>
                </c:pt>
                <c:pt idx="4088">
                  <c:v>0</c:v>
                </c:pt>
                <c:pt idx="4089">
                  <c:v>0</c:v>
                </c:pt>
                <c:pt idx="4090">
                  <c:v>0</c:v>
                </c:pt>
                <c:pt idx="4091">
                  <c:v>0</c:v>
                </c:pt>
                <c:pt idx="4092">
                  <c:v>0</c:v>
                </c:pt>
                <c:pt idx="4093">
                  <c:v>0</c:v>
                </c:pt>
                <c:pt idx="4094">
                  <c:v>0</c:v>
                </c:pt>
                <c:pt idx="4095">
                  <c:v>0</c:v>
                </c:pt>
                <c:pt idx="4096">
                  <c:v>0</c:v>
                </c:pt>
                <c:pt idx="4097">
                  <c:v>0</c:v>
                </c:pt>
                <c:pt idx="4098">
                  <c:v>0</c:v>
                </c:pt>
                <c:pt idx="4099">
                  <c:v>0</c:v>
                </c:pt>
                <c:pt idx="4100">
                  <c:v>0</c:v>
                </c:pt>
                <c:pt idx="4101">
                  <c:v>0</c:v>
                </c:pt>
                <c:pt idx="4102">
                  <c:v>0</c:v>
                </c:pt>
                <c:pt idx="4103">
                  <c:v>0</c:v>
                </c:pt>
                <c:pt idx="4104">
                  <c:v>0</c:v>
                </c:pt>
                <c:pt idx="4105">
                  <c:v>0</c:v>
                </c:pt>
                <c:pt idx="4106">
                  <c:v>0</c:v>
                </c:pt>
                <c:pt idx="4107">
                  <c:v>0</c:v>
                </c:pt>
                <c:pt idx="4108">
                  <c:v>0</c:v>
                </c:pt>
                <c:pt idx="4109">
                  <c:v>0</c:v>
                </c:pt>
                <c:pt idx="4110">
                  <c:v>0</c:v>
                </c:pt>
                <c:pt idx="4111">
                  <c:v>0</c:v>
                </c:pt>
                <c:pt idx="4112">
                  <c:v>0</c:v>
                </c:pt>
                <c:pt idx="4113">
                  <c:v>0</c:v>
                </c:pt>
                <c:pt idx="4114">
                  <c:v>0</c:v>
                </c:pt>
                <c:pt idx="4115">
                  <c:v>0</c:v>
                </c:pt>
                <c:pt idx="4116">
                  <c:v>0</c:v>
                </c:pt>
                <c:pt idx="4117">
                  <c:v>0</c:v>
                </c:pt>
                <c:pt idx="4118">
                  <c:v>0</c:v>
                </c:pt>
                <c:pt idx="4119">
                  <c:v>0</c:v>
                </c:pt>
                <c:pt idx="4120">
                  <c:v>0</c:v>
                </c:pt>
                <c:pt idx="4121">
                  <c:v>0</c:v>
                </c:pt>
                <c:pt idx="4122">
                  <c:v>0</c:v>
                </c:pt>
                <c:pt idx="4123">
                  <c:v>0</c:v>
                </c:pt>
                <c:pt idx="4124">
                  <c:v>0</c:v>
                </c:pt>
                <c:pt idx="4125">
                  <c:v>0</c:v>
                </c:pt>
                <c:pt idx="4126">
                  <c:v>0</c:v>
                </c:pt>
                <c:pt idx="4127">
                  <c:v>0</c:v>
                </c:pt>
                <c:pt idx="4128">
                  <c:v>0</c:v>
                </c:pt>
                <c:pt idx="4129">
                  <c:v>0</c:v>
                </c:pt>
                <c:pt idx="4130">
                  <c:v>0</c:v>
                </c:pt>
                <c:pt idx="4131">
                  <c:v>0</c:v>
                </c:pt>
                <c:pt idx="4132">
                  <c:v>0</c:v>
                </c:pt>
                <c:pt idx="4133">
                  <c:v>0</c:v>
                </c:pt>
                <c:pt idx="4134">
                  <c:v>0</c:v>
                </c:pt>
                <c:pt idx="4135">
                  <c:v>0</c:v>
                </c:pt>
                <c:pt idx="4136">
                  <c:v>0</c:v>
                </c:pt>
                <c:pt idx="4137">
                  <c:v>0</c:v>
                </c:pt>
                <c:pt idx="4138">
                  <c:v>0</c:v>
                </c:pt>
                <c:pt idx="4139">
                  <c:v>0</c:v>
                </c:pt>
                <c:pt idx="4140">
                  <c:v>0</c:v>
                </c:pt>
                <c:pt idx="4141">
                  <c:v>0</c:v>
                </c:pt>
                <c:pt idx="4142">
                  <c:v>0</c:v>
                </c:pt>
                <c:pt idx="4143">
                  <c:v>0</c:v>
                </c:pt>
                <c:pt idx="4144">
                  <c:v>0</c:v>
                </c:pt>
                <c:pt idx="4145">
                  <c:v>0</c:v>
                </c:pt>
                <c:pt idx="4146">
                  <c:v>0</c:v>
                </c:pt>
                <c:pt idx="4147">
                  <c:v>0</c:v>
                </c:pt>
                <c:pt idx="4148">
                  <c:v>0</c:v>
                </c:pt>
                <c:pt idx="4149">
                  <c:v>0</c:v>
                </c:pt>
                <c:pt idx="4150">
                  <c:v>0</c:v>
                </c:pt>
                <c:pt idx="4151">
                  <c:v>0</c:v>
                </c:pt>
                <c:pt idx="4152">
                  <c:v>0</c:v>
                </c:pt>
                <c:pt idx="4153">
                  <c:v>0</c:v>
                </c:pt>
                <c:pt idx="4154">
                  <c:v>0</c:v>
                </c:pt>
                <c:pt idx="4155">
                  <c:v>0</c:v>
                </c:pt>
                <c:pt idx="4156">
                  <c:v>0</c:v>
                </c:pt>
                <c:pt idx="4157">
                  <c:v>0</c:v>
                </c:pt>
                <c:pt idx="4158">
                  <c:v>0</c:v>
                </c:pt>
                <c:pt idx="4159">
                  <c:v>0</c:v>
                </c:pt>
                <c:pt idx="4160">
                  <c:v>0</c:v>
                </c:pt>
                <c:pt idx="4161">
                  <c:v>0</c:v>
                </c:pt>
                <c:pt idx="4162">
                  <c:v>0</c:v>
                </c:pt>
                <c:pt idx="4163">
                  <c:v>0</c:v>
                </c:pt>
                <c:pt idx="4164">
                  <c:v>0</c:v>
                </c:pt>
                <c:pt idx="4165">
                  <c:v>0</c:v>
                </c:pt>
                <c:pt idx="4166">
                  <c:v>0</c:v>
                </c:pt>
                <c:pt idx="4167">
                  <c:v>0</c:v>
                </c:pt>
                <c:pt idx="4168">
                  <c:v>0</c:v>
                </c:pt>
                <c:pt idx="4169">
                  <c:v>0</c:v>
                </c:pt>
                <c:pt idx="4170">
                  <c:v>0</c:v>
                </c:pt>
                <c:pt idx="4171">
                  <c:v>0</c:v>
                </c:pt>
                <c:pt idx="4172">
                  <c:v>0</c:v>
                </c:pt>
                <c:pt idx="4173">
                  <c:v>0</c:v>
                </c:pt>
                <c:pt idx="4174">
                  <c:v>0</c:v>
                </c:pt>
                <c:pt idx="4175">
                  <c:v>0</c:v>
                </c:pt>
                <c:pt idx="4176">
                  <c:v>0</c:v>
                </c:pt>
                <c:pt idx="4177">
                  <c:v>0</c:v>
                </c:pt>
                <c:pt idx="4178">
                  <c:v>0</c:v>
                </c:pt>
                <c:pt idx="4179">
                  <c:v>0</c:v>
                </c:pt>
                <c:pt idx="4180">
                  <c:v>0</c:v>
                </c:pt>
                <c:pt idx="4181">
                  <c:v>0</c:v>
                </c:pt>
                <c:pt idx="4182">
                  <c:v>0</c:v>
                </c:pt>
                <c:pt idx="4183">
                  <c:v>0</c:v>
                </c:pt>
                <c:pt idx="4184">
                  <c:v>0</c:v>
                </c:pt>
                <c:pt idx="4185">
                  <c:v>0</c:v>
                </c:pt>
                <c:pt idx="4186">
                  <c:v>0</c:v>
                </c:pt>
                <c:pt idx="4187">
                  <c:v>0</c:v>
                </c:pt>
                <c:pt idx="4188">
                  <c:v>0</c:v>
                </c:pt>
                <c:pt idx="4189">
                  <c:v>0</c:v>
                </c:pt>
                <c:pt idx="4190">
                  <c:v>0</c:v>
                </c:pt>
                <c:pt idx="4191">
                  <c:v>0</c:v>
                </c:pt>
                <c:pt idx="4192">
                  <c:v>0</c:v>
                </c:pt>
                <c:pt idx="4193">
                  <c:v>0</c:v>
                </c:pt>
                <c:pt idx="4194">
                  <c:v>0</c:v>
                </c:pt>
                <c:pt idx="4195">
                  <c:v>0</c:v>
                </c:pt>
                <c:pt idx="4196">
                  <c:v>0</c:v>
                </c:pt>
                <c:pt idx="4197">
                  <c:v>0</c:v>
                </c:pt>
                <c:pt idx="4198">
                  <c:v>0</c:v>
                </c:pt>
                <c:pt idx="4199">
                  <c:v>0</c:v>
                </c:pt>
                <c:pt idx="4200">
                  <c:v>0</c:v>
                </c:pt>
                <c:pt idx="4201">
                  <c:v>0</c:v>
                </c:pt>
                <c:pt idx="4202">
                  <c:v>0</c:v>
                </c:pt>
                <c:pt idx="4203">
                  <c:v>0</c:v>
                </c:pt>
                <c:pt idx="4204">
                  <c:v>0</c:v>
                </c:pt>
                <c:pt idx="4205">
                  <c:v>0</c:v>
                </c:pt>
                <c:pt idx="4206">
                  <c:v>0</c:v>
                </c:pt>
                <c:pt idx="4207">
                  <c:v>0</c:v>
                </c:pt>
                <c:pt idx="4208">
                  <c:v>0</c:v>
                </c:pt>
                <c:pt idx="4209">
                  <c:v>0</c:v>
                </c:pt>
                <c:pt idx="4210">
                  <c:v>0</c:v>
                </c:pt>
                <c:pt idx="4211">
                  <c:v>0</c:v>
                </c:pt>
                <c:pt idx="4212">
                  <c:v>0</c:v>
                </c:pt>
                <c:pt idx="4213">
                  <c:v>0</c:v>
                </c:pt>
                <c:pt idx="4214">
                  <c:v>0</c:v>
                </c:pt>
                <c:pt idx="4215">
                  <c:v>0</c:v>
                </c:pt>
                <c:pt idx="4216">
                  <c:v>0</c:v>
                </c:pt>
                <c:pt idx="4217">
                  <c:v>0</c:v>
                </c:pt>
                <c:pt idx="4218">
                  <c:v>0</c:v>
                </c:pt>
                <c:pt idx="4219">
                  <c:v>0</c:v>
                </c:pt>
                <c:pt idx="4220">
                  <c:v>0</c:v>
                </c:pt>
                <c:pt idx="4221">
                  <c:v>0</c:v>
                </c:pt>
                <c:pt idx="4222">
                  <c:v>0</c:v>
                </c:pt>
                <c:pt idx="4223">
                  <c:v>0</c:v>
                </c:pt>
                <c:pt idx="4224">
                  <c:v>0</c:v>
                </c:pt>
                <c:pt idx="4225">
                  <c:v>0</c:v>
                </c:pt>
                <c:pt idx="4226">
                  <c:v>0</c:v>
                </c:pt>
                <c:pt idx="4227">
                  <c:v>0</c:v>
                </c:pt>
                <c:pt idx="4228">
                  <c:v>0</c:v>
                </c:pt>
                <c:pt idx="4229">
                  <c:v>0</c:v>
                </c:pt>
                <c:pt idx="4230">
                  <c:v>0</c:v>
                </c:pt>
                <c:pt idx="4231">
                  <c:v>0</c:v>
                </c:pt>
                <c:pt idx="4232">
                  <c:v>0</c:v>
                </c:pt>
                <c:pt idx="4233">
                  <c:v>0</c:v>
                </c:pt>
                <c:pt idx="4234">
                  <c:v>0</c:v>
                </c:pt>
                <c:pt idx="4235">
                  <c:v>0</c:v>
                </c:pt>
                <c:pt idx="4236">
                  <c:v>0</c:v>
                </c:pt>
                <c:pt idx="4237">
                  <c:v>0</c:v>
                </c:pt>
                <c:pt idx="4238">
                  <c:v>0</c:v>
                </c:pt>
                <c:pt idx="4239">
                  <c:v>0</c:v>
                </c:pt>
                <c:pt idx="4240">
                  <c:v>0</c:v>
                </c:pt>
                <c:pt idx="4241">
                  <c:v>0</c:v>
                </c:pt>
                <c:pt idx="4242">
                  <c:v>0</c:v>
                </c:pt>
                <c:pt idx="4243">
                  <c:v>0</c:v>
                </c:pt>
                <c:pt idx="4244">
                  <c:v>0</c:v>
                </c:pt>
                <c:pt idx="4245">
                  <c:v>0</c:v>
                </c:pt>
                <c:pt idx="4246">
                  <c:v>0</c:v>
                </c:pt>
                <c:pt idx="4247">
                  <c:v>0</c:v>
                </c:pt>
                <c:pt idx="4248">
                  <c:v>0</c:v>
                </c:pt>
                <c:pt idx="4249">
                  <c:v>0</c:v>
                </c:pt>
                <c:pt idx="4250">
                  <c:v>0</c:v>
                </c:pt>
                <c:pt idx="4251">
                  <c:v>0</c:v>
                </c:pt>
                <c:pt idx="4252">
                  <c:v>0</c:v>
                </c:pt>
                <c:pt idx="4253">
                  <c:v>0</c:v>
                </c:pt>
                <c:pt idx="4254">
                  <c:v>0</c:v>
                </c:pt>
                <c:pt idx="4255">
                  <c:v>0</c:v>
                </c:pt>
                <c:pt idx="4256">
                  <c:v>0</c:v>
                </c:pt>
                <c:pt idx="4257">
                  <c:v>0</c:v>
                </c:pt>
                <c:pt idx="4258">
                  <c:v>0</c:v>
                </c:pt>
                <c:pt idx="4259">
                  <c:v>0</c:v>
                </c:pt>
                <c:pt idx="4260">
                  <c:v>0</c:v>
                </c:pt>
                <c:pt idx="4261">
                  <c:v>0</c:v>
                </c:pt>
                <c:pt idx="4262">
                  <c:v>0</c:v>
                </c:pt>
                <c:pt idx="4263">
                  <c:v>0</c:v>
                </c:pt>
                <c:pt idx="4264">
                  <c:v>0</c:v>
                </c:pt>
                <c:pt idx="4265">
                  <c:v>0</c:v>
                </c:pt>
                <c:pt idx="4266">
                  <c:v>0</c:v>
                </c:pt>
                <c:pt idx="4267">
                  <c:v>0</c:v>
                </c:pt>
                <c:pt idx="4268">
                  <c:v>0</c:v>
                </c:pt>
                <c:pt idx="4269">
                  <c:v>0</c:v>
                </c:pt>
                <c:pt idx="4270">
                  <c:v>0</c:v>
                </c:pt>
                <c:pt idx="4271">
                  <c:v>0</c:v>
                </c:pt>
                <c:pt idx="4272">
                  <c:v>0</c:v>
                </c:pt>
                <c:pt idx="4273">
                  <c:v>0</c:v>
                </c:pt>
                <c:pt idx="4274">
                  <c:v>0</c:v>
                </c:pt>
                <c:pt idx="4275">
                  <c:v>0</c:v>
                </c:pt>
                <c:pt idx="4276">
                  <c:v>0</c:v>
                </c:pt>
                <c:pt idx="4277">
                  <c:v>0</c:v>
                </c:pt>
                <c:pt idx="4278">
                  <c:v>0</c:v>
                </c:pt>
                <c:pt idx="4279">
                  <c:v>0</c:v>
                </c:pt>
                <c:pt idx="4280">
                  <c:v>0</c:v>
                </c:pt>
                <c:pt idx="4281">
                  <c:v>0</c:v>
                </c:pt>
                <c:pt idx="4282">
                  <c:v>0</c:v>
                </c:pt>
                <c:pt idx="4283">
                  <c:v>0</c:v>
                </c:pt>
                <c:pt idx="4284">
                  <c:v>0</c:v>
                </c:pt>
                <c:pt idx="4285">
                  <c:v>0</c:v>
                </c:pt>
                <c:pt idx="4286">
                  <c:v>0</c:v>
                </c:pt>
                <c:pt idx="4287">
                  <c:v>0</c:v>
                </c:pt>
                <c:pt idx="4288">
                  <c:v>0</c:v>
                </c:pt>
                <c:pt idx="4289">
                  <c:v>0</c:v>
                </c:pt>
                <c:pt idx="4290">
                  <c:v>0</c:v>
                </c:pt>
                <c:pt idx="4291">
                  <c:v>0</c:v>
                </c:pt>
                <c:pt idx="4292">
                  <c:v>0</c:v>
                </c:pt>
                <c:pt idx="4293">
                  <c:v>0</c:v>
                </c:pt>
                <c:pt idx="4294">
                  <c:v>0</c:v>
                </c:pt>
                <c:pt idx="4295">
                  <c:v>0</c:v>
                </c:pt>
                <c:pt idx="4296">
                  <c:v>0</c:v>
                </c:pt>
                <c:pt idx="4297">
                  <c:v>0</c:v>
                </c:pt>
                <c:pt idx="4298">
                  <c:v>0</c:v>
                </c:pt>
                <c:pt idx="4299">
                  <c:v>0</c:v>
                </c:pt>
                <c:pt idx="4300">
                  <c:v>0</c:v>
                </c:pt>
                <c:pt idx="4301">
                  <c:v>0</c:v>
                </c:pt>
                <c:pt idx="4302">
                  <c:v>0</c:v>
                </c:pt>
                <c:pt idx="4303">
                  <c:v>0</c:v>
                </c:pt>
                <c:pt idx="4304">
                  <c:v>0</c:v>
                </c:pt>
                <c:pt idx="4305">
                  <c:v>0</c:v>
                </c:pt>
                <c:pt idx="4306">
                  <c:v>0</c:v>
                </c:pt>
                <c:pt idx="4307">
                  <c:v>0</c:v>
                </c:pt>
                <c:pt idx="4308">
                  <c:v>0</c:v>
                </c:pt>
                <c:pt idx="4309">
                  <c:v>0</c:v>
                </c:pt>
                <c:pt idx="4310">
                  <c:v>0</c:v>
                </c:pt>
                <c:pt idx="4311">
                  <c:v>0</c:v>
                </c:pt>
                <c:pt idx="4312">
                  <c:v>0</c:v>
                </c:pt>
                <c:pt idx="4313">
                  <c:v>0</c:v>
                </c:pt>
                <c:pt idx="4314">
                  <c:v>0</c:v>
                </c:pt>
                <c:pt idx="4315">
                  <c:v>0</c:v>
                </c:pt>
                <c:pt idx="4316">
                  <c:v>0</c:v>
                </c:pt>
                <c:pt idx="4317">
                  <c:v>0</c:v>
                </c:pt>
                <c:pt idx="4318">
                  <c:v>0</c:v>
                </c:pt>
                <c:pt idx="4319">
                  <c:v>0</c:v>
                </c:pt>
                <c:pt idx="4320">
                  <c:v>0</c:v>
                </c:pt>
                <c:pt idx="4321">
                  <c:v>0</c:v>
                </c:pt>
                <c:pt idx="4322">
                  <c:v>0</c:v>
                </c:pt>
                <c:pt idx="4323">
                  <c:v>0</c:v>
                </c:pt>
                <c:pt idx="4324">
                  <c:v>0</c:v>
                </c:pt>
                <c:pt idx="4325">
                  <c:v>0</c:v>
                </c:pt>
                <c:pt idx="4326">
                  <c:v>0</c:v>
                </c:pt>
                <c:pt idx="4327">
                  <c:v>0</c:v>
                </c:pt>
                <c:pt idx="4328">
                  <c:v>0</c:v>
                </c:pt>
                <c:pt idx="4329">
                  <c:v>0</c:v>
                </c:pt>
                <c:pt idx="4330">
                  <c:v>0</c:v>
                </c:pt>
                <c:pt idx="4331">
                  <c:v>0</c:v>
                </c:pt>
                <c:pt idx="4332">
                  <c:v>0</c:v>
                </c:pt>
                <c:pt idx="4333">
                  <c:v>0</c:v>
                </c:pt>
                <c:pt idx="4334">
                  <c:v>0</c:v>
                </c:pt>
                <c:pt idx="4335">
                  <c:v>0</c:v>
                </c:pt>
                <c:pt idx="4336">
                  <c:v>0</c:v>
                </c:pt>
                <c:pt idx="4337">
                  <c:v>0</c:v>
                </c:pt>
                <c:pt idx="4338">
                  <c:v>0</c:v>
                </c:pt>
                <c:pt idx="4339">
                  <c:v>0</c:v>
                </c:pt>
                <c:pt idx="4340">
                  <c:v>0</c:v>
                </c:pt>
                <c:pt idx="4341">
                  <c:v>0</c:v>
                </c:pt>
                <c:pt idx="4342">
                  <c:v>0</c:v>
                </c:pt>
                <c:pt idx="4343">
                  <c:v>0</c:v>
                </c:pt>
                <c:pt idx="4344">
                  <c:v>0</c:v>
                </c:pt>
                <c:pt idx="4345">
                  <c:v>0</c:v>
                </c:pt>
                <c:pt idx="4346">
                  <c:v>0</c:v>
                </c:pt>
                <c:pt idx="4347">
                  <c:v>0</c:v>
                </c:pt>
                <c:pt idx="4348">
                  <c:v>0</c:v>
                </c:pt>
                <c:pt idx="4349">
                  <c:v>0</c:v>
                </c:pt>
                <c:pt idx="4350">
                  <c:v>0</c:v>
                </c:pt>
                <c:pt idx="4351">
                  <c:v>0</c:v>
                </c:pt>
                <c:pt idx="4352">
                  <c:v>0</c:v>
                </c:pt>
                <c:pt idx="4353">
                  <c:v>0</c:v>
                </c:pt>
                <c:pt idx="4354">
                  <c:v>0</c:v>
                </c:pt>
                <c:pt idx="4355">
                  <c:v>0</c:v>
                </c:pt>
                <c:pt idx="4356">
                  <c:v>0</c:v>
                </c:pt>
                <c:pt idx="4357">
                  <c:v>0</c:v>
                </c:pt>
                <c:pt idx="4358">
                  <c:v>0</c:v>
                </c:pt>
                <c:pt idx="4359">
                  <c:v>0</c:v>
                </c:pt>
                <c:pt idx="4360">
                  <c:v>0</c:v>
                </c:pt>
                <c:pt idx="4361">
                  <c:v>0</c:v>
                </c:pt>
                <c:pt idx="4362">
                  <c:v>0</c:v>
                </c:pt>
                <c:pt idx="4363">
                  <c:v>0</c:v>
                </c:pt>
                <c:pt idx="4364">
                  <c:v>0</c:v>
                </c:pt>
                <c:pt idx="4365">
                  <c:v>0</c:v>
                </c:pt>
                <c:pt idx="4366">
                  <c:v>0</c:v>
                </c:pt>
                <c:pt idx="4367">
                  <c:v>0</c:v>
                </c:pt>
                <c:pt idx="4368">
                  <c:v>0</c:v>
                </c:pt>
                <c:pt idx="4369">
                  <c:v>0</c:v>
                </c:pt>
                <c:pt idx="4370">
                  <c:v>0</c:v>
                </c:pt>
                <c:pt idx="4371">
                  <c:v>0</c:v>
                </c:pt>
                <c:pt idx="4372">
                  <c:v>0</c:v>
                </c:pt>
                <c:pt idx="4373">
                  <c:v>0</c:v>
                </c:pt>
                <c:pt idx="4374">
                  <c:v>0</c:v>
                </c:pt>
                <c:pt idx="4375">
                  <c:v>0</c:v>
                </c:pt>
                <c:pt idx="4376">
                  <c:v>0</c:v>
                </c:pt>
                <c:pt idx="4377">
                  <c:v>0</c:v>
                </c:pt>
                <c:pt idx="4378">
                  <c:v>0</c:v>
                </c:pt>
                <c:pt idx="4379">
                  <c:v>0</c:v>
                </c:pt>
                <c:pt idx="4380">
                  <c:v>0</c:v>
                </c:pt>
                <c:pt idx="4381">
                  <c:v>0</c:v>
                </c:pt>
                <c:pt idx="4382">
                  <c:v>0</c:v>
                </c:pt>
                <c:pt idx="4383">
                  <c:v>0</c:v>
                </c:pt>
                <c:pt idx="4384">
                  <c:v>0</c:v>
                </c:pt>
                <c:pt idx="4385">
                  <c:v>0</c:v>
                </c:pt>
                <c:pt idx="4386">
                  <c:v>0</c:v>
                </c:pt>
                <c:pt idx="4387">
                  <c:v>0</c:v>
                </c:pt>
                <c:pt idx="4388">
                  <c:v>0</c:v>
                </c:pt>
                <c:pt idx="4389">
                  <c:v>0</c:v>
                </c:pt>
                <c:pt idx="4390">
                  <c:v>0</c:v>
                </c:pt>
                <c:pt idx="4391">
                  <c:v>0</c:v>
                </c:pt>
                <c:pt idx="4392">
                  <c:v>0</c:v>
                </c:pt>
                <c:pt idx="4393">
                  <c:v>0</c:v>
                </c:pt>
                <c:pt idx="4394">
                  <c:v>7.6307611266504739E-5</c:v>
                </c:pt>
                <c:pt idx="4395">
                  <c:v>1.2321571717067367E-3</c:v>
                </c:pt>
                <c:pt idx="4396">
                  <c:v>2.0647678436376275E-3</c:v>
                </c:pt>
                <c:pt idx="4397">
                  <c:v>3.1346358746804528E-3</c:v>
                </c:pt>
                <c:pt idx="4398">
                  <c:v>3.9068902886149979E-3</c:v>
                </c:pt>
                <c:pt idx="4399">
                  <c:v>5.1115341300696391E-3</c:v>
                </c:pt>
                <c:pt idx="4400">
                  <c:v>6.1538630731053289E-3</c:v>
                </c:pt>
                <c:pt idx="4401">
                  <c:v>7.4640253891877359E-3</c:v>
                </c:pt>
                <c:pt idx="4402">
                  <c:v>8.6284024986376835E-3</c:v>
                </c:pt>
                <c:pt idx="4403">
                  <c:v>9.8756898871763272E-3</c:v>
                </c:pt>
                <c:pt idx="4404">
                  <c:v>1.1384605438367073E-2</c:v>
                </c:pt>
                <c:pt idx="4405">
                  <c:v>1.2599831261602365E-2</c:v>
                </c:pt>
                <c:pt idx="4406">
                  <c:v>1.3598429546670931E-2</c:v>
                </c:pt>
                <c:pt idx="4407">
                  <c:v>1.5057167999980556E-2</c:v>
                </c:pt>
                <c:pt idx="4408">
                  <c:v>1.6259712763511191E-2</c:v>
                </c:pt>
                <c:pt idx="4409">
                  <c:v>1.7298163616706715E-2</c:v>
                </c:pt>
                <c:pt idx="4410">
                  <c:v>1.8146169919685286E-2</c:v>
                </c:pt>
                <c:pt idx="4411">
                  <c:v>1.8961796369144482E-2</c:v>
                </c:pt>
                <c:pt idx="4412">
                  <c:v>1.959842160837108E-2</c:v>
                </c:pt>
                <c:pt idx="4413">
                  <c:v>2.0276010695462223E-2</c:v>
                </c:pt>
                <c:pt idx="4414">
                  <c:v>2.0820360691291881E-2</c:v>
                </c:pt>
                <c:pt idx="4415">
                  <c:v>2.1292539342115269E-2</c:v>
                </c:pt>
                <c:pt idx="4416">
                  <c:v>2.1586282086086615E-2</c:v>
                </c:pt>
                <c:pt idx="4417">
                  <c:v>2.1873768871202064E-2</c:v>
                </c:pt>
                <c:pt idx="4418">
                  <c:v>2.2058745091290948E-2</c:v>
                </c:pt>
                <c:pt idx="4419">
                  <c:v>2.220499153249865E-2</c:v>
                </c:pt>
                <c:pt idx="4420">
                  <c:v>2.2135132747883177E-2</c:v>
                </c:pt>
                <c:pt idx="4421">
                  <c:v>2.1834527945391306E-2</c:v>
                </c:pt>
                <c:pt idx="4422">
                  <c:v>2.1941355534715153E-2</c:v>
                </c:pt>
                <c:pt idx="4423">
                  <c:v>2.1726571887300938E-2</c:v>
                </c:pt>
                <c:pt idx="4424">
                  <c:v>2.1368995592283502E-2</c:v>
                </c:pt>
                <c:pt idx="4425">
                  <c:v>2.1403925250983186E-2</c:v>
                </c:pt>
                <c:pt idx="4426">
                  <c:v>2.1346402702327107E-2</c:v>
                </c:pt>
                <c:pt idx="4427">
                  <c:v>2.1244292163532585E-2</c:v>
                </c:pt>
                <c:pt idx="4428">
                  <c:v>2.086276453184821E-2</c:v>
                </c:pt>
                <c:pt idx="4429">
                  <c:v>2.0733844067173969E-2</c:v>
                </c:pt>
                <c:pt idx="4430">
                  <c:v>2.0502625996342734E-2</c:v>
                </c:pt>
                <c:pt idx="4431">
                  <c:v>2.0315747966564046E-2</c:v>
                </c:pt>
                <c:pt idx="4432">
                  <c:v>1.9989578891154432E-2</c:v>
                </c:pt>
                <c:pt idx="4433">
                  <c:v>1.9651847306526291E-2</c:v>
                </c:pt>
                <c:pt idx="4434">
                  <c:v>1.9573282037970693E-2</c:v>
                </c:pt>
                <c:pt idx="4435">
                  <c:v>1.9602576116006801E-2</c:v>
                </c:pt>
                <c:pt idx="4436">
                  <c:v>1.9591224502500806E-2</c:v>
                </c:pt>
                <c:pt idx="4437">
                  <c:v>2.0484082999967033E-2</c:v>
                </c:pt>
                <c:pt idx="4438">
                  <c:v>2.1195517641823706E-2</c:v>
                </c:pt>
                <c:pt idx="4439">
                  <c:v>2.2242459837404461E-2</c:v>
                </c:pt>
                <c:pt idx="4440">
                  <c:v>2.3347349198395158E-2</c:v>
                </c:pt>
                <c:pt idx="4441">
                  <c:v>2.4599340770675372E-2</c:v>
                </c:pt>
                <c:pt idx="4442">
                  <c:v>2.6257412979522738E-2</c:v>
                </c:pt>
                <c:pt idx="4443">
                  <c:v>2.7668715154043042E-2</c:v>
                </c:pt>
                <c:pt idx="4444">
                  <c:v>2.868819316336978E-2</c:v>
                </c:pt>
                <c:pt idx="4445">
                  <c:v>2.9499125119624835E-2</c:v>
                </c:pt>
                <c:pt idx="4446">
                  <c:v>3.0167153202053362E-2</c:v>
                </c:pt>
                <c:pt idx="4447">
                  <c:v>3.066753764738829E-2</c:v>
                </c:pt>
                <c:pt idx="4448">
                  <c:v>3.0949382750981587E-2</c:v>
                </c:pt>
                <c:pt idx="4449">
                  <c:v>3.1511023506802335E-2</c:v>
                </c:pt>
                <c:pt idx="4450">
                  <c:v>3.2013562418297573E-2</c:v>
                </c:pt>
                <c:pt idx="4451">
                  <c:v>3.2269140883090866E-2</c:v>
                </c:pt>
                <c:pt idx="4452">
                  <c:v>3.2784408051585903E-2</c:v>
                </c:pt>
                <c:pt idx="4453">
                  <c:v>3.3045386523721965E-2</c:v>
                </c:pt>
                <c:pt idx="4454">
                  <c:v>3.3411654898547916E-2</c:v>
                </c:pt>
                <c:pt idx="4455">
                  <c:v>3.388936572703672E-2</c:v>
                </c:pt>
                <c:pt idx="4456">
                  <c:v>3.4206596383059319E-2</c:v>
                </c:pt>
                <c:pt idx="4457">
                  <c:v>3.4348421592335893E-2</c:v>
                </c:pt>
                <c:pt idx="4458">
                  <c:v>3.4534469352741279E-2</c:v>
                </c:pt>
                <c:pt idx="4459">
                  <c:v>3.4627986527178044E-2</c:v>
                </c:pt>
                <c:pt idx="4460">
                  <c:v>3.4523554898325412E-2</c:v>
                </c:pt>
                <c:pt idx="4461">
                  <c:v>3.4073496956149203E-2</c:v>
                </c:pt>
                <c:pt idx="4462">
                  <c:v>3.3638950057290007E-2</c:v>
                </c:pt>
                <c:pt idx="4463">
                  <c:v>3.304346253171879E-2</c:v>
                </c:pt>
                <c:pt idx="4464">
                  <c:v>3.260013457652116E-2</c:v>
                </c:pt>
                <c:pt idx="4465">
                  <c:v>3.2140836130834974E-2</c:v>
                </c:pt>
                <c:pt idx="4466">
                  <c:v>3.1529901903040933E-2</c:v>
                </c:pt>
                <c:pt idx="4467">
                  <c:v>3.1278538367429859E-2</c:v>
                </c:pt>
                <c:pt idx="4468">
                  <c:v>3.070123698779869E-2</c:v>
                </c:pt>
                <c:pt idx="4469">
                  <c:v>3.0366860946595867E-2</c:v>
                </c:pt>
                <c:pt idx="4470">
                  <c:v>3.0035536442872719E-2</c:v>
                </c:pt>
                <c:pt idx="4471">
                  <c:v>2.9776728328167943E-2</c:v>
                </c:pt>
                <c:pt idx="4472">
                  <c:v>2.980714838313921E-2</c:v>
                </c:pt>
                <c:pt idx="4473">
                  <c:v>2.9697285425578548E-2</c:v>
                </c:pt>
                <c:pt idx="4474">
                  <c:v>2.946456821018107E-2</c:v>
                </c:pt>
                <c:pt idx="4475">
                  <c:v>2.9023147134824387E-2</c:v>
                </c:pt>
                <c:pt idx="4476">
                  <c:v>2.8739455124370473E-2</c:v>
                </c:pt>
                <c:pt idx="4477">
                  <c:v>2.8218872440688787E-2</c:v>
                </c:pt>
                <c:pt idx="4478">
                  <c:v>2.7384868624114069E-2</c:v>
                </c:pt>
                <c:pt idx="4479">
                  <c:v>2.6922291424160152E-2</c:v>
                </c:pt>
                <c:pt idx="4480">
                  <c:v>2.6482082155821797E-2</c:v>
                </c:pt>
                <c:pt idx="4481">
                  <c:v>2.5929697998201502E-2</c:v>
                </c:pt>
                <c:pt idx="4482">
                  <c:v>2.5246620550155533E-2</c:v>
                </c:pt>
                <c:pt idx="4483">
                  <c:v>2.4296564217971623E-2</c:v>
                </c:pt>
                <c:pt idx="4484">
                  <c:v>2.3606613844308351E-2</c:v>
                </c:pt>
                <c:pt idx="4485">
                  <c:v>2.2941158522837363E-2</c:v>
                </c:pt>
                <c:pt idx="4486">
                  <c:v>2.2219153181856091E-2</c:v>
                </c:pt>
                <c:pt idx="4487">
                  <c:v>2.1344748200414591E-2</c:v>
                </c:pt>
                <c:pt idx="4488">
                  <c:v>2.0939075423638886E-2</c:v>
                </c:pt>
                <c:pt idx="4489">
                  <c:v>2.0439671591500529E-2</c:v>
                </c:pt>
                <c:pt idx="4490">
                  <c:v>1.9963595788534884E-2</c:v>
                </c:pt>
                <c:pt idx="4491">
                  <c:v>1.9252762548305682E-2</c:v>
                </c:pt>
                <c:pt idx="4492">
                  <c:v>1.880769477912236E-2</c:v>
                </c:pt>
                <c:pt idx="4493">
                  <c:v>1.8462274947576296E-2</c:v>
                </c:pt>
                <c:pt idx="4494">
                  <c:v>1.8475691284070998E-2</c:v>
                </c:pt>
                <c:pt idx="4495">
                  <c:v>1.8399370046131638E-2</c:v>
                </c:pt>
                <c:pt idx="4496">
                  <c:v>1.8334943949617006E-2</c:v>
                </c:pt>
                <c:pt idx="4497">
                  <c:v>1.8830410831939239E-2</c:v>
                </c:pt>
                <c:pt idx="4498">
                  <c:v>1.909958502325337E-2</c:v>
                </c:pt>
                <c:pt idx="4499">
                  <c:v>1.9474050568102974E-2</c:v>
                </c:pt>
                <c:pt idx="4500">
                  <c:v>1.9634170348145314E-2</c:v>
                </c:pt>
                <c:pt idx="4501">
                  <c:v>2.0150186665032366E-2</c:v>
                </c:pt>
                <c:pt idx="4502">
                  <c:v>2.0477823849708924E-2</c:v>
                </c:pt>
                <c:pt idx="4503">
                  <c:v>2.1103964587439603E-2</c:v>
                </c:pt>
                <c:pt idx="4504">
                  <c:v>2.1913913963689344E-2</c:v>
                </c:pt>
                <c:pt idx="4505">
                  <c:v>2.2629971125310729E-2</c:v>
                </c:pt>
                <c:pt idx="4506">
                  <c:v>2.3527396831944103E-2</c:v>
                </c:pt>
                <c:pt idx="4507">
                  <c:v>2.4260380582784152E-2</c:v>
                </c:pt>
                <c:pt idx="4508">
                  <c:v>2.4793246480177382E-2</c:v>
                </c:pt>
                <c:pt idx="4509">
                  <c:v>2.5444414344090237E-2</c:v>
                </c:pt>
                <c:pt idx="4510">
                  <c:v>2.5829724878450134E-2</c:v>
                </c:pt>
                <c:pt idx="4511">
                  <c:v>2.613509121373787E-2</c:v>
                </c:pt>
                <c:pt idx="4512">
                  <c:v>2.6424927619110881E-2</c:v>
                </c:pt>
                <c:pt idx="4513">
                  <c:v>2.8213094153163854E-2</c:v>
                </c:pt>
                <c:pt idx="4514">
                  <c:v>3.0116868836621697E-2</c:v>
                </c:pt>
                <c:pt idx="4515">
                  <c:v>3.1575829670411081E-2</c:v>
                </c:pt>
                <c:pt idx="4516">
                  <c:v>3.270720031181866E-2</c:v>
                </c:pt>
                <c:pt idx="4517">
                  <c:v>3.3424140903989479E-2</c:v>
                </c:pt>
                <c:pt idx="4518">
                  <c:v>3.4088598287654905E-2</c:v>
                </c:pt>
                <c:pt idx="4519">
                  <c:v>3.4464616786515828E-2</c:v>
                </c:pt>
                <c:pt idx="4520">
                  <c:v>3.4704490358523063E-2</c:v>
                </c:pt>
                <c:pt idx="4521">
                  <c:v>3.5179805970076028E-2</c:v>
                </c:pt>
                <c:pt idx="4522">
                  <c:v>3.5431502891221253E-2</c:v>
                </c:pt>
                <c:pt idx="4523">
                  <c:v>3.5326784524426405E-2</c:v>
                </c:pt>
                <c:pt idx="4524">
                  <c:v>3.516747923464901E-2</c:v>
                </c:pt>
                <c:pt idx="4525">
                  <c:v>3.4698450376561316E-2</c:v>
                </c:pt>
                <c:pt idx="4526">
                  <c:v>3.3928650303634719E-2</c:v>
                </c:pt>
                <c:pt idx="4527">
                  <c:v>3.351126448292497E-2</c:v>
                </c:pt>
                <c:pt idx="4528">
                  <c:v>3.290090160863017E-2</c:v>
                </c:pt>
                <c:pt idx="4529">
                  <c:v>3.2155452347427581E-2</c:v>
                </c:pt>
                <c:pt idx="4530">
                  <c:v>3.1103441329874443E-2</c:v>
                </c:pt>
                <c:pt idx="4531">
                  <c:v>3.0197008070711837E-2</c:v>
                </c:pt>
                <c:pt idx="4532">
                  <c:v>2.9086641023881216E-2</c:v>
                </c:pt>
                <c:pt idx="4533">
                  <c:v>2.8282877850867982E-2</c:v>
                </c:pt>
                <c:pt idx="4534">
                  <c:v>2.7663055019472443E-2</c:v>
                </c:pt>
                <c:pt idx="4535">
                  <c:v>2.6925103899414261E-2</c:v>
                </c:pt>
                <c:pt idx="4536">
                  <c:v>2.6162496752186411E-2</c:v>
                </c:pt>
                <c:pt idx="4537">
                  <c:v>2.5225560185636552E-2</c:v>
                </c:pt>
                <c:pt idx="4538">
                  <c:v>2.4113318259851406E-2</c:v>
                </c:pt>
                <c:pt idx="4539">
                  <c:v>2.2879607974661448E-2</c:v>
                </c:pt>
                <c:pt idx="4540">
                  <c:v>2.1240078537436632E-2</c:v>
                </c:pt>
                <c:pt idx="4541">
                  <c:v>1.9452191566258971E-2</c:v>
                </c:pt>
                <c:pt idx="4542">
                  <c:v>1.7264927926045837E-2</c:v>
                </c:pt>
                <c:pt idx="4543">
                  <c:v>1.7065888759136238E-2</c:v>
                </c:pt>
                <c:pt idx="4544">
                  <c:v>1.7204335839386665E-2</c:v>
                </c:pt>
                <c:pt idx="4545">
                  <c:v>1.7348036048439857E-2</c:v>
                </c:pt>
                <c:pt idx="4546">
                  <c:v>1.7353183406098625E-2</c:v>
                </c:pt>
                <c:pt idx="4547">
                  <c:v>1.754116597922804E-2</c:v>
                </c:pt>
                <c:pt idx="4548">
                  <c:v>1.8062819814229802E-2</c:v>
                </c:pt>
                <c:pt idx="4549">
                  <c:v>1.8340053227810613E-2</c:v>
                </c:pt>
                <c:pt idx="4550">
                  <c:v>1.8297804104375474E-2</c:v>
                </c:pt>
                <c:pt idx="4551">
                  <c:v>1.8646351436080278E-2</c:v>
                </c:pt>
                <c:pt idx="4552">
                  <c:v>1.9110611807628113E-2</c:v>
                </c:pt>
                <c:pt idx="4553">
                  <c:v>1.9474422971349142E-2</c:v>
                </c:pt>
                <c:pt idx="4554">
                  <c:v>2.0020364342880945E-2</c:v>
                </c:pt>
                <c:pt idx="4555">
                  <c:v>2.0694484648750011E-2</c:v>
                </c:pt>
                <c:pt idx="4556">
                  <c:v>2.1285427692039373E-2</c:v>
                </c:pt>
                <c:pt idx="4557">
                  <c:v>2.1698554017609981E-2</c:v>
                </c:pt>
                <c:pt idx="4558">
                  <c:v>2.258860062827835E-2</c:v>
                </c:pt>
                <c:pt idx="4559">
                  <c:v>2.3468978240363741E-2</c:v>
                </c:pt>
                <c:pt idx="4560">
                  <c:v>2.4356089947342775E-2</c:v>
                </c:pt>
                <c:pt idx="4561">
                  <c:v>2.5280368430213328E-2</c:v>
                </c:pt>
                <c:pt idx="4562">
                  <c:v>2.5978462779787267E-2</c:v>
                </c:pt>
                <c:pt idx="4563">
                  <c:v>2.6932235054259443E-2</c:v>
                </c:pt>
                <c:pt idx="4564">
                  <c:v>2.779345230242165E-2</c:v>
                </c:pt>
                <c:pt idx="4565">
                  <c:v>2.8491202914070448E-2</c:v>
                </c:pt>
                <c:pt idx="4566">
                  <c:v>2.9063911888225862E-2</c:v>
                </c:pt>
                <c:pt idx="4567">
                  <c:v>2.9403058974667749E-2</c:v>
                </c:pt>
                <c:pt idx="4568">
                  <c:v>2.9786660408888565E-2</c:v>
                </c:pt>
                <c:pt idx="4569">
                  <c:v>2.9872349345899506E-2</c:v>
                </c:pt>
                <c:pt idx="4570">
                  <c:v>2.9845173871786368E-2</c:v>
                </c:pt>
                <c:pt idx="4571">
                  <c:v>3.0057672816833841E-2</c:v>
                </c:pt>
                <c:pt idx="4572">
                  <c:v>3.0097734365528012E-2</c:v>
                </c:pt>
                <c:pt idx="4573">
                  <c:v>3.0060495746281196E-2</c:v>
                </c:pt>
                <c:pt idx="4574">
                  <c:v>3.0178843705819018E-2</c:v>
                </c:pt>
                <c:pt idx="4575">
                  <c:v>3.0372457762239184E-2</c:v>
                </c:pt>
                <c:pt idx="4576">
                  <c:v>3.0745556402777412E-2</c:v>
                </c:pt>
                <c:pt idx="4577">
                  <c:v>3.1069313508177564E-2</c:v>
                </c:pt>
                <c:pt idx="4578">
                  <c:v>3.1525017789868284E-2</c:v>
                </c:pt>
                <c:pt idx="4579">
                  <c:v>3.1700413013261951E-2</c:v>
                </c:pt>
                <c:pt idx="4580">
                  <c:v>3.1531050337325554E-2</c:v>
                </c:pt>
                <c:pt idx="4581">
                  <c:v>3.132535702068872E-2</c:v>
                </c:pt>
                <c:pt idx="4582">
                  <c:v>3.0971842624487003E-2</c:v>
                </c:pt>
                <c:pt idx="4583">
                  <c:v>3.0616201586088968E-2</c:v>
                </c:pt>
                <c:pt idx="4584">
                  <c:v>3.0343192563502833E-2</c:v>
                </c:pt>
                <c:pt idx="4585">
                  <c:v>3.0198306313235845E-2</c:v>
                </c:pt>
                <c:pt idx="4586">
                  <c:v>3.0188069272972243E-2</c:v>
                </c:pt>
                <c:pt idx="4587">
                  <c:v>3.0662345094784892E-2</c:v>
                </c:pt>
                <c:pt idx="4588">
                  <c:v>3.1426888435059551E-2</c:v>
                </c:pt>
                <c:pt idx="4589">
                  <c:v>3.2184411686850802E-2</c:v>
                </c:pt>
                <c:pt idx="4590">
                  <c:v>3.2695807656702693E-2</c:v>
                </c:pt>
                <c:pt idx="4591">
                  <c:v>3.3198454985981077E-2</c:v>
                </c:pt>
                <c:pt idx="4592">
                  <c:v>3.3766433750115302E-2</c:v>
                </c:pt>
                <c:pt idx="4593">
                  <c:v>3.425370796210727E-2</c:v>
                </c:pt>
                <c:pt idx="4594">
                  <c:v>3.472131799901694E-2</c:v>
                </c:pt>
                <c:pt idx="4595">
                  <c:v>3.4905345589444685E-2</c:v>
                </c:pt>
                <c:pt idx="4596">
                  <c:v>3.4805595619311958E-2</c:v>
                </c:pt>
                <c:pt idx="4597">
                  <c:v>3.439092628670485E-2</c:v>
                </c:pt>
                <c:pt idx="4598">
                  <c:v>3.3961934333449025E-2</c:v>
                </c:pt>
                <c:pt idx="4599">
                  <c:v>3.3144419312267394E-2</c:v>
                </c:pt>
                <c:pt idx="4600">
                  <c:v>3.2170037456199681E-2</c:v>
                </c:pt>
                <c:pt idx="4601">
                  <c:v>3.1703977684952755E-2</c:v>
                </c:pt>
                <c:pt idx="4602">
                  <c:v>3.1271694395926121E-2</c:v>
                </c:pt>
                <c:pt idx="4603">
                  <c:v>3.0614406798295826E-2</c:v>
                </c:pt>
                <c:pt idx="4604">
                  <c:v>2.9940468002167795E-2</c:v>
                </c:pt>
                <c:pt idx="4605">
                  <c:v>2.9317635399077936E-2</c:v>
                </c:pt>
                <c:pt idx="4606">
                  <c:v>2.8884217657798562E-2</c:v>
                </c:pt>
                <c:pt idx="4607">
                  <c:v>2.8496171251266557E-2</c:v>
                </c:pt>
                <c:pt idx="4608">
                  <c:v>2.8213954687538699E-2</c:v>
                </c:pt>
                <c:pt idx="4609">
                  <c:v>2.8603648215196911E-2</c:v>
                </c:pt>
                <c:pt idx="4610">
                  <c:v>2.8594149086217099E-2</c:v>
                </c:pt>
                <c:pt idx="4611">
                  <c:v>2.8505305241893972E-2</c:v>
                </c:pt>
                <c:pt idx="4612">
                  <c:v>2.7963883798692128E-2</c:v>
                </c:pt>
                <c:pt idx="4613">
                  <c:v>2.7366536176644352E-2</c:v>
                </c:pt>
                <c:pt idx="4614">
                  <c:v>2.6685288644150547E-2</c:v>
                </c:pt>
                <c:pt idx="4615">
                  <c:v>2.6353775084540971E-2</c:v>
                </c:pt>
                <c:pt idx="4616">
                  <c:v>2.6031809021167421E-2</c:v>
                </c:pt>
                <c:pt idx="4617">
                  <c:v>2.6356760686540397E-2</c:v>
                </c:pt>
                <c:pt idx="4618">
                  <c:v>2.6574180735006944E-2</c:v>
                </c:pt>
                <c:pt idx="4619">
                  <c:v>2.6685824013410873E-2</c:v>
                </c:pt>
                <c:pt idx="4620">
                  <c:v>2.6617038268853442E-2</c:v>
                </c:pt>
                <c:pt idx="4621">
                  <c:v>2.6399630196950973E-2</c:v>
                </c:pt>
                <c:pt idx="4622">
                  <c:v>2.6448454770671776E-2</c:v>
                </c:pt>
                <c:pt idx="4623">
                  <c:v>2.6386942411693287E-2</c:v>
                </c:pt>
                <c:pt idx="4624">
                  <c:v>2.6413431552391484E-2</c:v>
                </c:pt>
                <c:pt idx="4625">
                  <c:v>2.6218887964158836E-2</c:v>
                </c:pt>
                <c:pt idx="4626">
                  <c:v>2.5823697739815955E-2</c:v>
                </c:pt>
                <c:pt idx="4627">
                  <c:v>2.5268512547420685E-2</c:v>
                </c:pt>
                <c:pt idx="4628">
                  <c:v>2.4607185161626733E-2</c:v>
                </c:pt>
                <c:pt idx="4629">
                  <c:v>2.3802417028120571E-2</c:v>
                </c:pt>
                <c:pt idx="4630">
                  <c:v>2.269675077896368E-2</c:v>
                </c:pt>
                <c:pt idx="4631">
                  <c:v>2.1791042504392406E-2</c:v>
                </c:pt>
                <c:pt idx="4632">
                  <c:v>2.1156155721978997E-2</c:v>
                </c:pt>
                <c:pt idx="4633">
                  <c:v>2.0645141683639626E-2</c:v>
                </c:pt>
                <c:pt idx="4634">
                  <c:v>1.9894843833097954E-2</c:v>
                </c:pt>
                <c:pt idx="4635">
                  <c:v>1.8988072510485208E-2</c:v>
                </c:pt>
                <c:pt idx="4636">
                  <c:v>1.7648484577300939E-2</c:v>
                </c:pt>
                <c:pt idx="4637">
                  <c:v>1.6666395046514303E-2</c:v>
                </c:pt>
                <c:pt idx="4638">
                  <c:v>1.5859392831030304E-2</c:v>
                </c:pt>
                <c:pt idx="4639">
                  <c:v>1.6209058001586826E-2</c:v>
                </c:pt>
                <c:pt idx="4640">
                  <c:v>1.6415963891830102E-2</c:v>
                </c:pt>
                <c:pt idx="4641">
                  <c:v>1.6570104281167446E-2</c:v>
                </c:pt>
                <c:pt idx="4642">
                  <c:v>1.6615854745410566E-2</c:v>
                </c:pt>
                <c:pt idx="4643">
                  <c:v>1.6916930766477416E-2</c:v>
                </c:pt>
                <c:pt idx="4644">
                  <c:v>1.7150340988260713E-2</c:v>
                </c:pt>
                <c:pt idx="4645">
                  <c:v>1.7931572954218773E-2</c:v>
                </c:pt>
                <c:pt idx="4646">
                  <c:v>1.8553328632119687E-2</c:v>
                </c:pt>
                <c:pt idx="4647">
                  <c:v>1.9781161876680539E-2</c:v>
                </c:pt>
                <c:pt idx="4648">
                  <c:v>2.0770689536078524E-2</c:v>
                </c:pt>
                <c:pt idx="4649">
                  <c:v>2.1461964938559817E-2</c:v>
                </c:pt>
                <c:pt idx="4650">
                  <c:v>2.2065875755780912E-2</c:v>
                </c:pt>
                <c:pt idx="4651">
                  <c:v>2.2470974279907973E-2</c:v>
                </c:pt>
                <c:pt idx="4652">
                  <c:v>2.2915655857953098E-2</c:v>
                </c:pt>
                <c:pt idx="4653">
                  <c:v>2.3242660823514009E-2</c:v>
                </c:pt>
                <c:pt idx="4654">
                  <c:v>2.3578890773287241E-2</c:v>
                </c:pt>
                <c:pt idx="4655">
                  <c:v>2.3820017104610357E-2</c:v>
                </c:pt>
                <c:pt idx="4656">
                  <c:v>2.3921674559519546E-2</c:v>
                </c:pt>
                <c:pt idx="4657">
                  <c:v>2.3805123200426253E-2</c:v>
                </c:pt>
                <c:pt idx="4658">
                  <c:v>2.3697966655074277E-2</c:v>
                </c:pt>
                <c:pt idx="4659">
                  <c:v>2.3510346541073712E-2</c:v>
                </c:pt>
                <c:pt idx="4660">
                  <c:v>2.3044549740715899E-2</c:v>
                </c:pt>
                <c:pt idx="4661">
                  <c:v>2.2386822194902498E-2</c:v>
                </c:pt>
                <c:pt idx="4662">
                  <c:v>2.2131844571037354E-2</c:v>
                </c:pt>
                <c:pt idx="4663">
                  <c:v>2.2139474112244806E-2</c:v>
                </c:pt>
                <c:pt idx="4664">
                  <c:v>2.2040032233517314E-2</c:v>
                </c:pt>
                <c:pt idx="4665">
                  <c:v>2.1836178853732034E-2</c:v>
                </c:pt>
                <c:pt idx="4666">
                  <c:v>2.1541010491212344E-2</c:v>
                </c:pt>
                <c:pt idx="4667">
                  <c:v>2.1231482823103557E-2</c:v>
                </c:pt>
                <c:pt idx="4668">
                  <c:v>2.074499027258396E-2</c:v>
                </c:pt>
                <c:pt idx="4669">
                  <c:v>2.0308521644654416E-2</c:v>
                </c:pt>
                <c:pt idx="4670">
                  <c:v>1.985427733768386E-2</c:v>
                </c:pt>
                <c:pt idx="4671">
                  <c:v>1.924436869477076E-2</c:v>
                </c:pt>
                <c:pt idx="4672">
                  <c:v>1.8502130725894874E-2</c:v>
                </c:pt>
                <c:pt idx="4673">
                  <c:v>1.8008276519508738E-2</c:v>
                </c:pt>
                <c:pt idx="4674">
                  <c:v>1.7449114471711418E-2</c:v>
                </c:pt>
                <c:pt idx="4675">
                  <c:v>1.7025641523646485E-2</c:v>
                </c:pt>
                <c:pt idx="4676">
                  <c:v>1.6439760146302298E-2</c:v>
                </c:pt>
                <c:pt idx="4677">
                  <c:v>1.6850436026309652E-2</c:v>
                </c:pt>
                <c:pt idx="4678">
                  <c:v>1.7422875512037403E-2</c:v>
                </c:pt>
                <c:pt idx="4679">
                  <c:v>1.7755412880258753E-2</c:v>
                </c:pt>
                <c:pt idx="4680">
                  <c:v>1.8012156660154745E-2</c:v>
                </c:pt>
                <c:pt idx="4681">
                  <c:v>1.8219232115652441E-2</c:v>
                </c:pt>
                <c:pt idx="4682">
                  <c:v>1.8639659872174075E-2</c:v>
                </c:pt>
                <c:pt idx="4683">
                  <c:v>1.8859650695763348E-2</c:v>
                </c:pt>
                <c:pt idx="4684">
                  <c:v>1.9327735312266996E-2</c:v>
                </c:pt>
                <c:pt idx="4685">
                  <c:v>2.0486182124165562E-2</c:v>
                </c:pt>
                <c:pt idx="4686">
                  <c:v>2.1437058214190948E-2</c:v>
                </c:pt>
                <c:pt idx="4687">
                  <c:v>2.2139197702783473E-2</c:v>
                </c:pt>
                <c:pt idx="4688">
                  <c:v>2.2757871791480824E-2</c:v>
                </c:pt>
                <c:pt idx="4689">
                  <c:v>2.3696506284203417E-2</c:v>
                </c:pt>
                <c:pt idx="4690">
                  <c:v>2.4356787644255837E-2</c:v>
                </c:pt>
                <c:pt idx="4691">
                  <c:v>2.4944607199075163E-2</c:v>
                </c:pt>
                <c:pt idx="4692">
                  <c:v>2.5918867629961952E-2</c:v>
                </c:pt>
                <c:pt idx="4693">
                  <c:v>2.6680991215547172E-2</c:v>
                </c:pt>
                <c:pt idx="4694">
                  <c:v>2.7687978050902212E-2</c:v>
                </c:pt>
                <c:pt idx="4695">
                  <c:v>2.858028778791297E-2</c:v>
                </c:pt>
                <c:pt idx="4696">
                  <c:v>2.9410932203695832E-2</c:v>
                </c:pt>
                <c:pt idx="4697">
                  <c:v>2.999345126422593E-2</c:v>
                </c:pt>
                <c:pt idx="4698">
                  <c:v>3.0324808945436519E-2</c:v>
                </c:pt>
                <c:pt idx="4699">
                  <c:v>3.0689042658780568E-2</c:v>
                </c:pt>
                <c:pt idx="4700">
                  <c:v>3.1131798765616073E-2</c:v>
                </c:pt>
                <c:pt idx="4701">
                  <c:v>3.1578593451214963E-2</c:v>
                </c:pt>
                <c:pt idx="4702">
                  <c:v>3.1817596512868564E-2</c:v>
                </c:pt>
                <c:pt idx="4703">
                  <c:v>3.1923079048214641E-2</c:v>
                </c:pt>
                <c:pt idx="4704">
                  <c:v>3.2052582591588608E-2</c:v>
                </c:pt>
                <c:pt idx="4705">
                  <c:v>3.2062816524268428E-2</c:v>
                </c:pt>
                <c:pt idx="4706">
                  <c:v>3.1689268101593962E-2</c:v>
                </c:pt>
                <c:pt idx="4707">
                  <c:v>3.1640391725639219E-2</c:v>
                </c:pt>
                <c:pt idx="4708">
                  <c:v>3.1698783495114291E-2</c:v>
                </c:pt>
                <c:pt idx="4709">
                  <c:v>3.1725331882882443E-2</c:v>
                </c:pt>
                <c:pt idx="4710">
                  <c:v>3.1517469038107274E-2</c:v>
                </c:pt>
                <c:pt idx="4711">
                  <c:v>3.109854846309866E-2</c:v>
                </c:pt>
                <c:pt idx="4712">
                  <c:v>3.0773457701186765E-2</c:v>
                </c:pt>
                <c:pt idx="4713">
                  <c:v>3.0315414942080177E-2</c:v>
                </c:pt>
                <c:pt idx="4714">
                  <c:v>2.9750199006814741E-2</c:v>
                </c:pt>
                <c:pt idx="4715">
                  <c:v>2.9779820942787458E-2</c:v>
                </c:pt>
                <c:pt idx="4716">
                  <c:v>2.9580792288530323E-2</c:v>
                </c:pt>
                <c:pt idx="4717">
                  <c:v>2.9386231386217772E-2</c:v>
                </c:pt>
                <c:pt idx="4718">
                  <c:v>2.8802650331918919E-2</c:v>
                </c:pt>
                <c:pt idx="4719">
                  <c:v>2.8608154670484515E-2</c:v>
                </c:pt>
                <c:pt idx="4720">
                  <c:v>2.8338892789974122E-2</c:v>
                </c:pt>
                <c:pt idx="4721">
                  <c:v>2.8218510843146947E-2</c:v>
                </c:pt>
                <c:pt idx="4722">
                  <c:v>2.8148259505645458E-2</c:v>
                </c:pt>
                <c:pt idx="4723">
                  <c:v>2.8026828922336398E-2</c:v>
                </c:pt>
                <c:pt idx="4724">
                  <c:v>2.8127083636988442E-2</c:v>
                </c:pt>
                <c:pt idx="4725">
                  <c:v>2.8073389924964092E-2</c:v>
                </c:pt>
                <c:pt idx="4726">
                  <c:v>2.7860717985739896E-2</c:v>
                </c:pt>
                <c:pt idx="4727">
                  <c:v>2.7403893174342473E-2</c:v>
                </c:pt>
                <c:pt idx="4728">
                  <c:v>2.6660503764665614E-2</c:v>
                </c:pt>
                <c:pt idx="4729">
                  <c:v>2.6244519134281337E-2</c:v>
                </c:pt>
                <c:pt idx="4730">
                  <c:v>2.5702977765187998E-2</c:v>
                </c:pt>
                <c:pt idx="4731">
                  <c:v>2.5397690634622154E-2</c:v>
                </c:pt>
                <c:pt idx="4732">
                  <c:v>2.4934651314814722E-2</c:v>
                </c:pt>
                <c:pt idx="4733">
                  <c:v>2.4489694050411688E-2</c:v>
                </c:pt>
                <c:pt idx="4734">
                  <c:v>2.4139144427316909E-2</c:v>
                </c:pt>
                <c:pt idx="4735">
                  <c:v>2.4036708497182653E-2</c:v>
                </c:pt>
                <c:pt idx="4736">
                  <c:v>2.3774321569093676E-2</c:v>
                </c:pt>
                <c:pt idx="4737">
                  <c:v>2.3628490976319184E-2</c:v>
                </c:pt>
                <c:pt idx="4738">
                  <c:v>2.3443055477049168E-2</c:v>
                </c:pt>
                <c:pt idx="4739">
                  <c:v>2.3516147314097693E-2</c:v>
                </c:pt>
                <c:pt idx="4740">
                  <c:v>2.3400190842734089E-2</c:v>
                </c:pt>
                <c:pt idx="4741">
                  <c:v>2.3043765664382557E-2</c:v>
                </c:pt>
                <c:pt idx="4742">
                  <c:v>2.2594924420777866E-2</c:v>
                </c:pt>
                <c:pt idx="4743">
                  <c:v>2.2118720894237741E-2</c:v>
                </c:pt>
                <c:pt idx="4744">
                  <c:v>2.1390846535852277E-2</c:v>
                </c:pt>
                <c:pt idx="4745">
                  <c:v>2.0710335869078958E-2</c:v>
                </c:pt>
                <c:pt idx="4746">
                  <c:v>1.9836722971845938E-2</c:v>
                </c:pt>
                <c:pt idx="4747">
                  <c:v>1.9114827398695695E-2</c:v>
                </c:pt>
                <c:pt idx="4748">
                  <c:v>1.81570794374145E-2</c:v>
                </c:pt>
                <c:pt idx="4749">
                  <c:v>1.7229553840835184E-2</c:v>
                </c:pt>
                <c:pt idx="4750">
                  <c:v>1.6380859445084467E-2</c:v>
                </c:pt>
                <c:pt idx="4751">
                  <c:v>1.5750774988905387E-2</c:v>
                </c:pt>
                <c:pt idx="4752">
                  <c:v>1.4979582580634703E-2</c:v>
                </c:pt>
                <c:pt idx="4753">
                  <c:v>1.4351355024683319E-2</c:v>
                </c:pt>
                <c:pt idx="4754">
                  <c:v>1.3657860700777907E-2</c:v>
                </c:pt>
                <c:pt idx="4755">
                  <c:v>1.2825625821708351E-2</c:v>
                </c:pt>
                <c:pt idx="4756">
                  <c:v>1.1822347808528699E-2</c:v>
                </c:pt>
                <c:pt idx="4757">
                  <c:v>1.0681065256974457E-2</c:v>
                </c:pt>
                <c:pt idx="4758">
                  <c:v>9.338640016714814E-3</c:v>
                </c:pt>
                <c:pt idx="4759">
                  <c:v>8.3431473149127439E-3</c:v>
                </c:pt>
                <c:pt idx="4760">
                  <c:v>7.1408581067059183E-3</c:v>
                </c:pt>
                <c:pt idx="4761">
                  <c:v>6.1301879569731947E-3</c:v>
                </c:pt>
                <c:pt idx="4762">
                  <c:v>5.0167949194311412E-3</c:v>
                </c:pt>
                <c:pt idx="4763">
                  <c:v>4.1086680974282801E-3</c:v>
                </c:pt>
                <c:pt idx="4764">
                  <c:v>2.837576186991108E-3</c:v>
                </c:pt>
                <c:pt idx="4765">
                  <c:v>1.9810245190605394E-3</c:v>
                </c:pt>
                <c:pt idx="4766">
                  <c:v>1.0792896942397601E-3</c:v>
                </c:pt>
                <c:pt idx="4767">
                  <c:v>6.6051305545616857E-4</c:v>
                </c:pt>
                <c:pt idx="4768">
                  <c:v>0</c:v>
                </c:pt>
                <c:pt idx="4769">
                  <c:v>0</c:v>
                </c:pt>
                <c:pt idx="4770">
                  <c:v>0</c:v>
                </c:pt>
                <c:pt idx="4771">
                  <c:v>0</c:v>
                </c:pt>
                <c:pt idx="4772">
                  <c:v>0</c:v>
                </c:pt>
                <c:pt idx="4773">
                  <c:v>0</c:v>
                </c:pt>
                <c:pt idx="4774">
                  <c:v>0</c:v>
                </c:pt>
                <c:pt idx="4775">
                  <c:v>0</c:v>
                </c:pt>
                <c:pt idx="4776">
                  <c:v>0</c:v>
                </c:pt>
                <c:pt idx="4777">
                  <c:v>0</c:v>
                </c:pt>
                <c:pt idx="4778">
                  <c:v>0</c:v>
                </c:pt>
                <c:pt idx="4779">
                  <c:v>0</c:v>
                </c:pt>
                <c:pt idx="4780">
                  <c:v>0</c:v>
                </c:pt>
                <c:pt idx="4781">
                  <c:v>0</c:v>
                </c:pt>
                <c:pt idx="4782">
                  <c:v>0</c:v>
                </c:pt>
                <c:pt idx="4783">
                  <c:v>0</c:v>
                </c:pt>
                <c:pt idx="4784">
                  <c:v>0</c:v>
                </c:pt>
                <c:pt idx="4785">
                  <c:v>0</c:v>
                </c:pt>
                <c:pt idx="4786">
                  <c:v>0</c:v>
                </c:pt>
                <c:pt idx="4787">
                  <c:v>0</c:v>
                </c:pt>
                <c:pt idx="4788">
                  <c:v>0</c:v>
                </c:pt>
                <c:pt idx="4789">
                  <c:v>0</c:v>
                </c:pt>
                <c:pt idx="4790">
                  <c:v>0</c:v>
                </c:pt>
                <c:pt idx="4791">
                  <c:v>0</c:v>
                </c:pt>
                <c:pt idx="4792">
                  <c:v>0</c:v>
                </c:pt>
                <c:pt idx="4793">
                  <c:v>0</c:v>
                </c:pt>
                <c:pt idx="4794">
                  <c:v>0</c:v>
                </c:pt>
                <c:pt idx="4795">
                  <c:v>0</c:v>
                </c:pt>
                <c:pt idx="4796">
                  <c:v>0</c:v>
                </c:pt>
                <c:pt idx="4797">
                  <c:v>0</c:v>
                </c:pt>
                <c:pt idx="4798">
                  <c:v>0</c:v>
                </c:pt>
                <c:pt idx="4799">
                  <c:v>0</c:v>
                </c:pt>
                <c:pt idx="4800">
                  <c:v>0</c:v>
                </c:pt>
                <c:pt idx="4801">
                  <c:v>0</c:v>
                </c:pt>
                <c:pt idx="4802">
                  <c:v>0</c:v>
                </c:pt>
                <c:pt idx="4803">
                  <c:v>0</c:v>
                </c:pt>
                <c:pt idx="4804">
                  <c:v>0</c:v>
                </c:pt>
                <c:pt idx="4805">
                  <c:v>0</c:v>
                </c:pt>
                <c:pt idx="4806">
                  <c:v>0</c:v>
                </c:pt>
                <c:pt idx="4807">
                  <c:v>0</c:v>
                </c:pt>
                <c:pt idx="4808">
                  <c:v>0</c:v>
                </c:pt>
                <c:pt idx="4809">
                  <c:v>0</c:v>
                </c:pt>
                <c:pt idx="4810">
                  <c:v>0</c:v>
                </c:pt>
                <c:pt idx="4811">
                  <c:v>0</c:v>
                </c:pt>
                <c:pt idx="4812">
                  <c:v>0</c:v>
                </c:pt>
                <c:pt idx="4813">
                  <c:v>0</c:v>
                </c:pt>
                <c:pt idx="4814">
                  <c:v>0</c:v>
                </c:pt>
                <c:pt idx="4815">
                  <c:v>0</c:v>
                </c:pt>
                <c:pt idx="4816">
                  <c:v>0</c:v>
                </c:pt>
                <c:pt idx="4817">
                  <c:v>0</c:v>
                </c:pt>
                <c:pt idx="4818">
                  <c:v>0</c:v>
                </c:pt>
                <c:pt idx="4819">
                  <c:v>0</c:v>
                </c:pt>
                <c:pt idx="4820">
                  <c:v>0</c:v>
                </c:pt>
                <c:pt idx="4821">
                  <c:v>0</c:v>
                </c:pt>
                <c:pt idx="4822">
                  <c:v>0</c:v>
                </c:pt>
                <c:pt idx="4823">
                  <c:v>0</c:v>
                </c:pt>
                <c:pt idx="4824">
                  <c:v>0</c:v>
                </c:pt>
                <c:pt idx="4825">
                  <c:v>0</c:v>
                </c:pt>
                <c:pt idx="4826">
                  <c:v>0</c:v>
                </c:pt>
                <c:pt idx="4827">
                  <c:v>0</c:v>
                </c:pt>
                <c:pt idx="4828">
                  <c:v>0</c:v>
                </c:pt>
                <c:pt idx="4829">
                  <c:v>0</c:v>
                </c:pt>
                <c:pt idx="4830">
                  <c:v>0</c:v>
                </c:pt>
                <c:pt idx="4831">
                  <c:v>0</c:v>
                </c:pt>
                <c:pt idx="4832">
                  <c:v>0</c:v>
                </c:pt>
                <c:pt idx="4833">
                  <c:v>0</c:v>
                </c:pt>
                <c:pt idx="4834">
                  <c:v>0</c:v>
                </c:pt>
                <c:pt idx="4835">
                  <c:v>0</c:v>
                </c:pt>
                <c:pt idx="4836">
                  <c:v>0</c:v>
                </c:pt>
                <c:pt idx="4837">
                  <c:v>0</c:v>
                </c:pt>
                <c:pt idx="4838">
                  <c:v>0</c:v>
                </c:pt>
                <c:pt idx="4839">
                  <c:v>0</c:v>
                </c:pt>
                <c:pt idx="4840">
                  <c:v>0</c:v>
                </c:pt>
                <c:pt idx="4841">
                  <c:v>0</c:v>
                </c:pt>
                <c:pt idx="4842">
                  <c:v>0</c:v>
                </c:pt>
                <c:pt idx="4843">
                  <c:v>0</c:v>
                </c:pt>
                <c:pt idx="4844">
                  <c:v>0</c:v>
                </c:pt>
                <c:pt idx="4845">
                  <c:v>0</c:v>
                </c:pt>
                <c:pt idx="4846">
                  <c:v>0</c:v>
                </c:pt>
                <c:pt idx="4847">
                  <c:v>0</c:v>
                </c:pt>
                <c:pt idx="4848">
                  <c:v>0</c:v>
                </c:pt>
                <c:pt idx="4849">
                  <c:v>0</c:v>
                </c:pt>
                <c:pt idx="4850">
                  <c:v>0</c:v>
                </c:pt>
                <c:pt idx="4851">
                  <c:v>0</c:v>
                </c:pt>
                <c:pt idx="4852">
                  <c:v>0</c:v>
                </c:pt>
                <c:pt idx="4853">
                  <c:v>0</c:v>
                </c:pt>
                <c:pt idx="4854">
                  <c:v>0</c:v>
                </c:pt>
                <c:pt idx="4855">
                  <c:v>0</c:v>
                </c:pt>
                <c:pt idx="4856">
                  <c:v>0</c:v>
                </c:pt>
                <c:pt idx="4857">
                  <c:v>0</c:v>
                </c:pt>
                <c:pt idx="4858">
                  <c:v>0</c:v>
                </c:pt>
                <c:pt idx="4859">
                  <c:v>0</c:v>
                </c:pt>
                <c:pt idx="4860">
                  <c:v>0</c:v>
                </c:pt>
                <c:pt idx="4861">
                  <c:v>0</c:v>
                </c:pt>
                <c:pt idx="4862">
                  <c:v>0</c:v>
                </c:pt>
                <c:pt idx="4863">
                  <c:v>0</c:v>
                </c:pt>
                <c:pt idx="4864">
                  <c:v>0</c:v>
                </c:pt>
                <c:pt idx="4865">
                  <c:v>0</c:v>
                </c:pt>
                <c:pt idx="4866">
                  <c:v>0</c:v>
                </c:pt>
                <c:pt idx="4867">
                  <c:v>0</c:v>
                </c:pt>
                <c:pt idx="4868">
                  <c:v>0</c:v>
                </c:pt>
                <c:pt idx="4869">
                  <c:v>0</c:v>
                </c:pt>
                <c:pt idx="4870">
                  <c:v>0</c:v>
                </c:pt>
                <c:pt idx="4871">
                  <c:v>0</c:v>
                </c:pt>
                <c:pt idx="4872">
                  <c:v>0</c:v>
                </c:pt>
                <c:pt idx="4873">
                  <c:v>0</c:v>
                </c:pt>
                <c:pt idx="4874">
                  <c:v>0</c:v>
                </c:pt>
                <c:pt idx="4875">
                  <c:v>0</c:v>
                </c:pt>
                <c:pt idx="4876">
                  <c:v>0</c:v>
                </c:pt>
                <c:pt idx="4877">
                  <c:v>0</c:v>
                </c:pt>
                <c:pt idx="4878">
                  <c:v>0</c:v>
                </c:pt>
                <c:pt idx="4879">
                  <c:v>0</c:v>
                </c:pt>
                <c:pt idx="4880">
                  <c:v>0</c:v>
                </c:pt>
                <c:pt idx="4881">
                  <c:v>0</c:v>
                </c:pt>
                <c:pt idx="4882">
                  <c:v>0</c:v>
                </c:pt>
                <c:pt idx="4883">
                  <c:v>0</c:v>
                </c:pt>
                <c:pt idx="4884">
                  <c:v>0</c:v>
                </c:pt>
                <c:pt idx="4885">
                  <c:v>0</c:v>
                </c:pt>
                <c:pt idx="4886">
                  <c:v>0</c:v>
                </c:pt>
                <c:pt idx="4887">
                  <c:v>0</c:v>
                </c:pt>
                <c:pt idx="4888">
                  <c:v>0</c:v>
                </c:pt>
                <c:pt idx="4889">
                  <c:v>0</c:v>
                </c:pt>
                <c:pt idx="4890">
                  <c:v>0</c:v>
                </c:pt>
                <c:pt idx="4891">
                  <c:v>0</c:v>
                </c:pt>
                <c:pt idx="4892">
                  <c:v>0</c:v>
                </c:pt>
                <c:pt idx="4893">
                  <c:v>0</c:v>
                </c:pt>
                <c:pt idx="4894">
                  <c:v>0</c:v>
                </c:pt>
                <c:pt idx="4895">
                  <c:v>0</c:v>
                </c:pt>
                <c:pt idx="4896">
                  <c:v>0</c:v>
                </c:pt>
                <c:pt idx="4897">
                  <c:v>0</c:v>
                </c:pt>
                <c:pt idx="4898">
                  <c:v>0</c:v>
                </c:pt>
                <c:pt idx="4899">
                  <c:v>0</c:v>
                </c:pt>
                <c:pt idx="4900">
                  <c:v>0</c:v>
                </c:pt>
                <c:pt idx="4901">
                  <c:v>0</c:v>
                </c:pt>
                <c:pt idx="4902">
                  <c:v>0</c:v>
                </c:pt>
                <c:pt idx="4903">
                  <c:v>0</c:v>
                </c:pt>
                <c:pt idx="4904">
                  <c:v>0</c:v>
                </c:pt>
                <c:pt idx="4905">
                  <c:v>0</c:v>
                </c:pt>
                <c:pt idx="4906">
                  <c:v>0</c:v>
                </c:pt>
                <c:pt idx="4907">
                  <c:v>0</c:v>
                </c:pt>
                <c:pt idx="4908">
                  <c:v>0</c:v>
                </c:pt>
                <c:pt idx="4909">
                  <c:v>0</c:v>
                </c:pt>
                <c:pt idx="4910">
                  <c:v>0</c:v>
                </c:pt>
                <c:pt idx="4911">
                  <c:v>0</c:v>
                </c:pt>
                <c:pt idx="4912">
                  <c:v>0</c:v>
                </c:pt>
                <c:pt idx="4913">
                  <c:v>0</c:v>
                </c:pt>
                <c:pt idx="4914">
                  <c:v>0</c:v>
                </c:pt>
                <c:pt idx="4915">
                  <c:v>0</c:v>
                </c:pt>
                <c:pt idx="4916">
                  <c:v>0</c:v>
                </c:pt>
                <c:pt idx="4917">
                  <c:v>0</c:v>
                </c:pt>
                <c:pt idx="4918">
                  <c:v>0</c:v>
                </c:pt>
                <c:pt idx="4919">
                  <c:v>0</c:v>
                </c:pt>
                <c:pt idx="4920">
                  <c:v>0</c:v>
                </c:pt>
                <c:pt idx="4921">
                  <c:v>0</c:v>
                </c:pt>
                <c:pt idx="4922">
                  <c:v>0</c:v>
                </c:pt>
                <c:pt idx="4923">
                  <c:v>0</c:v>
                </c:pt>
                <c:pt idx="4924">
                  <c:v>0</c:v>
                </c:pt>
                <c:pt idx="4925">
                  <c:v>0</c:v>
                </c:pt>
                <c:pt idx="4926">
                  <c:v>0</c:v>
                </c:pt>
                <c:pt idx="4927">
                  <c:v>0</c:v>
                </c:pt>
                <c:pt idx="4928">
                  <c:v>0</c:v>
                </c:pt>
                <c:pt idx="4929">
                  <c:v>0</c:v>
                </c:pt>
                <c:pt idx="4930">
                  <c:v>0</c:v>
                </c:pt>
                <c:pt idx="4931">
                  <c:v>0</c:v>
                </c:pt>
                <c:pt idx="4932">
                  <c:v>0</c:v>
                </c:pt>
                <c:pt idx="4933">
                  <c:v>0</c:v>
                </c:pt>
                <c:pt idx="4934">
                  <c:v>0</c:v>
                </c:pt>
                <c:pt idx="4935">
                  <c:v>0</c:v>
                </c:pt>
                <c:pt idx="4936">
                  <c:v>0</c:v>
                </c:pt>
                <c:pt idx="4937">
                  <c:v>0</c:v>
                </c:pt>
                <c:pt idx="4938">
                  <c:v>0</c:v>
                </c:pt>
                <c:pt idx="4939">
                  <c:v>0</c:v>
                </c:pt>
                <c:pt idx="4940">
                  <c:v>0</c:v>
                </c:pt>
                <c:pt idx="4941">
                  <c:v>0</c:v>
                </c:pt>
                <c:pt idx="4942">
                  <c:v>0</c:v>
                </c:pt>
                <c:pt idx="4943">
                  <c:v>0</c:v>
                </c:pt>
                <c:pt idx="4944">
                  <c:v>0</c:v>
                </c:pt>
                <c:pt idx="4945">
                  <c:v>0</c:v>
                </c:pt>
                <c:pt idx="4946">
                  <c:v>0</c:v>
                </c:pt>
                <c:pt idx="4947">
                  <c:v>0</c:v>
                </c:pt>
                <c:pt idx="4948">
                  <c:v>0</c:v>
                </c:pt>
                <c:pt idx="4949">
                  <c:v>0</c:v>
                </c:pt>
                <c:pt idx="4950">
                  <c:v>0</c:v>
                </c:pt>
                <c:pt idx="4951">
                  <c:v>0</c:v>
                </c:pt>
                <c:pt idx="4952">
                  <c:v>0</c:v>
                </c:pt>
                <c:pt idx="4953">
                  <c:v>0</c:v>
                </c:pt>
                <c:pt idx="4954">
                  <c:v>0</c:v>
                </c:pt>
                <c:pt idx="4955">
                  <c:v>0</c:v>
                </c:pt>
                <c:pt idx="4956">
                  <c:v>0</c:v>
                </c:pt>
                <c:pt idx="4957">
                  <c:v>0</c:v>
                </c:pt>
                <c:pt idx="4958">
                  <c:v>0</c:v>
                </c:pt>
                <c:pt idx="4959">
                  <c:v>0</c:v>
                </c:pt>
                <c:pt idx="4960">
                  <c:v>0</c:v>
                </c:pt>
                <c:pt idx="4961">
                  <c:v>0</c:v>
                </c:pt>
                <c:pt idx="4962">
                  <c:v>0</c:v>
                </c:pt>
                <c:pt idx="4963">
                  <c:v>0</c:v>
                </c:pt>
                <c:pt idx="4964">
                  <c:v>0</c:v>
                </c:pt>
                <c:pt idx="4965">
                  <c:v>0</c:v>
                </c:pt>
                <c:pt idx="4966">
                  <c:v>0</c:v>
                </c:pt>
                <c:pt idx="4967">
                  <c:v>0</c:v>
                </c:pt>
                <c:pt idx="4968">
                  <c:v>0</c:v>
                </c:pt>
                <c:pt idx="4969">
                  <c:v>0</c:v>
                </c:pt>
                <c:pt idx="4970">
                  <c:v>0</c:v>
                </c:pt>
                <c:pt idx="4971">
                  <c:v>0</c:v>
                </c:pt>
                <c:pt idx="4972">
                  <c:v>0</c:v>
                </c:pt>
                <c:pt idx="4973">
                  <c:v>0</c:v>
                </c:pt>
                <c:pt idx="4974">
                  <c:v>0</c:v>
                </c:pt>
                <c:pt idx="4975">
                  <c:v>0</c:v>
                </c:pt>
                <c:pt idx="4976">
                  <c:v>0</c:v>
                </c:pt>
                <c:pt idx="4977">
                  <c:v>0</c:v>
                </c:pt>
                <c:pt idx="4978">
                  <c:v>0</c:v>
                </c:pt>
                <c:pt idx="4979">
                  <c:v>0</c:v>
                </c:pt>
                <c:pt idx="4980">
                  <c:v>0</c:v>
                </c:pt>
                <c:pt idx="4981">
                  <c:v>0</c:v>
                </c:pt>
                <c:pt idx="4982">
                  <c:v>0</c:v>
                </c:pt>
                <c:pt idx="4983">
                  <c:v>0</c:v>
                </c:pt>
                <c:pt idx="4984">
                  <c:v>0</c:v>
                </c:pt>
                <c:pt idx="4985">
                  <c:v>0</c:v>
                </c:pt>
                <c:pt idx="4986">
                  <c:v>0</c:v>
                </c:pt>
                <c:pt idx="4987">
                  <c:v>0</c:v>
                </c:pt>
                <c:pt idx="4988">
                  <c:v>0</c:v>
                </c:pt>
                <c:pt idx="4989">
                  <c:v>0</c:v>
                </c:pt>
                <c:pt idx="4990">
                  <c:v>0</c:v>
                </c:pt>
                <c:pt idx="4991">
                  <c:v>0</c:v>
                </c:pt>
                <c:pt idx="4992">
                  <c:v>0</c:v>
                </c:pt>
                <c:pt idx="4993">
                  <c:v>0</c:v>
                </c:pt>
                <c:pt idx="4994">
                  <c:v>0</c:v>
                </c:pt>
                <c:pt idx="4995">
                  <c:v>0</c:v>
                </c:pt>
                <c:pt idx="4996">
                  <c:v>0</c:v>
                </c:pt>
                <c:pt idx="4997">
                  <c:v>0</c:v>
                </c:pt>
                <c:pt idx="4998">
                  <c:v>0</c:v>
                </c:pt>
                <c:pt idx="4999">
                  <c:v>0</c:v>
                </c:pt>
                <c:pt idx="5000">
                  <c:v>0</c:v>
                </c:pt>
                <c:pt idx="5001">
                  <c:v>0</c:v>
                </c:pt>
                <c:pt idx="5002">
                  <c:v>0</c:v>
                </c:pt>
                <c:pt idx="5003">
                  <c:v>0</c:v>
                </c:pt>
                <c:pt idx="5004">
                  <c:v>0</c:v>
                </c:pt>
                <c:pt idx="5005">
                  <c:v>0</c:v>
                </c:pt>
                <c:pt idx="5006">
                  <c:v>0</c:v>
                </c:pt>
                <c:pt idx="5007">
                  <c:v>0</c:v>
                </c:pt>
                <c:pt idx="5008">
                  <c:v>0</c:v>
                </c:pt>
                <c:pt idx="5009">
                  <c:v>0</c:v>
                </c:pt>
                <c:pt idx="5010">
                  <c:v>0</c:v>
                </c:pt>
                <c:pt idx="5011">
                  <c:v>0</c:v>
                </c:pt>
                <c:pt idx="5012">
                  <c:v>0</c:v>
                </c:pt>
                <c:pt idx="5013">
                  <c:v>0</c:v>
                </c:pt>
                <c:pt idx="5014">
                  <c:v>0</c:v>
                </c:pt>
                <c:pt idx="5015">
                  <c:v>0</c:v>
                </c:pt>
                <c:pt idx="5016">
                  <c:v>0</c:v>
                </c:pt>
                <c:pt idx="5017">
                  <c:v>0</c:v>
                </c:pt>
                <c:pt idx="5018">
                  <c:v>0</c:v>
                </c:pt>
                <c:pt idx="5019">
                  <c:v>0</c:v>
                </c:pt>
                <c:pt idx="5020">
                  <c:v>0</c:v>
                </c:pt>
                <c:pt idx="5021">
                  <c:v>0</c:v>
                </c:pt>
                <c:pt idx="5022">
                  <c:v>0</c:v>
                </c:pt>
                <c:pt idx="5023">
                  <c:v>0</c:v>
                </c:pt>
                <c:pt idx="5024">
                  <c:v>0</c:v>
                </c:pt>
                <c:pt idx="5025">
                  <c:v>0</c:v>
                </c:pt>
                <c:pt idx="5026">
                  <c:v>0</c:v>
                </c:pt>
                <c:pt idx="5027">
                  <c:v>0</c:v>
                </c:pt>
                <c:pt idx="5028">
                  <c:v>0</c:v>
                </c:pt>
                <c:pt idx="5029">
                  <c:v>0</c:v>
                </c:pt>
                <c:pt idx="5030">
                  <c:v>0</c:v>
                </c:pt>
                <c:pt idx="5031">
                  <c:v>0</c:v>
                </c:pt>
                <c:pt idx="5032">
                  <c:v>0</c:v>
                </c:pt>
                <c:pt idx="5033">
                  <c:v>0</c:v>
                </c:pt>
                <c:pt idx="5034">
                  <c:v>0</c:v>
                </c:pt>
                <c:pt idx="5035">
                  <c:v>0</c:v>
                </c:pt>
                <c:pt idx="5036">
                  <c:v>0</c:v>
                </c:pt>
                <c:pt idx="5037">
                  <c:v>0</c:v>
                </c:pt>
                <c:pt idx="5038">
                  <c:v>0</c:v>
                </c:pt>
                <c:pt idx="5039">
                  <c:v>0</c:v>
                </c:pt>
                <c:pt idx="5040">
                  <c:v>0</c:v>
                </c:pt>
                <c:pt idx="5041">
                  <c:v>0</c:v>
                </c:pt>
                <c:pt idx="5042">
                  <c:v>0</c:v>
                </c:pt>
                <c:pt idx="5043">
                  <c:v>0</c:v>
                </c:pt>
                <c:pt idx="5044">
                  <c:v>0</c:v>
                </c:pt>
                <c:pt idx="5045">
                  <c:v>0</c:v>
                </c:pt>
                <c:pt idx="5046">
                  <c:v>0</c:v>
                </c:pt>
                <c:pt idx="5047">
                  <c:v>2.3013561934376037E-3</c:v>
                </c:pt>
                <c:pt idx="5048">
                  <c:v>3.3942320386695967E-3</c:v>
                </c:pt>
                <c:pt idx="5049">
                  <c:v>7.1961497734821262E-3</c:v>
                </c:pt>
                <c:pt idx="5050">
                  <c:v>1.0072021907260894E-2</c:v>
                </c:pt>
                <c:pt idx="5051">
                  <c:v>1.2405038776305994E-2</c:v>
                </c:pt>
                <c:pt idx="5052">
                  <c:v>1.6460951686223486E-2</c:v>
                </c:pt>
                <c:pt idx="5053">
                  <c:v>1.9475010081021003E-2</c:v>
                </c:pt>
                <c:pt idx="5054">
                  <c:v>2.2309620444536649E-2</c:v>
                </c:pt>
                <c:pt idx="5055">
                  <c:v>2.5768010481316623E-2</c:v>
                </c:pt>
                <c:pt idx="5056">
                  <c:v>2.8620773956393467E-2</c:v>
                </c:pt>
                <c:pt idx="5057">
                  <c:v>3.098101850480009E-2</c:v>
                </c:pt>
                <c:pt idx="5058">
                  <c:v>3.3603856716665846E-2</c:v>
                </c:pt>
                <c:pt idx="5059">
                  <c:v>3.8510443853712259E-2</c:v>
                </c:pt>
                <c:pt idx="5060">
                  <c:v>4.3167022188084977E-2</c:v>
                </c:pt>
                <c:pt idx="5061">
                  <c:v>4.718807079863041E-2</c:v>
                </c:pt>
                <c:pt idx="5062">
                  <c:v>5.2723332074892555E-2</c:v>
                </c:pt>
                <c:pt idx="5063">
                  <c:v>5.7362316133300228E-2</c:v>
                </c:pt>
                <c:pt idx="5064">
                  <c:v>6.1104903795795765E-2</c:v>
                </c:pt>
                <c:pt idx="5065">
                  <c:v>6.4557373097889045E-2</c:v>
                </c:pt>
                <c:pt idx="5066">
                  <c:v>6.8249579074368863E-2</c:v>
                </c:pt>
                <c:pt idx="5067">
                  <c:v>7.1129041685007513E-2</c:v>
                </c:pt>
                <c:pt idx="5068">
                  <c:v>7.3949307363557579E-2</c:v>
                </c:pt>
                <c:pt idx="5069">
                  <c:v>7.7711637406611897E-2</c:v>
                </c:pt>
                <c:pt idx="5070">
                  <c:v>8.4655955785567893E-2</c:v>
                </c:pt>
                <c:pt idx="5071">
                  <c:v>9.0951559998028453E-2</c:v>
                </c:pt>
                <c:pt idx="5072">
                  <c:v>9.5953606693415697E-2</c:v>
                </c:pt>
                <c:pt idx="5073">
                  <c:v>0.10068045447224303</c:v>
                </c:pt>
                <c:pt idx="5074">
                  <c:v>0.10419017801082672</c:v>
                </c:pt>
                <c:pt idx="5075">
                  <c:v>0.10662543605280445</c:v>
                </c:pt>
                <c:pt idx="5076">
                  <c:v>0.10911230045630226</c:v>
                </c:pt>
                <c:pt idx="5077">
                  <c:v>0.11216369813588309</c:v>
                </c:pt>
                <c:pt idx="5078">
                  <c:v>0.11389053462327844</c:v>
                </c:pt>
                <c:pt idx="5079">
                  <c:v>0.11574250099707405</c:v>
                </c:pt>
                <c:pt idx="5080">
                  <c:v>0.11735804791761782</c:v>
                </c:pt>
                <c:pt idx="5081">
                  <c:v>0.11848731262759613</c:v>
                </c:pt>
                <c:pt idx="5082">
                  <c:v>0.1195000110765775</c:v>
                </c:pt>
                <c:pt idx="5083">
                  <c:v>0.12056786851528756</c:v>
                </c:pt>
                <c:pt idx="5084">
                  <c:v>0.12057619923592763</c:v>
                </c:pt>
                <c:pt idx="5085">
                  <c:v>0.12074912582333115</c:v>
                </c:pt>
                <c:pt idx="5086">
                  <c:v>0.1206817072230299</c:v>
                </c:pt>
                <c:pt idx="5087">
                  <c:v>0.11966239948255079</c:v>
                </c:pt>
                <c:pt idx="5088">
                  <c:v>0.11853674863904666</c:v>
                </c:pt>
                <c:pt idx="5089">
                  <c:v>0.11861985136326553</c:v>
                </c:pt>
                <c:pt idx="5090">
                  <c:v>0.11787938975382956</c:v>
                </c:pt>
                <c:pt idx="5091">
                  <c:v>0.11652294225657797</c:v>
                </c:pt>
                <c:pt idx="5092">
                  <c:v>0.11669972790687132</c:v>
                </c:pt>
                <c:pt idx="5093">
                  <c:v>0.11593338790388438</c:v>
                </c:pt>
                <c:pt idx="5094">
                  <c:v>0.11392719775678947</c:v>
                </c:pt>
                <c:pt idx="5095">
                  <c:v>0.1115044328967893</c:v>
                </c:pt>
                <c:pt idx="5096">
                  <c:v>0.1096063162535163</c:v>
                </c:pt>
                <c:pt idx="5097">
                  <c:v>0.10670912416398798</c:v>
                </c:pt>
                <c:pt idx="5098">
                  <c:v>0.10299247529476621</c:v>
                </c:pt>
                <c:pt idx="5099">
                  <c:v>9.9759858363329193E-2</c:v>
                </c:pt>
                <c:pt idx="5100">
                  <c:v>9.8956407164278865E-2</c:v>
                </c:pt>
                <c:pt idx="5101">
                  <c:v>9.8252437999727979E-2</c:v>
                </c:pt>
                <c:pt idx="5102">
                  <c:v>9.688501159412112E-2</c:v>
                </c:pt>
                <c:pt idx="5103">
                  <c:v>9.5450557093038943E-2</c:v>
                </c:pt>
                <c:pt idx="5104">
                  <c:v>9.3345617247702711E-2</c:v>
                </c:pt>
                <c:pt idx="5105">
                  <c:v>9.0901201291155698E-2</c:v>
                </c:pt>
                <c:pt idx="5106">
                  <c:v>8.8881880466515586E-2</c:v>
                </c:pt>
                <c:pt idx="5107">
                  <c:v>8.7144117331026796E-2</c:v>
                </c:pt>
                <c:pt idx="5108">
                  <c:v>8.4808025066462261E-2</c:v>
                </c:pt>
                <c:pt idx="5109">
                  <c:v>8.2432113902336943E-2</c:v>
                </c:pt>
                <c:pt idx="5110">
                  <c:v>8.0489083067633055E-2</c:v>
                </c:pt>
                <c:pt idx="5111">
                  <c:v>7.8405926821961583E-2</c:v>
                </c:pt>
                <c:pt idx="5112">
                  <c:v>7.5393494284821297E-2</c:v>
                </c:pt>
                <c:pt idx="5113">
                  <c:v>7.4837898243741097E-2</c:v>
                </c:pt>
                <c:pt idx="5114">
                  <c:v>7.3484514015645472E-2</c:v>
                </c:pt>
                <c:pt idx="5115">
                  <c:v>7.2016308182950697E-2</c:v>
                </c:pt>
                <c:pt idx="5116">
                  <c:v>7.1327942687235274E-2</c:v>
                </c:pt>
                <c:pt idx="5117">
                  <c:v>7.0203137238192603E-2</c:v>
                </c:pt>
                <c:pt idx="5118">
                  <c:v>7.0731996667702898E-2</c:v>
                </c:pt>
                <c:pt idx="5119">
                  <c:v>7.1636805542029586E-2</c:v>
                </c:pt>
                <c:pt idx="5120">
                  <c:v>7.235849076824287E-2</c:v>
                </c:pt>
                <c:pt idx="5121">
                  <c:v>7.3268740650749523E-2</c:v>
                </c:pt>
                <c:pt idx="5122">
                  <c:v>7.5755028170937863E-2</c:v>
                </c:pt>
                <c:pt idx="5123">
                  <c:v>7.7646445907359682E-2</c:v>
                </c:pt>
                <c:pt idx="5124">
                  <c:v>7.9140430408868076E-2</c:v>
                </c:pt>
                <c:pt idx="5125">
                  <c:v>8.0919369416201883E-2</c:v>
                </c:pt>
                <c:pt idx="5126">
                  <c:v>8.3047738825786213E-2</c:v>
                </c:pt>
                <c:pt idx="5127">
                  <c:v>8.487336458274207E-2</c:v>
                </c:pt>
                <c:pt idx="5128">
                  <c:v>8.7494108890696601E-2</c:v>
                </c:pt>
                <c:pt idx="5129">
                  <c:v>8.9759325287614211E-2</c:v>
                </c:pt>
                <c:pt idx="5130">
                  <c:v>9.2283274174096694E-2</c:v>
                </c:pt>
                <c:pt idx="5131">
                  <c:v>9.5855623902048631E-2</c:v>
                </c:pt>
                <c:pt idx="5132">
                  <c:v>9.8886023848863983E-2</c:v>
                </c:pt>
                <c:pt idx="5133">
                  <c:v>0.10109613321588742</c:v>
                </c:pt>
                <c:pt idx="5134">
                  <c:v>0.10267918320459385</c:v>
                </c:pt>
                <c:pt idx="5135">
                  <c:v>0.1044846859861555</c:v>
                </c:pt>
                <c:pt idx="5136">
                  <c:v>0.10550062724942184</c:v>
                </c:pt>
                <c:pt idx="5137">
                  <c:v>0.1059680651440912</c:v>
                </c:pt>
                <c:pt idx="5138">
                  <c:v>0.10571574691817594</c:v>
                </c:pt>
                <c:pt idx="5139">
                  <c:v>2.0395839407490621</c:v>
                </c:pt>
                <c:pt idx="5140">
                  <c:v>5.3368403275630572</c:v>
                </c:pt>
                <c:pt idx="5141">
                  <c:v>9.311044232621267</c:v>
                </c:pt>
                <c:pt idx="5142">
                  <c:v>10.636645186802905</c:v>
                </c:pt>
                <c:pt idx="5143">
                  <c:v>10.633271121045283</c:v>
                </c:pt>
                <c:pt idx="5144">
                  <c:v>10.629974459267556</c:v>
                </c:pt>
                <c:pt idx="5145">
                  <c:v>10.626696063616301</c:v>
                </c:pt>
                <c:pt idx="5146">
                  <c:v>10.623531255199657</c:v>
                </c:pt>
                <c:pt idx="5147">
                  <c:v>10.620363780587057</c:v>
                </c:pt>
                <c:pt idx="5148">
                  <c:v>10.617541461893026</c:v>
                </c:pt>
                <c:pt idx="5149">
                  <c:v>10.614859080099476</c:v>
                </c:pt>
                <c:pt idx="5150">
                  <c:v>10.612344066104964</c:v>
                </c:pt>
                <c:pt idx="5151">
                  <c:v>10.609956345585596</c:v>
                </c:pt>
                <c:pt idx="5152">
                  <c:v>10.607825636577356</c:v>
                </c:pt>
                <c:pt idx="5153">
                  <c:v>10.60574782622532</c:v>
                </c:pt>
                <c:pt idx="5154">
                  <c:v>10.603771546352915</c:v>
                </c:pt>
                <c:pt idx="5155">
                  <c:v>10.601937316995832</c:v>
                </c:pt>
                <c:pt idx="5156">
                  <c:v>10.60018092729025</c:v>
                </c:pt>
                <c:pt idx="5157">
                  <c:v>10.598440912061371</c:v>
                </c:pt>
                <c:pt idx="5158">
                  <c:v>10.597033675477084</c:v>
                </c:pt>
                <c:pt idx="5159">
                  <c:v>10.595736920671991</c:v>
                </c:pt>
                <c:pt idx="5160">
                  <c:v>10.594707796083391</c:v>
                </c:pt>
                <c:pt idx="5161">
                  <c:v>10.594027317594218</c:v>
                </c:pt>
                <c:pt idx="5162">
                  <c:v>10.593451924883377</c:v>
                </c:pt>
                <c:pt idx="5163">
                  <c:v>10.592957745520751</c:v>
                </c:pt>
                <c:pt idx="5164">
                  <c:v>10.592542196585899</c:v>
                </c:pt>
                <c:pt idx="5165">
                  <c:v>10.592302110835549</c:v>
                </c:pt>
                <c:pt idx="5166">
                  <c:v>10.592122123618461</c:v>
                </c:pt>
                <c:pt idx="5167">
                  <c:v>10.592093428336154</c:v>
                </c:pt>
                <c:pt idx="5168">
                  <c:v>10.592093428336154</c:v>
                </c:pt>
                <c:pt idx="5169">
                  <c:v>10.522331760593953</c:v>
                </c:pt>
                <c:pt idx="5170">
                  <c:v>9.5185239848715355</c:v>
                </c:pt>
                <c:pt idx="5171">
                  <c:v>5.6725979263962838</c:v>
                </c:pt>
                <c:pt idx="5172">
                  <c:v>1.7371346627752242</c:v>
                </c:pt>
                <c:pt idx="5173">
                  <c:v>4.5609645178418843</c:v>
                </c:pt>
                <c:pt idx="5174">
                  <c:v>8.2631645417490969</c:v>
                </c:pt>
                <c:pt idx="5175">
                  <c:v>11.826720790578038</c:v>
                </c:pt>
                <c:pt idx="5176">
                  <c:v>14.41179327618274</c:v>
                </c:pt>
                <c:pt idx="5177">
                  <c:v>16.477630057858971</c:v>
                </c:pt>
                <c:pt idx="5178">
                  <c:v>18.196458885247445</c:v>
                </c:pt>
                <c:pt idx="5179">
                  <c:v>19.697189644879206</c:v>
                </c:pt>
                <c:pt idx="5180">
                  <c:v>20.980518855793989</c:v>
                </c:pt>
                <c:pt idx="5181">
                  <c:v>22.11607111633122</c:v>
                </c:pt>
                <c:pt idx="5182">
                  <c:v>23.084585371431828</c:v>
                </c:pt>
                <c:pt idx="5183">
                  <c:v>23.902977398900632</c:v>
                </c:pt>
                <c:pt idx="5184">
                  <c:v>24.583711800584105</c:v>
                </c:pt>
                <c:pt idx="5185">
                  <c:v>25.158670428312295</c:v>
                </c:pt>
                <c:pt idx="5186">
                  <c:v>25.62902749620779</c:v>
                </c:pt>
                <c:pt idx="5187">
                  <c:v>25.970029245562774</c:v>
                </c:pt>
                <c:pt idx="5188">
                  <c:v>26.252706778270934</c:v>
                </c:pt>
                <c:pt idx="5189">
                  <c:v>26.419412860596495</c:v>
                </c:pt>
                <c:pt idx="5190">
                  <c:v>26.444608548765952</c:v>
                </c:pt>
                <c:pt idx="5191">
                  <c:v>26.832069173717088</c:v>
                </c:pt>
                <c:pt idx="5192">
                  <c:v>27.189509286542773</c:v>
                </c:pt>
                <c:pt idx="5193">
                  <c:v>27.315089699174155</c:v>
                </c:pt>
                <c:pt idx="5194">
                  <c:v>27.206172516495119</c:v>
                </c:pt>
                <c:pt idx="5195">
                  <c:v>26.855710411057579</c:v>
                </c:pt>
                <c:pt idx="5196">
                  <c:v>26.2267174049489</c:v>
                </c:pt>
                <c:pt idx="5197">
                  <c:v>25.313035939809151</c:v>
                </c:pt>
                <c:pt idx="5198">
                  <c:v>24.080533767242716</c:v>
                </c:pt>
                <c:pt idx="5199">
                  <c:v>22.470351920155984</c:v>
                </c:pt>
                <c:pt idx="5200">
                  <c:v>20.38729574200206</c:v>
                </c:pt>
                <c:pt idx="5201">
                  <c:v>18.044510585020074</c:v>
                </c:pt>
                <c:pt idx="5202">
                  <c:v>15.617708371368039</c:v>
                </c:pt>
                <c:pt idx="5203">
                  <c:v>14.131847517628966</c:v>
                </c:pt>
                <c:pt idx="5204">
                  <c:v>13.640816980876389</c:v>
                </c:pt>
                <c:pt idx="5205">
                  <c:v>13.603485530660613</c:v>
                </c:pt>
                <c:pt idx="5206">
                  <c:v>13.560855258613664</c:v>
                </c:pt>
                <c:pt idx="5207">
                  <c:v>14.096042334853257</c:v>
                </c:pt>
                <c:pt idx="5208">
                  <c:v>14.451825341045783</c:v>
                </c:pt>
                <c:pt idx="5209">
                  <c:v>14.678245510623011</c:v>
                </c:pt>
                <c:pt idx="5210">
                  <c:v>14.759289812540549</c:v>
                </c:pt>
                <c:pt idx="5211">
                  <c:v>14.735889487123254</c:v>
                </c:pt>
                <c:pt idx="5212">
                  <c:v>14.582551008272917</c:v>
                </c:pt>
                <c:pt idx="5213">
                  <c:v>14.300863880086615</c:v>
                </c:pt>
                <c:pt idx="5214">
                  <c:v>13.890142305962154</c:v>
                </c:pt>
                <c:pt idx="5215">
                  <c:v>13.380749051578714</c:v>
                </c:pt>
                <c:pt idx="5216">
                  <c:v>12.771630160481443</c:v>
                </c:pt>
                <c:pt idx="5217">
                  <c:v>12.01470832768285</c:v>
                </c:pt>
                <c:pt idx="5218">
                  <c:v>11.228987256842629</c:v>
                </c:pt>
                <c:pt idx="5219">
                  <c:v>10.319135091864856</c:v>
                </c:pt>
                <c:pt idx="5220">
                  <c:v>9.2069179486996688</c:v>
                </c:pt>
                <c:pt idx="5221">
                  <c:v>8.868864940674607</c:v>
                </c:pt>
                <c:pt idx="5222">
                  <c:v>8.685805320672964</c:v>
                </c:pt>
                <c:pt idx="5223">
                  <c:v>8.4717540910512064</c:v>
                </c:pt>
                <c:pt idx="5224">
                  <c:v>8.2273054645266601</c:v>
                </c:pt>
                <c:pt idx="5225">
                  <c:v>7.9547077405741833</c:v>
                </c:pt>
                <c:pt idx="5226">
                  <c:v>7.6242559510738577</c:v>
                </c:pt>
                <c:pt idx="5227">
                  <c:v>7.2545208697818895</c:v>
                </c:pt>
                <c:pt idx="5228">
                  <c:v>6.8486154740546974</c:v>
                </c:pt>
                <c:pt idx="5229">
                  <c:v>6.4037630051146861</c:v>
                </c:pt>
                <c:pt idx="5230">
                  <c:v>5.9180806262915189</c:v>
                </c:pt>
                <c:pt idx="5231">
                  <c:v>5.3810238779219066</c:v>
                </c:pt>
                <c:pt idx="5232">
                  <c:v>4.7805133212048796</c:v>
                </c:pt>
                <c:pt idx="5233">
                  <c:v>4.0966560136052621</c:v>
                </c:pt>
                <c:pt idx="5234">
                  <c:v>3.2794409749642113</c:v>
                </c:pt>
                <c:pt idx="5235">
                  <c:v>2.1908902300206625</c:v>
                </c:pt>
                <c:pt idx="5236">
                  <c:v>0</c:v>
                </c:pt>
                <c:pt idx="5237">
                  <c:v>0</c:v>
                </c:pt>
                <c:pt idx="5238">
                  <c:v>0</c:v>
                </c:pt>
                <c:pt idx="5239">
                  <c:v>0</c:v>
                </c:pt>
                <c:pt idx="5240">
                  <c:v>0</c:v>
                </c:pt>
                <c:pt idx="5241">
                  <c:v>0</c:v>
                </c:pt>
                <c:pt idx="5242">
                  <c:v>0</c:v>
                </c:pt>
                <c:pt idx="5243">
                  <c:v>0</c:v>
                </c:pt>
                <c:pt idx="5244">
                  <c:v>0</c:v>
                </c:pt>
                <c:pt idx="5245">
                  <c:v>0</c:v>
                </c:pt>
                <c:pt idx="5246">
                  <c:v>0</c:v>
                </c:pt>
                <c:pt idx="5247">
                  <c:v>0</c:v>
                </c:pt>
                <c:pt idx="5248">
                  <c:v>0</c:v>
                </c:pt>
                <c:pt idx="5249">
                  <c:v>0</c:v>
                </c:pt>
                <c:pt idx="5250">
                  <c:v>0</c:v>
                </c:pt>
                <c:pt idx="5251">
                  <c:v>0</c:v>
                </c:pt>
                <c:pt idx="5252">
                  <c:v>0</c:v>
                </c:pt>
                <c:pt idx="5253">
                  <c:v>0</c:v>
                </c:pt>
                <c:pt idx="5254">
                  <c:v>0</c:v>
                </c:pt>
                <c:pt idx="5255">
                  <c:v>0</c:v>
                </c:pt>
                <c:pt idx="5256">
                  <c:v>0</c:v>
                </c:pt>
                <c:pt idx="5257">
                  <c:v>0</c:v>
                </c:pt>
                <c:pt idx="5258">
                  <c:v>0</c:v>
                </c:pt>
                <c:pt idx="5259">
                  <c:v>0</c:v>
                </c:pt>
                <c:pt idx="5260">
                  <c:v>0</c:v>
                </c:pt>
                <c:pt idx="5261">
                  <c:v>0</c:v>
                </c:pt>
                <c:pt idx="5262">
                  <c:v>0</c:v>
                </c:pt>
                <c:pt idx="5263">
                  <c:v>0</c:v>
                </c:pt>
                <c:pt idx="5264">
                  <c:v>0</c:v>
                </c:pt>
                <c:pt idx="5265">
                  <c:v>0</c:v>
                </c:pt>
                <c:pt idx="5266">
                  <c:v>0</c:v>
                </c:pt>
                <c:pt idx="5267">
                  <c:v>0</c:v>
                </c:pt>
                <c:pt idx="5268">
                  <c:v>0</c:v>
                </c:pt>
                <c:pt idx="5269">
                  <c:v>0</c:v>
                </c:pt>
                <c:pt idx="5270">
                  <c:v>0</c:v>
                </c:pt>
                <c:pt idx="5271">
                  <c:v>0</c:v>
                </c:pt>
                <c:pt idx="5272">
                  <c:v>0</c:v>
                </c:pt>
                <c:pt idx="5273">
                  <c:v>0</c:v>
                </c:pt>
                <c:pt idx="5274">
                  <c:v>0</c:v>
                </c:pt>
                <c:pt idx="5275">
                  <c:v>0</c:v>
                </c:pt>
                <c:pt idx="5276">
                  <c:v>0</c:v>
                </c:pt>
                <c:pt idx="5277">
                  <c:v>0</c:v>
                </c:pt>
                <c:pt idx="5278">
                  <c:v>0</c:v>
                </c:pt>
                <c:pt idx="5279">
                  <c:v>0</c:v>
                </c:pt>
                <c:pt idx="5280">
                  <c:v>0</c:v>
                </c:pt>
                <c:pt idx="5281">
                  <c:v>0</c:v>
                </c:pt>
                <c:pt idx="5282">
                  <c:v>0</c:v>
                </c:pt>
                <c:pt idx="5283">
                  <c:v>0</c:v>
                </c:pt>
                <c:pt idx="5284">
                  <c:v>0</c:v>
                </c:pt>
                <c:pt idx="5285">
                  <c:v>0</c:v>
                </c:pt>
                <c:pt idx="5286">
                  <c:v>0</c:v>
                </c:pt>
                <c:pt idx="5287">
                  <c:v>0</c:v>
                </c:pt>
                <c:pt idx="5288">
                  <c:v>0</c:v>
                </c:pt>
                <c:pt idx="5289">
                  <c:v>0</c:v>
                </c:pt>
                <c:pt idx="5290">
                  <c:v>0</c:v>
                </c:pt>
                <c:pt idx="5291">
                  <c:v>0</c:v>
                </c:pt>
                <c:pt idx="5292">
                  <c:v>0</c:v>
                </c:pt>
                <c:pt idx="5293">
                  <c:v>0</c:v>
                </c:pt>
                <c:pt idx="5294">
                  <c:v>0</c:v>
                </c:pt>
                <c:pt idx="5295">
                  <c:v>0</c:v>
                </c:pt>
                <c:pt idx="5296">
                  <c:v>0</c:v>
                </c:pt>
                <c:pt idx="5297">
                  <c:v>0</c:v>
                </c:pt>
                <c:pt idx="5298">
                  <c:v>0</c:v>
                </c:pt>
                <c:pt idx="5299">
                  <c:v>0</c:v>
                </c:pt>
                <c:pt idx="5300">
                  <c:v>0</c:v>
                </c:pt>
                <c:pt idx="5301">
                  <c:v>0</c:v>
                </c:pt>
                <c:pt idx="5302">
                  <c:v>0</c:v>
                </c:pt>
                <c:pt idx="5303">
                  <c:v>0</c:v>
                </c:pt>
                <c:pt idx="5304">
                  <c:v>0</c:v>
                </c:pt>
                <c:pt idx="5305">
                  <c:v>0</c:v>
                </c:pt>
                <c:pt idx="5306">
                  <c:v>0</c:v>
                </c:pt>
                <c:pt idx="5307">
                  <c:v>0</c:v>
                </c:pt>
                <c:pt idx="5308">
                  <c:v>0</c:v>
                </c:pt>
                <c:pt idx="5309">
                  <c:v>0</c:v>
                </c:pt>
                <c:pt idx="5310">
                  <c:v>0</c:v>
                </c:pt>
                <c:pt idx="5311">
                  <c:v>0</c:v>
                </c:pt>
                <c:pt idx="5312">
                  <c:v>0</c:v>
                </c:pt>
                <c:pt idx="5313">
                  <c:v>0</c:v>
                </c:pt>
                <c:pt idx="5314">
                  <c:v>0</c:v>
                </c:pt>
                <c:pt idx="5315">
                  <c:v>0</c:v>
                </c:pt>
                <c:pt idx="5316">
                  <c:v>0</c:v>
                </c:pt>
                <c:pt idx="5317">
                  <c:v>0</c:v>
                </c:pt>
                <c:pt idx="5318">
                  <c:v>0</c:v>
                </c:pt>
                <c:pt idx="5319">
                  <c:v>0</c:v>
                </c:pt>
                <c:pt idx="5320">
                  <c:v>0</c:v>
                </c:pt>
                <c:pt idx="5321">
                  <c:v>0</c:v>
                </c:pt>
                <c:pt idx="5322">
                  <c:v>0</c:v>
                </c:pt>
                <c:pt idx="5323">
                  <c:v>0</c:v>
                </c:pt>
                <c:pt idx="5324">
                  <c:v>0</c:v>
                </c:pt>
                <c:pt idx="5325">
                  <c:v>0</c:v>
                </c:pt>
                <c:pt idx="5326">
                  <c:v>0</c:v>
                </c:pt>
                <c:pt idx="5327">
                  <c:v>0</c:v>
                </c:pt>
                <c:pt idx="5328">
                  <c:v>0</c:v>
                </c:pt>
                <c:pt idx="5329">
                  <c:v>0</c:v>
                </c:pt>
                <c:pt idx="5330">
                  <c:v>0</c:v>
                </c:pt>
                <c:pt idx="5331">
                  <c:v>0</c:v>
                </c:pt>
                <c:pt idx="5332">
                  <c:v>0</c:v>
                </c:pt>
                <c:pt idx="5333">
                  <c:v>0</c:v>
                </c:pt>
                <c:pt idx="5334">
                  <c:v>0</c:v>
                </c:pt>
                <c:pt idx="5335">
                  <c:v>0</c:v>
                </c:pt>
                <c:pt idx="5336">
                  <c:v>0</c:v>
                </c:pt>
                <c:pt idx="5337">
                  <c:v>0</c:v>
                </c:pt>
                <c:pt idx="5338">
                  <c:v>0</c:v>
                </c:pt>
                <c:pt idx="5339">
                  <c:v>0</c:v>
                </c:pt>
                <c:pt idx="5340">
                  <c:v>0</c:v>
                </c:pt>
                <c:pt idx="5341">
                  <c:v>0</c:v>
                </c:pt>
                <c:pt idx="5342">
                  <c:v>0</c:v>
                </c:pt>
                <c:pt idx="5343">
                  <c:v>0</c:v>
                </c:pt>
                <c:pt idx="5344">
                  <c:v>0</c:v>
                </c:pt>
                <c:pt idx="5345">
                  <c:v>0</c:v>
                </c:pt>
                <c:pt idx="5346">
                  <c:v>0</c:v>
                </c:pt>
                <c:pt idx="5347">
                  <c:v>0</c:v>
                </c:pt>
                <c:pt idx="5348">
                  <c:v>0</c:v>
                </c:pt>
                <c:pt idx="5349">
                  <c:v>0</c:v>
                </c:pt>
                <c:pt idx="5350">
                  <c:v>0</c:v>
                </c:pt>
                <c:pt idx="5351">
                  <c:v>0</c:v>
                </c:pt>
                <c:pt idx="5352">
                  <c:v>0</c:v>
                </c:pt>
                <c:pt idx="5353">
                  <c:v>0</c:v>
                </c:pt>
                <c:pt idx="5354">
                  <c:v>0</c:v>
                </c:pt>
                <c:pt idx="5355">
                  <c:v>0</c:v>
                </c:pt>
                <c:pt idx="5356">
                  <c:v>0</c:v>
                </c:pt>
                <c:pt idx="5357">
                  <c:v>0</c:v>
                </c:pt>
                <c:pt idx="5358">
                  <c:v>0</c:v>
                </c:pt>
                <c:pt idx="5359">
                  <c:v>0</c:v>
                </c:pt>
                <c:pt idx="5360">
                  <c:v>0</c:v>
                </c:pt>
                <c:pt idx="5361">
                  <c:v>0</c:v>
                </c:pt>
                <c:pt idx="5362">
                  <c:v>0</c:v>
                </c:pt>
                <c:pt idx="5363">
                  <c:v>0</c:v>
                </c:pt>
                <c:pt idx="5364">
                  <c:v>0</c:v>
                </c:pt>
                <c:pt idx="5365">
                  <c:v>0</c:v>
                </c:pt>
                <c:pt idx="5366">
                  <c:v>0</c:v>
                </c:pt>
                <c:pt idx="5367">
                  <c:v>0</c:v>
                </c:pt>
                <c:pt idx="5368">
                  <c:v>0</c:v>
                </c:pt>
                <c:pt idx="5369">
                  <c:v>0</c:v>
                </c:pt>
                <c:pt idx="5370">
                  <c:v>0</c:v>
                </c:pt>
                <c:pt idx="5371">
                  <c:v>0</c:v>
                </c:pt>
                <c:pt idx="5372">
                  <c:v>0</c:v>
                </c:pt>
                <c:pt idx="5373">
                  <c:v>0</c:v>
                </c:pt>
                <c:pt idx="5374">
                  <c:v>0</c:v>
                </c:pt>
                <c:pt idx="5375">
                  <c:v>0</c:v>
                </c:pt>
                <c:pt idx="5376">
                  <c:v>0</c:v>
                </c:pt>
                <c:pt idx="5377">
                  <c:v>0</c:v>
                </c:pt>
                <c:pt idx="5378">
                  <c:v>0</c:v>
                </c:pt>
                <c:pt idx="5379">
                  <c:v>0</c:v>
                </c:pt>
                <c:pt idx="5380">
                  <c:v>0</c:v>
                </c:pt>
                <c:pt idx="5381">
                  <c:v>0</c:v>
                </c:pt>
                <c:pt idx="5382">
                  <c:v>0</c:v>
                </c:pt>
                <c:pt idx="5383">
                  <c:v>0</c:v>
                </c:pt>
                <c:pt idx="5384">
                  <c:v>0</c:v>
                </c:pt>
                <c:pt idx="5385">
                  <c:v>0</c:v>
                </c:pt>
                <c:pt idx="5386">
                  <c:v>0</c:v>
                </c:pt>
                <c:pt idx="5387">
                  <c:v>0</c:v>
                </c:pt>
                <c:pt idx="5388">
                  <c:v>0</c:v>
                </c:pt>
                <c:pt idx="5389">
                  <c:v>0</c:v>
                </c:pt>
                <c:pt idx="5390">
                  <c:v>0</c:v>
                </c:pt>
                <c:pt idx="5391">
                  <c:v>0</c:v>
                </c:pt>
                <c:pt idx="5392">
                  <c:v>0</c:v>
                </c:pt>
                <c:pt idx="5393">
                  <c:v>0</c:v>
                </c:pt>
                <c:pt idx="5394">
                  <c:v>0</c:v>
                </c:pt>
                <c:pt idx="5395">
                  <c:v>0</c:v>
                </c:pt>
                <c:pt idx="5396">
                  <c:v>0</c:v>
                </c:pt>
                <c:pt idx="5397">
                  <c:v>0</c:v>
                </c:pt>
                <c:pt idx="5398">
                  <c:v>0</c:v>
                </c:pt>
                <c:pt idx="5399">
                  <c:v>0</c:v>
                </c:pt>
                <c:pt idx="5400">
                  <c:v>0</c:v>
                </c:pt>
                <c:pt idx="5401">
                  <c:v>0</c:v>
                </c:pt>
                <c:pt idx="5402">
                  <c:v>0</c:v>
                </c:pt>
                <c:pt idx="5403">
                  <c:v>0</c:v>
                </c:pt>
                <c:pt idx="5404">
                  <c:v>0</c:v>
                </c:pt>
                <c:pt idx="5405">
                  <c:v>0</c:v>
                </c:pt>
                <c:pt idx="5406">
                  <c:v>0</c:v>
                </c:pt>
                <c:pt idx="5407">
                  <c:v>0</c:v>
                </c:pt>
                <c:pt idx="5408">
                  <c:v>0</c:v>
                </c:pt>
                <c:pt idx="5409">
                  <c:v>0</c:v>
                </c:pt>
                <c:pt idx="5410">
                  <c:v>0</c:v>
                </c:pt>
                <c:pt idx="5411">
                  <c:v>0</c:v>
                </c:pt>
                <c:pt idx="5412">
                  <c:v>0</c:v>
                </c:pt>
                <c:pt idx="5413">
                  <c:v>0</c:v>
                </c:pt>
                <c:pt idx="5414">
                  <c:v>0</c:v>
                </c:pt>
                <c:pt idx="5415">
                  <c:v>0</c:v>
                </c:pt>
                <c:pt idx="5416">
                  <c:v>0</c:v>
                </c:pt>
                <c:pt idx="5417">
                  <c:v>0</c:v>
                </c:pt>
                <c:pt idx="5418">
                  <c:v>0</c:v>
                </c:pt>
                <c:pt idx="5419">
                  <c:v>0</c:v>
                </c:pt>
                <c:pt idx="5420">
                  <c:v>7.9172662154947698E-2</c:v>
                </c:pt>
                <c:pt idx="5421">
                  <c:v>0.17798691482596712</c:v>
                </c:pt>
                <c:pt idx="5422">
                  <c:v>0.29458248601843651</c:v>
                </c:pt>
                <c:pt idx="5423">
                  <c:v>0.42465203062046686</c:v>
                </c:pt>
                <c:pt idx="5424">
                  <c:v>0.56878597929515096</c:v>
                </c:pt>
                <c:pt idx="5425">
                  <c:v>0.67714096405591129</c:v>
                </c:pt>
                <c:pt idx="5426">
                  <c:v>0.80069119339747585</c:v>
                </c:pt>
                <c:pt idx="5427">
                  <c:v>0.93798967764876606</c:v>
                </c:pt>
                <c:pt idx="5428">
                  <c:v>1.0858963142216962</c:v>
                </c:pt>
                <c:pt idx="5429">
                  <c:v>1.2435638958328976</c:v>
                </c:pt>
                <c:pt idx="5430">
                  <c:v>1.4062848003497173</c:v>
                </c:pt>
                <c:pt idx="5431">
                  <c:v>1.5375969787456572</c:v>
                </c:pt>
                <c:pt idx="5432">
                  <c:v>1.6760416383758046</c:v>
                </c:pt>
                <c:pt idx="5433">
                  <c:v>1.8205912116597338</c:v>
                </c:pt>
                <c:pt idx="5434">
                  <c:v>1.9687105956900495</c:v>
                </c:pt>
                <c:pt idx="5435">
                  <c:v>2.1201848848424896</c:v>
                </c:pt>
                <c:pt idx="5436">
                  <c:v>2.2717279230097187</c:v>
                </c:pt>
                <c:pt idx="5437">
                  <c:v>2.4214278299160172</c:v>
                </c:pt>
                <c:pt idx="5438">
                  <c:v>2.569415234357725</c:v>
                </c:pt>
                <c:pt idx="5439">
                  <c:v>2.6899395871187823</c:v>
                </c:pt>
                <c:pt idx="5440">
                  <c:v>2.8029469222686325</c:v>
                </c:pt>
                <c:pt idx="5441">
                  <c:v>2.9118503491714796</c:v>
                </c:pt>
                <c:pt idx="5442">
                  <c:v>3.0165300616727886</c:v>
                </c:pt>
                <c:pt idx="5443">
                  <c:v>3.089503404960189</c:v>
                </c:pt>
                <c:pt idx="5444">
                  <c:v>3.154272066351671</c:v>
                </c:pt>
                <c:pt idx="5445">
                  <c:v>3.1866160337187908</c:v>
                </c:pt>
                <c:pt idx="5446">
                  <c:v>3.2094361904209467</c:v>
                </c:pt>
                <c:pt idx="5447">
                  <c:v>3.2207819014020882</c:v>
                </c:pt>
                <c:pt idx="5448">
                  <c:v>3.2191827806909843</c:v>
                </c:pt>
                <c:pt idx="5449">
                  <c:v>3.2004301380528148</c:v>
                </c:pt>
                <c:pt idx="5450">
                  <c:v>3.189152717347385</c:v>
                </c:pt>
                <c:pt idx="5451">
                  <c:v>3.1875451941047173</c:v>
                </c:pt>
                <c:pt idx="5452">
                  <c:v>6.7704263291879228</c:v>
                </c:pt>
                <c:pt idx="5453">
                  <c:v>17.203168176804173</c:v>
                </c:pt>
                <c:pt idx="5454">
                  <c:v>21.559263622872884</c:v>
                </c:pt>
                <c:pt idx="5455">
                  <c:v>24.863630907138134</c:v>
                </c:pt>
                <c:pt idx="5456">
                  <c:v>28.915801725864839</c:v>
                </c:pt>
                <c:pt idx="5457">
                  <c:v>32.021761453562867</c:v>
                </c:pt>
                <c:pt idx="5458">
                  <c:v>34.55953120625167</c:v>
                </c:pt>
                <c:pt idx="5459">
                  <c:v>36.571664120591329</c:v>
                </c:pt>
                <c:pt idx="5460">
                  <c:v>38.279040398523911</c:v>
                </c:pt>
                <c:pt idx="5461">
                  <c:v>39.749932938223864</c:v>
                </c:pt>
                <c:pt idx="5462">
                  <c:v>40.97146277765453</c:v>
                </c:pt>
                <c:pt idx="5463">
                  <c:v>41.928789712865417</c:v>
                </c:pt>
                <c:pt idx="5464">
                  <c:v>42.642713478756747</c:v>
                </c:pt>
                <c:pt idx="5465">
                  <c:v>43.129137791390527</c:v>
                </c:pt>
                <c:pt idx="5466">
                  <c:v>43.398213774830182</c:v>
                </c:pt>
                <c:pt idx="5467">
                  <c:v>43.456802087254026</c:v>
                </c:pt>
                <c:pt idx="5468">
                  <c:v>43.309594434067918</c:v>
                </c:pt>
                <c:pt idx="5469">
                  <c:v>42.941979241171715</c:v>
                </c:pt>
                <c:pt idx="5470">
                  <c:v>42.361563469103245</c:v>
                </c:pt>
                <c:pt idx="5471">
                  <c:v>41.565550572631949</c:v>
                </c:pt>
                <c:pt idx="5472">
                  <c:v>40.545690393466209</c:v>
                </c:pt>
                <c:pt idx="5473">
                  <c:v>39.263714799835803</c:v>
                </c:pt>
                <c:pt idx="5474">
                  <c:v>37.716857023868073</c:v>
                </c:pt>
                <c:pt idx="5475">
                  <c:v>35.847160007611109</c:v>
                </c:pt>
                <c:pt idx="5476">
                  <c:v>33.632275356409906</c:v>
                </c:pt>
                <c:pt idx="5477">
                  <c:v>31.00295927949897</c:v>
                </c:pt>
                <c:pt idx="5478">
                  <c:v>27.848615807698138</c:v>
                </c:pt>
                <c:pt idx="5479">
                  <c:v>23.96599651935211</c:v>
                </c:pt>
                <c:pt idx="5480">
                  <c:v>18.917424584506684</c:v>
                </c:pt>
                <c:pt idx="5481">
                  <c:v>11.241628125760771</c:v>
                </c:pt>
                <c:pt idx="5482">
                  <c:v>4.0555350854901873</c:v>
                </c:pt>
                <c:pt idx="5483">
                  <c:v>4.0363202826289371</c:v>
                </c:pt>
                <c:pt idx="5484">
                  <c:v>2.9630877334975314</c:v>
                </c:pt>
                <c:pt idx="5485">
                  <c:v>0.76242139186418201</c:v>
                </c:pt>
                <c:pt idx="5486">
                  <c:v>0.76254219523415212</c:v>
                </c:pt>
                <c:pt idx="5487">
                  <c:v>0.72853681801685832</c:v>
                </c:pt>
                <c:pt idx="5488">
                  <c:v>0.68174173000607541</c:v>
                </c:pt>
                <c:pt idx="5489">
                  <c:v>0.43000708722578718</c:v>
                </c:pt>
                <c:pt idx="5490">
                  <c:v>0.13492751376528486</c:v>
                </c:pt>
                <c:pt idx="5491">
                  <c:v>3.4761612334570078E-3</c:v>
                </c:pt>
                <c:pt idx="5492">
                  <c:v>3.5498189565115195E-3</c:v>
                </c:pt>
                <c:pt idx="5493">
                  <c:v>3.6120636928630855E-3</c:v>
                </c:pt>
                <c:pt idx="5494">
                  <c:v>3.6649467972443444E-3</c:v>
                </c:pt>
                <c:pt idx="5495">
                  <c:v>3.6968408885014667E-3</c:v>
                </c:pt>
                <c:pt idx="5496">
                  <c:v>3.7365272392128148E-3</c:v>
                </c:pt>
                <c:pt idx="5497">
                  <c:v>3.7588158987349549E-3</c:v>
                </c:pt>
                <c:pt idx="5498">
                  <c:v>3.7709781553495591E-3</c:v>
                </c:pt>
                <c:pt idx="5499">
                  <c:v>3.7653014347548493E-3</c:v>
                </c:pt>
                <c:pt idx="5500">
                  <c:v>3.7473167623735021E-3</c:v>
                </c:pt>
                <c:pt idx="5501">
                  <c:v>3.7446894772388472E-3</c:v>
                </c:pt>
                <c:pt idx="5502">
                  <c:v>3.7225534496484079E-3</c:v>
                </c:pt>
                <c:pt idx="5503">
                  <c:v>3.6741803981927795E-3</c:v>
                </c:pt>
                <c:pt idx="5504">
                  <c:v>3.5935609462555934E-3</c:v>
                </c:pt>
                <c:pt idx="5505">
                  <c:v>3.4788880275541888E-3</c:v>
                </c:pt>
                <c:pt idx="5506">
                  <c:v>3.3324520251903386E-3</c:v>
                </c:pt>
                <c:pt idx="5507">
                  <c:v>3.1540750095717515E-3</c:v>
                </c:pt>
                <c:pt idx="5508">
                  <c:v>2.932550852730051E-3</c:v>
                </c:pt>
                <c:pt idx="5509">
                  <c:v>2.6983432196739966E-3</c:v>
                </c:pt>
                <c:pt idx="5510">
                  <c:v>2.4435331776541274E-3</c:v>
                </c:pt>
                <c:pt idx="5511">
                  <c:v>2.1247336143906041E-3</c:v>
                </c:pt>
                <c:pt idx="5512">
                  <c:v>1.8468278263136335E-3</c:v>
                </c:pt>
                <c:pt idx="5513">
                  <c:v>1.7879209328828347E-3</c:v>
                </c:pt>
                <c:pt idx="5514">
                  <c:v>1.7803146977708403E-3</c:v>
                </c:pt>
                <c:pt idx="5515">
                  <c:v>1.7664474851952965E-3</c:v>
                </c:pt>
                <c:pt idx="5516">
                  <c:v>1.7459450646217167E-3</c:v>
                </c:pt>
                <c:pt idx="5517">
                  <c:v>1.7211591973346394E-3</c:v>
                </c:pt>
                <c:pt idx="5518">
                  <c:v>1.6934599105314242E-3</c:v>
                </c:pt>
                <c:pt idx="5519">
                  <c:v>1.6548048093805959E-3</c:v>
                </c:pt>
                <c:pt idx="5520">
                  <c:v>1.604317015757531E-3</c:v>
                </c:pt>
                <c:pt idx="5521">
                  <c:v>1.5461576891272017E-3</c:v>
                </c:pt>
                <c:pt idx="5522">
                  <c:v>1.4740793975406147E-3</c:v>
                </c:pt>
                <c:pt idx="5523">
                  <c:v>1.3916718321807073E-3</c:v>
                </c:pt>
                <c:pt idx="5524">
                  <c:v>1.3067621037920101E-3</c:v>
                </c:pt>
                <c:pt idx="5525">
                  <c:v>1.2029528803878138E-3</c:v>
                </c:pt>
                <c:pt idx="5526">
                  <c:v>1.1347285801856998E-3</c:v>
                </c:pt>
                <c:pt idx="5527">
                  <c:v>1.0522896592813004E-3</c:v>
                </c:pt>
                <c:pt idx="5528">
                  <c:v>9.8234784238481962E-4</c:v>
                </c:pt>
                <c:pt idx="5529">
                  <c:v>9.1448133187938018E-4</c:v>
                </c:pt>
                <c:pt idx="5530">
                  <c:v>8.5638364135609405E-4</c:v>
                </c:pt>
                <c:pt idx="5531">
                  <c:v>8.584530091629882E-4</c:v>
                </c:pt>
                <c:pt idx="5532">
                  <c:v>8.5749387839194834E-4</c:v>
                </c:pt>
                <c:pt idx="5533">
                  <c:v>8.5317474509563325E-4</c:v>
                </c:pt>
                <c:pt idx="5534">
                  <c:v>8.49733400253161E-4</c:v>
                </c:pt>
                <c:pt idx="5535">
                  <c:v>8.4360738517648111E-4</c:v>
                </c:pt>
                <c:pt idx="5536">
                  <c:v>8.426967732752999E-4</c:v>
                </c:pt>
                <c:pt idx="5537">
                  <c:v>8.3935380890226585E-4</c:v>
                </c:pt>
                <c:pt idx="5538">
                  <c:v>8.3380838808678646E-4</c:v>
                </c:pt>
                <c:pt idx="5539">
                  <c:v>8.3751174214023076E-4</c:v>
                </c:pt>
                <c:pt idx="5540">
                  <c:v>8.4628269173383868E-4</c:v>
                </c:pt>
                <c:pt idx="5541">
                  <c:v>8.5982637695200374E-4</c:v>
                </c:pt>
                <c:pt idx="5542">
                  <c:v>8.6407390861138798E-4</c:v>
                </c:pt>
                <c:pt idx="5543">
                  <c:v>8.6377903684743728E-4</c:v>
                </c:pt>
                <c:pt idx="5544">
                  <c:v>8.6799756348708318E-4</c:v>
                </c:pt>
                <c:pt idx="5545">
                  <c:v>8.763343070950873E-4</c:v>
                </c:pt>
                <c:pt idx="5546">
                  <c:v>8.8899888506664053E-4</c:v>
                </c:pt>
                <c:pt idx="5547">
                  <c:v>9.1373428418327753E-4</c:v>
                </c:pt>
                <c:pt idx="5548">
                  <c:v>9.3410497047848767E-4</c:v>
                </c:pt>
                <c:pt idx="5549">
                  <c:v>9.4996071497557323E-4</c:v>
                </c:pt>
                <c:pt idx="5550">
                  <c:v>9.6152288235947772E-4</c:v>
                </c:pt>
                <c:pt idx="5551">
                  <c:v>9.7323460370498131E-4</c:v>
                </c:pt>
                <c:pt idx="5552">
                  <c:v>9.8473559903992296E-4</c:v>
                </c:pt>
                <c:pt idx="5553">
                  <c:v>9.9542863873965147E-4</c:v>
                </c:pt>
                <c:pt idx="5554">
                  <c:v>1.0052106036725777E-3</c:v>
                </c:pt>
                <c:pt idx="5555">
                  <c:v>1.0144360393221513E-3</c:v>
                </c:pt>
                <c:pt idx="5556">
                  <c:v>1.0268475361023906E-3</c:v>
                </c:pt>
                <c:pt idx="5557">
                  <c:v>1.0340439191789759E-3</c:v>
                </c:pt>
                <c:pt idx="5558">
                  <c:v>1.0396662450141137E-3</c:v>
                </c:pt>
                <c:pt idx="5559">
                  <c:v>1.0481256232276125E-3</c:v>
                </c:pt>
                <c:pt idx="5560">
                  <c:v>1.1513365500214489E-3</c:v>
                </c:pt>
                <c:pt idx="5561">
                  <c:v>1.2347981584648166E-3</c:v>
                </c:pt>
                <c:pt idx="5562">
                  <c:v>1.3296409479482765E-3</c:v>
                </c:pt>
                <c:pt idx="5563">
                  <c:v>1.4167679669175662E-3</c:v>
                </c:pt>
                <c:pt idx="5564">
                  <c:v>1.5069177288584592E-3</c:v>
                </c:pt>
                <c:pt idx="5565">
                  <c:v>1.5789466303597281E-3</c:v>
                </c:pt>
                <c:pt idx="5566">
                  <c:v>1.6397887824441447E-3</c:v>
                </c:pt>
                <c:pt idx="5567">
                  <c:v>1.6903319320614677E-3</c:v>
                </c:pt>
                <c:pt idx="5568">
                  <c:v>1.7304061274461492E-3</c:v>
                </c:pt>
                <c:pt idx="5569">
                  <c:v>1.7672646767611685E-3</c:v>
                </c:pt>
                <c:pt idx="5570">
                  <c:v>1.7984234718863676E-3</c:v>
                </c:pt>
                <c:pt idx="5571">
                  <c:v>1.8248029490441524E-3</c:v>
                </c:pt>
                <c:pt idx="5572">
                  <c:v>1.9175882333215251E-3</c:v>
                </c:pt>
                <c:pt idx="5573">
                  <c:v>2.0280540939157745E-3</c:v>
                </c:pt>
                <c:pt idx="5574">
                  <c:v>2.1169006809530762E-3</c:v>
                </c:pt>
                <c:pt idx="5575">
                  <c:v>2.1871918179701844E-3</c:v>
                </c:pt>
                <c:pt idx="5576">
                  <c:v>2.2412491157159644E-3</c:v>
                </c:pt>
                <c:pt idx="5577">
                  <c:v>2.3349975923867583E-3</c:v>
                </c:pt>
                <c:pt idx="5578">
                  <c:v>2.4053139046649511E-3</c:v>
                </c:pt>
                <c:pt idx="5579">
                  <c:v>2.4540593372786965E-3</c:v>
                </c:pt>
                <c:pt idx="5580">
                  <c:v>2.4827126130135928E-3</c:v>
                </c:pt>
                <c:pt idx="5581">
                  <c:v>2.4955299169610828E-3</c:v>
                </c:pt>
                <c:pt idx="5582">
                  <c:v>2.4932953863619875E-3</c:v>
                </c:pt>
                <c:pt idx="5583">
                  <c:v>2.4762921780198985E-3</c:v>
                </c:pt>
                <c:pt idx="5584">
                  <c:v>2.444129422777819E-3</c:v>
                </c:pt>
                <c:pt idx="5585">
                  <c:v>2.4000470498282312E-3</c:v>
                </c:pt>
                <c:pt idx="5586">
                  <c:v>2.3474561820212131E-3</c:v>
                </c:pt>
                <c:pt idx="5587">
                  <c:v>2.2972415055636875E-3</c:v>
                </c:pt>
                <c:pt idx="5588">
                  <c:v>2.2224360486936419E-3</c:v>
                </c:pt>
                <c:pt idx="5589">
                  <c:v>2.1329472440840282E-3</c:v>
                </c:pt>
                <c:pt idx="5590">
                  <c:v>2.1122167751078322E-3</c:v>
                </c:pt>
                <c:pt idx="5591">
                  <c:v>2.0744345861929583E-3</c:v>
                </c:pt>
                <c:pt idx="5592">
                  <c:v>2.0409193589588982E-3</c:v>
                </c:pt>
                <c:pt idx="5593">
                  <c:v>2.00014750125452E-3</c:v>
                </c:pt>
                <c:pt idx="5594">
                  <c:v>1.9610271996736758E-3</c:v>
                </c:pt>
                <c:pt idx="5595">
                  <c:v>1.9074981099540271E-3</c:v>
                </c:pt>
                <c:pt idx="5596">
                  <c:v>1.8461738600513099E-3</c:v>
                </c:pt>
                <c:pt idx="5597">
                  <c:v>1.7763159345598005E-3</c:v>
                </c:pt>
                <c:pt idx="5598">
                  <c:v>1.6931781354880425E-3</c:v>
                </c:pt>
                <c:pt idx="5599">
                  <c:v>1.593267296666918E-3</c:v>
                </c:pt>
                <c:pt idx="5600">
                  <c:v>1.4688964416871852E-3</c:v>
                </c:pt>
                <c:pt idx="5601">
                  <c:v>1.3133292507390981E-3</c:v>
                </c:pt>
                <c:pt idx="5602">
                  <c:v>1.2508401743967076E-3</c:v>
                </c:pt>
                <c:pt idx="5603">
                  <c:v>1.2204211811973256E-3</c:v>
                </c:pt>
                <c:pt idx="5604">
                  <c:v>1.2161251527131897E-3</c:v>
                </c:pt>
                <c:pt idx="5605">
                  <c:v>1.2041865868008216E-3</c:v>
                </c:pt>
                <c:pt idx="5606">
                  <c:v>1.1794046473604608E-3</c:v>
                </c:pt>
                <c:pt idx="5607">
                  <c:v>1.1983966928758429E-3</c:v>
                </c:pt>
                <c:pt idx="5608">
                  <c:v>1.2098969046949926E-3</c:v>
                </c:pt>
                <c:pt idx="5609">
                  <c:v>1.2180974967601272E-3</c:v>
                </c:pt>
                <c:pt idx="5610">
                  <c:v>1.2228348823426678E-3</c:v>
                </c:pt>
                <c:pt idx="5611">
                  <c:v>1.2198598037565093E-3</c:v>
                </c:pt>
                <c:pt idx="5612">
                  <c:v>1.2380555959043238E-3</c:v>
                </c:pt>
                <c:pt idx="5613">
                  <c:v>1.2638221150724888E-3</c:v>
                </c:pt>
                <c:pt idx="5614">
                  <c:v>1.3110228101768787E-3</c:v>
                </c:pt>
                <c:pt idx="5615">
                  <c:v>1.3570036753254662E-3</c:v>
                </c:pt>
                <c:pt idx="5616">
                  <c:v>1.4065989557397291E-3</c:v>
                </c:pt>
                <c:pt idx="5617">
                  <c:v>1.5359155009549666E-3</c:v>
                </c:pt>
                <c:pt idx="5618">
                  <c:v>1.6398321163072524E-3</c:v>
                </c:pt>
                <c:pt idx="5619">
                  <c:v>1.7340176173749021E-3</c:v>
                </c:pt>
                <c:pt idx="5620">
                  <c:v>1.8132792635686685E-3</c:v>
                </c:pt>
                <c:pt idx="5621">
                  <c:v>1.9280614773179668E-3</c:v>
                </c:pt>
                <c:pt idx="5622">
                  <c:v>2.0345894851309795E-3</c:v>
                </c:pt>
                <c:pt idx="5623">
                  <c:v>2.1574421881544962E-3</c:v>
                </c:pt>
                <c:pt idx="5624">
                  <c:v>2.2641991889763729E-3</c:v>
                </c:pt>
                <c:pt idx="5625">
                  <c:v>2.35161116583955E-3</c:v>
                </c:pt>
                <c:pt idx="5626">
                  <c:v>2.4242809051404188E-3</c:v>
                </c:pt>
                <c:pt idx="5627">
                  <c:v>2.4794929761202513E-3</c:v>
                </c:pt>
                <c:pt idx="5628">
                  <c:v>2.5195607411148055E-3</c:v>
                </c:pt>
                <c:pt idx="5629">
                  <c:v>2.5444101140797157E-3</c:v>
                </c:pt>
                <c:pt idx="5630">
                  <c:v>2.5514457628721741E-3</c:v>
                </c:pt>
                <c:pt idx="5631">
                  <c:v>2.5408920059104643E-3</c:v>
                </c:pt>
                <c:pt idx="5632">
                  <c:v>2.5126850423953296E-3</c:v>
                </c:pt>
                <c:pt idx="5633">
                  <c:v>2.470368806570701E-3</c:v>
                </c:pt>
                <c:pt idx="5634">
                  <c:v>2.4449004661953877E-3</c:v>
                </c:pt>
                <c:pt idx="5635">
                  <c:v>2.4083455351595652E-3</c:v>
                </c:pt>
                <c:pt idx="5636">
                  <c:v>2.3593613840035806E-3</c:v>
                </c:pt>
                <c:pt idx="5637">
                  <c:v>2.2942805947265997E-3</c:v>
                </c:pt>
                <c:pt idx="5638">
                  <c:v>2.2112852470206981E-3</c:v>
                </c:pt>
                <c:pt idx="5639">
                  <c:v>2.1133116194142652E-3</c:v>
                </c:pt>
                <c:pt idx="5640">
                  <c:v>1.9986659176064641E-3</c:v>
                </c:pt>
                <c:pt idx="5641">
                  <c:v>1.8702184121487673E-3</c:v>
                </c:pt>
                <c:pt idx="5642">
                  <c:v>1.7600276182563684E-3</c:v>
                </c:pt>
                <c:pt idx="5643">
                  <c:v>1.6473575149270228E-3</c:v>
                </c:pt>
                <c:pt idx="5644">
                  <c:v>1.5450701311776323E-3</c:v>
                </c:pt>
                <c:pt idx="5645">
                  <c:v>1.4344352734795755E-3</c:v>
                </c:pt>
                <c:pt idx="5646">
                  <c:v>1.3173109576525475E-3</c:v>
                </c:pt>
                <c:pt idx="5647">
                  <c:v>1.2561686114350699E-3</c:v>
                </c:pt>
                <c:pt idx="5648">
                  <c:v>1.1877764164289499E-3</c:v>
                </c:pt>
                <c:pt idx="5649">
                  <c:v>1.108522850184937E-3</c:v>
                </c:pt>
                <c:pt idx="5650">
                  <c:v>1.0101794069176408E-3</c:v>
                </c:pt>
                <c:pt idx="5651">
                  <c:v>9.6376230836083812E-4</c:v>
                </c:pt>
                <c:pt idx="5652">
                  <c:v>9.2435280119349266E-4</c:v>
                </c:pt>
                <c:pt idx="5653">
                  <c:v>9.2127955506366235E-4</c:v>
                </c:pt>
                <c:pt idx="5654">
                  <c:v>9.2248272168880829E-4</c:v>
                </c:pt>
                <c:pt idx="5655">
                  <c:v>9.2782754110214561E-4</c:v>
                </c:pt>
                <c:pt idx="5656">
                  <c:v>9.3342524832899679E-4</c:v>
                </c:pt>
                <c:pt idx="5657">
                  <c:v>9.4331232516589353E-4</c:v>
                </c:pt>
                <c:pt idx="5658">
                  <c:v>9.5323459472314493E-4</c:v>
                </c:pt>
                <c:pt idx="5659">
                  <c:v>9.6319811083565485E-4</c:v>
                </c:pt>
                <c:pt idx="5660">
                  <c:v>9.6933120485096663E-4</c:v>
                </c:pt>
                <c:pt idx="5661">
                  <c:v>9.9678844314444342E-4</c:v>
                </c:pt>
                <c:pt idx="5662">
                  <c:v>1.0690321440638478E-3</c:v>
                </c:pt>
                <c:pt idx="5663">
                  <c:v>1.1381864960896212E-3</c:v>
                </c:pt>
                <c:pt idx="5664">
                  <c:v>1.2094001648856245E-3</c:v>
                </c:pt>
                <c:pt idx="5665">
                  <c:v>1.3869915286922939E-3</c:v>
                </c:pt>
                <c:pt idx="5666">
                  <c:v>1.5362843451362583E-3</c:v>
                </c:pt>
                <c:pt idx="5667">
                  <c:v>1.6622541791311634E-3</c:v>
                </c:pt>
                <c:pt idx="5668">
                  <c:v>1.8124644963104211E-3</c:v>
                </c:pt>
                <c:pt idx="5669">
                  <c:v>1.9279756113454417E-3</c:v>
                </c:pt>
                <c:pt idx="5670">
                  <c:v>2.0702872366844959E-3</c:v>
                </c:pt>
                <c:pt idx="5671">
                  <c:v>2.2002892380533086E-3</c:v>
                </c:pt>
                <c:pt idx="5672">
                  <c:v>2.3393703838783539E-3</c:v>
                </c:pt>
                <c:pt idx="5673">
                  <c:v>2.4523859301104362E-3</c:v>
                </c:pt>
                <c:pt idx="5674">
                  <c:v>2.5427684461025784E-3</c:v>
                </c:pt>
                <c:pt idx="5675">
                  <c:v>2.6159616832046083E-3</c:v>
                </c:pt>
                <c:pt idx="5676">
                  <c:v>2.6706854001215456E-3</c:v>
                </c:pt>
                <c:pt idx="5677">
                  <c:v>2.7080321948510203E-3</c:v>
                </c:pt>
                <c:pt idx="5678">
                  <c:v>2.7350190415279495E-3</c:v>
                </c:pt>
                <c:pt idx="5679">
                  <c:v>2.7528959464362666E-3</c:v>
                </c:pt>
                <c:pt idx="5680">
                  <c:v>2.7549044694424193E-3</c:v>
                </c:pt>
                <c:pt idx="5681">
                  <c:v>2.7408980264685139E-3</c:v>
                </c:pt>
                <c:pt idx="5682">
                  <c:v>2.7226254810170684E-3</c:v>
                </c:pt>
                <c:pt idx="5683">
                  <c:v>2.6931513401786994E-3</c:v>
                </c:pt>
                <c:pt idx="5684">
                  <c:v>2.718257223380803E-3</c:v>
                </c:pt>
                <c:pt idx="5685">
                  <c:v>2.7285752289072708E-3</c:v>
                </c:pt>
                <c:pt idx="5686">
                  <c:v>2.7119139676883603E-3</c:v>
                </c:pt>
                <c:pt idx="5687">
                  <c:v>2.6765013316781532E-3</c:v>
                </c:pt>
                <c:pt idx="5688">
                  <c:v>2.6137191063369857E-3</c:v>
                </c:pt>
                <c:pt idx="5689">
                  <c:v>2.5262346267156304E-3</c:v>
                </c:pt>
                <c:pt idx="5690">
                  <c:v>2.4137597108283512E-3</c:v>
                </c:pt>
                <c:pt idx="5691">
                  <c:v>2.2992620918221886E-3</c:v>
                </c:pt>
                <c:pt idx="5692">
                  <c:v>2.2063385369057273E-3</c:v>
                </c:pt>
                <c:pt idx="5693">
                  <c:v>2.101981479554945E-3</c:v>
                </c:pt>
                <c:pt idx="5694">
                  <c:v>1.9939859365660489E-3</c:v>
                </c:pt>
                <c:pt idx="5695">
                  <c:v>1.9616033543308907E-3</c:v>
                </c:pt>
                <c:pt idx="5696">
                  <c:v>1.9194524790915259E-3</c:v>
                </c:pt>
                <c:pt idx="5697">
                  <c:v>1.8638587146444228E-3</c:v>
                </c:pt>
                <c:pt idx="5698">
                  <c:v>1.8315520585745373E-3</c:v>
                </c:pt>
                <c:pt idx="5699">
                  <c:v>1.7800411592364968E-3</c:v>
                </c:pt>
                <c:pt idx="5700">
                  <c:v>1.7601801542850828E-3</c:v>
                </c:pt>
                <c:pt idx="5701">
                  <c:v>1.7330459158078585E-3</c:v>
                </c:pt>
                <c:pt idx="5702">
                  <c:v>1.7215409158086439E-3</c:v>
                </c:pt>
                <c:pt idx="5703">
                  <c:v>1.7008357625627241E-3</c:v>
                </c:pt>
                <c:pt idx="5704">
                  <c:v>1.6704526951360581E-3</c:v>
                </c:pt>
                <c:pt idx="5705">
                  <c:v>1.6302430638998992E-3</c:v>
                </c:pt>
                <c:pt idx="5706">
                  <c:v>1.5764184501560338E-3</c:v>
                </c:pt>
                <c:pt idx="5707">
                  <c:v>1.5105119352320292E-3</c:v>
                </c:pt>
                <c:pt idx="5708">
                  <c:v>1.4311447703650709E-3</c:v>
                </c:pt>
                <c:pt idx="5709">
                  <c:v>1.3474115676368392E-3</c:v>
                </c:pt>
                <c:pt idx="5710">
                  <c:v>1.256171898251842E-3</c:v>
                </c:pt>
                <c:pt idx="5711">
                  <c:v>1.2233654217861337E-3</c:v>
                </c:pt>
                <c:pt idx="5712">
                  <c:v>1.1922835611264783E-3</c:v>
                </c:pt>
                <c:pt idx="5713">
                  <c:v>1.1856192605692643E-3</c:v>
                </c:pt>
                <c:pt idx="5714">
                  <c:v>1.3170065585331608E-3</c:v>
                </c:pt>
                <c:pt idx="5715">
                  <c:v>1.4642775537157243E-3</c:v>
                </c:pt>
                <c:pt idx="5716">
                  <c:v>1.6365681612040596E-3</c:v>
                </c:pt>
                <c:pt idx="5717">
                  <c:v>1.780579567378808E-3</c:v>
                </c:pt>
                <c:pt idx="5718">
                  <c:v>1.8973210453373764E-3</c:v>
                </c:pt>
                <c:pt idx="5719">
                  <c:v>1.9912639581164434E-3</c:v>
                </c:pt>
                <c:pt idx="5720">
                  <c:v>2.0714845629455068E-3</c:v>
                </c:pt>
                <c:pt idx="5721">
                  <c:v>2.1348263727894137E-3</c:v>
                </c:pt>
                <c:pt idx="5722">
                  <c:v>2.1904313307834727E-3</c:v>
                </c:pt>
                <c:pt idx="5723">
                  <c:v>2.2402373207592299E-3</c:v>
                </c:pt>
                <c:pt idx="5724">
                  <c:v>2.2844230443934692E-3</c:v>
                </c:pt>
                <c:pt idx="5725">
                  <c:v>2.3155056049225207E-3</c:v>
                </c:pt>
                <c:pt idx="5726">
                  <c:v>2.3369287020144807E-3</c:v>
                </c:pt>
                <c:pt idx="5727">
                  <c:v>2.3497370785041799E-3</c:v>
                </c:pt>
                <c:pt idx="5728">
                  <c:v>2.3503162170805942E-3</c:v>
                </c:pt>
                <c:pt idx="5729">
                  <c:v>2.3389231750037386E-3</c:v>
                </c:pt>
                <c:pt idx="5730">
                  <c:v>2.3186876553829487E-3</c:v>
                </c:pt>
                <c:pt idx="5731">
                  <c:v>2.2861052588231128E-3</c:v>
                </c:pt>
                <c:pt idx="5732">
                  <c:v>2.2447101943744697E-3</c:v>
                </c:pt>
                <c:pt idx="5733">
                  <c:v>2.1928237928952946E-3</c:v>
                </c:pt>
                <c:pt idx="5734">
                  <c:v>2.1292052813448158E-3</c:v>
                </c:pt>
                <c:pt idx="5735">
                  <c:v>2.0500225641039527E-3</c:v>
                </c:pt>
                <c:pt idx="5736">
                  <c:v>1.9482649338072096E-3</c:v>
                </c:pt>
                <c:pt idx="5737">
                  <c:v>1.8247593661845334E-3</c:v>
                </c:pt>
                <c:pt idx="5738">
                  <c:v>1.6725151274452558E-3</c:v>
                </c:pt>
                <c:pt idx="5739">
                  <c:v>1.488314731917572E-3</c:v>
                </c:pt>
                <c:pt idx="5740">
                  <c:v>1.2835249821091079E-3</c:v>
                </c:pt>
                <c:pt idx="5741">
                  <c:v>1.1702126050858015E-3</c:v>
                </c:pt>
                <c:pt idx="5742">
                  <c:v>1.0399187962041071E-3</c:v>
                </c:pt>
                <c:pt idx="5743">
                  <c:v>9.33065369692907E-4</c:v>
                </c:pt>
                <c:pt idx="5744">
                  <c:v>8.7625314456348945E-4</c:v>
                </c:pt>
                <c:pt idx="5745">
                  <c:v>8.446145238025875E-4</c:v>
                </c:pt>
                <c:pt idx="5746">
                  <c:v>8.5547309656582005E-4</c:v>
                </c:pt>
                <c:pt idx="5747">
                  <c:v>8.6645703228312426E-4</c:v>
                </c:pt>
                <c:pt idx="5748">
                  <c:v>8.8698609942541558E-4</c:v>
                </c:pt>
                <c:pt idx="5749">
                  <c:v>9.0234490426091367E-4</c:v>
                </c:pt>
                <c:pt idx="5750">
                  <c:v>9.1310102897372678E-4</c:v>
                </c:pt>
                <c:pt idx="5751">
                  <c:v>9.191928336421283E-4</c:v>
                </c:pt>
                <c:pt idx="5752">
                  <c:v>9.2888331058061323E-4</c:v>
                </c:pt>
                <c:pt idx="5753">
                  <c:v>9.3876970925626092E-4</c:v>
                </c:pt>
                <c:pt idx="5754">
                  <c:v>9.5313870456959274E-4</c:v>
                </c:pt>
                <c:pt idx="5755">
                  <c:v>9.6350162177168683E-4</c:v>
                </c:pt>
                <c:pt idx="5756">
                  <c:v>9.7370156299479943E-4</c:v>
                </c:pt>
                <c:pt idx="5757">
                  <c:v>9.83517554005605E-4</c:v>
                </c:pt>
                <c:pt idx="5758">
                  <c:v>9.8931888023379871E-4</c:v>
                </c:pt>
                <c:pt idx="5759">
                  <c:v>9.9545992522186112E-4</c:v>
                </c:pt>
                <c:pt idx="5760">
                  <c:v>9.972032588944882E-4</c:v>
                </c:pt>
                <c:pt idx="5761">
                  <c:v>1.0241220976672839E-3</c:v>
                </c:pt>
                <c:pt idx="5762">
                  <c:v>1.0532627126296516E-3</c:v>
                </c:pt>
                <c:pt idx="5763">
                  <c:v>1.0876181043593144E-3</c:v>
                </c:pt>
                <c:pt idx="5764">
                  <c:v>1.1173050031246809E-3</c:v>
                </c:pt>
                <c:pt idx="5765">
                  <c:v>1.2177502739845697E-3</c:v>
                </c:pt>
                <c:pt idx="5766">
                  <c:v>1.2982174875862001E-3</c:v>
                </c:pt>
                <c:pt idx="5767">
                  <c:v>1.3946728232939792E-3</c:v>
                </c:pt>
                <c:pt idx="5768">
                  <c:v>1.4735509102726692E-3</c:v>
                </c:pt>
                <c:pt idx="5769">
                  <c:v>1.5637357662072464E-3</c:v>
                </c:pt>
                <c:pt idx="5770">
                  <c:v>1.6429288631840042E-3</c:v>
                </c:pt>
                <c:pt idx="5771">
                  <c:v>1.704494720854768E-3</c:v>
                </c:pt>
                <c:pt idx="5772">
                  <c:v>1.7604500544668657E-3</c:v>
                </c:pt>
                <c:pt idx="5773">
                  <c:v>1.8028703764640377E-3</c:v>
                </c:pt>
                <c:pt idx="5774">
                  <c:v>1.8389709614153747E-3</c:v>
                </c:pt>
                <c:pt idx="5775">
                  <c:v>1.8636460588348925E-3</c:v>
                </c:pt>
                <c:pt idx="5776">
                  <c:v>1.8804993143233906E-3</c:v>
                </c:pt>
                <c:pt idx="5777">
                  <c:v>1.8906454775608715E-3</c:v>
                </c:pt>
                <c:pt idx="5778">
                  <c:v>1.9806248987835839E-3</c:v>
                </c:pt>
                <c:pt idx="5779">
                  <c:v>2.0733797226056808E-3</c:v>
                </c:pt>
                <c:pt idx="5780">
                  <c:v>2.144598188828061E-3</c:v>
                </c:pt>
                <c:pt idx="5781">
                  <c:v>2.1962330442452404E-3</c:v>
                </c:pt>
                <c:pt idx="5782">
                  <c:v>2.2336747543292863E-3</c:v>
                </c:pt>
                <c:pt idx="5783">
                  <c:v>2.2570771710155001E-3</c:v>
                </c:pt>
                <c:pt idx="5784">
                  <c:v>2.2701182219956721E-3</c:v>
                </c:pt>
                <c:pt idx="5785">
                  <c:v>2.2631153384280534E-3</c:v>
                </c:pt>
                <c:pt idx="5786">
                  <c:v>2.2466022343555032E-3</c:v>
                </c:pt>
                <c:pt idx="5787">
                  <c:v>2.2164671148177063E-3</c:v>
                </c:pt>
                <c:pt idx="5788">
                  <c:v>2.1717575066643926E-3</c:v>
                </c:pt>
                <c:pt idx="5789">
                  <c:v>2.1094562952210945E-3</c:v>
                </c:pt>
                <c:pt idx="5790">
                  <c:v>2.0267556560988258E-3</c:v>
                </c:pt>
                <c:pt idx="5791">
                  <c:v>1.9634810664627524E-3</c:v>
                </c:pt>
                <c:pt idx="5792">
                  <c:v>1.891109332705775E-3</c:v>
                </c:pt>
                <c:pt idx="5793">
                  <c:v>1.8093016963195341E-3</c:v>
                </c:pt>
                <c:pt idx="5794">
                  <c:v>1.7063764515745856E-3</c:v>
                </c:pt>
                <c:pt idx="5795">
                  <c:v>1.6597435121697183E-3</c:v>
                </c:pt>
                <c:pt idx="5796">
                  <c:v>1.6033439337387163E-3</c:v>
                </c:pt>
                <c:pt idx="5797">
                  <c:v>1.558676860647842E-3</c:v>
                </c:pt>
                <c:pt idx="5798">
                  <c:v>1.507605520314641E-3</c:v>
                </c:pt>
                <c:pt idx="5799">
                  <c:v>1.4804552822650185E-3</c:v>
                </c:pt>
                <c:pt idx="5800">
                  <c:v>1.4613321190307029E-3</c:v>
                </c:pt>
                <c:pt idx="5801">
                  <c:v>1.4386117714964139E-3</c:v>
                </c:pt>
                <c:pt idx="5802">
                  <c:v>1.4741181696371626E-3</c:v>
                </c:pt>
                <c:pt idx="5803">
                  <c:v>1.5216387216368946E-3</c:v>
                </c:pt>
                <c:pt idx="5804">
                  <c:v>1.5467041825017016E-3</c:v>
                </c:pt>
                <c:pt idx="5805">
                  <c:v>1.5503138343139775E-3</c:v>
                </c:pt>
                <c:pt idx="5806">
                  <c:v>1.5329598065054108E-3</c:v>
                </c:pt>
                <c:pt idx="5807">
                  <c:v>1.50429858182308E-3</c:v>
                </c:pt>
                <c:pt idx="5808">
                  <c:v>1.5519350703813728E-3</c:v>
                </c:pt>
                <c:pt idx="5809">
                  <c:v>1.6030611066721364E-3</c:v>
                </c:pt>
                <c:pt idx="5810">
                  <c:v>1.6436439694759962E-3</c:v>
                </c:pt>
                <c:pt idx="5811">
                  <c:v>1.6779608592747627E-3</c:v>
                </c:pt>
                <c:pt idx="5812">
                  <c:v>1.7094528426196652E-3</c:v>
                </c:pt>
                <c:pt idx="5813">
                  <c:v>1.7343572886907898E-3</c:v>
                </c:pt>
                <c:pt idx="5814">
                  <c:v>1.7575448698469959E-3</c:v>
                </c:pt>
                <c:pt idx="5815">
                  <c:v>1.7682152719710302E-3</c:v>
                </c:pt>
                <c:pt idx="5816">
                  <c:v>1.772531669705454E-3</c:v>
                </c:pt>
                <c:pt idx="5817">
                  <c:v>1.7743880650837628E-3</c:v>
                </c:pt>
                <c:pt idx="5818">
                  <c:v>1.7738215262219695E-3</c:v>
                </c:pt>
                <c:pt idx="5819">
                  <c:v>1.7772403185589872E-3</c:v>
                </c:pt>
                <c:pt idx="5820">
                  <c:v>1.7690773932761649E-3</c:v>
                </c:pt>
                <c:pt idx="5821">
                  <c:v>1.7572444059383487E-3</c:v>
                </c:pt>
                <c:pt idx="5822">
                  <c:v>1.7348064311757487E-3</c:v>
                </c:pt>
                <c:pt idx="5823">
                  <c:v>1.7009426776971011E-3</c:v>
                </c:pt>
                <c:pt idx="5824">
                  <c:v>1.6579999793851208E-3</c:v>
                </c:pt>
                <c:pt idx="5825">
                  <c:v>1.7513893545906037E-3</c:v>
                </c:pt>
                <c:pt idx="5826">
                  <c:v>1.8183809835646176E-3</c:v>
                </c:pt>
                <c:pt idx="5827">
                  <c:v>1.8533652665437004E-3</c:v>
                </c:pt>
                <c:pt idx="5828">
                  <c:v>1.8620454263744797E-3</c:v>
                </c:pt>
                <c:pt idx="5829">
                  <c:v>1.8609839921642037E-3</c:v>
                </c:pt>
                <c:pt idx="5830">
                  <c:v>1.8646399352248936E-3</c:v>
                </c:pt>
                <c:pt idx="5831">
                  <c:v>1.8562277945754716E-3</c:v>
                </c:pt>
                <c:pt idx="5832">
                  <c:v>1.893269193416238E-3</c:v>
                </c:pt>
                <c:pt idx="5833">
                  <c:v>1.9359727880359427E-3</c:v>
                </c:pt>
                <c:pt idx="5834">
                  <c:v>1.9671136253155692E-3</c:v>
                </c:pt>
                <c:pt idx="5835">
                  <c:v>1.9871947950203341E-3</c:v>
                </c:pt>
                <c:pt idx="5836">
                  <c:v>1.9969069207857152E-3</c:v>
                </c:pt>
                <c:pt idx="5837">
                  <c:v>1.9963693081170909E-3</c:v>
                </c:pt>
                <c:pt idx="5838">
                  <c:v>1.9893527073053872E-3</c:v>
                </c:pt>
                <c:pt idx="5839">
                  <c:v>1.9756949093420505E-3</c:v>
                </c:pt>
                <c:pt idx="5840">
                  <c:v>1.9520720400588861E-3</c:v>
                </c:pt>
                <c:pt idx="5841">
                  <c:v>1.9216614294406519E-3</c:v>
                </c:pt>
                <c:pt idx="5842">
                  <c:v>1.8847697301611489E-3</c:v>
                </c:pt>
                <c:pt idx="5843">
                  <c:v>1.8373386029090465E-3</c:v>
                </c:pt>
                <c:pt idx="5844">
                  <c:v>1.7896144602043646E-3</c:v>
                </c:pt>
                <c:pt idx="5845">
                  <c:v>1.733254875221038E-3</c:v>
                </c:pt>
                <c:pt idx="5846">
                  <c:v>1.6668154800360193E-3</c:v>
                </c:pt>
                <c:pt idx="5847">
                  <c:v>1.5909989499895034E-3</c:v>
                </c:pt>
                <c:pt idx="5848">
                  <c:v>1.5047457433561091E-3</c:v>
                </c:pt>
                <c:pt idx="5849">
                  <c:v>1.4288422866465874E-3</c:v>
                </c:pt>
                <c:pt idx="5850">
                  <c:v>1.3378642637139981E-3</c:v>
                </c:pt>
                <c:pt idx="5851">
                  <c:v>1.2286772932743985E-3</c:v>
                </c:pt>
                <c:pt idx="5852">
                  <c:v>1.0959296583016944E-3</c:v>
                </c:pt>
                <c:pt idx="5853">
                  <c:v>9.2927236944285476E-4</c:v>
                </c:pt>
                <c:pt idx="5854">
                  <c:v>7.2086369944236717E-4</c:v>
                </c:pt>
                <c:pt idx="5855">
                  <c:v>7.3026599900800188E-4</c:v>
                </c:pt>
                <c:pt idx="5856">
                  <c:v>7.3782332628912015E-4</c:v>
                </c:pt>
                <c:pt idx="5857">
                  <c:v>7.4355053066740243E-4</c:v>
                </c:pt>
                <c:pt idx="5858">
                  <c:v>7.8580444488470717E-4</c:v>
                </c:pt>
                <c:pt idx="5859">
                  <c:v>8.1828616736879373E-4</c:v>
                </c:pt>
                <c:pt idx="5860">
                  <c:v>8.6217393582388099E-4</c:v>
                </c:pt>
                <c:pt idx="5861">
                  <c:v>8.9978168198606788E-4</c:v>
                </c:pt>
                <c:pt idx="5862">
                  <c:v>9.3197085946686742E-4</c:v>
                </c:pt>
                <c:pt idx="5863">
                  <c:v>9.6359425717192906E-4</c:v>
                </c:pt>
                <c:pt idx="5864">
                  <c:v>9.8995685635590303E-4</c:v>
                </c:pt>
                <c:pt idx="5865">
                  <c:v>1.0116992596550277E-3</c:v>
                </c:pt>
                <c:pt idx="5866">
                  <c:v>1.1217954784284558E-3</c:v>
                </c:pt>
                <c:pt idx="5867">
                  <c:v>1.270557000797285E-3</c:v>
                </c:pt>
                <c:pt idx="5868">
                  <c:v>1.4022554203402264E-3</c:v>
                </c:pt>
                <c:pt idx="5869">
                  <c:v>1.5174928298196547E-3</c:v>
                </c:pt>
                <c:pt idx="5870">
                  <c:v>1.6124023385518738E-3</c:v>
                </c:pt>
                <c:pt idx="5871">
                  <c:v>1.6944771207382337E-3</c:v>
                </c:pt>
                <c:pt idx="5872">
                  <c:v>1.7609425754154767E-3</c:v>
                </c:pt>
                <c:pt idx="5873">
                  <c:v>1.8136346411865743E-3</c:v>
                </c:pt>
                <c:pt idx="5874">
                  <c:v>1.8567996391535826E-3</c:v>
                </c:pt>
                <c:pt idx="5875">
                  <c:v>1.8877713073813264E-3</c:v>
                </c:pt>
                <c:pt idx="5876">
                  <c:v>1.9148156239246347E-3</c:v>
                </c:pt>
                <c:pt idx="5877">
                  <c:v>1.9316707350679257E-3</c:v>
                </c:pt>
                <c:pt idx="5878">
                  <c:v>1.9389577500441113E-3</c:v>
                </c:pt>
                <c:pt idx="5879">
                  <c:v>1.9636262355672428E-3</c:v>
                </c:pt>
                <c:pt idx="5880">
                  <c:v>1.9755706274093691E-3</c:v>
                </c:pt>
                <c:pt idx="5881">
                  <c:v>2.0390943091205577E-3</c:v>
                </c:pt>
                <c:pt idx="5882">
                  <c:v>2.0909721575261687E-3</c:v>
                </c:pt>
                <c:pt idx="5883">
                  <c:v>2.1189224040916777E-3</c:v>
                </c:pt>
                <c:pt idx="5884">
                  <c:v>2.1400471388688226E-3</c:v>
                </c:pt>
                <c:pt idx="5885">
                  <c:v>2.2843435837292619E-3</c:v>
                </c:pt>
                <c:pt idx="5886">
                  <c:v>2.4009268952038154E-3</c:v>
                </c:pt>
                <c:pt idx="5887">
                  <c:v>2.4824457670892834E-3</c:v>
                </c:pt>
                <c:pt idx="5888">
                  <c:v>2.5627496975711849E-3</c:v>
                </c:pt>
                <c:pt idx="5889">
                  <c:v>2.6166051549114553E-3</c:v>
                </c:pt>
                <c:pt idx="5890">
                  <c:v>2.6526324253836374E-3</c:v>
                </c:pt>
                <c:pt idx="5891">
                  <c:v>2.6654169003478972E-3</c:v>
                </c:pt>
                <c:pt idx="5892">
                  <c:v>2.6518089204171798E-3</c:v>
                </c:pt>
                <c:pt idx="5893">
                  <c:v>2.6191864783932095E-3</c:v>
                </c:pt>
                <c:pt idx="5894">
                  <c:v>2.5631171054153359E-3</c:v>
                </c:pt>
                <c:pt idx="5895">
                  <c:v>2.4823013368293926E-3</c:v>
                </c:pt>
                <c:pt idx="5896">
                  <c:v>2.4523309803529906E-3</c:v>
                </c:pt>
                <c:pt idx="5897">
                  <c:v>2.442743309436674E-3</c:v>
                </c:pt>
                <c:pt idx="5898">
                  <c:v>2.4275768428525584E-3</c:v>
                </c:pt>
                <c:pt idx="5899">
                  <c:v>2.403692239593381E-3</c:v>
                </c:pt>
                <c:pt idx="5900">
                  <c:v>2.3682562608897174E-3</c:v>
                </c:pt>
                <c:pt idx="5901">
                  <c:v>2.3238696730678273E-3</c:v>
                </c:pt>
                <c:pt idx="5902">
                  <c:v>2.2693198364587249E-3</c:v>
                </c:pt>
                <c:pt idx="5903">
                  <c:v>2.228252907076878E-3</c:v>
                </c:pt>
                <c:pt idx="5904">
                  <c:v>2.1731851772811787E-3</c:v>
                </c:pt>
                <c:pt idx="5905">
                  <c:v>2.094180398793779E-3</c:v>
                </c:pt>
                <c:pt idx="5906">
                  <c:v>1.998043341510769E-3</c:v>
                </c:pt>
                <c:pt idx="5907">
                  <c:v>1.8833724134146353E-3</c:v>
                </c:pt>
                <c:pt idx="5908">
                  <c:v>1.7392198266681777E-3</c:v>
                </c:pt>
                <c:pt idx="5909">
                  <c:v>1.6748886145969883E-3</c:v>
                </c:pt>
                <c:pt idx="5910">
                  <c:v>1.6026199938961733E-3</c:v>
                </c:pt>
                <c:pt idx="5911">
                  <c:v>1.6099565261961987E-3</c:v>
                </c:pt>
                <c:pt idx="5912">
                  <c:v>1.6083419943682283E-3</c:v>
                </c:pt>
                <c:pt idx="5913">
                  <c:v>1.6356764386051708E-3</c:v>
                </c:pt>
                <c:pt idx="5914">
                  <c:v>1.7804383002509162E-3</c:v>
                </c:pt>
                <c:pt idx="5915">
                  <c:v>2.038141429467131E-3</c:v>
                </c:pt>
                <c:pt idx="5916">
                  <c:v>2.2790991644172942E-3</c:v>
                </c:pt>
                <c:pt idx="5917">
                  <c:v>2.486771766178549E-3</c:v>
                </c:pt>
                <c:pt idx="5918">
                  <c:v>2.6731647616251683E-3</c:v>
                </c:pt>
                <c:pt idx="5919">
                  <c:v>2.8271320730306349E-3</c:v>
                </c:pt>
                <c:pt idx="5920">
                  <c:v>2.9937153764074379E-3</c:v>
                </c:pt>
                <c:pt idx="5921">
                  <c:v>3.1384793959667238E-3</c:v>
                </c:pt>
                <c:pt idx="5922">
                  <c:v>3.2527624987495709E-3</c:v>
                </c:pt>
                <c:pt idx="5923">
                  <c:v>3.3414156208574522E-3</c:v>
                </c:pt>
                <c:pt idx="5924">
                  <c:v>3.4100874810033314E-3</c:v>
                </c:pt>
                <c:pt idx="5925">
                  <c:v>3.4561302994366746E-3</c:v>
                </c:pt>
                <c:pt idx="5926">
                  <c:v>3.4775263999051592E-3</c:v>
                </c:pt>
                <c:pt idx="5927">
                  <c:v>3.4773412564322132E-3</c:v>
                </c:pt>
                <c:pt idx="5928">
                  <c:v>3.455432492204126E-3</c:v>
                </c:pt>
                <c:pt idx="5929">
                  <c:v>3.4114039719481616E-3</c:v>
                </c:pt>
                <c:pt idx="5930">
                  <c:v>3.3447171374442627E-3</c:v>
                </c:pt>
                <c:pt idx="5931">
                  <c:v>3.2535751494860814E-3</c:v>
                </c:pt>
                <c:pt idx="5932">
                  <c:v>3.1431610512258463E-3</c:v>
                </c:pt>
                <c:pt idx="5933">
                  <c:v>3.0492212331176124E-3</c:v>
                </c:pt>
                <c:pt idx="5934">
                  <c:v>2.9457467660891144E-3</c:v>
                </c:pt>
                <c:pt idx="5935">
                  <c:v>2.8282903104614411E-3</c:v>
                </c:pt>
                <c:pt idx="5936">
                  <c:v>2.6870561708912835E-3</c:v>
                </c:pt>
                <c:pt idx="5937">
                  <c:v>2.5256065892885278E-3</c:v>
                </c:pt>
                <c:pt idx="5938">
                  <c:v>2.3202389045135067E-3</c:v>
                </c:pt>
                <c:pt idx="5939">
                  <c:v>2.1706851816962135E-3</c:v>
                </c:pt>
                <c:pt idx="5940">
                  <c:v>2.0484944094307646E-3</c:v>
                </c:pt>
                <c:pt idx="5941">
                  <c:v>1.9434106180419028E-3</c:v>
                </c:pt>
                <c:pt idx="5942">
                  <c:v>1.813765129890091E-3</c:v>
                </c:pt>
                <c:pt idx="5943">
                  <c:v>1.7338134723121027E-3</c:v>
                </c:pt>
                <c:pt idx="5944">
                  <c:v>1.7421955655897183E-3</c:v>
                </c:pt>
                <c:pt idx="5945">
                  <c:v>1.7656568513213376E-3</c:v>
                </c:pt>
                <c:pt idx="5946">
                  <c:v>1.7914254002269791E-3</c:v>
                </c:pt>
                <c:pt idx="5947">
                  <c:v>1.8090894272042414E-3</c:v>
                </c:pt>
                <c:pt idx="5948">
                  <c:v>1.8236585465584627E-3</c:v>
                </c:pt>
                <c:pt idx="5949">
                  <c:v>1.8250156416043308E-3</c:v>
                </c:pt>
                <c:pt idx="5950">
                  <c:v>1.9024631883503092E-3</c:v>
                </c:pt>
                <c:pt idx="5951">
                  <c:v>1.9683902673432465E-3</c:v>
                </c:pt>
                <c:pt idx="5952">
                  <c:v>2.0189893917060462E-3</c:v>
                </c:pt>
                <c:pt idx="5953">
                  <c:v>2.0554535542469982E-3</c:v>
                </c:pt>
                <c:pt idx="5954">
                  <c:v>2.0815583104386282E-3</c:v>
                </c:pt>
                <c:pt idx="5955">
                  <c:v>2.0948875748214649E-3</c:v>
                </c:pt>
                <c:pt idx="5956">
                  <c:v>2.0960064386860607E-3</c:v>
                </c:pt>
                <c:pt idx="5957">
                  <c:v>2.090983614515526E-3</c:v>
                </c:pt>
                <c:pt idx="5958">
                  <c:v>2.072609822699331E-3</c:v>
                </c:pt>
                <c:pt idx="5959">
                  <c:v>2.043722565317038E-3</c:v>
                </c:pt>
                <c:pt idx="5960">
                  <c:v>2.0003635429739317E-3</c:v>
                </c:pt>
                <c:pt idx="5961">
                  <c:v>1.9415069750604692E-3</c:v>
                </c:pt>
                <c:pt idx="5962">
                  <c:v>1.870577347602343E-3</c:v>
                </c:pt>
                <c:pt idx="5963">
                  <c:v>1.7812827000270256E-3</c:v>
                </c:pt>
                <c:pt idx="5964">
                  <c:v>1.6929813815613802E-3</c:v>
                </c:pt>
                <c:pt idx="5965">
                  <c:v>1.6126199687663916E-3</c:v>
                </c:pt>
                <c:pt idx="5966">
                  <c:v>1.5306454430176414E-3</c:v>
                </c:pt>
                <c:pt idx="5967">
                  <c:v>1.4516932784232634E-3</c:v>
                </c:pt>
                <c:pt idx="5968">
                  <c:v>1.3535786176912478E-3</c:v>
                </c:pt>
                <c:pt idx="5969">
                  <c:v>1.2390339075049614E-3</c:v>
                </c:pt>
                <c:pt idx="5970">
                  <c:v>1.165205340317748E-3</c:v>
                </c:pt>
                <c:pt idx="5971">
                  <c:v>1.1271823685533916E-3</c:v>
                </c:pt>
                <c:pt idx="5972">
                  <c:v>1.0951653411572137E-3</c:v>
                </c:pt>
                <c:pt idx="5973">
                  <c:v>1.0745624973126473E-3</c:v>
                </c:pt>
                <c:pt idx="5974">
                  <c:v>1.047516613157095E-3</c:v>
                </c:pt>
                <c:pt idx="5975">
                  <c:v>1.0209078798944483E-3</c:v>
                </c:pt>
                <c:pt idx="5976">
                  <c:v>9.8661901568318478E-4</c:v>
                </c:pt>
                <c:pt idx="5977">
                  <c:v>1.0048868137590816E-3</c:v>
                </c:pt>
                <c:pt idx="5978">
                  <c:v>1.0318068379390095E-3</c:v>
                </c:pt>
                <c:pt idx="5979">
                  <c:v>1.0607058499553031E-3</c:v>
                </c:pt>
                <c:pt idx="5980">
                  <c:v>1.1409214396799214E-3</c:v>
                </c:pt>
                <c:pt idx="5981">
                  <c:v>1.275883299671074E-3</c:v>
                </c:pt>
                <c:pt idx="5982">
                  <c:v>1.3856298886835059E-3</c:v>
                </c:pt>
                <c:pt idx="5983">
                  <c:v>1.4762413132454186E-3</c:v>
                </c:pt>
                <c:pt idx="5984">
                  <c:v>1.5506482435478487E-3</c:v>
                </c:pt>
                <c:pt idx="5985">
                  <c:v>1.6111012289470757E-3</c:v>
                </c:pt>
                <c:pt idx="5986">
                  <c:v>1.6721751039030992E-3</c:v>
                </c:pt>
                <c:pt idx="5987">
                  <c:v>1.730453030975528E-3</c:v>
                </c:pt>
                <c:pt idx="5988">
                  <c:v>1.7766150055653852E-3</c:v>
                </c:pt>
                <c:pt idx="5989">
                  <c:v>1.8146919176064914E-3</c:v>
                </c:pt>
                <c:pt idx="5990">
                  <c:v>1.8956027549349021E-3</c:v>
                </c:pt>
                <c:pt idx="5991">
                  <c:v>1.9597427501139488E-3</c:v>
                </c:pt>
                <c:pt idx="5992">
                  <c:v>2.0084367422976276E-3</c:v>
                </c:pt>
                <c:pt idx="5993">
                  <c:v>2.0429948509535427E-3</c:v>
                </c:pt>
                <c:pt idx="5994">
                  <c:v>2.0604745702064073E-3</c:v>
                </c:pt>
                <c:pt idx="5995">
                  <c:v>2.0652150250009237E-3</c:v>
                </c:pt>
                <c:pt idx="5996">
                  <c:v>2.0672793010755751E-3</c:v>
                </c:pt>
                <c:pt idx="5997">
                  <c:v>2.0667165889789656E-3</c:v>
                </c:pt>
                <c:pt idx="5998">
                  <c:v>2.0535010159433275E-3</c:v>
                </c:pt>
                <c:pt idx="5999">
                  <c:v>2.0273721180845061E-3</c:v>
                </c:pt>
                <c:pt idx="6000">
                  <c:v>1.9877376891419764E-3</c:v>
                </c:pt>
                <c:pt idx="6001">
                  <c:v>1.9312148654327093E-3</c:v>
                </c:pt>
                <c:pt idx="6002">
                  <c:v>1.8594737120288349E-3</c:v>
                </c:pt>
                <c:pt idx="6003">
                  <c:v>1.7705120401683985E-3</c:v>
                </c:pt>
                <c:pt idx="6004">
                  <c:v>1.6676499188432465E-3</c:v>
                </c:pt>
                <c:pt idx="6005">
                  <c:v>1.557066374973875E-3</c:v>
                </c:pt>
                <c:pt idx="6006">
                  <c:v>1.4906949313252236E-3</c:v>
                </c:pt>
                <c:pt idx="6007">
                  <c:v>1.5361529290072917E-3</c:v>
                </c:pt>
                <c:pt idx="6008">
                  <c:v>1.5866021282056077E-3</c:v>
                </c:pt>
                <c:pt idx="6009">
                  <c:v>1.6538942228974441E-3</c:v>
                </c:pt>
                <c:pt idx="6010">
                  <c:v>1.7059442607284718E-3</c:v>
                </c:pt>
                <c:pt idx="6011">
                  <c:v>1.8289106638809741E-3</c:v>
                </c:pt>
                <c:pt idx="6012">
                  <c:v>2.0026189711724596E-3</c:v>
                </c:pt>
                <c:pt idx="6013">
                  <c:v>2.1393968446634629E-3</c:v>
                </c:pt>
                <c:pt idx="6014">
                  <c:v>2.2514653849114827E-3</c:v>
                </c:pt>
                <c:pt idx="6015">
                  <c:v>2.3458054796407358E-3</c:v>
                </c:pt>
                <c:pt idx="6016">
                  <c:v>2.4572026969335143E-3</c:v>
                </c:pt>
                <c:pt idx="6017">
                  <c:v>2.5967656568470017E-3</c:v>
                </c:pt>
                <c:pt idx="6018">
                  <c:v>2.7276379861235819E-3</c:v>
                </c:pt>
                <c:pt idx="6019">
                  <c:v>2.8303528294820858E-3</c:v>
                </c:pt>
                <c:pt idx="6020">
                  <c:v>2.9511379131637377E-3</c:v>
                </c:pt>
                <c:pt idx="6021">
                  <c:v>3.0505427584161969E-3</c:v>
                </c:pt>
                <c:pt idx="6022">
                  <c:v>3.1585037049733796E-3</c:v>
                </c:pt>
                <c:pt idx="6023">
                  <c:v>3.2479125320065312E-3</c:v>
                </c:pt>
                <c:pt idx="6024">
                  <c:v>3.3128717476987981E-3</c:v>
                </c:pt>
                <c:pt idx="6025">
                  <c:v>3.3496644784181892E-3</c:v>
                </c:pt>
                <c:pt idx="6026">
                  <c:v>3.3760518631463531E-3</c:v>
                </c:pt>
                <c:pt idx="6027">
                  <c:v>3.3771353898204019E-3</c:v>
                </c:pt>
                <c:pt idx="6028">
                  <c:v>3.3561812098448253E-3</c:v>
                </c:pt>
                <c:pt idx="6029">
                  <c:v>3.3156580703613404E-3</c:v>
                </c:pt>
                <c:pt idx="6030">
                  <c:v>3.2517108319932387E-3</c:v>
                </c:pt>
                <c:pt idx="6031">
                  <c:v>3.161195952843534E-3</c:v>
                </c:pt>
                <c:pt idx="6032">
                  <c:v>3.0481779715892734E-3</c:v>
                </c:pt>
                <c:pt idx="6033">
                  <c:v>2.9032205245381059E-3</c:v>
                </c:pt>
                <c:pt idx="6034">
                  <c:v>2.7212558832533477E-3</c:v>
                </c:pt>
                <c:pt idx="6035">
                  <c:v>2.5011406620013272E-3</c:v>
                </c:pt>
                <c:pt idx="6036">
                  <c:v>2.3421988982217394E-3</c:v>
                </c:pt>
                <c:pt idx="6037">
                  <c:v>2.2160001451035213E-3</c:v>
                </c:pt>
                <c:pt idx="6038">
                  <c:v>2.0727566770206152E-3</c:v>
                </c:pt>
                <c:pt idx="6039">
                  <c:v>1.9331807337008755E-3</c:v>
                </c:pt>
                <c:pt idx="6040">
                  <c:v>1.7670532815388981E-3</c:v>
                </c:pt>
                <c:pt idx="6041">
                  <c:v>1.6232755395226754E-3</c:v>
                </c:pt>
                <c:pt idx="6042">
                  <c:v>1.5351001131267547E-3</c:v>
                </c:pt>
                <c:pt idx="6043">
                  <c:v>1.4275524537339566E-3</c:v>
                </c:pt>
                <c:pt idx="6044">
                  <c:v>1.306374190131066E-3</c:v>
                </c:pt>
                <c:pt idx="6045">
                  <c:v>1.1707476305144184E-3</c:v>
                </c:pt>
                <c:pt idx="6046">
                  <c:v>1.0705774498414469E-3</c:v>
                </c:pt>
                <c:pt idx="6047">
                  <c:v>1.0379617557811269E-3</c:v>
                </c:pt>
                <c:pt idx="6048">
                  <c:v>1.0209680567121913E-3</c:v>
                </c:pt>
                <c:pt idx="6049">
                  <c:v>1.0180001235922066E-3</c:v>
                </c:pt>
                <c:pt idx="6050">
                  <c:v>1.029569079569219E-3</c:v>
                </c:pt>
                <c:pt idx="6051">
                  <c:v>1.0557527611067218E-3</c:v>
                </c:pt>
                <c:pt idx="6052">
                  <c:v>1.1145267157891446E-3</c:v>
                </c:pt>
                <c:pt idx="6053">
                  <c:v>1.1687111921112297E-3</c:v>
                </c:pt>
                <c:pt idx="6054">
                  <c:v>1.2163411616571745E-3</c:v>
                </c:pt>
                <c:pt idx="6055">
                  <c:v>1.2522157483987697E-3</c:v>
                </c:pt>
                <c:pt idx="6056">
                  <c:v>1.2836514303446618E-3</c:v>
                </c:pt>
                <c:pt idx="6057">
                  <c:v>1.3081731261124555E-3</c:v>
                </c:pt>
                <c:pt idx="6058">
                  <c:v>1.3899275543251873E-3</c:v>
                </c:pt>
                <c:pt idx="6059">
                  <c:v>1.5176109471045039E-3</c:v>
                </c:pt>
                <c:pt idx="6060">
                  <c:v>1.615185685755459E-3</c:v>
                </c:pt>
                <c:pt idx="6061">
                  <c:v>1.7113535931441548E-3</c:v>
                </c:pt>
                <c:pt idx="6062">
                  <c:v>1.7943586154175024E-3</c:v>
                </c:pt>
                <c:pt idx="6063">
                  <c:v>1.8608948297673534E-3</c:v>
                </c:pt>
                <c:pt idx="6064">
                  <c:v>1.9129127674613387E-3</c:v>
                </c:pt>
                <c:pt idx="6065">
                  <c:v>1.9514641374647607E-3</c:v>
                </c:pt>
                <c:pt idx="6066">
                  <c:v>1.9772171225482024E-3</c:v>
                </c:pt>
                <c:pt idx="6067">
                  <c:v>1.9944050981638675E-3</c:v>
                </c:pt>
                <c:pt idx="6068">
                  <c:v>2.0025650582585612E-3</c:v>
                </c:pt>
                <c:pt idx="6069">
                  <c:v>2.0053145267655437E-3</c:v>
                </c:pt>
                <c:pt idx="6070">
                  <c:v>1.9963434314422038E-3</c:v>
                </c:pt>
                <c:pt idx="6071">
                  <c:v>1.9751011741050567E-3</c:v>
                </c:pt>
                <c:pt idx="6072">
                  <c:v>1.9417084000561576E-3</c:v>
                </c:pt>
                <c:pt idx="6073">
                  <c:v>1.8980338974971178E-3</c:v>
                </c:pt>
                <c:pt idx="6074">
                  <c:v>1.8445834752390383E-3</c:v>
                </c:pt>
                <c:pt idx="6075">
                  <c:v>1.7761852912049274E-3</c:v>
                </c:pt>
                <c:pt idx="6076">
                  <c:v>1.7110672324818898E-3</c:v>
                </c:pt>
                <c:pt idx="6077">
                  <c:v>1.6534577368645233E-3</c:v>
                </c:pt>
                <c:pt idx="6078">
                  <c:v>1.5816911547592146E-3</c:v>
                </c:pt>
                <c:pt idx="6079">
                  <c:v>1.5153156341546679E-3</c:v>
                </c:pt>
                <c:pt idx="6080">
                  <c:v>1.4501880945385764E-3</c:v>
                </c:pt>
                <c:pt idx="6081">
                  <c:v>1.3924668524593717E-3</c:v>
                </c:pt>
                <c:pt idx="6082">
                  <c:v>1.3330253325961063E-3</c:v>
                </c:pt>
                <c:pt idx="6083">
                  <c:v>1.2594988373818825E-3</c:v>
                </c:pt>
                <c:pt idx="6084">
                  <c:v>1.1723370225110088E-3</c:v>
                </c:pt>
                <c:pt idx="6085">
                  <c:v>1.0742714680081465E-3</c:v>
                </c:pt>
                <c:pt idx="6086">
                  <c:v>9.5477694280099229E-4</c:v>
                </c:pt>
                <c:pt idx="6087">
                  <c:v>8.2446830027191873E-4</c:v>
                </c:pt>
                <c:pt idx="6088">
                  <c:v>7.7561061144299556E-4</c:v>
                </c:pt>
                <c:pt idx="6089">
                  <c:v>7.8308599998091132E-4</c:v>
                </c:pt>
                <c:pt idx="6090">
                  <c:v>7.7867135296286433E-4</c:v>
                </c:pt>
                <c:pt idx="6091">
                  <c:v>7.8823009401638681E-4</c:v>
                </c:pt>
                <c:pt idx="6092">
                  <c:v>9.2470314861859207E-4</c:v>
                </c:pt>
                <c:pt idx="6093">
                  <c:v>1.0336311885520313E-3</c:v>
                </c:pt>
                <c:pt idx="6094">
                  <c:v>1.1406288737580465E-3</c:v>
                </c:pt>
                <c:pt idx="6095">
                  <c:v>1.2286611537262928E-3</c:v>
                </c:pt>
                <c:pt idx="6096">
                  <c:v>1.3063085017114959E-3</c:v>
                </c:pt>
                <c:pt idx="6097">
                  <c:v>1.3735949734745999E-3</c:v>
                </c:pt>
                <c:pt idx="6098">
                  <c:v>1.4323334131178945E-3</c:v>
                </c:pt>
                <c:pt idx="6099">
                  <c:v>1.4807892839243375E-3</c:v>
                </c:pt>
                <c:pt idx="6100">
                  <c:v>1.5200838899687215E-3</c:v>
                </c:pt>
                <c:pt idx="6101">
                  <c:v>1.5510362965722815E-3</c:v>
                </c:pt>
                <c:pt idx="6102">
                  <c:v>1.6384006076270658E-3</c:v>
                </c:pt>
                <c:pt idx="6103">
                  <c:v>1.756096026951165E-3</c:v>
                </c:pt>
                <c:pt idx="6104">
                  <c:v>1.8671152120215274E-3</c:v>
                </c:pt>
                <c:pt idx="6105">
                  <c:v>1.9524530104968023E-3</c:v>
                </c:pt>
                <c:pt idx="6106">
                  <c:v>2.0863682058345316E-3</c:v>
                </c:pt>
                <c:pt idx="6107">
                  <c:v>2.1969112555132475E-3</c:v>
                </c:pt>
                <c:pt idx="6108">
                  <c:v>2.2803272952128572E-3</c:v>
                </c:pt>
                <c:pt idx="6109">
                  <c:v>2.3564695674866644E-3</c:v>
                </c:pt>
                <c:pt idx="6110">
                  <c:v>2.4129857440309678E-3</c:v>
                </c:pt>
                <c:pt idx="6111">
                  <c:v>2.4512919218810632E-3</c:v>
                </c:pt>
                <c:pt idx="6112">
                  <c:v>2.468614757281478E-3</c:v>
                </c:pt>
                <c:pt idx="6113">
                  <c:v>2.4655901402240244E-3</c:v>
                </c:pt>
                <c:pt idx="6114">
                  <c:v>2.4454112805457839E-3</c:v>
                </c:pt>
                <c:pt idx="6115">
                  <c:v>2.4188152772116468E-3</c:v>
                </c:pt>
                <c:pt idx="6116">
                  <c:v>2.3748798050704806E-3</c:v>
                </c:pt>
                <c:pt idx="6117">
                  <c:v>2.3256131664198473E-3</c:v>
                </c:pt>
                <c:pt idx="6118">
                  <c:v>2.2556375209819689E-3</c:v>
                </c:pt>
                <c:pt idx="6119">
                  <c:v>2.1710830366051914E-3</c:v>
                </c:pt>
                <c:pt idx="6120">
                  <c:v>2.0633559235951494E-3</c:v>
                </c:pt>
                <c:pt idx="6121">
                  <c:v>1.9354934746813152E-3</c:v>
                </c:pt>
                <c:pt idx="6122">
                  <c:v>1.8923507845934576E-3</c:v>
                </c:pt>
                <c:pt idx="6123">
                  <c:v>1.8460209936227629E-3</c:v>
                </c:pt>
                <c:pt idx="6124">
                  <c:v>1.8023863504416735E-3</c:v>
                </c:pt>
                <c:pt idx="6125">
                  <c:v>1.7463046897002626E-3</c:v>
                </c:pt>
                <c:pt idx="6126">
                  <c:v>1.6837747890801082E-3</c:v>
                </c:pt>
                <c:pt idx="6127">
                  <c:v>1.6064414669700554E-3</c:v>
                </c:pt>
                <c:pt idx="6128">
                  <c:v>1.5122061471559531E-3</c:v>
                </c:pt>
                <c:pt idx="6129">
                  <c:v>1.3943910407642321E-3</c:v>
                </c:pt>
                <c:pt idx="6130">
                  <c:v>1.2529510338402702E-3</c:v>
                </c:pt>
                <c:pt idx="6131">
                  <c:v>1.0783145622605397E-3</c:v>
                </c:pt>
                <c:pt idx="6132">
                  <c:v>9.8177094181304777E-4</c:v>
                </c:pt>
                <c:pt idx="6133">
                  <c:v>9.2566303495247697E-4</c:v>
                </c:pt>
                <c:pt idx="6134">
                  <c:v>8.844805412311712E-4</c:v>
                </c:pt>
                <c:pt idx="6135">
                  <c:v>8.3559018438193028E-4</c:v>
                </c:pt>
                <c:pt idx="6136">
                  <c:v>8.599024954502679E-4</c:v>
                </c:pt>
                <c:pt idx="6137">
                  <c:v>8.8429531283846586E-4</c:v>
                </c:pt>
                <c:pt idx="6138">
                  <c:v>8.9569348320604444E-4</c:v>
                </c:pt>
                <c:pt idx="6139">
                  <c:v>9.1399506227595937E-4</c:v>
                </c:pt>
                <c:pt idx="6140">
                  <c:v>9.327975676924258E-4</c:v>
                </c:pt>
                <c:pt idx="6141">
                  <c:v>9.4823586726385108E-4</c:v>
                </c:pt>
                <c:pt idx="6142">
                  <c:v>9.5289318248060095E-4</c:v>
                </c:pt>
                <c:pt idx="6143">
                  <c:v>9.5393816788012754E-4</c:v>
                </c:pt>
                <c:pt idx="6144">
                  <c:v>9.4829886827179342E-4</c:v>
                </c:pt>
                <c:pt idx="6145">
                  <c:v>9.4336444069805978E-4</c:v>
                </c:pt>
                <c:pt idx="6146">
                  <c:v>9.3599863908819117E-4</c:v>
                </c:pt>
                <c:pt idx="6147">
                  <c:v>9.2574238174848548E-4</c:v>
                </c:pt>
                <c:pt idx="6148">
                  <c:v>9.0843870757985562E-4</c:v>
                </c:pt>
                <c:pt idx="6149">
                  <c:v>8.8740087817108196E-4</c:v>
                </c:pt>
                <c:pt idx="6150">
                  <c:v>8.708618239533899E-4</c:v>
                </c:pt>
                <c:pt idx="6151">
                  <c:v>8.5429199770935737E-4</c:v>
                </c:pt>
                <c:pt idx="6152">
                  <c:v>8.3033232973003942E-4</c:v>
                </c:pt>
                <c:pt idx="6153">
                  <c:v>8.1646418504692324E-4</c:v>
                </c:pt>
                <c:pt idx="6154">
                  <c:v>8.0422268076672093E-4</c:v>
                </c:pt>
                <c:pt idx="6155">
                  <c:v>7.8980782550036556E-4</c:v>
                </c:pt>
                <c:pt idx="6156">
                  <c:v>7.7741985546761082E-4</c:v>
                </c:pt>
                <c:pt idx="6157">
                  <c:v>7.6662729390026901E-4</c:v>
                </c:pt>
                <c:pt idx="6158">
                  <c:v>7.5726312368207911E-4</c:v>
                </c:pt>
                <c:pt idx="6159">
                  <c:v>7.4033593648988592E-4</c:v>
                </c:pt>
                <c:pt idx="6160">
                  <c:v>7.2501264070695974E-4</c:v>
                </c:pt>
                <c:pt idx="6161">
                  <c:v>7.1162212854719077E-4</c:v>
                </c:pt>
                <c:pt idx="6162">
                  <c:v>6.9200239718747219E-4</c:v>
                </c:pt>
                <c:pt idx="6163">
                  <c:v>6.6955692878340812E-4</c:v>
                </c:pt>
                <c:pt idx="6164">
                  <c:v>6.5472035613168601E-4</c:v>
                </c:pt>
                <c:pt idx="6165">
                  <c:v>6.4795406541011185E-4</c:v>
                </c:pt>
                <c:pt idx="6166">
                  <c:v>6.6648683864121928E-4</c:v>
                </c:pt>
                <c:pt idx="6167">
                  <c:v>6.9641946801476246E-4</c:v>
                </c:pt>
                <c:pt idx="6168">
                  <c:v>7.196331248867753E-4</c:v>
                </c:pt>
                <c:pt idx="6169">
                  <c:v>7.3998831191665897E-4</c:v>
                </c:pt>
                <c:pt idx="6170">
                  <c:v>7.6598346535550394E-4</c:v>
                </c:pt>
                <c:pt idx="6171">
                  <c:v>7.8526856504466556E-4</c:v>
                </c:pt>
                <c:pt idx="6172">
                  <c:v>7.9895828129524513E-4</c:v>
                </c:pt>
                <c:pt idx="6173">
                  <c:v>8.3258719760210544E-4</c:v>
                </c:pt>
                <c:pt idx="6174">
                  <c:v>8.5838618193765249E-4</c:v>
                </c:pt>
                <c:pt idx="6175">
                  <c:v>8.7959752660272679E-4</c:v>
                </c:pt>
                <c:pt idx="6176">
                  <c:v>8.9690653215432673E-4</c:v>
                </c:pt>
                <c:pt idx="6177">
                  <c:v>9.1058035156457934E-4</c:v>
                </c:pt>
                <c:pt idx="6178">
                  <c:v>9.2053798040835143E-4</c:v>
                </c:pt>
                <c:pt idx="6179">
                  <c:v>9.309245013031088E-4</c:v>
                </c:pt>
                <c:pt idx="6180">
                  <c:v>9.4150584487906691E-4</c:v>
                </c:pt>
                <c:pt idx="6181">
                  <c:v>9.488165625815934E-4</c:v>
                </c:pt>
                <c:pt idx="6182">
                  <c:v>9.4962701829568331E-4</c:v>
                </c:pt>
                <c:pt idx="6183">
                  <c:v>9.4747466221796147E-4</c:v>
                </c:pt>
                <c:pt idx="6184">
                  <c:v>9.4960894632967251E-4</c:v>
                </c:pt>
                <c:pt idx="6185">
                  <c:v>9.518598234484739E-4</c:v>
                </c:pt>
                <c:pt idx="6186">
                  <c:v>9.6654860010033934E-4</c:v>
                </c:pt>
                <c:pt idx="6187">
                  <c:v>9.7959155773600965E-4</c:v>
                </c:pt>
                <c:pt idx="6188">
                  <c:v>9.9154004008173823E-4</c:v>
                </c:pt>
                <c:pt idx="6189">
                  <c:v>9.98836943663084E-4</c:v>
                </c:pt>
                <c:pt idx="6190">
                  <c:v>1.0140101414281896E-3</c:v>
                </c:pt>
                <c:pt idx="6191">
                  <c:v>1.0235382424628105E-3</c:v>
                </c:pt>
                <c:pt idx="6192">
                  <c:v>1.0197389670313006E-3</c:v>
                </c:pt>
                <c:pt idx="6193">
                  <c:v>1.0099677295049036E-3</c:v>
                </c:pt>
                <c:pt idx="6194">
                  <c:v>9.9483560863822935E-4</c:v>
                </c:pt>
                <c:pt idx="6195">
                  <c:v>9.7362315154472757E-4</c:v>
                </c:pt>
                <c:pt idx="6196">
                  <c:v>9.8512128256926859E-4</c:v>
                </c:pt>
                <c:pt idx="6197">
                  <c:v>1.027057928749808E-3</c:v>
                </c:pt>
                <c:pt idx="6198">
                  <c:v>1.1516455957156543E-3</c:v>
                </c:pt>
                <c:pt idx="6199">
                  <c:v>1.2512882533806263E-3</c:v>
                </c:pt>
                <c:pt idx="6200">
                  <c:v>1.3346243109546669E-3</c:v>
                </c:pt>
                <c:pt idx="6201">
                  <c:v>1.4088544728538236E-3</c:v>
                </c:pt>
                <c:pt idx="6202">
                  <c:v>1.4672913362931514E-3</c:v>
                </c:pt>
                <c:pt idx="6203">
                  <c:v>1.5282370919801973E-3</c:v>
                </c:pt>
                <c:pt idx="6204">
                  <c:v>1.5780239277044237E-3</c:v>
                </c:pt>
                <c:pt idx="6205">
                  <c:v>1.6135365745736558E-3</c:v>
                </c:pt>
                <c:pt idx="6206">
                  <c:v>1.6398458349878664E-3</c:v>
                </c:pt>
                <c:pt idx="6207">
                  <c:v>1.6611501730565436E-3</c:v>
                </c:pt>
                <c:pt idx="6208">
                  <c:v>1.673481973909497E-3</c:v>
                </c:pt>
                <c:pt idx="6209">
                  <c:v>1.6802975847831575E-3</c:v>
                </c:pt>
                <c:pt idx="6210">
                  <c:v>1.6824014728145736E-3</c:v>
                </c:pt>
                <c:pt idx="6211">
                  <c:v>1.67224184534628E-3</c:v>
                </c:pt>
                <c:pt idx="6212">
                  <c:v>1.6529498845507633E-3</c:v>
                </c:pt>
                <c:pt idx="6213">
                  <c:v>1.6243617276138263E-3</c:v>
                </c:pt>
                <c:pt idx="6214">
                  <c:v>1.5941725765509156E-3</c:v>
                </c:pt>
                <c:pt idx="6215">
                  <c:v>1.5588988818897884E-3</c:v>
                </c:pt>
                <c:pt idx="6216">
                  <c:v>1.5428848529818501E-3</c:v>
                </c:pt>
                <c:pt idx="6217">
                  <c:v>1.5177601640850849E-3</c:v>
                </c:pt>
                <c:pt idx="6218">
                  <c:v>1.4834161650905252E-3</c:v>
                </c:pt>
                <c:pt idx="6219">
                  <c:v>1.4591000371726543E-3</c:v>
                </c:pt>
                <c:pt idx="6220">
                  <c:v>1.4401418413167051E-3</c:v>
                </c:pt>
                <c:pt idx="6221">
                  <c:v>1.4136091235145635E-3</c:v>
                </c:pt>
                <c:pt idx="6222">
                  <c:v>1.3700834317137184E-3</c:v>
                </c:pt>
                <c:pt idx="6223">
                  <c:v>1.315671998529232E-3</c:v>
                </c:pt>
                <c:pt idx="6224">
                  <c:v>1.2451480629317676E-3</c:v>
                </c:pt>
                <c:pt idx="6225">
                  <c:v>1.1670452049956984E-3</c:v>
                </c:pt>
                <c:pt idx="6226">
                  <c:v>1.1046386406076926E-3</c:v>
                </c:pt>
                <c:pt idx="6227">
                  <c:v>1.0582380377366289E-3</c:v>
                </c:pt>
                <c:pt idx="6228">
                  <c:v>1.0855828523936093E-3</c:v>
                </c:pt>
                <c:pt idx="6229">
                  <c:v>1.1067584214944062E-3</c:v>
                </c:pt>
                <c:pt idx="6230">
                  <c:v>1.11819538769433E-3</c:v>
                </c:pt>
                <c:pt idx="6231">
                  <c:v>1.1317186375776026E-3</c:v>
                </c:pt>
                <c:pt idx="6232">
                  <c:v>1.1405936236995387E-3</c:v>
                </c:pt>
                <c:pt idx="6233">
                  <c:v>1.1455192657902576E-3</c:v>
                </c:pt>
                <c:pt idx="6234">
                  <c:v>1.146280259829859E-3</c:v>
                </c:pt>
                <c:pt idx="6235">
                  <c:v>1.1390516133770235E-3</c:v>
                </c:pt>
                <c:pt idx="6236">
                  <c:v>1.1451765790132745E-3</c:v>
                </c:pt>
                <c:pt idx="6237">
                  <c:v>1.149052060541387E-3</c:v>
                </c:pt>
                <c:pt idx="6238">
                  <c:v>1.1467428181891816E-3</c:v>
                </c:pt>
                <c:pt idx="6239">
                  <c:v>1.1382635585030613E-3</c:v>
                </c:pt>
                <c:pt idx="6240">
                  <c:v>1.1320119746957955E-3</c:v>
                </c:pt>
                <c:pt idx="6241">
                  <c:v>1.119432478132456E-3</c:v>
                </c:pt>
                <c:pt idx="6242">
                  <c:v>1.1005826349040019E-3</c:v>
                </c:pt>
                <c:pt idx="6243">
                  <c:v>1.0753084021124114E-3</c:v>
                </c:pt>
                <c:pt idx="6244">
                  <c:v>1.0426939823296574E-3</c:v>
                </c:pt>
                <c:pt idx="6245">
                  <c:v>1.0063728866525148E-3</c:v>
                </c:pt>
                <c:pt idx="6246">
                  <c:v>9.8212811836344543E-4</c:v>
                </c:pt>
                <c:pt idx="6247">
                  <c:v>9.509734411862951E-4</c:v>
                </c:pt>
                <c:pt idx="6248">
                  <c:v>9.1313779924944165E-4</c:v>
                </c:pt>
                <c:pt idx="6249">
                  <c:v>8.9865949771561439E-4</c:v>
                </c:pt>
                <c:pt idx="6250">
                  <c:v>8.8438513364150629E-4</c:v>
                </c:pt>
                <c:pt idx="6251">
                  <c:v>8.7080227641031505E-4</c:v>
                </c:pt>
                <c:pt idx="6252">
                  <c:v>8.6138017274597976E-4</c:v>
                </c:pt>
                <c:pt idx="6253">
                  <c:v>8.526956470836744E-4</c:v>
                </c:pt>
                <c:pt idx="6254">
                  <c:v>8.402134977185089E-4</c:v>
                </c:pt>
                <c:pt idx="6255">
                  <c:v>8.3695156096716763E-4</c:v>
                </c:pt>
                <c:pt idx="6256">
                  <c:v>8.3931463856420701E-4</c:v>
                </c:pt>
                <c:pt idx="6257">
                  <c:v>8.3469041019936636E-4</c:v>
                </c:pt>
                <c:pt idx="6258">
                  <c:v>8.3600354811616355E-4</c:v>
                </c:pt>
                <c:pt idx="6259">
                  <c:v>8.3459902752979767E-4</c:v>
                </c:pt>
                <c:pt idx="6260">
                  <c:v>8.2643494616171139E-4</c:v>
                </c:pt>
                <c:pt idx="6261">
                  <c:v>8.1577049950003362E-4</c:v>
                </c:pt>
                <c:pt idx="6262">
                  <c:v>8.0189409527605185E-4</c:v>
                </c:pt>
                <c:pt idx="6263">
                  <c:v>7.851583170732574E-4</c:v>
                </c:pt>
                <c:pt idx="6264">
                  <c:v>7.6509752326571934E-4</c:v>
                </c:pt>
                <c:pt idx="6265">
                  <c:v>7.415973455381468E-4</c:v>
                </c:pt>
                <c:pt idx="6266">
                  <c:v>7.3844918753816432E-4</c:v>
                </c:pt>
                <c:pt idx="6267">
                  <c:v>7.3377724705600209E-4</c:v>
                </c:pt>
                <c:pt idx="6268">
                  <c:v>7.2785248465974384E-4</c:v>
                </c:pt>
                <c:pt idx="6269">
                  <c:v>7.2043002192347268E-4</c:v>
                </c:pt>
                <c:pt idx="6270">
                  <c:v>7.1607114152701242E-4</c:v>
                </c:pt>
                <c:pt idx="6271">
                  <c:v>7.1040610342999245E-4</c:v>
                </c:pt>
                <c:pt idx="6272">
                  <c:v>7.0362016243902346E-4</c:v>
                </c:pt>
                <c:pt idx="6273">
                  <c:v>6.9589444407703769E-4</c:v>
                </c:pt>
                <c:pt idx="6274">
                  <c:v>6.8676357280924465E-4</c:v>
                </c:pt>
                <c:pt idx="6275">
                  <c:v>6.8112038152282354E-4</c:v>
                </c:pt>
                <c:pt idx="6276">
                  <c:v>6.7463323021586753E-4</c:v>
                </c:pt>
                <c:pt idx="6277">
                  <c:v>6.668283664124805E-4</c:v>
                </c:pt>
                <c:pt idx="6278">
                  <c:v>6.586794216258909E-4</c:v>
                </c:pt>
                <c:pt idx="6279">
                  <c:v>6.533341583646443E-4</c:v>
                </c:pt>
                <c:pt idx="6280">
                  <c:v>6.5071686756009437E-4</c:v>
                </c:pt>
                <c:pt idx="6281">
                  <c:v>6.4668853598120666E-4</c:v>
                </c:pt>
                <c:pt idx="6282">
                  <c:v>6.5018786957020955E-4</c:v>
                </c:pt>
                <c:pt idx="6283">
                  <c:v>6.5295541017850887E-4</c:v>
                </c:pt>
                <c:pt idx="6284">
                  <c:v>6.546329872719552E-4</c:v>
                </c:pt>
                <c:pt idx="6285">
                  <c:v>6.5549223323901342E-4</c:v>
                </c:pt>
                <c:pt idx="6286">
                  <c:v>6.5993161235879463E-4</c:v>
                </c:pt>
                <c:pt idx="6287">
                  <c:v>6.6357351393014257E-4</c:v>
                </c:pt>
                <c:pt idx="6288">
                  <c:v>6.6682611297918691E-4</c:v>
                </c:pt>
                <c:pt idx="6289">
                  <c:v>6.8212402686202388E-4</c:v>
                </c:pt>
                <c:pt idx="6290">
                  <c:v>6.9571754851042956E-4</c:v>
                </c:pt>
                <c:pt idx="6291">
                  <c:v>7.0768822846319491E-4</c:v>
                </c:pt>
                <c:pt idx="6292">
                  <c:v>7.1834023075418392E-4</c:v>
                </c:pt>
                <c:pt idx="6293">
                  <c:v>7.272729080560474E-4</c:v>
                </c:pt>
                <c:pt idx="6294">
                  <c:v>7.3455383586014562E-4</c:v>
                </c:pt>
                <c:pt idx="6295">
                  <c:v>7.4083543708135019E-4</c:v>
                </c:pt>
                <c:pt idx="6296">
                  <c:v>7.4580850106711644E-4</c:v>
                </c:pt>
                <c:pt idx="6297">
                  <c:v>7.4898083377840071E-4</c:v>
                </c:pt>
                <c:pt idx="6298">
                  <c:v>7.514432325963961E-4</c:v>
                </c:pt>
                <c:pt idx="6299">
                  <c:v>7.5254295421863892E-4</c:v>
                </c:pt>
                <c:pt idx="6300">
                  <c:v>7.5204293899287648E-4</c:v>
                </c:pt>
                <c:pt idx="6301">
                  <c:v>7.5025830500263682E-4</c:v>
                </c:pt>
                <c:pt idx="6302">
                  <c:v>7.4739491102824521E-4</c:v>
                </c:pt>
                <c:pt idx="6303">
                  <c:v>7.4299747870299328E-4</c:v>
                </c:pt>
                <c:pt idx="6304">
                  <c:v>7.3702449446296728E-4</c:v>
                </c:pt>
                <c:pt idx="6305">
                  <c:v>7.3009369754488721E-4</c:v>
                </c:pt>
                <c:pt idx="6306">
                  <c:v>7.2159923877829972E-4</c:v>
                </c:pt>
                <c:pt idx="6307">
                  <c:v>7.1159520771923719E-4</c:v>
                </c:pt>
                <c:pt idx="6308">
                  <c:v>7.0049759496821522E-4</c:v>
                </c:pt>
                <c:pt idx="6309">
                  <c:v>6.9202726591582929E-4</c:v>
                </c:pt>
                <c:pt idx="6310">
                  <c:v>6.8675053759035425E-4</c:v>
                </c:pt>
                <c:pt idx="6311">
                  <c:v>6.8103322069621071E-4</c:v>
                </c:pt>
                <c:pt idx="6312">
                  <c:v>6.7414765319658162E-4</c:v>
                </c:pt>
                <c:pt idx="6313">
                  <c:v>6.704352632744832E-4</c:v>
                </c:pt>
                <c:pt idx="6314">
                  <c:v>6.6501692195308347E-4</c:v>
                </c:pt>
                <c:pt idx="6315">
                  <c:v>6.5893104032362841E-4</c:v>
                </c:pt>
                <c:pt idx="6316">
                  <c:v>6.554823863452302E-4</c:v>
                </c:pt>
                <c:pt idx="6317">
                  <c:v>6.5052557690762508E-4</c:v>
                </c:pt>
                <c:pt idx="6318">
                  <c:v>6.5764030613689245E-4</c:v>
                </c:pt>
                <c:pt idx="6319">
                  <c:v>6.8007552919651998E-4</c:v>
                </c:pt>
                <c:pt idx="6320">
                  <c:v>7.0029564895659601E-4</c:v>
                </c:pt>
                <c:pt idx="6321">
                  <c:v>7.2271116540945904E-4</c:v>
                </c:pt>
                <c:pt idx="6322">
                  <c:v>7.473650749506537E-4</c:v>
                </c:pt>
                <c:pt idx="6323">
                  <c:v>7.6873714483872307E-4</c:v>
                </c:pt>
                <c:pt idx="6324">
                  <c:v>7.8749343065526558E-4</c:v>
                </c:pt>
                <c:pt idx="6325">
                  <c:v>8.2723040421112072E-4</c:v>
                </c:pt>
                <c:pt idx="6326">
                  <c:v>8.6166671989893297E-4</c:v>
                </c:pt>
                <c:pt idx="6327">
                  <c:v>8.9533155837540133E-4</c:v>
                </c:pt>
                <c:pt idx="6328">
                  <c:v>9.2912123484500009E-4</c:v>
                </c:pt>
                <c:pt idx="6329">
                  <c:v>9.6203401193267941E-4</c:v>
                </c:pt>
                <c:pt idx="6330">
                  <c:v>1.0290351598985822E-3</c:v>
                </c:pt>
                <c:pt idx="6331">
                  <c:v>1.085514903227587E-3</c:v>
                </c:pt>
                <c:pt idx="6332">
                  <c:v>1.1325801038029547E-3</c:v>
                </c:pt>
                <c:pt idx="6333">
                  <c:v>1.1716960710217075E-3</c:v>
                </c:pt>
                <c:pt idx="6334">
                  <c:v>1.2035382395867986E-3</c:v>
                </c:pt>
                <c:pt idx="6335">
                  <c:v>1.2329480023868411E-3</c:v>
                </c:pt>
                <c:pt idx="6336">
                  <c:v>1.2554200875258019E-3</c:v>
                </c:pt>
                <c:pt idx="6337">
                  <c:v>1.2714423296727919E-3</c:v>
                </c:pt>
                <c:pt idx="6338">
                  <c:v>1.2816849630052512E-3</c:v>
                </c:pt>
                <c:pt idx="6339">
                  <c:v>1.2853541602214731E-3</c:v>
                </c:pt>
                <c:pt idx="6340">
                  <c:v>1.2905114318404727E-3</c:v>
                </c:pt>
                <c:pt idx="6341">
                  <c:v>1.2891748789167878E-3</c:v>
                </c:pt>
                <c:pt idx="6342">
                  <c:v>1.2807609497858918E-3</c:v>
                </c:pt>
                <c:pt idx="6343">
                  <c:v>1.269923559992259E-3</c:v>
                </c:pt>
                <c:pt idx="6344">
                  <c:v>1.2520324002067034E-3</c:v>
                </c:pt>
                <c:pt idx="6345">
                  <c:v>1.227762339696766E-3</c:v>
                </c:pt>
                <c:pt idx="6346">
                  <c:v>1.2037717283889227E-3</c:v>
                </c:pt>
                <c:pt idx="6347">
                  <c:v>1.175744433650988E-3</c:v>
                </c:pt>
                <c:pt idx="6348">
                  <c:v>1.1538862110570204E-3</c:v>
                </c:pt>
                <c:pt idx="6349">
                  <c:v>1.1329844976060795E-3</c:v>
                </c:pt>
                <c:pt idx="6350">
                  <c:v>1.11254900972814E-3</c:v>
                </c:pt>
                <c:pt idx="6351">
                  <c:v>1.0889418990787524E-3</c:v>
                </c:pt>
                <c:pt idx="6352">
                  <c:v>1.0628596323165723E-3</c:v>
                </c:pt>
                <c:pt idx="6353">
                  <c:v>1.0322298981154355E-3</c:v>
                </c:pt>
                <c:pt idx="6354">
                  <c:v>1.0011093227379213E-3</c:v>
                </c:pt>
                <c:pt idx="6355">
                  <c:v>9.9102472344330772E-4</c:v>
                </c:pt>
                <c:pt idx="6356">
                  <c:v>9.7377469590900897E-4</c:v>
                </c:pt>
                <c:pt idx="6357">
                  <c:v>9.5429097678651972E-4</c:v>
                </c:pt>
                <c:pt idx="6358">
                  <c:v>9.3675179670363112E-4</c:v>
                </c:pt>
                <c:pt idx="6359">
                  <c:v>9.1715051364988959E-4</c:v>
                </c:pt>
                <c:pt idx="6360">
                  <c:v>9.3170700852598888E-4</c:v>
                </c:pt>
                <c:pt idx="6361">
                  <c:v>9.7908547321624872E-4</c:v>
                </c:pt>
                <c:pt idx="6362">
                  <c:v>1.0224707983722584E-3</c:v>
                </c:pt>
                <c:pt idx="6363">
                  <c:v>1.057882927912939E-3</c:v>
                </c:pt>
                <c:pt idx="6364">
                  <c:v>1.1256761496187566E-3</c:v>
                </c:pt>
                <c:pt idx="6365">
                  <c:v>1.1845284062759276E-3</c:v>
                </c:pt>
                <c:pt idx="6366">
                  <c:v>1.2324052571132393E-3</c:v>
                </c:pt>
                <c:pt idx="6367">
                  <c:v>1.2661269354868089E-3</c:v>
                </c:pt>
                <c:pt idx="6368">
                  <c:v>1.2917520358670159E-3</c:v>
                </c:pt>
                <c:pt idx="6369">
                  <c:v>1.3175873057697338E-3</c:v>
                </c:pt>
                <c:pt idx="6370">
                  <c:v>1.3677435332761477E-3</c:v>
                </c:pt>
                <c:pt idx="6371">
                  <c:v>1.4350180088705282E-3</c:v>
                </c:pt>
                <c:pt idx="6372">
                  <c:v>1.4886092087233883E-3</c:v>
                </c:pt>
                <c:pt idx="6373">
                  <c:v>1.5339422600643439E-3</c:v>
                </c:pt>
                <c:pt idx="6374">
                  <c:v>1.5631051083133734E-3</c:v>
                </c:pt>
                <c:pt idx="6375">
                  <c:v>1.5815019377229925E-3</c:v>
                </c:pt>
                <c:pt idx="6376">
                  <c:v>1.5933563203365557E-3</c:v>
                </c:pt>
                <c:pt idx="6377">
                  <c:v>1.5956681564222727E-3</c:v>
                </c:pt>
                <c:pt idx="6378">
                  <c:v>1.610739529164805E-3</c:v>
                </c:pt>
                <c:pt idx="6379">
                  <c:v>1.6255480037454491E-3</c:v>
                </c:pt>
                <c:pt idx="6380">
                  <c:v>1.6368026935124156E-3</c:v>
                </c:pt>
                <c:pt idx="6381">
                  <c:v>1.6483578559835096E-3</c:v>
                </c:pt>
                <c:pt idx="6382">
                  <c:v>1.6483088275542055E-3</c:v>
                </c:pt>
                <c:pt idx="6383">
                  <c:v>1.6438761330495372E-3</c:v>
                </c:pt>
                <c:pt idx="6384">
                  <c:v>1.6393781281351105E-3</c:v>
                </c:pt>
                <c:pt idx="6385">
                  <c:v>1.654432896598652E-3</c:v>
                </c:pt>
                <c:pt idx="6386">
                  <c:v>1.6552791767120343E-3</c:v>
                </c:pt>
                <c:pt idx="6387">
                  <c:v>1.6424164026540417E-3</c:v>
                </c:pt>
                <c:pt idx="6388">
                  <c:v>1.6196779654866216E-3</c:v>
                </c:pt>
                <c:pt idx="6389">
                  <c:v>1.6144606326970812E-3</c:v>
                </c:pt>
                <c:pt idx="6390">
                  <c:v>1.5968692901906733E-3</c:v>
                </c:pt>
                <c:pt idx="6391">
                  <c:v>1.6158770398690689E-3</c:v>
                </c:pt>
                <c:pt idx="6392">
                  <c:v>1.6234858734989358E-3</c:v>
                </c:pt>
                <c:pt idx="6393">
                  <c:v>1.6166120744812663E-3</c:v>
                </c:pt>
                <c:pt idx="6394">
                  <c:v>1.6447368404684795E-3</c:v>
                </c:pt>
                <c:pt idx="6395">
                  <c:v>1.6639289904782123E-3</c:v>
                </c:pt>
                <c:pt idx="6396">
                  <c:v>1.6700605784355925E-3</c:v>
                </c:pt>
                <c:pt idx="6397">
                  <c:v>1.6590675705420283E-3</c:v>
                </c:pt>
                <c:pt idx="6398">
                  <c:v>1.63437432043122E-3</c:v>
                </c:pt>
                <c:pt idx="6399">
                  <c:v>1.6050109990688034E-3</c:v>
                </c:pt>
                <c:pt idx="6400">
                  <c:v>1.5884667107124689E-3</c:v>
                </c:pt>
                <c:pt idx="6401">
                  <c:v>1.585023771530079E-3</c:v>
                </c:pt>
                <c:pt idx="6402">
                  <c:v>1.5801888384367807E-3</c:v>
                </c:pt>
                <c:pt idx="6403">
                  <c:v>1.5731634922816844E-3</c:v>
                </c:pt>
                <c:pt idx="6404">
                  <c:v>1.5529720661422227E-3</c:v>
                </c:pt>
                <c:pt idx="6405">
                  <c:v>1.5223662069754446E-3</c:v>
                </c:pt>
                <c:pt idx="6406">
                  <c:v>1.4815399017128841E-3</c:v>
                </c:pt>
                <c:pt idx="6407">
                  <c:v>1.4239662382874807E-3</c:v>
                </c:pt>
                <c:pt idx="6408">
                  <c:v>1.3828650712125843E-3</c:v>
                </c:pt>
                <c:pt idx="6409">
                  <c:v>1.3379366975927942E-3</c:v>
                </c:pt>
                <c:pt idx="6410">
                  <c:v>1.2864793222742519E-3</c:v>
                </c:pt>
                <c:pt idx="6411">
                  <c:v>1.2364635960863918E-3</c:v>
                </c:pt>
                <c:pt idx="6412">
                  <c:v>1.1765779456077345E-3</c:v>
                </c:pt>
                <c:pt idx="6413">
                  <c:v>1.110975925566524E-3</c:v>
                </c:pt>
                <c:pt idx="6414">
                  <c:v>1.0392284826152309E-3</c:v>
                </c:pt>
                <c:pt idx="6415">
                  <c:v>9.949612179335752E-4</c:v>
                </c:pt>
                <c:pt idx="6416">
                  <c:v>9.4316867175295457E-4</c:v>
                </c:pt>
                <c:pt idx="6417">
                  <c:v>8.7912774889401294E-4</c:v>
                </c:pt>
                <c:pt idx="6418">
                  <c:v>8.075820373118287E-4</c:v>
                </c:pt>
                <c:pt idx="6419">
                  <c:v>7.7735068135877377E-4</c:v>
                </c:pt>
                <c:pt idx="6420">
                  <c:v>7.4243690667204535E-4</c:v>
                </c:pt>
                <c:pt idx="6421">
                  <c:v>7.3183305400407106E-4</c:v>
                </c:pt>
                <c:pt idx="6422">
                  <c:v>7.1790869226195117E-4</c:v>
                </c:pt>
                <c:pt idx="6423">
                  <c:v>7.0069672243301294E-4</c:v>
                </c:pt>
                <c:pt idx="6424">
                  <c:v>6.9977478613362945E-4</c:v>
                </c:pt>
                <c:pt idx="6425">
                  <c:v>7.0150307468174085E-4</c:v>
                </c:pt>
                <c:pt idx="6426">
                  <c:v>7.060489692858183E-4</c:v>
                </c:pt>
                <c:pt idx="6427">
                  <c:v>7.0477549760550014E-4</c:v>
                </c:pt>
                <c:pt idx="6428">
                  <c:v>7.0222597852878687E-4</c:v>
                </c:pt>
                <c:pt idx="6429">
                  <c:v>6.9810615541936508E-4</c:v>
                </c:pt>
                <c:pt idx="6430">
                  <c:v>6.9241213834378413E-4</c:v>
                </c:pt>
                <c:pt idx="6431">
                  <c:v>6.8948164058309062E-4</c:v>
                </c:pt>
                <c:pt idx="6432">
                  <c:v>7.1667727004230252E-4</c:v>
                </c:pt>
                <c:pt idx="6433">
                  <c:v>7.4376693738719139E-4</c:v>
                </c:pt>
                <c:pt idx="6434">
                  <c:v>7.6795481900355459E-4</c:v>
                </c:pt>
                <c:pt idx="6435">
                  <c:v>7.9842745397641559E-4</c:v>
                </c:pt>
                <c:pt idx="6436">
                  <c:v>8.3456841227573086E-4</c:v>
                </c:pt>
                <c:pt idx="6437">
                  <c:v>8.7058172639204552E-4</c:v>
                </c:pt>
                <c:pt idx="6438">
                  <c:v>8.9732401251611728E-4</c:v>
                </c:pt>
                <c:pt idx="6439">
                  <c:v>9.1666980553393356E-4</c:v>
                </c:pt>
                <c:pt idx="6440">
                  <c:v>9.3596709036929051E-4</c:v>
                </c:pt>
                <c:pt idx="6441">
                  <c:v>9.4823073244953092E-4</c:v>
                </c:pt>
                <c:pt idx="6442">
                  <c:v>9.5719355724877421E-4</c:v>
                </c:pt>
                <c:pt idx="6443">
                  <c:v>9.6276583019984136E-4</c:v>
                </c:pt>
                <c:pt idx="6444">
                  <c:v>9.6503695571351262E-4</c:v>
                </c:pt>
                <c:pt idx="6445">
                  <c:v>9.6427680087030315E-4</c:v>
                </c:pt>
                <c:pt idx="6446">
                  <c:v>9.6029438650779906E-4</c:v>
                </c:pt>
                <c:pt idx="6447">
                  <c:v>9.8639180589626041E-4</c:v>
                </c:pt>
                <c:pt idx="6448">
                  <c:v>1.0087956511135867E-3</c:v>
                </c:pt>
                <c:pt idx="6449">
                  <c:v>1.0288215819451944E-3</c:v>
                </c:pt>
                <c:pt idx="6450">
                  <c:v>1.0428104758140686E-3</c:v>
                </c:pt>
                <c:pt idx="6451">
                  <c:v>1.0952013083697432E-3</c:v>
                </c:pt>
                <c:pt idx="6452">
                  <c:v>1.1375370392971847E-3</c:v>
                </c:pt>
                <c:pt idx="6453">
                  <c:v>1.1899851050523565E-3</c:v>
                </c:pt>
                <c:pt idx="6454">
                  <c:v>1.2318215471940834E-3</c:v>
                </c:pt>
                <c:pt idx="6455">
                  <c:v>1.2641672916129535E-3</c:v>
                </c:pt>
                <c:pt idx="6456">
                  <c:v>1.3087983205763807E-3</c:v>
                </c:pt>
                <c:pt idx="6457">
                  <c:v>1.3392719316260959E-3</c:v>
                </c:pt>
                <c:pt idx="6458">
                  <c:v>1.3557760280799925E-3</c:v>
                </c:pt>
                <c:pt idx="6459">
                  <c:v>1.3628741169514733E-3</c:v>
                </c:pt>
                <c:pt idx="6460">
                  <c:v>1.3611151391765717E-3</c:v>
                </c:pt>
                <c:pt idx="6461">
                  <c:v>1.3513519231093851E-3</c:v>
                </c:pt>
                <c:pt idx="6462">
                  <c:v>1.356434789746195E-3</c:v>
                </c:pt>
                <c:pt idx="6463">
                  <c:v>1.3547158654505422E-3</c:v>
                </c:pt>
                <c:pt idx="6464">
                  <c:v>1.3644654391879974E-3</c:v>
                </c:pt>
                <c:pt idx="6465">
                  <c:v>1.3733259769298603E-3</c:v>
                </c:pt>
                <c:pt idx="6466">
                  <c:v>1.3782187182055136E-3</c:v>
                </c:pt>
                <c:pt idx="6467">
                  <c:v>1.3802421283340947E-3</c:v>
                </c:pt>
                <c:pt idx="6468">
                  <c:v>1.369239052549285E-3</c:v>
                </c:pt>
                <c:pt idx="6469">
                  <c:v>1.3514263533805941E-3</c:v>
                </c:pt>
                <c:pt idx="6470">
                  <c:v>1.3270998923864327E-3</c:v>
                </c:pt>
                <c:pt idx="6471">
                  <c:v>1.2956110866516439E-3</c:v>
                </c:pt>
                <c:pt idx="6472">
                  <c:v>1.2568357865296177E-3</c:v>
                </c:pt>
                <c:pt idx="6473">
                  <c:v>1.2095912255089475E-3</c:v>
                </c:pt>
                <c:pt idx="6474">
                  <c:v>1.1529415735765051E-3</c:v>
                </c:pt>
                <c:pt idx="6475">
                  <c:v>1.0857748843312606E-3</c:v>
                </c:pt>
                <c:pt idx="6476">
                  <c:v>1.0088848581262919E-3</c:v>
                </c:pt>
                <c:pt idx="6477">
                  <c:v>9.7422462488793164E-4</c:v>
                </c:pt>
                <c:pt idx="6478">
                  <c:v>9.4325282006586819E-4</c:v>
                </c:pt>
                <c:pt idx="6479">
                  <c:v>9.1657494816935311E-4</c:v>
                </c:pt>
                <c:pt idx="6480">
                  <c:v>8.9382898612637039E-4</c:v>
                </c:pt>
                <c:pt idx="6481">
                  <c:v>9.1406989590462023E-4</c:v>
                </c:pt>
                <c:pt idx="6482">
                  <c:v>9.2631052546014736E-4</c:v>
                </c:pt>
                <c:pt idx="6483">
                  <c:v>9.791090459892102E-4</c:v>
                </c:pt>
                <c:pt idx="6484">
                  <c:v>1.0215763420145234E-3</c:v>
                </c:pt>
                <c:pt idx="6485">
                  <c:v>1.0551806433520313E-3</c:v>
                </c:pt>
                <c:pt idx="6486">
                  <c:v>1.0952367387517567E-3</c:v>
                </c:pt>
                <c:pt idx="6487">
                  <c:v>1.1285757554724087E-3</c:v>
                </c:pt>
                <c:pt idx="6488">
                  <c:v>1.1523143546172004E-3</c:v>
                </c:pt>
                <c:pt idx="6489">
                  <c:v>1.1702016905076648E-3</c:v>
                </c:pt>
                <c:pt idx="6490">
                  <c:v>1.1824453728598236E-3</c:v>
                </c:pt>
                <c:pt idx="6491">
                  <c:v>1.1854831923232584E-3</c:v>
                </c:pt>
                <c:pt idx="6492">
                  <c:v>1.1867604090699578E-3</c:v>
                </c:pt>
                <c:pt idx="6493">
                  <c:v>1.1825180137813663E-3</c:v>
                </c:pt>
                <c:pt idx="6494">
                  <c:v>1.1910465064864169E-3</c:v>
                </c:pt>
                <c:pt idx="6495">
                  <c:v>1.1990647976523152E-3</c:v>
                </c:pt>
                <c:pt idx="6496">
                  <c:v>1.1997470467179005E-3</c:v>
                </c:pt>
                <c:pt idx="6497">
                  <c:v>1.1959741812407128E-3</c:v>
                </c:pt>
                <c:pt idx="6498">
                  <c:v>1.1840845641219206E-3</c:v>
                </c:pt>
                <c:pt idx="6499">
                  <c:v>1.1672494666981011E-3</c:v>
                </c:pt>
                <c:pt idx="6500">
                  <c:v>1.1452526539662503E-3</c:v>
                </c:pt>
                <c:pt idx="6501">
                  <c:v>1.1179945506804966E-3</c:v>
                </c:pt>
                <c:pt idx="6502">
                  <c:v>1.0850266350358902E-3</c:v>
                </c:pt>
                <c:pt idx="6503">
                  <c:v>1.0452677462313071E-3</c:v>
                </c:pt>
                <c:pt idx="6504">
                  <c:v>9.9881992672805234E-4</c:v>
                </c:pt>
                <c:pt idx="6505">
                  <c:v>9.4423755799063591E-4</c:v>
                </c:pt>
                <c:pt idx="6506">
                  <c:v>8.8595689255969198E-4</c:v>
                </c:pt>
                <c:pt idx="6507">
                  <c:v>8.2392451411868921E-4</c:v>
                </c:pt>
                <c:pt idx="6508">
                  <c:v>7.7074551648394283E-4</c:v>
                </c:pt>
                <c:pt idx="6509">
                  <c:v>7.3505819319868038E-4</c:v>
                </c:pt>
                <c:pt idx="6510">
                  <c:v>7.7273434476018727E-4</c:v>
                </c:pt>
                <c:pt idx="6511">
                  <c:v>8.4780078322315257E-4</c:v>
                </c:pt>
                <c:pt idx="6512">
                  <c:v>9.3975793176370021E-4</c:v>
                </c:pt>
                <c:pt idx="6513">
                  <c:v>1.0525012257056995E-3</c:v>
                </c:pt>
                <c:pt idx="6514">
                  <c:v>1.1694276284397375E-3</c:v>
                </c:pt>
                <c:pt idx="6515">
                  <c:v>1.2952997951051831E-3</c:v>
                </c:pt>
                <c:pt idx="6516">
                  <c:v>1.3996004584651534E-3</c:v>
                </c:pt>
                <c:pt idx="6517">
                  <c:v>1.4872301564783433E-3</c:v>
                </c:pt>
                <c:pt idx="6518">
                  <c:v>1.5606345173876253E-3</c:v>
                </c:pt>
                <c:pt idx="6519">
                  <c:v>1.6218519672792212E-3</c:v>
                </c:pt>
                <c:pt idx="6520">
                  <c:v>1.6767020696011054E-3</c:v>
                </c:pt>
                <c:pt idx="6521">
                  <c:v>1.7207639733077143E-3</c:v>
                </c:pt>
                <c:pt idx="6522">
                  <c:v>1.7517873883736896E-3</c:v>
                </c:pt>
                <c:pt idx="6523">
                  <c:v>1.777305377623943E-3</c:v>
                </c:pt>
                <c:pt idx="6524">
                  <c:v>1.7979401699465536E-3</c:v>
                </c:pt>
                <c:pt idx="6525">
                  <c:v>1.8161200946634876E-3</c:v>
                </c:pt>
                <c:pt idx="6526">
                  <c:v>1.8286993535781765E-3</c:v>
                </c:pt>
                <c:pt idx="6527">
                  <c:v>1.8527546429054924E-3</c:v>
                </c:pt>
                <c:pt idx="6528">
                  <c:v>1.8767642647124555E-3</c:v>
                </c:pt>
                <c:pt idx="6529">
                  <c:v>1.9076994797929173E-3</c:v>
                </c:pt>
                <c:pt idx="6530">
                  <c:v>1.9245089910028307E-3</c:v>
                </c:pt>
                <c:pt idx="6531">
                  <c:v>1.9279297910019628E-3</c:v>
                </c:pt>
                <c:pt idx="6532">
                  <c:v>1.9736600789878266E-3</c:v>
                </c:pt>
                <c:pt idx="6533">
                  <c:v>1.9991956740089368E-3</c:v>
                </c:pt>
                <c:pt idx="6534">
                  <c:v>2.0355938660203015E-3</c:v>
                </c:pt>
                <c:pt idx="6535">
                  <c:v>2.0542084724475785E-3</c:v>
                </c:pt>
                <c:pt idx="6536">
                  <c:v>2.0857852278642602E-3</c:v>
                </c:pt>
                <c:pt idx="6537">
                  <c:v>2.0912467029385075E-3</c:v>
                </c:pt>
                <c:pt idx="6538">
                  <c:v>2.1271675677650859E-3</c:v>
                </c:pt>
                <c:pt idx="6539">
                  <c:v>2.1502111525397672E-3</c:v>
                </c:pt>
                <c:pt idx="6540">
                  <c:v>2.2255944887030902E-3</c:v>
                </c:pt>
                <c:pt idx="6541">
                  <c:v>2.3048920700878927E-3</c:v>
                </c:pt>
                <c:pt idx="6542">
                  <c:v>2.3762591523342849E-3</c:v>
                </c:pt>
                <c:pt idx="6543">
                  <c:v>2.4389322060464611E-3</c:v>
                </c:pt>
                <c:pt idx="6544">
                  <c:v>2.4975403400122006E-3</c:v>
                </c:pt>
                <c:pt idx="6545">
                  <c:v>2.556067780065013E-3</c:v>
                </c:pt>
                <c:pt idx="6546">
                  <c:v>2.6526814424601983E-3</c:v>
                </c:pt>
                <c:pt idx="6547">
                  <c:v>2.7255218093359505E-3</c:v>
                </c:pt>
                <c:pt idx="6548">
                  <c:v>2.7759989746973623E-3</c:v>
                </c:pt>
                <c:pt idx="6549">
                  <c:v>2.8052620259847384E-3</c:v>
                </c:pt>
                <c:pt idx="6550">
                  <c:v>2.8213964052462431E-3</c:v>
                </c:pt>
                <c:pt idx="6551">
                  <c:v>2.8173584655867426E-3</c:v>
                </c:pt>
                <c:pt idx="6552">
                  <c:v>2.786210494204962E-3</c:v>
                </c:pt>
                <c:pt idx="6553">
                  <c:v>2.737940795112304E-3</c:v>
                </c:pt>
                <c:pt idx="6554">
                  <c:v>2.6944111552934316E-3</c:v>
                </c:pt>
                <c:pt idx="6555">
                  <c:v>2.681014205515832E-3</c:v>
                </c:pt>
                <c:pt idx="6556">
                  <c:v>2.6420556368617803E-3</c:v>
                </c:pt>
                <c:pt idx="6557">
                  <c:v>2.6164799778435268E-3</c:v>
                </c:pt>
                <c:pt idx="6558">
                  <c:v>2.5759619828309458E-3</c:v>
                </c:pt>
                <c:pt idx="6559">
                  <c:v>2.5304907463639024E-3</c:v>
                </c:pt>
                <c:pt idx="6560">
                  <c:v>2.4577380981454385E-3</c:v>
                </c:pt>
                <c:pt idx="6561">
                  <c:v>2.3812037332294547E-3</c:v>
                </c:pt>
                <c:pt idx="6562">
                  <c:v>2.4102752264800954E-3</c:v>
                </c:pt>
                <c:pt idx="6563">
                  <c:v>2.4257475382352634E-3</c:v>
                </c:pt>
                <c:pt idx="6564">
                  <c:v>2.4633320241131103E-3</c:v>
                </c:pt>
                <c:pt idx="6565">
                  <c:v>2.4917645947527801E-3</c:v>
                </c:pt>
                <c:pt idx="6566">
                  <c:v>2.564588493741179E-3</c:v>
                </c:pt>
                <c:pt idx="6567">
                  <c:v>2.636615812544668E-3</c:v>
                </c:pt>
                <c:pt idx="6568">
                  <c:v>2.7202957728825103E-3</c:v>
                </c:pt>
                <c:pt idx="6569">
                  <c:v>2.7895537129005964E-3</c:v>
                </c:pt>
                <c:pt idx="6570">
                  <c:v>2.8514040689057705E-3</c:v>
                </c:pt>
                <c:pt idx="6571">
                  <c:v>2.8946221059878508E-3</c:v>
                </c:pt>
                <c:pt idx="6572">
                  <c:v>2.9144028523365429E-3</c:v>
                </c:pt>
                <c:pt idx="6573">
                  <c:v>2.9114449844890181E-3</c:v>
                </c:pt>
                <c:pt idx="6574">
                  <c:v>2.8966716137007317E-3</c:v>
                </c:pt>
                <c:pt idx="6575">
                  <c:v>2.8627681114344015E-3</c:v>
                </c:pt>
                <c:pt idx="6576">
                  <c:v>2.8586265305177495E-3</c:v>
                </c:pt>
                <c:pt idx="6577">
                  <c:v>2.8434238437825073E-3</c:v>
                </c:pt>
                <c:pt idx="6578">
                  <c:v>2.8251400046464315E-3</c:v>
                </c:pt>
                <c:pt idx="6579">
                  <c:v>2.7863898684352081E-3</c:v>
                </c:pt>
                <c:pt idx="6580">
                  <c:v>2.7335332824316924E-3</c:v>
                </c:pt>
                <c:pt idx="6581">
                  <c:v>2.6802501390335905E-3</c:v>
                </c:pt>
                <c:pt idx="6582">
                  <c:v>2.5961764744672237E-3</c:v>
                </c:pt>
                <c:pt idx="6583">
                  <c:v>2.4829485207774819E-3</c:v>
                </c:pt>
                <c:pt idx="6584">
                  <c:v>2.3748911389354409E-3</c:v>
                </c:pt>
                <c:pt idx="6585">
                  <c:v>2.3079810990783143E-3</c:v>
                </c:pt>
                <c:pt idx="6586">
                  <c:v>2.2195942381198078E-3</c:v>
                </c:pt>
                <c:pt idx="6587">
                  <c:v>2.1280431312397266E-3</c:v>
                </c:pt>
                <c:pt idx="6588">
                  <c:v>2.0161106310271405E-3</c:v>
                </c:pt>
                <c:pt idx="6589">
                  <c:v>1.8917945283367201E-3</c:v>
                </c:pt>
                <c:pt idx="6590">
                  <c:v>1.7329845680096956E-3</c:v>
                </c:pt>
                <c:pt idx="6591">
                  <c:v>1.5818110899014186E-3</c:v>
                </c:pt>
                <c:pt idx="6592">
                  <c:v>1.4990921723576748E-3</c:v>
                </c:pt>
                <c:pt idx="6593">
                  <c:v>1.4188169915194586E-3</c:v>
                </c:pt>
                <c:pt idx="6594">
                  <c:v>1.34465449246175E-3</c:v>
                </c:pt>
                <c:pt idx="6595">
                  <c:v>1.279766949684099E-3</c:v>
                </c:pt>
                <c:pt idx="6596">
                  <c:v>1.2513639970108763E-3</c:v>
                </c:pt>
                <c:pt idx="6597">
                  <c:v>1.2631353473246203E-3</c:v>
                </c:pt>
                <c:pt idx="6598">
                  <c:v>1.2748902880872872E-3</c:v>
                </c:pt>
                <c:pt idx="6599">
                  <c:v>1.285731039691329E-3</c:v>
                </c:pt>
                <c:pt idx="6600">
                  <c:v>1.3372390099456294E-3</c:v>
                </c:pt>
                <c:pt idx="6601">
                  <c:v>1.3996284629229807E-3</c:v>
                </c:pt>
                <c:pt idx="6602">
                  <c:v>1.4609408540676146E-3</c:v>
                </c:pt>
                <c:pt idx="6603">
                  <c:v>1.5018849014494969E-3</c:v>
                </c:pt>
                <c:pt idx="6604">
                  <c:v>1.5494910997244772E-3</c:v>
                </c:pt>
                <c:pt idx="6605">
                  <c:v>1.5999033151218127E-3</c:v>
                </c:pt>
                <c:pt idx="6606">
                  <c:v>1.6226942032145956E-3</c:v>
                </c:pt>
                <c:pt idx="6607">
                  <c:v>1.6574504690112055E-3</c:v>
                </c:pt>
                <c:pt idx="6608">
                  <c:v>1.6951463200087645E-3</c:v>
                </c:pt>
                <c:pt idx="6609">
                  <c:v>1.7192818772628828E-3</c:v>
                </c:pt>
                <c:pt idx="6610">
                  <c:v>1.7341062272260837E-3</c:v>
                </c:pt>
                <c:pt idx="6611">
                  <c:v>1.8778167279501852E-3</c:v>
                </c:pt>
                <c:pt idx="6612">
                  <c:v>1.9930077397310141E-3</c:v>
                </c:pt>
                <c:pt idx="6613">
                  <c:v>2.0844475874619642E-3</c:v>
                </c:pt>
                <c:pt idx="6614">
                  <c:v>2.1555006948710429E-3</c:v>
                </c:pt>
                <c:pt idx="6615">
                  <c:v>2.2125126196315911E-3</c:v>
                </c:pt>
                <c:pt idx="6616">
                  <c:v>2.2551660531021753E-3</c:v>
                </c:pt>
                <c:pt idx="6617">
                  <c:v>2.2802323117392573E-3</c:v>
                </c:pt>
                <c:pt idx="6618">
                  <c:v>2.3149379951433536E-3</c:v>
                </c:pt>
                <c:pt idx="6619">
                  <c:v>2.3519972181247186E-3</c:v>
                </c:pt>
                <c:pt idx="6620">
                  <c:v>2.372050613974852E-3</c:v>
                </c:pt>
                <c:pt idx="6621">
                  <c:v>2.3790037997233758E-3</c:v>
                </c:pt>
                <c:pt idx="6622">
                  <c:v>2.3940281280193784E-3</c:v>
                </c:pt>
                <c:pt idx="6623">
                  <c:v>2.3894787964383307E-3</c:v>
                </c:pt>
                <c:pt idx="6624">
                  <c:v>2.3576607563332492E-3</c:v>
                </c:pt>
                <c:pt idx="6625">
                  <c:v>2.3096960703998101E-3</c:v>
                </c:pt>
                <c:pt idx="6626">
                  <c:v>2.2421627398341048E-3</c:v>
                </c:pt>
                <c:pt idx="6627">
                  <c:v>2.1792925273259999E-3</c:v>
                </c:pt>
                <c:pt idx="6628">
                  <c:v>2.1084778487040776E-3</c:v>
                </c:pt>
                <c:pt idx="6629">
                  <c:v>2.0288236989491537E-3</c:v>
                </c:pt>
                <c:pt idx="6630">
                  <c:v>1.9801265252988166E-3</c:v>
                </c:pt>
                <c:pt idx="6631">
                  <c:v>1.9757230627685369E-3</c:v>
                </c:pt>
                <c:pt idx="6632">
                  <c:v>1.9774702334468307E-3</c:v>
                </c:pt>
                <c:pt idx="6633">
                  <c:v>1.9719628356163308E-3</c:v>
                </c:pt>
                <c:pt idx="6634">
                  <c:v>1.9596047338189273E-3</c:v>
                </c:pt>
                <c:pt idx="6635">
                  <c:v>1.9456696539161612E-3</c:v>
                </c:pt>
                <c:pt idx="6636">
                  <c:v>1.9029671067566714E-3</c:v>
                </c:pt>
                <c:pt idx="6637">
                  <c:v>1.8610376401566658E-3</c:v>
                </c:pt>
                <c:pt idx="6638">
                  <c:v>1.8070158599197332E-3</c:v>
                </c:pt>
                <c:pt idx="6639">
                  <c:v>1.7354591173548014E-3</c:v>
                </c:pt>
                <c:pt idx="6640">
                  <c:v>1.639483029675659E-3</c:v>
                </c:pt>
                <c:pt idx="6641">
                  <c:v>1.6475951930006504E-3</c:v>
                </c:pt>
                <c:pt idx="6642">
                  <c:v>1.6454692257670434E-3</c:v>
                </c:pt>
                <c:pt idx="6643">
                  <c:v>1.6433330575049345E-3</c:v>
                </c:pt>
                <c:pt idx="6644">
                  <c:v>1.626443768465665E-3</c:v>
                </c:pt>
                <c:pt idx="6645">
                  <c:v>1.602761123619998E-3</c:v>
                </c:pt>
                <c:pt idx="6646">
                  <c:v>1.5717246020911075E-3</c:v>
                </c:pt>
                <c:pt idx="6647">
                  <c:v>1.5290480418122634E-3</c:v>
                </c:pt>
                <c:pt idx="6648">
                  <c:v>1.5148414587448852E-3</c:v>
                </c:pt>
                <c:pt idx="6649">
                  <c:v>1.4943370334266611E-3</c:v>
                </c:pt>
                <c:pt idx="6650">
                  <c:v>1.5061706539427411E-3</c:v>
                </c:pt>
                <c:pt idx="6651">
                  <c:v>1.5077494647184313E-3</c:v>
                </c:pt>
                <c:pt idx="6652">
                  <c:v>1.5250681351014908E-3</c:v>
                </c:pt>
                <c:pt idx="6653">
                  <c:v>1.5310920315702709E-3</c:v>
                </c:pt>
                <c:pt idx="6654">
                  <c:v>1.5218572981684222E-3</c:v>
                </c:pt>
                <c:pt idx="6655">
                  <c:v>1.5048085581687537E-3</c:v>
                </c:pt>
                <c:pt idx="6656">
                  <c:v>1.4706416048851615E-3</c:v>
                </c:pt>
                <c:pt idx="6657">
                  <c:v>1.4272139059228672E-3</c:v>
                </c:pt>
                <c:pt idx="6658">
                  <c:v>1.3748712765577851E-3</c:v>
                </c:pt>
                <c:pt idx="6659">
                  <c:v>1.3289914861593333E-3</c:v>
                </c:pt>
                <c:pt idx="6660">
                  <c:v>1.2699300819862824E-3</c:v>
                </c:pt>
                <c:pt idx="6661">
                  <c:v>1.2518804867868646E-3</c:v>
                </c:pt>
                <c:pt idx="6662">
                  <c:v>1.2429775761615787E-3</c:v>
                </c:pt>
                <c:pt idx="6663">
                  <c:v>1.2744572023846486E-3</c:v>
                </c:pt>
                <c:pt idx="6664">
                  <c:v>1.3496248023209419E-3</c:v>
                </c:pt>
                <c:pt idx="6665">
                  <c:v>1.4289548997299098E-3</c:v>
                </c:pt>
                <c:pt idx="6666">
                  <c:v>1.580855490456207E-3</c:v>
                </c:pt>
                <c:pt idx="6667">
                  <c:v>1.7005571247998509E-3</c:v>
                </c:pt>
                <c:pt idx="6668">
                  <c:v>1.8010044265707804E-3</c:v>
                </c:pt>
                <c:pt idx="6669">
                  <c:v>1.8831009181689616E-3</c:v>
                </c:pt>
                <c:pt idx="6670">
                  <c:v>1.9463766579250065E-3</c:v>
                </c:pt>
                <c:pt idx="6671">
                  <c:v>1.9959957599251024E-3</c:v>
                </c:pt>
                <c:pt idx="6672">
                  <c:v>2.0300484048084771E-3</c:v>
                </c:pt>
                <c:pt idx="6673">
                  <c:v>2.0595265518980575E-3</c:v>
                </c:pt>
                <c:pt idx="6674">
                  <c:v>2.1112272595928115E-3</c:v>
                </c:pt>
                <c:pt idx="6675">
                  <c:v>2.1488882768690783E-3</c:v>
                </c:pt>
                <c:pt idx="6676">
                  <c:v>2.1808296078412543E-3</c:v>
                </c:pt>
                <c:pt idx="6677">
                  <c:v>2.1903927512391011E-3</c:v>
                </c:pt>
                <c:pt idx="6678">
                  <c:v>2.1976616540400565E-3</c:v>
                </c:pt>
                <c:pt idx="6679">
                  <c:v>2.1887378392629392E-3</c:v>
                </c:pt>
                <c:pt idx="6680">
                  <c:v>2.2032925238843169E-3</c:v>
                </c:pt>
                <c:pt idx="6681">
                  <c:v>2.2059771422451501E-3</c:v>
                </c:pt>
                <c:pt idx="6682">
                  <c:v>2.1971356841652685E-3</c:v>
                </c:pt>
                <c:pt idx="6683">
                  <c:v>2.1761062203833458E-3</c:v>
                </c:pt>
                <c:pt idx="6684">
                  <c:v>2.142693192508253E-3</c:v>
                </c:pt>
                <c:pt idx="6685">
                  <c:v>2.1088855420027882E-3</c:v>
                </c:pt>
                <c:pt idx="6686">
                  <c:v>2.0796654915546599E-3</c:v>
                </c:pt>
                <c:pt idx="6687">
                  <c:v>2.0436992050925236E-3</c:v>
                </c:pt>
                <c:pt idx="6688">
                  <c:v>1.9896903105995106E-3</c:v>
                </c:pt>
                <c:pt idx="6689">
                  <c:v>1.9225052755654996E-3</c:v>
                </c:pt>
                <c:pt idx="6690">
                  <c:v>1.8327422053779098E-3</c:v>
                </c:pt>
                <c:pt idx="6691">
                  <c:v>1.7236235953729726E-3</c:v>
                </c:pt>
                <c:pt idx="6692">
                  <c:v>1.6091475969783157E-3</c:v>
                </c:pt>
                <c:pt idx="6693">
                  <c:v>1.5238494105000743E-3</c:v>
                </c:pt>
                <c:pt idx="6694">
                  <c:v>1.4779391001481308E-3</c:v>
                </c:pt>
                <c:pt idx="6695">
                  <c:v>1.4562656912505913E-3</c:v>
                </c:pt>
                <c:pt idx="6696">
                  <c:v>1.5293593696976951E-3</c:v>
                </c:pt>
                <c:pt idx="6697">
                  <c:v>1.5976323463623998E-3</c:v>
                </c:pt>
                <c:pt idx="6698">
                  <c:v>1.6491184849983394E-3</c:v>
                </c:pt>
                <c:pt idx="6699">
                  <c:v>1.6812324474128329E-3</c:v>
                </c:pt>
                <c:pt idx="6700">
                  <c:v>1.6998387816714016E-3</c:v>
                </c:pt>
                <c:pt idx="6701">
                  <c:v>1.705176608641218E-3</c:v>
                </c:pt>
                <c:pt idx="6702">
                  <c:v>1.6973205126752612E-3</c:v>
                </c:pt>
                <c:pt idx="6703">
                  <c:v>1.6762481470200786E-3</c:v>
                </c:pt>
                <c:pt idx="6704">
                  <c:v>1.6859147392252651E-3</c:v>
                </c:pt>
                <c:pt idx="6705">
                  <c:v>1.7036299043363902E-3</c:v>
                </c:pt>
                <c:pt idx="6706">
                  <c:v>1.732016873281171E-3</c:v>
                </c:pt>
                <c:pt idx="6707">
                  <c:v>1.7463324880356889E-3</c:v>
                </c:pt>
                <c:pt idx="6708">
                  <c:v>1.7497047279089266E-3</c:v>
                </c:pt>
                <c:pt idx="6709">
                  <c:v>1.7491645048759406E-3</c:v>
                </c:pt>
                <c:pt idx="6710">
                  <c:v>1.7476497094369183E-3</c:v>
                </c:pt>
                <c:pt idx="6711">
                  <c:v>1.7370479531561307E-3</c:v>
                </c:pt>
                <c:pt idx="6712">
                  <c:v>1.7131942192831766E-3</c:v>
                </c:pt>
                <c:pt idx="6713">
                  <c:v>1.7054253825617251E-3</c:v>
                </c:pt>
                <c:pt idx="6714">
                  <c:v>1.6802836407933972E-3</c:v>
                </c:pt>
                <c:pt idx="6715">
                  <c:v>1.6518443733371179E-3</c:v>
                </c:pt>
                <c:pt idx="6716">
                  <c:v>1.6350898039221456E-3</c:v>
                </c:pt>
                <c:pt idx="6717">
                  <c:v>1.617812161616399E-3</c:v>
                </c:pt>
                <c:pt idx="6718">
                  <c:v>1.5877645605239785E-3</c:v>
                </c:pt>
                <c:pt idx="6719">
                  <c:v>1.5536210412102583E-3</c:v>
                </c:pt>
                <c:pt idx="6720">
                  <c:v>1.5062787783459923E-3</c:v>
                </c:pt>
                <c:pt idx="6721">
                  <c:v>1.458327100128124E-3</c:v>
                </c:pt>
                <c:pt idx="6722">
                  <c:v>1.4784810468951276E-3</c:v>
                </c:pt>
                <c:pt idx="6723">
                  <c:v>1.5108900773064013E-3</c:v>
                </c:pt>
                <c:pt idx="6724">
                  <c:v>1.5338677912417205E-3</c:v>
                </c:pt>
                <c:pt idx="6725">
                  <c:v>1.5655892640482534E-3</c:v>
                </c:pt>
                <c:pt idx="6726">
                  <c:v>1.6231207602075686E-3</c:v>
                </c:pt>
                <c:pt idx="6727">
                  <c:v>1.6742421829150996E-3</c:v>
                </c:pt>
                <c:pt idx="6728">
                  <c:v>1.71267987151322E-3</c:v>
                </c:pt>
                <c:pt idx="6729">
                  <c:v>1.7475418375336759E-3</c:v>
                </c:pt>
                <c:pt idx="6730">
                  <c:v>1.7692494751389736E-3</c:v>
                </c:pt>
                <c:pt idx="6731">
                  <c:v>1.7897687784370541E-3</c:v>
                </c:pt>
                <c:pt idx="6732">
                  <c:v>1.7964184790156251E-3</c:v>
                </c:pt>
                <c:pt idx="6733">
                  <c:v>1.7969649483305498E-3</c:v>
                </c:pt>
                <c:pt idx="6734">
                  <c:v>1.7875452508066517E-3</c:v>
                </c:pt>
                <c:pt idx="6735">
                  <c:v>1.7874675053474393E-3</c:v>
                </c:pt>
                <c:pt idx="6736">
                  <c:v>1.7896365490018004E-3</c:v>
                </c:pt>
                <c:pt idx="6737">
                  <c:v>1.7760522353206605E-3</c:v>
                </c:pt>
                <c:pt idx="6738">
                  <c:v>1.7499482508928075E-3</c:v>
                </c:pt>
                <c:pt idx="6739">
                  <c:v>1.7228830073585978E-3</c:v>
                </c:pt>
                <c:pt idx="6740">
                  <c:v>1.692915971163296E-3</c:v>
                </c:pt>
                <c:pt idx="6741">
                  <c:v>1.6655508476599501E-3</c:v>
                </c:pt>
                <c:pt idx="6742">
                  <c:v>1.6627263649114815E-3</c:v>
                </c:pt>
                <c:pt idx="6743">
                  <c:v>1.6779985336460379E-3</c:v>
                </c:pt>
                <c:pt idx="6744">
                  <c:v>1.6965077872240608E-3</c:v>
                </c:pt>
                <c:pt idx="6745">
                  <c:v>1.7007959166132919E-3</c:v>
                </c:pt>
                <c:pt idx="6746">
                  <c:v>1.6910916135444651E-3</c:v>
                </c:pt>
                <c:pt idx="6747">
                  <c:v>1.6635172835798326E-3</c:v>
                </c:pt>
                <c:pt idx="6748">
                  <c:v>1.6249256708796979E-3</c:v>
                </c:pt>
                <c:pt idx="6749">
                  <c:v>1.5703980448498011E-3</c:v>
                </c:pt>
                <c:pt idx="6750">
                  <c:v>1.4981019806299487E-3</c:v>
                </c:pt>
                <c:pt idx="6751">
                  <c:v>1.4225502893954506E-3</c:v>
                </c:pt>
                <c:pt idx="6752">
                  <c:v>1.4401544513845E-3</c:v>
                </c:pt>
                <c:pt idx="6753">
                  <c:v>1.5083376532832771E-3</c:v>
                </c:pt>
                <c:pt idx="6754">
                  <c:v>1.565458853775413E-3</c:v>
                </c:pt>
                <c:pt idx="6755">
                  <c:v>1.6101149012740816E-3</c:v>
                </c:pt>
                <c:pt idx="6756">
                  <c:v>1.6475404287102111E-3</c:v>
                </c:pt>
                <c:pt idx="6757">
                  <c:v>1.6715677458886392E-3</c:v>
                </c:pt>
                <c:pt idx="6758">
                  <c:v>1.6830790875994252E-3</c:v>
                </c:pt>
                <c:pt idx="6759">
                  <c:v>1.6936293960328102E-3</c:v>
                </c:pt>
                <c:pt idx="6760">
                  <c:v>1.6929856141067825E-3</c:v>
                </c:pt>
                <c:pt idx="6761">
                  <c:v>1.7229471972321228E-3</c:v>
                </c:pt>
                <c:pt idx="6762">
                  <c:v>1.7396284725797E-3</c:v>
                </c:pt>
                <c:pt idx="6763">
                  <c:v>1.7510944933363474E-3</c:v>
                </c:pt>
                <c:pt idx="6764">
                  <c:v>1.7654384138498617E-3</c:v>
                </c:pt>
                <c:pt idx="6765">
                  <c:v>1.7817826082734988E-3</c:v>
                </c:pt>
                <c:pt idx="6766">
                  <c:v>1.7886907482024667E-3</c:v>
                </c:pt>
                <c:pt idx="6767">
                  <c:v>1.8188376233060641E-3</c:v>
                </c:pt>
                <c:pt idx="6768">
                  <c:v>1.8440598745966235E-3</c:v>
                </c:pt>
                <c:pt idx="6769">
                  <c:v>1.863293886031277E-3</c:v>
                </c:pt>
                <c:pt idx="6770">
                  <c:v>1.8763534957157426E-3</c:v>
                </c:pt>
                <c:pt idx="6771">
                  <c:v>1.8818868411557322E-3</c:v>
                </c:pt>
                <c:pt idx="6772">
                  <c:v>1.9439500998139165E-3</c:v>
                </c:pt>
                <c:pt idx="6773">
                  <c:v>2.0043131920472025E-3</c:v>
                </c:pt>
                <c:pt idx="6774">
                  <c:v>2.1152799550839202E-3</c:v>
                </c:pt>
                <c:pt idx="6775">
                  <c:v>2.2605217823678837E-3</c:v>
                </c:pt>
                <c:pt idx="6776">
                  <c:v>2.371943237942336E-3</c:v>
                </c:pt>
                <c:pt idx="6777">
                  <c:v>2.4503938065978548E-3</c:v>
                </c:pt>
                <c:pt idx="6778">
                  <c:v>2.5054508058354242E-3</c:v>
                </c:pt>
                <c:pt idx="6779">
                  <c:v>2.5359513224707877E-3</c:v>
                </c:pt>
                <c:pt idx="6780">
                  <c:v>2.5424919854592784E-3</c:v>
                </c:pt>
                <c:pt idx="6781">
                  <c:v>2.5416568528586958E-3</c:v>
                </c:pt>
                <c:pt idx="6782">
                  <c:v>2.5529217938620326E-3</c:v>
                </c:pt>
                <c:pt idx="6783">
                  <c:v>2.5867613481849881E-3</c:v>
                </c:pt>
                <c:pt idx="6784">
                  <c:v>2.6040991388877398E-3</c:v>
                </c:pt>
                <c:pt idx="6785">
                  <c:v>2.6185772036884897E-3</c:v>
                </c:pt>
                <c:pt idx="6786">
                  <c:v>2.6188387800710972E-3</c:v>
                </c:pt>
                <c:pt idx="6787">
                  <c:v>2.6009789024764498E-3</c:v>
                </c:pt>
                <c:pt idx="6788">
                  <c:v>2.5649491198256043E-3</c:v>
                </c:pt>
                <c:pt idx="6789">
                  <c:v>2.5127684858363103E-3</c:v>
                </c:pt>
                <c:pt idx="6790">
                  <c:v>2.4398587866092439E-3</c:v>
                </c:pt>
                <c:pt idx="6791">
                  <c:v>2.3838794633776884E-3</c:v>
                </c:pt>
                <c:pt idx="6792">
                  <c:v>2.3117514147656115E-3</c:v>
                </c:pt>
                <c:pt idx="6793">
                  <c:v>2.2334753823843689E-3</c:v>
                </c:pt>
                <c:pt idx="6794">
                  <c:v>2.1572326121490032E-3</c:v>
                </c:pt>
                <c:pt idx="6795">
                  <c:v>2.067376762839745E-3</c:v>
                </c:pt>
                <c:pt idx="6796">
                  <c:v>1.9515026160962603E-3</c:v>
                </c:pt>
                <c:pt idx="6797">
                  <c:v>1.8635518944039953E-3</c:v>
                </c:pt>
                <c:pt idx="6798">
                  <c:v>1.7692219514256315E-3</c:v>
                </c:pt>
                <c:pt idx="6799">
                  <c:v>1.6628004409726008E-3</c:v>
                </c:pt>
                <c:pt idx="6800">
                  <c:v>1.5553033702193379E-3</c:v>
                </c:pt>
                <c:pt idx="6801">
                  <c:v>1.4216026902758578E-3</c:v>
                </c:pt>
                <c:pt idx="6802">
                  <c:v>1.3147999559322929E-3</c:v>
                </c:pt>
                <c:pt idx="6803">
                  <c:v>1.2093586782069095E-3</c:v>
                </c:pt>
                <c:pt idx="6804">
                  <c:v>1.1566279822541299E-3</c:v>
                </c:pt>
                <c:pt idx="6805">
                  <c:v>1.1538990220927169E-3</c:v>
                </c:pt>
                <c:pt idx="6806">
                  <c:v>1.1456992489515278E-3</c:v>
                </c:pt>
                <c:pt idx="6807">
                  <c:v>1.139169827783586E-3</c:v>
                </c:pt>
                <c:pt idx="6808">
                  <c:v>1.1337197002322947E-3</c:v>
                </c:pt>
                <c:pt idx="6809">
                  <c:v>1.1375676473456633E-3</c:v>
                </c:pt>
                <c:pt idx="6810">
                  <c:v>1.1329777702877109E-3</c:v>
                </c:pt>
                <c:pt idx="6811">
                  <c:v>1.1248016374548057E-3</c:v>
                </c:pt>
                <c:pt idx="6812">
                  <c:v>1.1086187446222924E-3</c:v>
                </c:pt>
                <c:pt idx="6813">
                  <c:v>1.1058902344430062E-3</c:v>
                </c:pt>
                <c:pt idx="6814">
                  <c:v>1.1036577468900026E-3</c:v>
                </c:pt>
                <c:pt idx="6815">
                  <c:v>1.1191185930124483E-3</c:v>
                </c:pt>
                <c:pt idx="6816">
                  <c:v>1.1267619222343282E-3</c:v>
                </c:pt>
                <c:pt idx="6817">
                  <c:v>1.1315773731549828E-3</c:v>
                </c:pt>
                <c:pt idx="6818">
                  <c:v>1.1293542088241985E-3</c:v>
                </c:pt>
                <c:pt idx="6819">
                  <c:v>1.1407176711777055E-3</c:v>
                </c:pt>
                <c:pt idx="6820">
                  <c:v>1.1568365314171809E-3</c:v>
                </c:pt>
                <c:pt idx="6821">
                  <c:v>1.2230526062691617E-3</c:v>
                </c:pt>
                <c:pt idx="6822">
                  <c:v>1.2768591594417744E-3</c:v>
                </c:pt>
                <c:pt idx="6823">
                  <c:v>1.3351408649989666E-3</c:v>
                </c:pt>
                <c:pt idx="6824">
                  <c:v>1.3879750999915036E-3</c:v>
                </c:pt>
                <c:pt idx="6825">
                  <c:v>1.4482933151872498E-3</c:v>
                </c:pt>
                <c:pt idx="6826">
                  <c:v>1.5102829897397385E-3</c:v>
                </c:pt>
                <c:pt idx="6827">
                  <c:v>1.5595055977143887E-3</c:v>
                </c:pt>
                <c:pt idx="6828">
                  <c:v>1.614061503727655E-3</c:v>
                </c:pt>
                <c:pt idx="6829">
                  <c:v>1.6554077057216161E-3</c:v>
                </c:pt>
                <c:pt idx="6830">
                  <c:v>1.6886312542162385E-3</c:v>
                </c:pt>
                <c:pt idx="6831">
                  <c:v>1.717634757311204E-3</c:v>
                </c:pt>
                <c:pt idx="6832">
                  <c:v>1.7380770324963136E-3</c:v>
                </c:pt>
                <c:pt idx="6833">
                  <c:v>1.7467262809731927E-3</c:v>
                </c:pt>
                <c:pt idx="6834">
                  <c:v>1.7509914323078882E-3</c:v>
                </c:pt>
                <c:pt idx="6835">
                  <c:v>1.7473864791531287E-3</c:v>
                </c:pt>
                <c:pt idx="6836">
                  <c:v>1.7313362366955377E-3</c:v>
                </c:pt>
                <c:pt idx="6837">
                  <c:v>1.7254014406064115E-3</c:v>
                </c:pt>
                <c:pt idx="6838">
                  <c:v>1.7500680607391097E-3</c:v>
                </c:pt>
                <c:pt idx="6839">
                  <c:v>1.8143549713086245E-3</c:v>
                </c:pt>
                <c:pt idx="6840">
                  <c:v>1.8639404875112917E-3</c:v>
                </c:pt>
                <c:pt idx="6841">
                  <c:v>1.8951680027528928E-3</c:v>
                </c:pt>
                <c:pt idx="6842">
                  <c:v>1.9092442066249045E-3</c:v>
                </c:pt>
                <c:pt idx="6843">
                  <c:v>1.9388292772837706E-3</c:v>
                </c:pt>
                <c:pt idx="6844">
                  <c:v>1.9703900928436506E-3</c:v>
                </c:pt>
                <c:pt idx="6845">
                  <c:v>1.9949437714602155E-3</c:v>
                </c:pt>
                <c:pt idx="6846">
                  <c:v>2.04997898476843E-3</c:v>
                </c:pt>
                <c:pt idx="6847">
                  <c:v>2.1178679568101318E-3</c:v>
                </c:pt>
                <c:pt idx="6848">
                  <c:v>2.1578158685568176E-3</c:v>
                </c:pt>
                <c:pt idx="6849">
                  <c:v>2.1890874942869353E-3</c:v>
                </c:pt>
                <c:pt idx="6850">
                  <c:v>2.2093349324469463E-3</c:v>
                </c:pt>
                <c:pt idx="6851">
                  <c:v>2.2496689958190113E-3</c:v>
                </c:pt>
                <c:pt idx="6852">
                  <c:v>2.2730448724080266E-3</c:v>
                </c:pt>
                <c:pt idx="6853">
                  <c:v>2.2801306561818177E-3</c:v>
                </c:pt>
                <c:pt idx="6854">
                  <c:v>2.2777537213174324E-3</c:v>
                </c:pt>
                <c:pt idx="6855">
                  <c:v>2.3229914217258317E-3</c:v>
                </c:pt>
                <c:pt idx="6856">
                  <c:v>2.358105581294961E-3</c:v>
                </c:pt>
                <c:pt idx="6857">
                  <c:v>2.385368684339452E-3</c:v>
                </c:pt>
                <c:pt idx="6858">
                  <c:v>2.4107072986019676E-3</c:v>
                </c:pt>
                <c:pt idx="6859">
                  <c:v>2.4521328052274408E-3</c:v>
                </c:pt>
                <c:pt idx="6860">
                  <c:v>2.4786209664846575E-3</c:v>
                </c:pt>
                <c:pt idx="6861">
                  <c:v>2.4946030972278258E-3</c:v>
                </c:pt>
                <c:pt idx="6862">
                  <c:v>2.4928979352086254E-3</c:v>
                </c:pt>
                <c:pt idx="6863">
                  <c:v>2.4692453003126802E-3</c:v>
                </c:pt>
                <c:pt idx="6864">
                  <c:v>2.438630980164436E-3</c:v>
                </c:pt>
                <c:pt idx="6865">
                  <c:v>2.3919725543944006E-3</c:v>
                </c:pt>
                <c:pt idx="6866">
                  <c:v>2.3201244878043844E-3</c:v>
                </c:pt>
                <c:pt idx="6867">
                  <c:v>2.2416080318014603E-3</c:v>
                </c:pt>
                <c:pt idx="6868">
                  <c:v>2.1787805020271993E-3</c:v>
                </c:pt>
                <c:pt idx="6869">
                  <c:v>2.1391959562010896E-3</c:v>
                </c:pt>
                <c:pt idx="6870">
                  <c:v>2.0870473514099908E-3</c:v>
                </c:pt>
                <c:pt idx="6871">
                  <c:v>2.0170280064503014E-3</c:v>
                </c:pt>
                <c:pt idx="6872">
                  <c:v>1.9269749584486433E-3</c:v>
                </c:pt>
                <c:pt idx="6873">
                  <c:v>1.8494526300771941E-3</c:v>
                </c:pt>
                <c:pt idx="6874">
                  <c:v>1.7650252504089485E-3</c:v>
                </c:pt>
                <c:pt idx="6875">
                  <c:v>1.6665091870980821E-3</c:v>
                </c:pt>
                <c:pt idx="6876">
                  <c:v>1.6103184320441135E-3</c:v>
                </c:pt>
                <c:pt idx="6877">
                  <c:v>1.5731583067123012E-3</c:v>
                </c:pt>
                <c:pt idx="6878">
                  <c:v>1.5266464414448544E-3</c:v>
                </c:pt>
                <c:pt idx="6879">
                  <c:v>1.4733381733171189E-3</c:v>
                </c:pt>
                <c:pt idx="6880">
                  <c:v>1.4083390187181052E-3</c:v>
                </c:pt>
                <c:pt idx="6881">
                  <c:v>1.3302289730567796E-3</c:v>
                </c:pt>
                <c:pt idx="6882">
                  <c:v>1.2394667881875303E-3</c:v>
                </c:pt>
                <c:pt idx="6883">
                  <c:v>1.1428057332781177E-3</c:v>
                </c:pt>
                <c:pt idx="6884">
                  <c:v>1.0574292941958022E-3</c:v>
                </c:pt>
                <c:pt idx="6885">
                  <c:v>1.0388427712525901E-3</c:v>
                </c:pt>
                <c:pt idx="6886">
                  <c:v>1.0231473521324021E-3</c:v>
                </c:pt>
                <c:pt idx="6887">
                  <c:v>1.0118050287601949E-3</c:v>
                </c:pt>
                <c:pt idx="6888">
                  <c:v>1.0044274485472931E-3</c:v>
                </c:pt>
                <c:pt idx="6889">
                  <c:v>1.0711214920017188E-3</c:v>
                </c:pt>
                <c:pt idx="6890">
                  <c:v>1.1279143698597551E-3</c:v>
                </c:pt>
                <c:pt idx="6891">
                  <c:v>1.1768952106023646E-3</c:v>
                </c:pt>
                <c:pt idx="6892">
                  <c:v>1.2191798241890719E-3</c:v>
                </c:pt>
                <c:pt idx="6893">
                  <c:v>1.3128345306132536E-3</c:v>
                </c:pt>
                <c:pt idx="6894">
                  <c:v>1.4273862476673629E-3</c:v>
                </c:pt>
                <c:pt idx="6895">
                  <c:v>1.5218506451286312E-3</c:v>
                </c:pt>
                <c:pt idx="6896">
                  <c:v>1.6001828356979771E-3</c:v>
                </c:pt>
                <c:pt idx="6897">
                  <c:v>1.6648030679701034E-3</c:v>
                </c:pt>
                <c:pt idx="6898">
                  <c:v>1.7143100300672177E-3</c:v>
                </c:pt>
                <c:pt idx="6899">
                  <c:v>1.7634426599320136E-3</c:v>
                </c:pt>
                <c:pt idx="6900">
                  <c:v>1.8092212260867036E-3</c:v>
                </c:pt>
                <c:pt idx="6901">
                  <c:v>1.8432319091377309E-3</c:v>
                </c:pt>
                <c:pt idx="6902">
                  <c:v>1.8661044519981487E-3</c:v>
                </c:pt>
                <c:pt idx="6903">
                  <c:v>1.881694264186342E-3</c:v>
                </c:pt>
                <c:pt idx="6904">
                  <c:v>1.8839683087224321E-3</c:v>
                </c:pt>
                <c:pt idx="6905">
                  <c:v>1.8759610919284991E-3</c:v>
                </c:pt>
                <c:pt idx="6906">
                  <c:v>1.8574125414585676E-3</c:v>
                </c:pt>
                <c:pt idx="6907">
                  <c:v>1.8279179501410235E-3</c:v>
                </c:pt>
                <c:pt idx="6908">
                  <c:v>1.7900240584405272E-3</c:v>
                </c:pt>
                <c:pt idx="6909">
                  <c:v>1.7446881686660487E-3</c:v>
                </c:pt>
                <c:pt idx="6910">
                  <c:v>1.6863503029388128E-3</c:v>
                </c:pt>
                <c:pt idx="6911">
                  <c:v>1.6137620787198125E-3</c:v>
                </c:pt>
                <c:pt idx="6912">
                  <c:v>1.5304515664513127E-3</c:v>
                </c:pt>
                <c:pt idx="6913">
                  <c:v>1.4547438318958813E-3</c:v>
                </c:pt>
                <c:pt idx="6914">
                  <c:v>1.3905661285802261E-3</c:v>
                </c:pt>
                <c:pt idx="6915">
                  <c:v>1.3177868774963987E-3</c:v>
                </c:pt>
                <c:pt idx="6916">
                  <c:v>1.2568225777211059E-3</c:v>
                </c:pt>
                <c:pt idx="6917">
                  <c:v>1.181501639731302E-3</c:v>
                </c:pt>
                <c:pt idx="6918">
                  <c:v>1.1054168196274691E-3</c:v>
                </c:pt>
                <c:pt idx="6919">
                  <c:v>1.0721958331418565E-3</c:v>
                </c:pt>
                <c:pt idx="6920">
                  <c:v>1.0800395011594972E-3</c:v>
                </c:pt>
                <c:pt idx="6921">
                  <c:v>1.0781814603307719E-3</c:v>
                </c:pt>
                <c:pt idx="6922">
                  <c:v>1.0711091015768298E-3</c:v>
                </c:pt>
                <c:pt idx="6923">
                  <c:v>1.110282880362257E-3</c:v>
                </c:pt>
                <c:pt idx="6924">
                  <c:v>1.1563178313322611E-3</c:v>
                </c:pt>
                <c:pt idx="6925">
                  <c:v>1.1908839668339499E-3</c:v>
                </c:pt>
                <c:pt idx="6926">
                  <c:v>1.2136581866393887E-3</c:v>
                </c:pt>
                <c:pt idx="6927">
                  <c:v>1.2298124820406297E-3</c:v>
                </c:pt>
                <c:pt idx="6928">
                  <c:v>1.2433409252214575E-3</c:v>
                </c:pt>
                <c:pt idx="6929">
                  <c:v>1.3313394026939558E-3</c:v>
                </c:pt>
                <c:pt idx="6930">
                  <c:v>1.4143414803965027E-3</c:v>
                </c:pt>
                <c:pt idx="6931">
                  <c:v>1.4921496983638341E-3</c:v>
                </c:pt>
                <c:pt idx="6932">
                  <c:v>1.5652247127248455E-3</c:v>
                </c:pt>
                <c:pt idx="6933">
                  <c:v>1.6242452159170783E-3</c:v>
                </c:pt>
                <c:pt idx="6934">
                  <c:v>1.6881835765261857E-3</c:v>
                </c:pt>
                <c:pt idx="6935">
                  <c:v>1.747179008679446E-3</c:v>
                </c:pt>
                <c:pt idx="6936">
                  <c:v>1.7917791597378786E-3</c:v>
                </c:pt>
                <c:pt idx="6937">
                  <c:v>1.861805647286716E-3</c:v>
                </c:pt>
                <c:pt idx="6938">
                  <c:v>1.9264938100964433E-3</c:v>
                </c:pt>
                <c:pt idx="6939">
                  <c:v>1.9828574382896491E-3</c:v>
                </c:pt>
                <c:pt idx="6940">
                  <c:v>2.0264859525832624E-3</c:v>
                </c:pt>
                <c:pt idx="6941">
                  <c:v>2.0577771643434041E-3</c:v>
                </c:pt>
                <c:pt idx="6942">
                  <c:v>2.0728334292161033E-3</c:v>
                </c:pt>
                <c:pt idx="6943">
                  <c:v>2.0725052144356642E-3</c:v>
                </c:pt>
                <c:pt idx="6944">
                  <c:v>2.064144856069928E-3</c:v>
                </c:pt>
                <c:pt idx="6945">
                  <c:v>2.0432289037006467E-3</c:v>
                </c:pt>
                <c:pt idx="6946">
                  <c:v>2.0289143900180935E-3</c:v>
                </c:pt>
                <c:pt idx="6947">
                  <c:v>2.0196824253200453E-3</c:v>
                </c:pt>
                <c:pt idx="6948">
                  <c:v>1.9917590173603316E-3</c:v>
                </c:pt>
                <c:pt idx="6949">
                  <c:v>1.9587358704202923E-3</c:v>
                </c:pt>
                <c:pt idx="6950">
                  <c:v>1.9613187545628693E-3</c:v>
                </c:pt>
                <c:pt idx="6951">
                  <c:v>1.9542206536793593E-3</c:v>
                </c:pt>
                <c:pt idx="6952">
                  <c:v>1.9480802828984985E-3</c:v>
                </c:pt>
                <c:pt idx="6953">
                  <c:v>1.925229876713365E-3</c:v>
                </c:pt>
                <c:pt idx="6954">
                  <c:v>1.8846005127263201E-3</c:v>
                </c:pt>
                <c:pt idx="6955">
                  <c:v>1.8259110771427303E-3</c:v>
                </c:pt>
                <c:pt idx="6956">
                  <c:v>1.745764773152687E-3</c:v>
                </c:pt>
                <c:pt idx="6957">
                  <c:v>1.6431193301351731E-3</c:v>
                </c:pt>
                <c:pt idx="6958">
                  <c:v>1.5496344778181796E-3</c:v>
                </c:pt>
                <c:pt idx="6959">
                  <c:v>1.520365075807336E-3</c:v>
                </c:pt>
                <c:pt idx="6960">
                  <c:v>1.5415377962269532E-3</c:v>
                </c:pt>
                <c:pt idx="6961">
                  <c:v>1.5726658046858845E-3</c:v>
                </c:pt>
                <c:pt idx="6962">
                  <c:v>1.6287040032805955E-3</c:v>
                </c:pt>
                <c:pt idx="6963">
                  <c:v>1.6773368609063889E-3</c:v>
                </c:pt>
                <c:pt idx="6964">
                  <c:v>1.7260265097850688E-3</c:v>
                </c:pt>
                <c:pt idx="6965">
                  <c:v>1.7628056936678552E-3</c:v>
                </c:pt>
                <c:pt idx="6966">
                  <c:v>1.7802101930650804E-3</c:v>
                </c:pt>
                <c:pt idx="6967">
                  <c:v>1.8241484147682636E-3</c:v>
                </c:pt>
                <c:pt idx="6968">
                  <c:v>1.8679908489076949E-3</c:v>
                </c:pt>
                <c:pt idx="6969">
                  <c:v>1.8398174388244209E-3</c:v>
                </c:pt>
                <c:pt idx="6970">
                  <c:v>1.8117333986158082E-3</c:v>
                </c:pt>
                <c:pt idx="6971">
                  <c:v>1.7837105538792133E-3</c:v>
                </c:pt>
                <c:pt idx="6972">
                  <c:v>1.7516854906524698E-3</c:v>
                </c:pt>
                <c:pt idx="6973">
                  <c:v>1.7105705258641021E-3</c:v>
                </c:pt>
                <c:pt idx="6974">
                  <c:v>1.6718271094539675E-3</c:v>
                </c:pt>
                <c:pt idx="6975">
                  <c:v>1.6311246675120583E-3</c:v>
                </c:pt>
                <c:pt idx="6976">
                  <c:v>1.5976867002880349E-3</c:v>
                </c:pt>
                <c:pt idx="6977">
                  <c:v>1.585314291211842E-3</c:v>
                </c:pt>
                <c:pt idx="6978">
                  <c:v>1.5660674896070556E-3</c:v>
                </c:pt>
                <c:pt idx="6979">
                  <c:v>1.5426073258802326E-3</c:v>
                </c:pt>
                <c:pt idx="6980">
                  <c:v>1.5236894851655375E-3</c:v>
                </c:pt>
                <c:pt idx="6981">
                  <c:v>1.4997600590526848E-3</c:v>
                </c:pt>
                <c:pt idx="6982">
                  <c:v>1.4803243127760352E-3</c:v>
                </c:pt>
                <c:pt idx="6983">
                  <c:v>1.447783537950527E-3</c:v>
                </c:pt>
                <c:pt idx="6984">
                  <c:v>1.4033416870655787E-3</c:v>
                </c:pt>
                <c:pt idx="6985">
                  <c:v>1.3318219041795777E-3</c:v>
                </c:pt>
                <c:pt idx="6986">
                  <c:v>1.226996109277547E-3</c:v>
                </c:pt>
                <c:pt idx="6987">
                  <c:v>1.0479881865643578E-3</c:v>
                </c:pt>
                <c:pt idx="6988">
                  <c:v>8.9782456382202919E-4</c:v>
                </c:pt>
                <c:pt idx="6989">
                  <c:v>6.1318281696917101E-4</c:v>
                </c:pt>
                <c:pt idx="6990">
                  <c:v>4.7459570868348502E-4</c:v>
                </c:pt>
                <c:pt idx="6991">
                  <c:v>3.1783756644468159E-4</c:v>
                </c:pt>
                <c:pt idx="6992">
                  <c:v>2.5224214914118553E-4</c:v>
                </c:pt>
                <c:pt idx="6993">
                  <c:v>2.2753482315680774E-4</c:v>
                </c:pt>
                <c:pt idx="6994">
                  <c:v>2.1998441155739342E-4</c:v>
                </c:pt>
                <c:pt idx="6995">
                  <c:v>2.0869206172094242E-4</c:v>
                </c:pt>
                <c:pt idx="6996">
                  <c:v>1.4737095269420612E-4</c:v>
                </c:pt>
              </c:numCache>
            </c:numRef>
          </c:val>
          <c:smooth val="0"/>
          <c:extLst>
            <c:ext xmlns:c16="http://schemas.microsoft.com/office/drawing/2014/chart" uri="{C3380CC4-5D6E-409C-BE32-E72D297353CC}">
              <c16:uniqueId val="{00000002-34E5-0744-AA2C-554353F9D891}"/>
            </c:ext>
          </c:extLst>
        </c:ser>
        <c:ser>
          <c:idx val="3"/>
          <c:order val="3"/>
          <c:tx>
            <c:strRef>
              <c:f>'Rolling Stdev Data'!$D$1:$D$2</c:f>
              <c:strCache>
                <c:ptCount val="2"/>
                <c:pt idx="0">
                  <c:v>Newton Meters</c:v>
                </c:pt>
                <c:pt idx="1">
                  <c:v>SURJEK_PUMP_TORQUE</c:v>
                </c:pt>
              </c:strCache>
            </c:strRef>
          </c:tx>
          <c:spPr>
            <a:ln w="28575" cap="rnd">
              <a:solidFill>
                <a:schemeClr val="accent4"/>
              </a:solidFill>
              <a:round/>
            </a:ln>
            <a:effectLst/>
          </c:spPr>
          <c:marker>
            <c:symbol val="none"/>
          </c:marker>
          <c:val>
            <c:numRef>
              <c:f>'Rolling Stdev Data'!$D$3:$D$7000</c:f>
              <c:numCache>
                <c:formatCode>General</c:formatCode>
                <c:ptCount val="699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44476623549999084</c:v>
                </c:pt>
                <c:pt idx="385">
                  <c:v>0.61804164342097612</c:v>
                </c:pt>
                <c:pt idx="386">
                  <c:v>0.7432821355818352</c:v>
                </c:pt>
                <c:pt idx="387">
                  <c:v>0.84220597271834718</c:v>
                </c:pt>
                <c:pt idx="388">
                  <c:v>0.92331615201996808</c:v>
                </c:pt>
                <c:pt idx="389">
                  <c:v>0.99096782575572595</c:v>
                </c:pt>
                <c:pt idx="390">
                  <c:v>1.0477818187586558</c:v>
                </c:pt>
                <c:pt idx="391">
                  <c:v>1.0954601584074433</c:v>
                </c:pt>
                <c:pt idx="392">
                  <c:v>1.1351483274561298</c:v>
                </c:pt>
                <c:pt idx="393">
                  <c:v>1.1676739996341408</c:v>
                </c:pt>
                <c:pt idx="394">
                  <c:v>1.1936210267694294</c:v>
                </c:pt>
                <c:pt idx="395">
                  <c:v>1.2134112949660176</c:v>
                </c:pt>
                <c:pt idx="396">
                  <c:v>1.2273392167853452</c:v>
                </c:pt>
                <c:pt idx="397">
                  <c:v>1.2356095098623237</c:v>
                </c:pt>
                <c:pt idx="398">
                  <c:v>1.2383303042147373</c:v>
                </c:pt>
                <c:pt idx="399">
                  <c:v>1.235540926466276</c:v>
                </c:pt>
                <c:pt idx="400">
                  <c:v>1.2272056720599118</c:v>
                </c:pt>
                <c:pt idx="401">
                  <c:v>1.2132134610349263</c:v>
                </c:pt>
                <c:pt idx="402">
                  <c:v>1.1933531551267735</c:v>
                </c:pt>
                <c:pt idx="403">
                  <c:v>1.167338001490922</c:v>
                </c:pt>
                <c:pt idx="404">
                  <c:v>1.1347473416758007</c:v>
                </c:pt>
                <c:pt idx="405">
                  <c:v>1.0949940600470234</c:v>
                </c:pt>
                <c:pt idx="406">
                  <c:v>1.0472645927645388</c:v>
                </c:pt>
                <c:pt idx="407">
                  <c:v>0.99040596748431875</c:v>
                </c:pt>
                <c:pt idx="408">
                  <c:v>0.92273144645153871</c:v>
                </c:pt>
                <c:pt idx="409">
                  <c:v>0.84163875596260596</c:v>
                </c:pt>
                <c:pt idx="410">
                  <c:v>0.74274552825611129</c:v>
                </c:pt>
                <c:pt idx="411">
                  <c:v>0.61756181233758334</c:v>
                </c:pt>
                <c:pt idx="412">
                  <c:v>0.44440129917922422</c:v>
                </c:pt>
                <c:pt idx="413">
                  <c:v>1.196484479102656E-3</c:v>
                </c:pt>
                <c:pt idx="414">
                  <c:v>1.1722702693739123E-3</c:v>
                </c:pt>
                <c:pt idx="415">
                  <c:v>1.1411467636743072E-3</c:v>
                </c:pt>
                <c:pt idx="416">
                  <c:v>1.1260919050318137E-3</c:v>
                </c:pt>
                <c:pt idx="417">
                  <c:v>1.100949830183134E-3</c:v>
                </c:pt>
                <c:pt idx="418">
                  <c:v>1.0609264868066876E-3</c:v>
                </c:pt>
                <c:pt idx="419">
                  <c:v>1.0386992596140225E-3</c:v>
                </c:pt>
                <c:pt idx="420">
                  <c:v>1.0259441025950438E-3</c:v>
                </c:pt>
                <c:pt idx="421">
                  <c:v>1.0078925739831644E-3</c:v>
                </c:pt>
                <c:pt idx="422">
                  <c:v>9.9331297686047044E-4</c:v>
                </c:pt>
                <c:pt idx="423">
                  <c:v>9.7602521512819287E-4</c:v>
                </c:pt>
                <c:pt idx="424">
                  <c:v>9.5227130277643682E-4</c:v>
                </c:pt>
                <c:pt idx="425">
                  <c:v>9.3374568970019088E-4</c:v>
                </c:pt>
                <c:pt idx="426">
                  <c:v>9.1711141653312859E-4</c:v>
                </c:pt>
                <c:pt idx="427">
                  <c:v>8.9743144314380081E-4</c:v>
                </c:pt>
                <c:pt idx="428">
                  <c:v>8.7738826991073146E-4</c:v>
                </c:pt>
                <c:pt idx="429">
                  <c:v>8.9104638015729783E-4</c:v>
                </c:pt>
                <c:pt idx="430">
                  <c:v>8.9670000415247692E-4</c:v>
                </c:pt>
                <c:pt idx="431">
                  <c:v>8.8917516655032331E-4</c:v>
                </c:pt>
                <c:pt idx="432">
                  <c:v>9.0686802420967129E-4</c:v>
                </c:pt>
                <c:pt idx="433">
                  <c:v>9.2102911806081988E-4</c:v>
                </c:pt>
                <c:pt idx="434">
                  <c:v>9.3527582179324224E-4</c:v>
                </c:pt>
                <c:pt idx="435">
                  <c:v>9.4316002525544397E-4</c:v>
                </c:pt>
                <c:pt idx="436">
                  <c:v>9.4609092587093094E-4</c:v>
                </c:pt>
                <c:pt idx="437">
                  <c:v>9.4708329769346692E-4</c:v>
                </c:pt>
                <c:pt idx="438">
                  <c:v>9.5030773432608611E-4</c:v>
                </c:pt>
                <c:pt idx="439">
                  <c:v>9.4944541304331379E-4</c:v>
                </c:pt>
                <c:pt idx="440">
                  <c:v>9.4887500291010115E-4</c:v>
                </c:pt>
                <c:pt idx="441">
                  <c:v>9.4439663441141914E-4</c:v>
                </c:pt>
                <c:pt idx="442">
                  <c:v>9.488544765942008E-4</c:v>
                </c:pt>
                <c:pt idx="443">
                  <c:v>9.4824863198503413E-4</c:v>
                </c:pt>
                <c:pt idx="444">
                  <c:v>9.4731196419130812E-4</c:v>
                </c:pt>
                <c:pt idx="445">
                  <c:v>9.3798225672272562E-4</c:v>
                </c:pt>
                <c:pt idx="446">
                  <c:v>9.8054435364946851E-4</c:v>
                </c:pt>
                <c:pt idx="447">
                  <c:v>1.0130018647909547E-3</c:v>
                </c:pt>
                <c:pt idx="448">
                  <c:v>1.0360580384871027E-3</c:v>
                </c:pt>
                <c:pt idx="449">
                  <c:v>1.0499364371418852E-3</c:v>
                </c:pt>
                <c:pt idx="450">
                  <c:v>1.080602725073944E-3</c:v>
                </c:pt>
                <c:pt idx="451">
                  <c:v>1.1041634406163928E-3</c:v>
                </c:pt>
                <c:pt idx="452">
                  <c:v>1.1278939337247796E-3</c:v>
                </c:pt>
                <c:pt idx="453">
                  <c:v>1.1536573429076502E-3</c:v>
                </c:pt>
                <c:pt idx="454">
                  <c:v>1.1659892024791928E-3</c:v>
                </c:pt>
                <c:pt idx="455">
                  <c:v>1.1795091179595853E-3</c:v>
                </c:pt>
                <c:pt idx="456">
                  <c:v>1.1860222192115997E-3</c:v>
                </c:pt>
                <c:pt idx="457">
                  <c:v>1.1906987156715758E-3</c:v>
                </c:pt>
                <c:pt idx="458">
                  <c:v>1.1847093457116882E-3</c:v>
                </c:pt>
                <c:pt idx="459">
                  <c:v>1.1975140923143784E-3</c:v>
                </c:pt>
                <c:pt idx="460">
                  <c:v>1.201571870747271E-3</c:v>
                </c:pt>
                <c:pt idx="461">
                  <c:v>1.1961902344638125E-3</c:v>
                </c:pt>
                <c:pt idx="462">
                  <c:v>1.1960096877191521E-3</c:v>
                </c:pt>
                <c:pt idx="463">
                  <c:v>1.1885178136973845E-3</c:v>
                </c:pt>
                <c:pt idx="464">
                  <c:v>1.1805303136665369E-3</c:v>
                </c:pt>
                <c:pt idx="465">
                  <c:v>1.2265530914736238E-3</c:v>
                </c:pt>
                <c:pt idx="466">
                  <c:v>1.2958635249023592E-3</c:v>
                </c:pt>
                <c:pt idx="467">
                  <c:v>1.3483032680466781E-3</c:v>
                </c:pt>
                <c:pt idx="468">
                  <c:v>1.3847402470611515E-3</c:v>
                </c:pt>
                <c:pt idx="469">
                  <c:v>1.4054250717199475E-3</c:v>
                </c:pt>
                <c:pt idx="470">
                  <c:v>1.4192332869135888E-3</c:v>
                </c:pt>
                <c:pt idx="471">
                  <c:v>1.4167516324033063E-3</c:v>
                </c:pt>
                <c:pt idx="472">
                  <c:v>1.4184971115626455E-3</c:v>
                </c:pt>
                <c:pt idx="473">
                  <c:v>1.4177272199783616E-3</c:v>
                </c:pt>
                <c:pt idx="474">
                  <c:v>1.4148749455581398E-3</c:v>
                </c:pt>
                <c:pt idx="475">
                  <c:v>1.4028287527378979E-3</c:v>
                </c:pt>
                <c:pt idx="476">
                  <c:v>1.4209092198101919E-3</c:v>
                </c:pt>
                <c:pt idx="477">
                  <c:v>1.4305703238001934E-3</c:v>
                </c:pt>
                <c:pt idx="478">
                  <c:v>1.4280147453837192E-3</c:v>
                </c:pt>
                <c:pt idx="479">
                  <c:v>1.413120671627396E-3</c:v>
                </c:pt>
                <c:pt idx="480">
                  <c:v>1.4091254708019671E-3</c:v>
                </c:pt>
                <c:pt idx="481">
                  <c:v>1.4094752944164093E-3</c:v>
                </c:pt>
                <c:pt idx="482">
                  <c:v>1.4106623810785082E-3</c:v>
                </c:pt>
                <c:pt idx="483">
                  <c:v>1.4117257266509163E-3</c:v>
                </c:pt>
                <c:pt idx="484">
                  <c:v>1.4048467657848233E-3</c:v>
                </c:pt>
                <c:pt idx="485">
                  <c:v>1.4028503779653057E-3</c:v>
                </c:pt>
                <c:pt idx="486">
                  <c:v>1.4367268057115729E-3</c:v>
                </c:pt>
                <c:pt idx="487">
                  <c:v>1.455863588679999E-3</c:v>
                </c:pt>
                <c:pt idx="488">
                  <c:v>1.4595343819424867E-3</c:v>
                </c:pt>
                <c:pt idx="489">
                  <c:v>1.4488120625913842E-3</c:v>
                </c:pt>
                <c:pt idx="490">
                  <c:v>1.4229032845169802E-3</c:v>
                </c:pt>
                <c:pt idx="491">
                  <c:v>1.3788276929031927E-3</c:v>
                </c:pt>
                <c:pt idx="492">
                  <c:v>1.3438506797218139E-3</c:v>
                </c:pt>
                <c:pt idx="493">
                  <c:v>1.2925507174652009E-3</c:v>
                </c:pt>
                <c:pt idx="494">
                  <c:v>1.2233213577245699E-3</c:v>
                </c:pt>
                <c:pt idx="495">
                  <c:v>1.2167412682044171E-3</c:v>
                </c:pt>
                <c:pt idx="496">
                  <c:v>1.2266805995499739E-3</c:v>
                </c:pt>
                <c:pt idx="497">
                  <c:v>1.227073927348724E-3</c:v>
                </c:pt>
                <c:pt idx="498">
                  <c:v>1.2220101514734247E-3</c:v>
                </c:pt>
                <c:pt idx="499">
                  <c:v>1.2066351152478002E-3</c:v>
                </c:pt>
                <c:pt idx="500">
                  <c:v>1.198787943967332E-3</c:v>
                </c:pt>
                <c:pt idx="501">
                  <c:v>1.1829334998918078E-3</c:v>
                </c:pt>
                <c:pt idx="502">
                  <c:v>1.1691302676117234E-3</c:v>
                </c:pt>
                <c:pt idx="503">
                  <c:v>1.1641579444452771E-3</c:v>
                </c:pt>
                <c:pt idx="504">
                  <c:v>1.1873982613873715E-3</c:v>
                </c:pt>
                <c:pt idx="505">
                  <c:v>1.2068471084445956E-3</c:v>
                </c:pt>
                <c:pt idx="506">
                  <c:v>1.2669107453246837E-3</c:v>
                </c:pt>
                <c:pt idx="507">
                  <c:v>1.3163193221693362E-3</c:v>
                </c:pt>
                <c:pt idx="508">
                  <c:v>1.3482026769763764E-3</c:v>
                </c:pt>
                <c:pt idx="509">
                  <c:v>1.3725069697450582E-3</c:v>
                </c:pt>
                <c:pt idx="510">
                  <c:v>1.3845039700883734E-3</c:v>
                </c:pt>
                <c:pt idx="511">
                  <c:v>1.3914536611003834E-3</c:v>
                </c:pt>
                <c:pt idx="512">
                  <c:v>1.4341332685887582E-3</c:v>
                </c:pt>
                <c:pt idx="513">
                  <c:v>1.5103093042774468E-3</c:v>
                </c:pt>
                <c:pt idx="514">
                  <c:v>1.5674055066625897E-3</c:v>
                </c:pt>
                <c:pt idx="515">
                  <c:v>1.6257021688688073E-3</c:v>
                </c:pt>
                <c:pt idx="516">
                  <c:v>1.7157472508597844E-3</c:v>
                </c:pt>
                <c:pt idx="517">
                  <c:v>1.7885390745577298E-3</c:v>
                </c:pt>
                <c:pt idx="518">
                  <c:v>1.8416190887542358E-3</c:v>
                </c:pt>
                <c:pt idx="519">
                  <c:v>1.8792930481782567E-3</c:v>
                </c:pt>
                <c:pt idx="520">
                  <c:v>1.9023015865040943E-3</c:v>
                </c:pt>
                <c:pt idx="521">
                  <c:v>1.9129258052900317E-3</c:v>
                </c:pt>
                <c:pt idx="522">
                  <c:v>1.9257771160060557E-3</c:v>
                </c:pt>
                <c:pt idx="523">
                  <c:v>1.9348041636110631E-3</c:v>
                </c:pt>
                <c:pt idx="524">
                  <c:v>1.9298571460699175E-3</c:v>
                </c:pt>
                <c:pt idx="525">
                  <c:v>1.9155892607717385E-3</c:v>
                </c:pt>
                <c:pt idx="526">
                  <c:v>1.8936810568519946E-3</c:v>
                </c:pt>
                <c:pt idx="527">
                  <c:v>1.8544555649302229E-3</c:v>
                </c:pt>
                <c:pt idx="528">
                  <c:v>1.8038315489254898E-3</c:v>
                </c:pt>
                <c:pt idx="529">
                  <c:v>1.7409023266692955E-3</c:v>
                </c:pt>
                <c:pt idx="530">
                  <c:v>1.6715895763806247E-3</c:v>
                </c:pt>
                <c:pt idx="531">
                  <c:v>1.5853817171766938E-3</c:v>
                </c:pt>
                <c:pt idx="532">
                  <c:v>1.4939542689128397E-3</c:v>
                </c:pt>
                <c:pt idx="533">
                  <c:v>1.3916324419174521E-3</c:v>
                </c:pt>
                <c:pt idx="534">
                  <c:v>1.3145401022090363E-3</c:v>
                </c:pt>
                <c:pt idx="535">
                  <c:v>1.2296764389725652E-3</c:v>
                </c:pt>
                <c:pt idx="536">
                  <c:v>1.1773876307045311E-3</c:v>
                </c:pt>
                <c:pt idx="537">
                  <c:v>1.1265574871172463E-3</c:v>
                </c:pt>
                <c:pt idx="538">
                  <c:v>1.0621731113495943E-3</c:v>
                </c:pt>
                <c:pt idx="539">
                  <c:v>9.8874504747904182E-4</c:v>
                </c:pt>
                <c:pt idx="540">
                  <c:v>9.734732695623093E-4</c:v>
                </c:pt>
                <c:pt idx="541">
                  <c:v>9.412147296101941E-4</c:v>
                </c:pt>
                <c:pt idx="542">
                  <c:v>9.5412281514728914E-4</c:v>
                </c:pt>
                <c:pt idx="543">
                  <c:v>1.0127619806474973E-3</c:v>
                </c:pt>
                <c:pt idx="544">
                  <c:v>1.0585744633465407E-3</c:v>
                </c:pt>
                <c:pt idx="545">
                  <c:v>1.0988961320300436E-3</c:v>
                </c:pt>
                <c:pt idx="546">
                  <c:v>1.1436350833134976E-3</c:v>
                </c:pt>
                <c:pt idx="547">
                  <c:v>1.1794586635359898E-3</c:v>
                </c:pt>
                <c:pt idx="548">
                  <c:v>1.2089811444680393E-3</c:v>
                </c:pt>
                <c:pt idx="549">
                  <c:v>1.2530512906367855E-3</c:v>
                </c:pt>
                <c:pt idx="550">
                  <c:v>1.2917597043481418E-3</c:v>
                </c:pt>
                <c:pt idx="551">
                  <c:v>1.3180419169154225E-3</c:v>
                </c:pt>
                <c:pt idx="552">
                  <c:v>1.3544796251967221E-3</c:v>
                </c:pt>
                <c:pt idx="553">
                  <c:v>1.3876664519588333E-3</c:v>
                </c:pt>
                <c:pt idx="554">
                  <c:v>1.4096602160552649E-3</c:v>
                </c:pt>
                <c:pt idx="555">
                  <c:v>1.4227241029466727E-3</c:v>
                </c:pt>
                <c:pt idx="556">
                  <c:v>1.4392079994352391E-3</c:v>
                </c:pt>
                <c:pt idx="557">
                  <c:v>1.4434904631558932E-3</c:v>
                </c:pt>
                <c:pt idx="558">
                  <c:v>1.4391447854295377E-3</c:v>
                </c:pt>
                <c:pt idx="559">
                  <c:v>1.4301716660878106E-3</c:v>
                </c:pt>
                <c:pt idx="560">
                  <c:v>1.4109395780514899E-3</c:v>
                </c:pt>
                <c:pt idx="561">
                  <c:v>1.3815550420001295E-3</c:v>
                </c:pt>
                <c:pt idx="562">
                  <c:v>1.343656778820593E-3</c:v>
                </c:pt>
                <c:pt idx="563">
                  <c:v>1.3087266353009343E-3</c:v>
                </c:pt>
                <c:pt idx="564">
                  <c:v>1.2739111818517524E-3</c:v>
                </c:pt>
                <c:pt idx="565">
                  <c:v>1.2337939862119853E-3</c:v>
                </c:pt>
                <c:pt idx="566">
                  <c:v>1.2146189111554467E-3</c:v>
                </c:pt>
                <c:pt idx="567">
                  <c:v>1.2117492721033945E-3</c:v>
                </c:pt>
                <c:pt idx="568">
                  <c:v>1.1916599966181034E-3</c:v>
                </c:pt>
                <c:pt idx="569">
                  <c:v>1.1764128405296788E-3</c:v>
                </c:pt>
                <c:pt idx="570">
                  <c:v>1.248915830337859E-3</c:v>
                </c:pt>
                <c:pt idx="571">
                  <c:v>1.3072609555026678E-3</c:v>
                </c:pt>
                <c:pt idx="572">
                  <c:v>1.3473534140159753E-3</c:v>
                </c:pt>
                <c:pt idx="573">
                  <c:v>1.3919175216914428E-3</c:v>
                </c:pt>
                <c:pt idx="574">
                  <c:v>1.4199218395148866E-3</c:v>
                </c:pt>
                <c:pt idx="575">
                  <c:v>1.4371145327564752E-3</c:v>
                </c:pt>
                <c:pt idx="576">
                  <c:v>1.4517927023954063E-3</c:v>
                </c:pt>
                <c:pt idx="577">
                  <c:v>1.4520612862061455E-3</c:v>
                </c:pt>
                <c:pt idx="578">
                  <c:v>1.4553395955695875E-3</c:v>
                </c:pt>
                <c:pt idx="579">
                  <c:v>1.4704273606500038E-3</c:v>
                </c:pt>
                <c:pt idx="580">
                  <c:v>1.4793549047850383E-3</c:v>
                </c:pt>
                <c:pt idx="581">
                  <c:v>1.4872617331196684E-3</c:v>
                </c:pt>
                <c:pt idx="582">
                  <c:v>1.591250567524569E-3</c:v>
                </c:pt>
                <c:pt idx="583">
                  <c:v>1.7028128814797507E-3</c:v>
                </c:pt>
                <c:pt idx="584">
                  <c:v>1.7880199682591509E-3</c:v>
                </c:pt>
                <c:pt idx="585">
                  <c:v>1.9049191977455898E-3</c:v>
                </c:pt>
                <c:pt idx="586">
                  <c:v>1.997191691708468E-3</c:v>
                </c:pt>
                <c:pt idx="587">
                  <c:v>2.0936167919497609E-3</c:v>
                </c:pt>
                <c:pt idx="588">
                  <c:v>2.1655089899827564E-3</c:v>
                </c:pt>
                <c:pt idx="589">
                  <c:v>2.2107542976160083E-3</c:v>
                </c:pt>
                <c:pt idx="590">
                  <c:v>2.2326300672152418E-3</c:v>
                </c:pt>
                <c:pt idx="591">
                  <c:v>2.2334297410438742E-3</c:v>
                </c:pt>
                <c:pt idx="592">
                  <c:v>2.2147866127835035E-3</c:v>
                </c:pt>
                <c:pt idx="593">
                  <c:v>2.2285116177486785E-3</c:v>
                </c:pt>
                <c:pt idx="594">
                  <c:v>2.2333746739308553E-3</c:v>
                </c:pt>
                <c:pt idx="595">
                  <c:v>2.213357094298945E-3</c:v>
                </c:pt>
                <c:pt idx="596">
                  <c:v>2.2123133711359879E-3</c:v>
                </c:pt>
                <c:pt idx="597">
                  <c:v>2.2118779531354097E-3</c:v>
                </c:pt>
                <c:pt idx="598">
                  <c:v>2.1923479774261846E-3</c:v>
                </c:pt>
                <c:pt idx="599">
                  <c:v>2.1753783414685765E-3</c:v>
                </c:pt>
                <c:pt idx="600">
                  <c:v>2.1634404821931387E-3</c:v>
                </c:pt>
                <c:pt idx="601">
                  <c:v>2.1362402998136346E-3</c:v>
                </c:pt>
                <c:pt idx="602">
                  <c:v>2.0938484981777835E-3</c:v>
                </c:pt>
                <c:pt idx="603">
                  <c:v>2.0430483662039218E-3</c:v>
                </c:pt>
                <c:pt idx="604">
                  <c:v>1.9829973425650018E-3</c:v>
                </c:pt>
                <c:pt idx="605">
                  <c:v>1.9061571668447096E-3</c:v>
                </c:pt>
                <c:pt idx="606">
                  <c:v>1.8178891309695647E-3</c:v>
                </c:pt>
                <c:pt idx="607">
                  <c:v>1.7074180704468476E-3</c:v>
                </c:pt>
                <c:pt idx="608">
                  <c:v>1.5895002189281167E-3</c:v>
                </c:pt>
                <c:pt idx="609">
                  <c:v>1.4476788620383827E-3</c:v>
                </c:pt>
                <c:pt idx="610">
                  <c:v>1.2693855927071623E-3</c:v>
                </c:pt>
                <c:pt idx="611">
                  <c:v>1.0658434206191876E-3</c:v>
                </c:pt>
                <c:pt idx="612">
                  <c:v>9.8013979766531064E-4</c:v>
                </c:pt>
                <c:pt idx="613">
                  <c:v>9.1546629726912184E-4</c:v>
                </c:pt>
                <c:pt idx="614">
                  <c:v>8.3105965001252166E-4</c:v>
                </c:pt>
                <c:pt idx="615">
                  <c:v>7.9717006634809904E-4</c:v>
                </c:pt>
                <c:pt idx="616">
                  <c:v>7.5169672165245952E-4</c:v>
                </c:pt>
                <c:pt idx="617">
                  <c:v>7.6622714737338527E-4</c:v>
                </c:pt>
                <c:pt idx="618">
                  <c:v>7.8223466915021737E-4</c:v>
                </c:pt>
                <c:pt idx="619">
                  <c:v>7.8675234375921743E-4</c:v>
                </c:pt>
                <c:pt idx="620">
                  <c:v>7.8575935946749952E-4</c:v>
                </c:pt>
                <c:pt idx="621">
                  <c:v>7.8267366208811806E-4</c:v>
                </c:pt>
                <c:pt idx="622">
                  <c:v>8.8139978085194218E-4</c:v>
                </c:pt>
                <c:pt idx="623">
                  <c:v>1.0082052443017033E-3</c:v>
                </c:pt>
                <c:pt idx="624">
                  <c:v>1.1070241675779459E-3</c:v>
                </c:pt>
                <c:pt idx="625">
                  <c:v>1.195399277862632E-3</c:v>
                </c:pt>
                <c:pt idx="626">
                  <c:v>1.2707101368665871E-3</c:v>
                </c:pt>
                <c:pt idx="627">
                  <c:v>1.3351940494427629E-3</c:v>
                </c:pt>
                <c:pt idx="628">
                  <c:v>1.4557839498719604E-3</c:v>
                </c:pt>
                <c:pt idx="629">
                  <c:v>1.5684963629667779E-3</c:v>
                </c:pt>
                <c:pt idx="630">
                  <c:v>1.6675737285542977E-3</c:v>
                </c:pt>
                <c:pt idx="631">
                  <c:v>1.7442644280503887E-3</c:v>
                </c:pt>
                <c:pt idx="632">
                  <c:v>1.8136328914536313E-3</c:v>
                </c:pt>
                <c:pt idx="633">
                  <c:v>1.8651192164359533E-3</c:v>
                </c:pt>
                <c:pt idx="634">
                  <c:v>1.9208517634219215E-3</c:v>
                </c:pt>
                <c:pt idx="635">
                  <c:v>1.9644527005919141E-3</c:v>
                </c:pt>
                <c:pt idx="636">
                  <c:v>1.9950925447805856E-3</c:v>
                </c:pt>
                <c:pt idx="637">
                  <c:v>2.0176780543452971E-3</c:v>
                </c:pt>
                <c:pt idx="638">
                  <c:v>2.0279922296654734E-3</c:v>
                </c:pt>
                <c:pt idx="639">
                  <c:v>2.0244290313593707E-3</c:v>
                </c:pt>
                <c:pt idx="640">
                  <c:v>2.009249307895573E-3</c:v>
                </c:pt>
                <c:pt idx="641">
                  <c:v>1.995309291008942E-3</c:v>
                </c:pt>
                <c:pt idx="642">
                  <c:v>1.9712363370374768E-3</c:v>
                </c:pt>
                <c:pt idx="643">
                  <c:v>1.9354005054383352E-3</c:v>
                </c:pt>
                <c:pt idx="644">
                  <c:v>1.9171467675677025E-3</c:v>
                </c:pt>
                <c:pt idx="645">
                  <c:v>1.8745504544981631E-3</c:v>
                </c:pt>
                <c:pt idx="646">
                  <c:v>1.8059328171629886E-3</c:v>
                </c:pt>
                <c:pt idx="647">
                  <c:v>1.7628833871352529E-3</c:v>
                </c:pt>
                <c:pt idx="648">
                  <c:v>1.7085500363530908E-3</c:v>
                </c:pt>
                <c:pt idx="649">
                  <c:v>1.6326595129032956E-3</c:v>
                </c:pt>
                <c:pt idx="650">
                  <c:v>1.5386743757255987E-3</c:v>
                </c:pt>
                <c:pt idx="651">
                  <c:v>1.4382789797898761E-3</c:v>
                </c:pt>
                <c:pt idx="652">
                  <c:v>1.4136084409237023E-3</c:v>
                </c:pt>
                <c:pt idx="653">
                  <c:v>1.3849435339336228E-3</c:v>
                </c:pt>
                <c:pt idx="654">
                  <c:v>1.3402596157462705E-3</c:v>
                </c:pt>
                <c:pt idx="655">
                  <c:v>1.2885356333460431E-3</c:v>
                </c:pt>
                <c:pt idx="656">
                  <c:v>1.2266566736074797E-3</c:v>
                </c:pt>
                <c:pt idx="657">
                  <c:v>1.152877604583826E-3</c:v>
                </c:pt>
                <c:pt idx="658">
                  <c:v>1.1427061838787194E-3</c:v>
                </c:pt>
                <c:pt idx="659">
                  <c:v>1.1359967937013902E-3</c:v>
                </c:pt>
                <c:pt idx="660">
                  <c:v>1.1267961361528208E-3</c:v>
                </c:pt>
                <c:pt idx="661">
                  <c:v>1.1163964299127406E-3</c:v>
                </c:pt>
                <c:pt idx="662">
                  <c:v>1.1057463705300035E-3</c:v>
                </c:pt>
                <c:pt idx="663">
                  <c:v>1.0863189510720917E-3</c:v>
                </c:pt>
                <c:pt idx="664">
                  <c:v>1.068669844455092E-3</c:v>
                </c:pt>
                <c:pt idx="665">
                  <c:v>1.0474522088154295E-3</c:v>
                </c:pt>
                <c:pt idx="666">
                  <c:v>1.0178149018278922E-3</c:v>
                </c:pt>
                <c:pt idx="667">
                  <c:v>9.8448060181806482E-4</c:v>
                </c:pt>
                <c:pt idx="668">
                  <c:v>9.4542032496639048E-4</c:v>
                </c:pt>
                <c:pt idx="669">
                  <c:v>8.9924915102527374E-4</c:v>
                </c:pt>
                <c:pt idx="670">
                  <c:v>8.4105406983137347E-4</c:v>
                </c:pt>
                <c:pt idx="671">
                  <c:v>7.944261012131765E-4</c:v>
                </c:pt>
                <c:pt idx="672">
                  <c:v>7.4103967764518853E-4</c:v>
                </c:pt>
                <c:pt idx="673">
                  <c:v>6.7789991389780415E-4</c:v>
                </c:pt>
                <c:pt idx="674">
                  <c:v>6.6365510291929643E-4</c:v>
                </c:pt>
                <c:pt idx="675">
                  <c:v>6.4539780308493484E-4</c:v>
                </c:pt>
                <c:pt idx="676">
                  <c:v>6.2249293987386243E-4</c:v>
                </c:pt>
                <c:pt idx="677">
                  <c:v>6.0167520499908506E-4</c:v>
                </c:pt>
                <c:pt idx="678">
                  <c:v>5.7856078593895009E-4</c:v>
                </c:pt>
                <c:pt idx="679">
                  <c:v>5.5165853992526586E-4</c:v>
                </c:pt>
                <c:pt idx="680">
                  <c:v>5.1998835407253462E-4</c:v>
                </c:pt>
                <c:pt idx="681">
                  <c:v>5.0980619595841206E-4</c:v>
                </c:pt>
                <c:pt idx="682">
                  <c:v>5.0427093367197201E-4</c:v>
                </c:pt>
                <c:pt idx="683">
                  <c:v>4.9412180243018993E-4</c:v>
                </c:pt>
                <c:pt idx="684">
                  <c:v>4.8262861343956588E-4</c:v>
                </c:pt>
                <c:pt idx="685">
                  <c:v>4.6733597963263612E-4</c:v>
                </c:pt>
                <c:pt idx="686">
                  <c:v>4.6030589915144779E-4</c:v>
                </c:pt>
                <c:pt idx="687">
                  <c:v>4.8539663369978294E-4</c:v>
                </c:pt>
                <c:pt idx="688">
                  <c:v>5.166843813112314E-4</c:v>
                </c:pt>
                <c:pt idx="689">
                  <c:v>5.4477512704279604E-4</c:v>
                </c:pt>
                <c:pt idx="690">
                  <c:v>6.0477543485988378E-4</c:v>
                </c:pt>
                <c:pt idx="691">
                  <c:v>6.5942134426495692E-4</c:v>
                </c:pt>
                <c:pt idx="692">
                  <c:v>7.0334649353727863E-4</c:v>
                </c:pt>
                <c:pt idx="693">
                  <c:v>7.5295438890769372E-4</c:v>
                </c:pt>
                <c:pt idx="694">
                  <c:v>7.9233091397840137E-4</c:v>
                </c:pt>
                <c:pt idx="695">
                  <c:v>8.2471874193109198E-4</c:v>
                </c:pt>
                <c:pt idx="696">
                  <c:v>8.5725210147000067E-4</c:v>
                </c:pt>
                <c:pt idx="697">
                  <c:v>8.8238000872341955E-4</c:v>
                </c:pt>
                <c:pt idx="698">
                  <c:v>9.0466216775147545E-4</c:v>
                </c:pt>
                <c:pt idx="699">
                  <c:v>9.3975214625754814E-4</c:v>
                </c:pt>
                <c:pt idx="700">
                  <c:v>9.7017405608977993E-4</c:v>
                </c:pt>
                <c:pt idx="701">
                  <c:v>9.9359995894455306E-4</c:v>
                </c:pt>
                <c:pt idx="702">
                  <c:v>1.0093444182279346E-3</c:v>
                </c:pt>
                <c:pt idx="703">
                  <c:v>1.0167174346490883E-3</c:v>
                </c:pt>
                <c:pt idx="704">
                  <c:v>1.0198100004723811E-3</c:v>
                </c:pt>
                <c:pt idx="705">
                  <c:v>1.0186787237678773E-3</c:v>
                </c:pt>
                <c:pt idx="706">
                  <c:v>1.0120039378456306E-3</c:v>
                </c:pt>
                <c:pt idx="707">
                  <c:v>9.9742719513448925E-4</c:v>
                </c:pt>
                <c:pt idx="708">
                  <c:v>9.7883072244350647E-4</c:v>
                </c:pt>
                <c:pt idx="709">
                  <c:v>9.7349885250325489E-4</c:v>
                </c:pt>
                <c:pt idx="710">
                  <c:v>9.6718836384437738E-4</c:v>
                </c:pt>
                <c:pt idx="711">
                  <c:v>9.5977722205458445E-4</c:v>
                </c:pt>
                <c:pt idx="712">
                  <c:v>9.4751113990800386E-4</c:v>
                </c:pt>
                <c:pt idx="713">
                  <c:v>9.2800196106546638E-4</c:v>
                </c:pt>
                <c:pt idx="714">
                  <c:v>9.0471429334566312E-4</c:v>
                </c:pt>
                <c:pt idx="715">
                  <c:v>8.8320456530129033E-4</c:v>
                </c:pt>
                <c:pt idx="716">
                  <c:v>8.5657223017345169E-4</c:v>
                </c:pt>
                <c:pt idx="717">
                  <c:v>8.4390494582149331E-4</c:v>
                </c:pt>
                <c:pt idx="718">
                  <c:v>8.2708856631940632E-4</c:v>
                </c:pt>
                <c:pt idx="719">
                  <c:v>8.0323346500916354E-4</c:v>
                </c:pt>
                <c:pt idx="720">
                  <c:v>8.055946984649665E-4</c:v>
                </c:pt>
                <c:pt idx="721">
                  <c:v>8.0026417566133158E-4</c:v>
                </c:pt>
                <c:pt idx="722">
                  <c:v>7.8720041557080623E-4</c:v>
                </c:pt>
                <c:pt idx="723">
                  <c:v>8.0549330170880747E-4</c:v>
                </c:pt>
                <c:pt idx="724">
                  <c:v>8.1634539775500027E-4</c:v>
                </c:pt>
                <c:pt idx="725">
                  <c:v>8.1807686898614567E-4</c:v>
                </c:pt>
                <c:pt idx="726">
                  <c:v>8.2390573448656293E-4</c:v>
                </c:pt>
                <c:pt idx="727">
                  <c:v>8.2417459900179792E-4</c:v>
                </c:pt>
                <c:pt idx="728">
                  <c:v>8.1906391659065903E-4</c:v>
                </c:pt>
                <c:pt idx="729">
                  <c:v>8.2428292922583698E-4</c:v>
                </c:pt>
                <c:pt idx="730">
                  <c:v>8.2663873848864576E-4</c:v>
                </c:pt>
                <c:pt idx="731">
                  <c:v>8.2506754699419947E-4</c:v>
                </c:pt>
                <c:pt idx="732">
                  <c:v>8.1812778982033336E-4</c:v>
                </c:pt>
                <c:pt idx="733">
                  <c:v>8.0417953768864017E-4</c:v>
                </c:pt>
                <c:pt idx="734">
                  <c:v>8.1528950938828781E-4</c:v>
                </c:pt>
                <c:pt idx="735">
                  <c:v>8.1945371092191827E-4</c:v>
                </c:pt>
                <c:pt idx="736">
                  <c:v>8.1853967921133742E-4</c:v>
                </c:pt>
                <c:pt idx="737">
                  <c:v>8.0778723640556279E-4</c:v>
                </c:pt>
                <c:pt idx="738">
                  <c:v>7.91925489083075E-4</c:v>
                </c:pt>
                <c:pt idx="739">
                  <c:v>8.0805416229256144E-4</c:v>
                </c:pt>
                <c:pt idx="740">
                  <c:v>8.2469335446446574E-4</c:v>
                </c:pt>
                <c:pt idx="741">
                  <c:v>8.5160855734988511E-4</c:v>
                </c:pt>
                <c:pt idx="742">
                  <c:v>8.9606037923620457E-4</c:v>
                </c:pt>
                <c:pt idx="743">
                  <c:v>9.3015035478353038E-4</c:v>
                </c:pt>
                <c:pt idx="744">
                  <c:v>9.682985672649977E-4</c:v>
                </c:pt>
                <c:pt idx="745">
                  <c:v>1.0110508323566329E-3</c:v>
                </c:pt>
                <c:pt idx="746">
                  <c:v>1.043393911402636E-3</c:v>
                </c:pt>
                <c:pt idx="747">
                  <c:v>1.0652280885412838E-3</c:v>
                </c:pt>
                <c:pt idx="748">
                  <c:v>1.0782640329403167E-3</c:v>
                </c:pt>
                <c:pt idx="749">
                  <c:v>1.1089312668111616E-3</c:v>
                </c:pt>
                <c:pt idx="750">
                  <c:v>1.1479289317650227E-3</c:v>
                </c:pt>
                <c:pt idx="751">
                  <c:v>1.1744437818153799E-3</c:v>
                </c:pt>
                <c:pt idx="752">
                  <c:v>1.1881069246237744E-3</c:v>
                </c:pt>
                <c:pt idx="753">
                  <c:v>1.2187861581074936E-3</c:v>
                </c:pt>
                <c:pt idx="754">
                  <c:v>1.2405290221635485E-3</c:v>
                </c:pt>
                <c:pt idx="755">
                  <c:v>1.2542482792540274E-3</c:v>
                </c:pt>
                <c:pt idx="756">
                  <c:v>1.2741799411012246E-3</c:v>
                </c:pt>
                <c:pt idx="757">
                  <c:v>1.2899824645810352E-3</c:v>
                </c:pt>
                <c:pt idx="758">
                  <c:v>1.3064814957260752E-3</c:v>
                </c:pt>
                <c:pt idx="759">
                  <c:v>1.3161837835580137E-3</c:v>
                </c:pt>
                <c:pt idx="760">
                  <c:v>1.3131435635001542E-3</c:v>
                </c:pt>
                <c:pt idx="761">
                  <c:v>1.3041889339589251E-3</c:v>
                </c:pt>
                <c:pt idx="762">
                  <c:v>1.2807045893357004E-3</c:v>
                </c:pt>
                <c:pt idx="763">
                  <c:v>1.2418514494576007E-3</c:v>
                </c:pt>
                <c:pt idx="764">
                  <c:v>1.229237970273016E-3</c:v>
                </c:pt>
                <c:pt idx="765">
                  <c:v>1.2102801705991223E-3</c:v>
                </c:pt>
                <c:pt idx="766">
                  <c:v>1.1958993497145482E-3</c:v>
                </c:pt>
                <c:pt idx="767">
                  <c:v>1.1818788659753892E-3</c:v>
                </c:pt>
                <c:pt idx="768">
                  <c:v>1.1614337525962257E-3</c:v>
                </c:pt>
                <c:pt idx="769">
                  <c:v>1.1448093473428848E-3</c:v>
                </c:pt>
                <c:pt idx="770">
                  <c:v>1.1130801331128899E-3</c:v>
                </c:pt>
                <c:pt idx="771">
                  <c:v>1.0885418486928525E-3</c:v>
                </c:pt>
                <c:pt idx="772">
                  <c:v>1.0828598442052027E-3</c:v>
                </c:pt>
                <c:pt idx="773">
                  <c:v>1.0706217219822907E-3</c:v>
                </c:pt>
                <c:pt idx="774">
                  <c:v>1.0632075202490481E-3</c:v>
                </c:pt>
                <c:pt idx="775">
                  <c:v>1.0526985495411304E-3</c:v>
                </c:pt>
                <c:pt idx="776">
                  <c:v>1.034597999603622E-3</c:v>
                </c:pt>
                <c:pt idx="777">
                  <c:v>1.0042024804687584E-3</c:v>
                </c:pt>
                <c:pt idx="778">
                  <c:v>9.7109830728821201E-4</c:v>
                </c:pt>
                <c:pt idx="779">
                  <c:v>9.7103191378930726E-4</c:v>
                </c:pt>
                <c:pt idx="780">
                  <c:v>9.7581348920908542E-4</c:v>
                </c:pt>
                <c:pt idx="781">
                  <c:v>9.7915541725174119E-4</c:v>
                </c:pt>
                <c:pt idx="782">
                  <c:v>9.7343820394741004E-4</c:v>
                </c:pt>
                <c:pt idx="783">
                  <c:v>9.6471820615097947E-4</c:v>
                </c:pt>
                <c:pt idx="784">
                  <c:v>9.4996545849589369E-4</c:v>
                </c:pt>
                <c:pt idx="785">
                  <c:v>9.2971836739324262E-4</c:v>
                </c:pt>
                <c:pt idx="786">
                  <c:v>9.2435776551334325E-4</c:v>
                </c:pt>
                <c:pt idx="787">
                  <c:v>9.134919362475375E-4</c:v>
                </c:pt>
                <c:pt idx="788">
                  <c:v>9.274427771029239E-4</c:v>
                </c:pt>
                <c:pt idx="789">
                  <c:v>9.7222714436269344E-4</c:v>
                </c:pt>
                <c:pt idx="790">
                  <c:v>1.0114840866966336E-3</c:v>
                </c:pt>
                <c:pt idx="791">
                  <c:v>1.0463702420111013E-3</c:v>
                </c:pt>
                <c:pt idx="792">
                  <c:v>1.0684887717036726E-3</c:v>
                </c:pt>
                <c:pt idx="793">
                  <c:v>1.0866374803438473E-3</c:v>
                </c:pt>
                <c:pt idx="794">
                  <c:v>1.0960076235270323E-3</c:v>
                </c:pt>
                <c:pt idx="795">
                  <c:v>1.1029655919940827E-3</c:v>
                </c:pt>
                <c:pt idx="796">
                  <c:v>1.1142763550796935E-3</c:v>
                </c:pt>
                <c:pt idx="797">
                  <c:v>1.129127294050863E-3</c:v>
                </c:pt>
                <c:pt idx="798">
                  <c:v>1.1374445846754179E-3</c:v>
                </c:pt>
                <c:pt idx="799">
                  <c:v>1.139132639204618E-3</c:v>
                </c:pt>
                <c:pt idx="800">
                  <c:v>1.1330362713201936E-3</c:v>
                </c:pt>
                <c:pt idx="801">
                  <c:v>1.1205264953531133E-3</c:v>
                </c:pt>
                <c:pt idx="802">
                  <c:v>1.1107920593560472E-3</c:v>
                </c:pt>
                <c:pt idx="803">
                  <c:v>1.1102600078617729E-3</c:v>
                </c:pt>
                <c:pt idx="804">
                  <c:v>1.1144971489501709E-3</c:v>
                </c:pt>
                <c:pt idx="805">
                  <c:v>1.1174632041619935E-3</c:v>
                </c:pt>
                <c:pt idx="806">
                  <c:v>1.116123939992014E-3</c:v>
                </c:pt>
                <c:pt idx="807">
                  <c:v>1.1016525957579148E-3</c:v>
                </c:pt>
                <c:pt idx="808">
                  <c:v>1.1005296985500497E-3</c:v>
                </c:pt>
                <c:pt idx="809">
                  <c:v>1.1018408714794392E-3</c:v>
                </c:pt>
                <c:pt idx="810">
                  <c:v>1.0930980696641172E-3</c:v>
                </c:pt>
                <c:pt idx="811">
                  <c:v>1.1180372520888269E-3</c:v>
                </c:pt>
                <c:pt idx="812">
                  <c:v>1.1404588638507988E-3</c:v>
                </c:pt>
                <c:pt idx="813">
                  <c:v>1.1484753413330113E-3</c:v>
                </c:pt>
                <c:pt idx="814">
                  <c:v>1.1449509103869278E-3</c:v>
                </c:pt>
                <c:pt idx="815">
                  <c:v>1.1327894158263067E-3</c:v>
                </c:pt>
                <c:pt idx="816">
                  <c:v>1.1210694541272613E-3</c:v>
                </c:pt>
                <c:pt idx="817">
                  <c:v>1.0939900369336926E-3</c:v>
                </c:pt>
                <c:pt idx="818">
                  <c:v>1.0879894890535944E-3</c:v>
                </c:pt>
                <c:pt idx="819">
                  <c:v>1.1152461421077822E-3</c:v>
                </c:pt>
                <c:pt idx="820">
                  <c:v>1.1409188113814901E-3</c:v>
                </c:pt>
                <c:pt idx="821">
                  <c:v>1.1664288412900159E-3</c:v>
                </c:pt>
                <c:pt idx="822">
                  <c:v>1.1996599828720928E-3</c:v>
                </c:pt>
                <c:pt idx="823">
                  <c:v>1.2324177329210251E-3</c:v>
                </c:pt>
                <c:pt idx="824">
                  <c:v>1.2533888902727874E-3</c:v>
                </c:pt>
                <c:pt idx="825">
                  <c:v>1.2838847356833119E-3</c:v>
                </c:pt>
                <c:pt idx="826">
                  <c:v>1.3046823348745625E-3</c:v>
                </c:pt>
                <c:pt idx="827">
                  <c:v>1.3140558916597796E-3</c:v>
                </c:pt>
                <c:pt idx="828">
                  <c:v>1.3263844564241187E-3</c:v>
                </c:pt>
                <c:pt idx="829">
                  <c:v>1.3487946058738801E-3</c:v>
                </c:pt>
                <c:pt idx="830">
                  <c:v>1.354583825881976E-3</c:v>
                </c:pt>
                <c:pt idx="831">
                  <c:v>1.3457494727243122E-3</c:v>
                </c:pt>
                <c:pt idx="832">
                  <c:v>1.3290432470033167E-3</c:v>
                </c:pt>
                <c:pt idx="833">
                  <c:v>1.3174809452670324E-3</c:v>
                </c:pt>
                <c:pt idx="834">
                  <c:v>1.3043116740731439E-3</c:v>
                </c:pt>
                <c:pt idx="835">
                  <c:v>1.2870162000883057E-3</c:v>
                </c:pt>
                <c:pt idx="836">
                  <c:v>1.2809661170263657E-3</c:v>
                </c:pt>
                <c:pt idx="837">
                  <c:v>1.2692725610230688E-3</c:v>
                </c:pt>
                <c:pt idx="838">
                  <c:v>1.2584191182389791E-3</c:v>
                </c:pt>
                <c:pt idx="839">
                  <c:v>1.2328452402846895E-3</c:v>
                </c:pt>
                <c:pt idx="840">
                  <c:v>1.2216895749773647E-3</c:v>
                </c:pt>
                <c:pt idx="841">
                  <c:v>1.2377840703077726E-3</c:v>
                </c:pt>
                <c:pt idx="842">
                  <c:v>1.2510624698353441E-3</c:v>
                </c:pt>
                <c:pt idx="843">
                  <c:v>1.259662848148575E-3</c:v>
                </c:pt>
                <c:pt idx="844">
                  <c:v>1.2549478924103238E-3</c:v>
                </c:pt>
                <c:pt idx="845">
                  <c:v>1.2567045053990195E-3</c:v>
                </c:pt>
                <c:pt idx="846">
                  <c:v>1.2500553008010103E-3</c:v>
                </c:pt>
                <c:pt idx="847">
                  <c:v>1.2277592381338635E-3</c:v>
                </c:pt>
                <c:pt idx="848">
                  <c:v>1.2062855038098258E-3</c:v>
                </c:pt>
                <c:pt idx="849">
                  <c:v>1.1969286494782373E-3</c:v>
                </c:pt>
                <c:pt idx="850">
                  <c:v>1.178291477865395E-3</c:v>
                </c:pt>
                <c:pt idx="851">
                  <c:v>1.1546056107593007E-3</c:v>
                </c:pt>
                <c:pt idx="852">
                  <c:v>1.1412438834025448E-3</c:v>
                </c:pt>
                <c:pt idx="853">
                  <c:v>1.124463007649799E-3</c:v>
                </c:pt>
                <c:pt idx="854">
                  <c:v>1.1039472437625113E-3</c:v>
                </c:pt>
                <c:pt idx="855">
                  <c:v>1.0911657415116538E-3</c:v>
                </c:pt>
                <c:pt idx="856">
                  <c:v>1.0689092963945979E-3</c:v>
                </c:pt>
                <c:pt idx="857">
                  <c:v>1.0377378499245523E-3</c:v>
                </c:pt>
                <c:pt idx="858">
                  <c:v>1.0153975475261842E-3</c:v>
                </c:pt>
                <c:pt idx="859">
                  <c:v>1.0168543210736548E-3</c:v>
                </c:pt>
                <c:pt idx="860">
                  <c:v>1.0096041796227152E-3</c:v>
                </c:pt>
                <c:pt idx="861">
                  <c:v>9.9344276213500938E-4</c:v>
                </c:pt>
                <c:pt idx="862">
                  <c:v>9.7083875445719346E-4</c:v>
                </c:pt>
                <c:pt idx="863">
                  <c:v>9.4126540128471005E-4</c:v>
                </c:pt>
                <c:pt idx="864">
                  <c:v>9.0667269381263286E-4</c:v>
                </c:pt>
                <c:pt idx="865">
                  <c:v>8.5893836979485745E-4</c:v>
                </c:pt>
                <c:pt idx="866">
                  <c:v>8.5261434093856202E-4</c:v>
                </c:pt>
                <c:pt idx="867">
                  <c:v>8.785230839986523E-4</c:v>
                </c:pt>
                <c:pt idx="868">
                  <c:v>8.929790450410203E-4</c:v>
                </c:pt>
                <c:pt idx="869">
                  <c:v>8.9587070610166661E-4</c:v>
                </c:pt>
                <c:pt idx="870">
                  <c:v>9.1798252105732361E-4</c:v>
                </c:pt>
                <c:pt idx="871">
                  <c:v>9.3451326743734689E-4</c:v>
                </c:pt>
                <c:pt idx="872">
                  <c:v>9.5155323605789139E-4</c:v>
                </c:pt>
                <c:pt idx="873">
                  <c:v>9.7968791739408119E-4</c:v>
                </c:pt>
                <c:pt idx="874">
                  <c:v>9.994307334042548E-4</c:v>
                </c:pt>
                <c:pt idx="875">
                  <c:v>1.0293415094071521E-3</c:v>
                </c:pt>
                <c:pt idx="876">
                  <c:v>1.0513417946731189E-3</c:v>
                </c:pt>
                <c:pt idx="877">
                  <c:v>1.0627969214882214E-3</c:v>
                </c:pt>
                <c:pt idx="878">
                  <c:v>1.0971346323234204E-3</c:v>
                </c:pt>
                <c:pt idx="879">
                  <c:v>1.1274717327597863E-3</c:v>
                </c:pt>
                <c:pt idx="880">
                  <c:v>1.1482455696435012E-3</c:v>
                </c:pt>
                <c:pt idx="881">
                  <c:v>1.1650217372692563E-3</c:v>
                </c:pt>
                <c:pt idx="882">
                  <c:v>1.1810518785536428E-3</c:v>
                </c:pt>
                <c:pt idx="883">
                  <c:v>1.190669178074092E-3</c:v>
                </c:pt>
                <c:pt idx="884">
                  <c:v>1.2122674700585287E-3</c:v>
                </c:pt>
                <c:pt idx="885">
                  <c:v>1.2232415594177867E-3</c:v>
                </c:pt>
                <c:pt idx="886">
                  <c:v>1.2233114782275059E-3</c:v>
                </c:pt>
                <c:pt idx="887">
                  <c:v>1.2158659443123171E-3</c:v>
                </c:pt>
                <c:pt idx="888">
                  <c:v>1.2369462162719366E-3</c:v>
                </c:pt>
                <c:pt idx="889">
                  <c:v>1.2684519918833412E-3</c:v>
                </c:pt>
                <c:pt idx="890">
                  <c:v>1.2890968050390192E-3</c:v>
                </c:pt>
                <c:pt idx="891">
                  <c:v>1.2954355881780965E-3</c:v>
                </c:pt>
                <c:pt idx="892">
                  <c:v>1.2969203775153701E-3</c:v>
                </c:pt>
                <c:pt idx="893">
                  <c:v>1.2918705556615457E-3</c:v>
                </c:pt>
                <c:pt idx="894">
                  <c:v>1.2767320161073069E-3</c:v>
                </c:pt>
                <c:pt idx="895">
                  <c:v>1.2462397183110429E-3</c:v>
                </c:pt>
                <c:pt idx="896">
                  <c:v>1.2317770851844759E-3</c:v>
                </c:pt>
                <c:pt idx="897">
                  <c:v>1.2415238968870891E-3</c:v>
                </c:pt>
                <c:pt idx="898">
                  <c:v>1.2437735161618928E-3</c:v>
                </c:pt>
                <c:pt idx="899">
                  <c:v>1.238016514483767E-3</c:v>
                </c:pt>
                <c:pt idx="900">
                  <c:v>1.2224377710095863E-3</c:v>
                </c:pt>
                <c:pt idx="901">
                  <c:v>1.1990497820004041E-3</c:v>
                </c:pt>
                <c:pt idx="902">
                  <c:v>1.1760713185279075E-3</c:v>
                </c:pt>
                <c:pt idx="903">
                  <c:v>1.1573528828462466E-3</c:v>
                </c:pt>
                <c:pt idx="904">
                  <c:v>1.1359616890946177E-3</c:v>
                </c:pt>
                <c:pt idx="905">
                  <c:v>1.1096275239344208E-3</c:v>
                </c:pt>
                <c:pt idx="906">
                  <c:v>1.0756905761197678E-3</c:v>
                </c:pt>
                <c:pt idx="907">
                  <c:v>1.0347335700284599E-3</c:v>
                </c:pt>
                <c:pt idx="908">
                  <c:v>1.0168584312613797E-3</c:v>
                </c:pt>
                <c:pt idx="909">
                  <c:v>9.8886728890211495E-4</c:v>
                </c:pt>
                <c:pt idx="910">
                  <c:v>9.5737914853196056E-4</c:v>
                </c:pt>
                <c:pt idx="911">
                  <c:v>9.2433217255684483E-4</c:v>
                </c:pt>
                <c:pt idx="912">
                  <c:v>8.8766781289611628E-4</c:v>
                </c:pt>
                <c:pt idx="913">
                  <c:v>8.4486392028410235E-4</c:v>
                </c:pt>
                <c:pt idx="914">
                  <c:v>8.2210223185241792E-4</c:v>
                </c:pt>
                <c:pt idx="915">
                  <c:v>7.8696452930294254E-4</c:v>
                </c:pt>
                <c:pt idx="916">
                  <c:v>7.3762847110548269E-4</c:v>
                </c:pt>
                <c:pt idx="917">
                  <c:v>6.7497246232074205E-4</c:v>
                </c:pt>
                <c:pt idx="918">
                  <c:v>6.5785400986580699E-4</c:v>
                </c:pt>
                <c:pt idx="919">
                  <c:v>6.5821529016478703E-4</c:v>
                </c:pt>
                <c:pt idx="920">
                  <c:v>6.562302710863702E-4</c:v>
                </c:pt>
                <c:pt idx="921">
                  <c:v>6.5273381992853909E-4</c:v>
                </c:pt>
                <c:pt idx="922">
                  <c:v>6.5071557833419039E-4</c:v>
                </c:pt>
                <c:pt idx="923">
                  <c:v>6.7450374585210904E-4</c:v>
                </c:pt>
                <c:pt idx="924">
                  <c:v>6.9241390598980847E-4</c:v>
                </c:pt>
                <c:pt idx="925">
                  <c:v>7.0518575726402166E-4</c:v>
                </c:pt>
                <c:pt idx="926">
                  <c:v>7.125442751635977E-4</c:v>
                </c:pt>
                <c:pt idx="927">
                  <c:v>7.2333112049454416E-4</c:v>
                </c:pt>
                <c:pt idx="928">
                  <c:v>7.3893957428502273E-4</c:v>
                </c:pt>
                <c:pt idx="929">
                  <c:v>7.5448753717123282E-4</c:v>
                </c:pt>
                <c:pt idx="930">
                  <c:v>7.640841835874232E-4</c:v>
                </c:pt>
                <c:pt idx="931">
                  <c:v>7.8888647289766507E-4</c:v>
                </c:pt>
                <c:pt idx="932">
                  <c:v>8.0892484270526812E-4</c:v>
                </c:pt>
                <c:pt idx="933">
                  <c:v>8.2244477314714296E-4</c:v>
                </c:pt>
                <c:pt idx="934">
                  <c:v>8.3413954420874601E-4</c:v>
                </c:pt>
                <c:pt idx="935">
                  <c:v>8.6991251129253557E-4</c:v>
                </c:pt>
                <c:pt idx="936">
                  <c:v>9.1616214209353593E-4</c:v>
                </c:pt>
                <c:pt idx="937">
                  <c:v>9.6400728510743345E-4</c:v>
                </c:pt>
                <c:pt idx="938">
                  <c:v>1.0649064710454509E-3</c:v>
                </c:pt>
                <c:pt idx="939">
                  <c:v>1.1882903428938724E-3</c:v>
                </c:pt>
                <c:pt idx="940">
                  <c:v>1.3001353835841599E-3</c:v>
                </c:pt>
                <c:pt idx="941">
                  <c:v>1.3983920767868491E-3</c:v>
                </c:pt>
                <c:pt idx="942">
                  <c:v>1.4733042502152569E-3</c:v>
                </c:pt>
                <c:pt idx="943">
                  <c:v>1.5417742237017933E-3</c:v>
                </c:pt>
                <c:pt idx="944">
                  <c:v>1.6122515435634667E-3</c:v>
                </c:pt>
                <c:pt idx="945">
                  <c:v>1.675477496629104E-3</c:v>
                </c:pt>
                <c:pt idx="946">
                  <c:v>1.7216645190710109E-3</c:v>
                </c:pt>
                <c:pt idx="947">
                  <c:v>1.7540034555079051E-3</c:v>
                </c:pt>
                <c:pt idx="948">
                  <c:v>1.7720800684562544E-3</c:v>
                </c:pt>
                <c:pt idx="949">
                  <c:v>1.7863382690747696E-3</c:v>
                </c:pt>
                <c:pt idx="950">
                  <c:v>1.8064015189918979E-3</c:v>
                </c:pt>
                <c:pt idx="951">
                  <c:v>1.8135657433696441E-3</c:v>
                </c:pt>
                <c:pt idx="952">
                  <c:v>1.8068841969949504E-3</c:v>
                </c:pt>
                <c:pt idx="953">
                  <c:v>1.8154459561071749E-3</c:v>
                </c:pt>
                <c:pt idx="954">
                  <c:v>1.8227784321846832E-3</c:v>
                </c:pt>
                <c:pt idx="955">
                  <c:v>1.8242770881437755E-3</c:v>
                </c:pt>
                <c:pt idx="956">
                  <c:v>1.8124708410827421E-3</c:v>
                </c:pt>
                <c:pt idx="957">
                  <c:v>1.8421284688993637E-3</c:v>
                </c:pt>
                <c:pt idx="958">
                  <c:v>1.8657839165970305E-3</c:v>
                </c:pt>
                <c:pt idx="959">
                  <c:v>1.8716978700748887E-3</c:v>
                </c:pt>
                <c:pt idx="960">
                  <c:v>1.857776994722416E-3</c:v>
                </c:pt>
                <c:pt idx="961">
                  <c:v>1.8597706882683442E-3</c:v>
                </c:pt>
                <c:pt idx="962">
                  <c:v>1.903752498914362E-3</c:v>
                </c:pt>
                <c:pt idx="963">
                  <c:v>1.9185488815486708E-3</c:v>
                </c:pt>
                <c:pt idx="964">
                  <c:v>1.9152106655814466E-3</c:v>
                </c:pt>
                <c:pt idx="965">
                  <c:v>1.9253269245854121E-3</c:v>
                </c:pt>
                <c:pt idx="966">
                  <c:v>1.9254179146148361E-3</c:v>
                </c:pt>
                <c:pt idx="967">
                  <c:v>1.9616922136386022E-3</c:v>
                </c:pt>
                <c:pt idx="968">
                  <c:v>2.0864263826210513E-3</c:v>
                </c:pt>
                <c:pt idx="969">
                  <c:v>2.2086913707556992E-3</c:v>
                </c:pt>
                <c:pt idx="970">
                  <c:v>2.3370562816151506E-3</c:v>
                </c:pt>
                <c:pt idx="971">
                  <c:v>2.4577367553606389E-3</c:v>
                </c:pt>
                <c:pt idx="972">
                  <c:v>2.5480027137164234E-3</c:v>
                </c:pt>
                <c:pt idx="973">
                  <c:v>2.6358121229006961E-3</c:v>
                </c:pt>
                <c:pt idx="974">
                  <c:v>2.8141368622689768E-3</c:v>
                </c:pt>
                <c:pt idx="975">
                  <c:v>2.9660465578453883E-3</c:v>
                </c:pt>
                <c:pt idx="976">
                  <c:v>3.0800760889343934E-3</c:v>
                </c:pt>
                <c:pt idx="977">
                  <c:v>3.3041244437215763E-3</c:v>
                </c:pt>
                <c:pt idx="978">
                  <c:v>3.497215912775018E-3</c:v>
                </c:pt>
                <c:pt idx="979">
                  <c:v>3.6439502072717271E-3</c:v>
                </c:pt>
                <c:pt idx="980">
                  <c:v>3.7929227304235465E-3</c:v>
                </c:pt>
                <c:pt idx="981">
                  <c:v>3.9456072787455478E-3</c:v>
                </c:pt>
                <c:pt idx="982">
                  <c:v>4.0655916189586087E-3</c:v>
                </c:pt>
                <c:pt idx="983">
                  <c:v>4.1549510736389296E-3</c:v>
                </c:pt>
                <c:pt idx="984">
                  <c:v>4.2233562159707085E-3</c:v>
                </c:pt>
                <c:pt idx="985">
                  <c:v>4.2719330691200008E-3</c:v>
                </c:pt>
                <c:pt idx="986">
                  <c:v>4.2852437762385216E-3</c:v>
                </c:pt>
                <c:pt idx="987">
                  <c:v>4.3305973160031284E-3</c:v>
                </c:pt>
                <c:pt idx="988">
                  <c:v>4.3429471233912796E-3</c:v>
                </c:pt>
                <c:pt idx="989">
                  <c:v>4.315788832345512E-3</c:v>
                </c:pt>
                <c:pt idx="990">
                  <c:v>4.2960859470313282E-3</c:v>
                </c:pt>
                <c:pt idx="991">
                  <c:v>4.2521527169103387E-3</c:v>
                </c:pt>
                <c:pt idx="992">
                  <c:v>4.2228426867941997E-3</c:v>
                </c:pt>
                <c:pt idx="993">
                  <c:v>4.1596194495261462E-3</c:v>
                </c:pt>
                <c:pt idx="994">
                  <c:v>4.0779537644348952E-3</c:v>
                </c:pt>
                <c:pt idx="995">
                  <c:v>3.9696854661031697E-3</c:v>
                </c:pt>
                <c:pt idx="996">
                  <c:v>3.8248781019391441E-3</c:v>
                </c:pt>
                <c:pt idx="997">
                  <c:v>3.6890917076721165E-3</c:v>
                </c:pt>
                <c:pt idx="998">
                  <c:v>3.6334061467362322E-3</c:v>
                </c:pt>
                <c:pt idx="999">
                  <c:v>3.541182710726164E-3</c:v>
                </c:pt>
                <c:pt idx="1000">
                  <c:v>3.4415914160074623E-3</c:v>
                </c:pt>
                <c:pt idx="1001">
                  <c:v>3.3475813562244528E-3</c:v>
                </c:pt>
                <c:pt idx="1002">
                  <c:v>3.2872486497271501E-3</c:v>
                </c:pt>
                <c:pt idx="1003">
                  <c:v>3.2357378145015511E-3</c:v>
                </c:pt>
                <c:pt idx="1004">
                  <c:v>3.2469364384342548E-3</c:v>
                </c:pt>
                <c:pt idx="1005">
                  <c:v>3.2279221341994149E-3</c:v>
                </c:pt>
                <c:pt idx="1006">
                  <c:v>3.2229127416154098E-3</c:v>
                </c:pt>
                <c:pt idx="1007">
                  <c:v>3.3483790807147455E-3</c:v>
                </c:pt>
                <c:pt idx="1008">
                  <c:v>3.4917754057418281E-3</c:v>
                </c:pt>
                <c:pt idx="1009">
                  <c:v>3.5893391539396583E-3</c:v>
                </c:pt>
                <c:pt idx="1010">
                  <c:v>3.7022307595063865E-3</c:v>
                </c:pt>
                <c:pt idx="1011">
                  <c:v>3.8380638960222794E-3</c:v>
                </c:pt>
                <c:pt idx="1012">
                  <c:v>3.9576393341407435E-3</c:v>
                </c:pt>
                <c:pt idx="1013">
                  <c:v>4.0465441633487122E-3</c:v>
                </c:pt>
                <c:pt idx="1014">
                  <c:v>4.1103554671800486E-3</c:v>
                </c:pt>
                <c:pt idx="1015">
                  <c:v>4.1578342575559462E-3</c:v>
                </c:pt>
                <c:pt idx="1016">
                  <c:v>4.1790674139370034E-3</c:v>
                </c:pt>
                <c:pt idx="1017">
                  <c:v>4.1945856094664797E-3</c:v>
                </c:pt>
                <c:pt idx="1018">
                  <c:v>4.1979234792268094E-3</c:v>
                </c:pt>
                <c:pt idx="1019">
                  <c:v>4.1910049522609081E-3</c:v>
                </c:pt>
                <c:pt idx="1020">
                  <c:v>4.2305603015048692E-3</c:v>
                </c:pt>
                <c:pt idx="1021">
                  <c:v>4.2340847362138398E-3</c:v>
                </c:pt>
                <c:pt idx="1022">
                  <c:v>4.1994894426122089E-3</c:v>
                </c:pt>
                <c:pt idx="1023">
                  <c:v>4.1329642851874781E-3</c:v>
                </c:pt>
                <c:pt idx="1024">
                  <c:v>4.052779056395007E-3</c:v>
                </c:pt>
                <c:pt idx="1025">
                  <c:v>3.9500587509091424E-3</c:v>
                </c:pt>
                <c:pt idx="1026">
                  <c:v>3.8277029264113236E-3</c:v>
                </c:pt>
                <c:pt idx="1027">
                  <c:v>3.6571751813114441E-3</c:v>
                </c:pt>
                <c:pt idx="1028">
                  <c:v>3.5266856658254025E-3</c:v>
                </c:pt>
                <c:pt idx="1029">
                  <c:v>3.359524407743333E-3</c:v>
                </c:pt>
                <c:pt idx="1030">
                  <c:v>3.1541235507260637E-3</c:v>
                </c:pt>
                <c:pt idx="1031">
                  <c:v>2.9486180986473243E-3</c:v>
                </c:pt>
                <c:pt idx="1032">
                  <c:v>2.822858036806845E-3</c:v>
                </c:pt>
                <c:pt idx="1033">
                  <c:v>2.7297588495803003E-3</c:v>
                </c:pt>
                <c:pt idx="1034">
                  <c:v>2.5987258511084642E-3</c:v>
                </c:pt>
                <c:pt idx="1035">
                  <c:v>2.4516794007783424E-3</c:v>
                </c:pt>
                <c:pt idx="1036">
                  <c:v>2.3427507451952824E-3</c:v>
                </c:pt>
                <c:pt idx="1037">
                  <c:v>2.3830155572936822E-3</c:v>
                </c:pt>
                <c:pt idx="1038">
                  <c:v>2.4445372669966818E-3</c:v>
                </c:pt>
                <c:pt idx="1039">
                  <c:v>2.4824437590846263E-3</c:v>
                </c:pt>
                <c:pt idx="1040">
                  <c:v>2.5577317653290538E-3</c:v>
                </c:pt>
                <c:pt idx="1041">
                  <c:v>2.7118406293352793E-3</c:v>
                </c:pt>
                <c:pt idx="1042">
                  <c:v>2.8553821169753643E-3</c:v>
                </c:pt>
                <c:pt idx="1043">
                  <c:v>2.964757613489312E-3</c:v>
                </c:pt>
                <c:pt idx="1044">
                  <c:v>3.1239693068620769E-3</c:v>
                </c:pt>
                <c:pt idx="1045">
                  <c:v>3.2457744140655365E-3</c:v>
                </c:pt>
                <c:pt idx="1046">
                  <c:v>3.3688007738291248E-3</c:v>
                </c:pt>
                <c:pt idx="1047">
                  <c:v>3.4798788296703763E-3</c:v>
                </c:pt>
                <c:pt idx="1048">
                  <c:v>3.571083119490651E-3</c:v>
                </c:pt>
                <c:pt idx="1049">
                  <c:v>3.6504392075796263E-3</c:v>
                </c:pt>
                <c:pt idx="1050">
                  <c:v>3.7331431392912942E-3</c:v>
                </c:pt>
                <c:pt idx="1051">
                  <c:v>3.7941528245406535E-3</c:v>
                </c:pt>
                <c:pt idx="1052">
                  <c:v>3.8275641812154588E-3</c:v>
                </c:pt>
                <c:pt idx="1053">
                  <c:v>3.9665633815157472E-3</c:v>
                </c:pt>
                <c:pt idx="1054">
                  <c:v>4.0805378949228784E-3</c:v>
                </c:pt>
                <c:pt idx="1055">
                  <c:v>4.1793699190092962E-3</c:v>
                </c:pt>
                <c:pt idx="1056">
                  <c:v>4.2607901249822125E-3</c:v>
                </c:pt>
                <c:pt idx="1057">
                  <c:v>4.3131332737594294E-3</c:v>
                </c:pt>
                <c:pt idx="1058">
                  <c:v>4.3251448940892145E-3</c:v>
                </c:pt>
                <c:pt idx="1059">
                  <c:v>4.3064326445025683E-3</c:v>
                </c:pt>
                <c:pt idx="1060">
                  <c:v>4.2479971660479583E-3</c:v>
                </c:pt>
                <c:pt idx="1061">
                  <c:v>4.1622037439183997E-3</c:v>
                </c:pt>
                <c:pt idx="1062">
                  <c:v>4.0783438774148507E-3</c:v>
                </c:pt>
                <c:pt idx="1063">
                  <c:v>3.9805116774723091E-3</c:v>
                </c:pt>
                <c:pt idx="1064">
                  <c:v>3.8456050224703088E-3</c:v>
                </c:pt>
                <c:pt idx="1065">
                  <c:v>3.6839247346301673E-3</c:v>
                </c:pt>
                <c:pt idx="1066">
                  <c:v>3.4667516869721867E-3</c:v>
                </c:pt>
                <c:pt idx="1067">
                  <c:v>3.3629752146391218E-3</c:v>
                </c:pt>
                <c:pt idx="1068">
                  <c:v>3.2414047880823999E-3</c:v>
                </c:pt>
                <c:pt idx="1069">
                  <c:v>3.0929109280768237E-3</c:v>
                </c:pt>
                <c:pt idx="1070">
                  <c:v>2.9641956322417526E-3</c:v>
                </c:pt>
                <c:pt idx="1071">
                  <c:v>2.9075078603485001E-3</c:v>
                </c:pt>
                <c:pt idx="1072">
                  <c:v>2.8353042415031164E-3</c:v>
                </c:pt>
                <c:pt idx="1073">
                  <c:v>2.7405655098390945E-3</c:v>
                </c:pt>
                <c:pt idx="1074">
                  <c:v>2.7178516809083721E-3</c:v>
                </c:pt>
                <c:pt idx="1075">
                  <c:v>2.6708414868201642E-3</c:v>
                </c:pt>
                <c:pt idx="1076">
                  <c:v>2.6341841260204492E-3</c:v>
                </c:pt>
                <c:pt idx="1077">
                  <c:v>2.5953960666545805E-3</c:v>
                </c:pt>
                <c:pt idx="1078">
                  <c:v>2.5393502872842521E-3</c:v>
                </c:pt>
                <c:pt idx="1079">
                  <c:v>2.5126790107251728E-3</c:v>
                </c:pt>
                <c:pt idx="1080">
                  <c:v>2.4672595636770563E-3</c:v>
                </c:pt>
                <c:pt idx="1081">
                  <c:v>2.4042654612982115E-3</c:v>
                </c:pt>
                <c:pt idx="1082">
                  <c:v>2.3031216419402323E-3</c:v>
                </c:pt>
                <c:pt idx="1083">
                  <c:v>2.3430986292834353E-3</c:v>
                </c:pt>
                <c:pt idx="1084">
                  <c:v>2.3775509585247817E-3</c:v>
                </c:pt>
                <c:pt idx="1085">
                  <c:v>2.4036139627022415E-3</c:v>
                </c:pt>
                <c:pt idx="1086">
                  <c:v>2.4209703309846231E-3</c:v>
                </c:pt>
                <c:pt idx="1087">
                  <c:v>2.4263706796565686E-3</c:v>
                </c:pt>
                <c:pt idx="1088">
                  <c:v>2.4116702781747548E-3</c:v>
                </c:pt>
                <c:pt idx="1089">
                  <c:v>2.3872511998175145E-3</c:v>
                </c:pt>
                <c:pt idx="1090">
                  <c:v>2.3408778680368493E-3</c:v>
                </c:pt>
                <c:pt idx="1091">
                  <c:v>2.2882448681393812E-3</c:v>
                </c:pt>
                <c:pt idx="1092">
                  <c:v>2.2598788972756681E-3</c:v>
                </c:pt>
                <c:pt idx="1093">
                  <c:v>2.2270696453435728E-3</c:v>
                </c:pt>
                <c:pt idx="1094">
                  <c:v>2.2011241671521177E-3</c:v>
                </c:pt>
                <c:pt idx="1095">
                  <c:v>2.1791187916194456E-3</c:v>
                </c:pt>
                <c:pt idx="1096">
                  <c:v>2.1778513706298425E-3</c:v>
                </c:pt>
                <c:pt idx="1097">
                  <c:v>2.2042103312020682E-3</c:v>
                </c:pt>
                <c:pt idx="1098">
                  <c:v>2.2103667088120079E-3</c:v>
                </c:pt>
                <c:pt idx="1099">
                  <c:v>2.2168250613753136E-3</c:v>
                </c:pt>
                <c:pt idx="1100">
                  <c:v>2.2231954040884709E-3</c:v>
                </c:pt>
                <c:pt idx="1101">
                  <c:v>2.2418398963475151E-3</c:v>
                </c:pt>
                <c:pt idx="1102">
                  <c:v>2.3077912051400829E-3</c:v>
                </c:pt>
                <c:pt idx="1103">
                  <c:v>2.3525633031210923E-3</c:v>
                </c:pt>
                <c:pt idx="1104">
                  <c:v>2.3997787464509913E-3</c:v>
                </c:pt>
                <c:pt idx="1105">
                  <c:v>2.4565024321465422E-3</c:v>
                </c:pt>
                <c:pt idx="1106">
                  <c:v>2.4875306917642474E-3</c:v>
                </c:pt>
                <c:pt idx="1107">
                  <c:v>2.4991252667678938E-3</c:v>
                </c:pt>
                <c:pt idx="1108">
                  <c:v>2.5146938963398749E-3</c:v>
                </c:pt>
                <c:pt idx="1109">
                  <c:v>2.5613709795943877E-3</c:v>
                </c:pt>
                <c:pt idx="1110">
                  <c:v>2.6122753762041267E-3</c:v>
                </c:pt>
                <c:pt idx="1111">
                  <c:v>2.6796474447765661E-3</c:v>
                </c:pt>
                <c:pt idx="1112">
                  <c:v>2.7624099079260624E-3</c:v>
                </c:pt>
                <c:pt idx="1113">
                  <c:v>2.9399725879279931E-3</c:v>
                </c:pt>
                <c:pt idx="1114">
                  <c:v>3.0965282929881744E-3</c:v>
                </c:pt>
                <c:pt idx="1115">
                  <c:v>3.2473297335762086E-3</c:v>
                </c:pt>
                <c:pt idx="1116">
                  <c:v>3.3611901533696113E-3</c:v>
                </c:pt>
                <c:pt idx="1117">
                  <c:v>3.4370567363072816E-3</c:v>
                </c:pt>
                <c:pt idx="1118">
                  <c:v>3.529156645570504E-3</c:v>
                </c:pt>
                <c:pt idx="1119">
                  <c:v>3.5999272516151486E-3</c:v>
                </c:pt>
                <c:pt idx="1120">
                  <c:v>3.6486933645269708E-3</c:v>
                </c:pt>
                <c:pt idx="1121">
                  <c:v>3.7133670200919892E-3</c:v>
                </c:pt>
                <c:pt idx="1122">
                  <c:v>3.7807423457771653E-3</c:v>
                </c:pt>
                <c:pt idx="1123">
                  <c:v>3.8475880759409674E-3</c:v>
                </c:pt>
                <c:pt idx="1124">
                  <c:v>3.9551830193831818E-3</c:v>
                </c:pt>
                <c:pt idx="1125">
                  <c:v>4.0267301517721088E-3</c:v>
                </c:pt>
                <c:pt idx="1126">
                  <c:v>4.1401015918439855E-3</c:v>
                </c:pt>
                <c:pt idx="1127">
                  <c:v>4.2406694853091486E-3</c:v>
                </c:pt>
                <c:pt idx="1128">
                  <c:v>4.3005360373605458E-3</c:v>
                </c:pt>
                <c:pt idx="1129">
                  <c:v>4.3410661218700715E-3</c:v>
                </c:pt>
                <c:pt idx="1130">
                  <c:v>4.3599943677850028E-3</c:v>
                </c:pt>
                <c:pt idx="1131">
                  <c:v>4.3421420870719315E-3</c:v>
                </c:pt>
                <c:pt idx="1132">
                  <c:v>4.3476023062608881E-3</c:v>
                </c:pt>
                <c:pt idx="1133">
                  <c:v>4.3870100246636637E-3</c:v>
                </c:pt>
                <c:pt idx="1134">
                  <c:v>4.4090551585888446E-3</c:v>
                </c:pt>
                <c:pt idx="1135">
                  <c:v>4.4741427384033684E-3</c:v>
                </c:pt>
                <c:pt idx="1136">
                  <c:v>4.5661400106998817E-3</c:v>
                </c:pt>
                <c:pt idx="1137">
                  <c:v>5.0468128398447254E-3</c:v>
                </c:pt>
                <c:pt idx="1138">
                  <c:v>5.4151893313504288E-3</c:v>
                </c:pt>
                <c:pt idx="1139">
                  <c:v>5.677699681389964E-3</c:v>
                </c:pt>
                <c:pt idx="1140">
                  <c:v>5.9854754125098749E-3</c:v>
                </c:pt>
                <c:pt idx="1141">
                  <c:v>6.3288788586154656E-3</c:v>
                </c:pt>
                <c:pt idx="1142">
                  <c:v>6.5962255204517952E-3</c:v>
                </c:pt>
                <c:pt idx="1143">
                  <c:v>6.8980404243241143E-3</c:v>
                </c:pt>
                <c:pt idx="1144">
                  <c:v>7.121614525757246E-3</c:v>
                </c:pt>
                <c:pt idx="1145">
                  <c:v>7.2911473569478406E-3</c:v>
                </c:pt>
                <c:pt idx="1146">
                  <c:v>7.3970166139762815E-3</c:v>
                </c:pt>
                <c:pt idx="1147">
                  <c:v>7.433933299178499E-3</c:v>
                </c:pt>
                <c:pt idx="1148">
                  <c:v>7.454438110735491E-3</c:v>
                </c:pt>
                <c:pt idx="1149">
                  <c:v>7.445989879471311E-3</c:v>
                </c:pt>
                <c:pt idx="1150">
                  <c:v>7.3915738122586651E-3</c:v>
                </c:pt>
                <c:pt idx="1151">
                  <c:v>7.324053494028873E-3</c:v>
                </c:pt>
                <c:pt idx="1152">
                  <c:v>7.2295797587920005E-3</c:v>
                </c:pt>
                <c:pt idx="1153">
                  <c:v>7.1119455091072379E-3</c:v>
                </c:pt>
                <c:pt idx="1154">
                  <c:v>6.9998975729743144E-3</c:v>
                </c:pt>
                <c:pt idx="1155">
                  <c:v>6.8702923781446493E-3</c:v>
                </c:pt>
                <c:pt idx="1156">
                  <c:v>6.7426007080559139E-3</c:v>
                </c:pt>
                <c:pt idx="1157">
                  <c:v>6.6194220610670393E-3</c:v>
                </c:pt>
                <c:pt idx="1158">
                  <c:v>6.4600385006615083E-3</c:v>
                </c:pt>
                <c:pt idx="1159">
                  <c:v>6.2353063924531736E-3</c:v>
                </c:pt>
                <c:pt idx="1160">
                  <c:v>5.9620985877104175E-3</c:v>
                </c:pt>
                <c:pt idx="1161">
                  <c:v>5.6670974972478517E-3</c:v>
                </c:pt>
                <c:pt idx="1162">
                  <c:v>5.2730168793972089E-3</c:v>
                </c:pt>
                <c:pt idx="1163">
                  <c:v>4.8854750440883226E-3</c:v>
                </c:pt>
                <c:pt idx="1164">
                  <c:v>4.4224455261603754E-3</c:v>
                </c:pt>
                <c:pt idx="1165">
                  <c:v>3.9311701264520826E-3</c:v>
                </c:pt>
                <c:pt idx="1166">
                  <c:v>3.4249084014963509E-3</c:v>
                </c:pt>
                <c:pt idx="1167">
                  <c:v>3.3474329805390337E-3</c:v>
                </c:pt>
                <c:pt idx="1168">
                  <c:v>3.2351732908544773E-3</c:v>
                </c:pt>
                <c:pt idx="1169">
                  <c:v>3.0851449194083361E-3</c:v>
                </c:pt>
                <c:pt idx="1170">
                  <c:v>3.0533239039953787E-3</c:v>
                </c:pt>
                <c:pt idx="1171">
                  <c:v>3.0806234921355179E-3</c:v>
                </c:pt>
                <c:pt idx="1172">
                  <c:v>3.0886859867722996E-3</c:v>
                </c:pt>
                <c:pt idx="1173">
                  <c:v>3.130476897400365E-3</c:v>
                </c:pt>
                <c:pt idx="1174">
                  <c:v>3.1483133175023432E-3</c:v>
                </c:pt>
                <c:pt idx="1175">
                  <c:v>3.1388775972201353E-3</c:v>
                </c:pt>
                <c:pt idx="1176">
                  <c:v>3.1285888330588305E-3</c:v>
                </c:pt>
                <c:pt idx="1177">
                  <c:v>3.0884312605573864E-3</c:v>
                </c:pt>
                <c:pt idx="1178">
                  <c:v>3.0284019929307476E-3</c:v>
                </c:pt>
                <c:pt idx="1179">
                  <c:v>3.0148715326907389E-3</c:v>
                </c:pt>
                <c:pt idx="1180">
                  <c:v>3.0209421054750419E-3</c:v>
                </c:pt>
                <c:pt idx="1181">
                  <c:v>2.9887388955270907E-3</c:v>
                </c:pt>
                <c:pt idx="1182">
                  <c:v>2.9340711936583657E-3</c:v>
                </c:pt>
                <c:pt idx="1183">
                  <c:v>2.8546143547365267E-3</c:v>
                </c:pt>
                <c:pt idx="1184">
                  <c:v>2.7463688951525926E-3</c:v>
                </c:pt>
                <c:pt idx="1185">
                  <c:v>2.6774678675455178E-3</c:v>
                </c:pt>
                <c:pt idx="1186">
                  <c:v>2.590033492367565E-3</c:v>
                </c:pt>
                <c:pt idx="1187">
                  <c:v>2.5792913135275629E-3</c:v>
                </c:pt>
                <c:pt idx="1188">
                  <c:v>2.5734644471591237E-3</c:v>
                </c:pt>
                <c:pt idx="1189">
                  <c:v>2.5432401623068403E-3</c:v>
                </c:pt>
                <c:pt idx="1190">
                  <c:v>2.5031893598037105E-3</c:v>
                </c:pt>
                <c:pt idx="1191">
                  <c:v>2.5198738414484796E-3</c:v>
                </c:pt>
                <c:pt idx="1192">
                  <c:v>2.521961451165974E-3</c:v>
                </c:pt>
                <c:pt idx="1193">
                  <c:v>2.5226068622441009E-3</c:v>
                </c:pt>
                <c:pt idx="1194">
                  <c:v>2.5080428735996972E-3</c:v>
                </c:pt>
                <c:pt idx="1195">
                  <c:v>2.4799097908606666E-3</c:v>
                </c:pt>
                <c:pt idx="1196">
                  <c:v>2.4490071935267762E-3</c:v>
                </c:pt>
                <c:pt idx="1197">
                  <c:v>2.4093616949279824E-3</c:v>
                </c:pt>
                <c:pt idx="1198">
                  <c:v>2.3476361531964409E-3</c:v>
                </c:pt>
                <c:pt idx="1199">
                  <c:v>2.2676662205029356E-3</c:v>
                </c:pt>
                <c:pt idx="1200">
                  <c:v>2.2225760312115537E-3</c:v>
                </c:pt>
                <c:pt idx="1201">
                  <c:v>2.1624594675261708E-3</c:v>
                </c:pt>
                <c:pt idx="1202">
                  <c:v>2.0957908624169288E-3</c:v>
                </c:pt>
                <c:pt idx="1203">
                  <c:v>2.075719894608842E-3</c:v>
                </c:pt>
                <c:pt idx="1204">
                  <c:v>2.0470025268778716E-3</c:v>
                </c:pt>
                <c:pt idx="1205">
                  <c:v>1.9930920557399046E-3</c:v>
                </c:pt>
                <c:pt idx="1206">
                  <c:v>1.9589367092872449E-3</c:v>
                </c:pt>
                <c:pt idx="1207">
                  <c:v>1.8989778737501779E-3</c:v>
                </c:pt>
                <c:pt idx="1208">
                  <c:v>1.8177378135756947E-3</c:v>
                </c:pt>
                <c:pt idx="1209">
                  <c:v>1.8506707681552449E-3</c:v>
                </c:pt>
                <c:pt idx="1210">
                  <c:v>1.9414789600154696E-3</c:v>
                </c:pt>
                <c:pt idx="1211">
                  <c:v>2.1123292742921485E-3</c:v>
                </c:pt>
                <c:pt idx="1212">
                  <c:v>2.2518833180079352E-3</c:v>
                </c:pt>
                <c:pt idx="1213">
                  <c:v>2.3667284143698663E-3</c:v>
                </c:pt>
                <c:pt idx="1214">
                  <c:v>2.4621948818505379E-3</c:v>
                </c:pt>
                <c:pt idx="1215">
                  <c:v>2.5444160815616683E-3</c:v>
                </c:pt>
                <c:pt idx="1216">
                  <c:v>2.6005227735281049E-3</c:v>
                </c:pt>
                <c:pt idx="1217">
                  <c:v>2.6436796805882679E-3</c:v>
                </c:pt>
                <c:pt idx="1218">
                  <c:v>2.6735708140712341E-3</c:v>
                </c:pt>
                <c:pt idx="1219">
                  <c:v>2.6997555845961734E-3</c:v>
                </c:pt>
                <c:pt idx="1220">
                  <c:v>2.779976215916045E-3</c:v>
                </c:pt>
                <c:pt idx="1221">
                  <c:v>2.8448405562755273E-3</c:v>
                </c:pt>
                <c:pt idx="1222">
                  <c:v>2.8913095210891387E-3</c:v>
                </c:pt>
                <c:pt idx="1223">
                  <c:v>2.9372037726548006E-3</c:v>
                </c:pt>
                <c:pt idx="1224">
                  <c:v>2.9539728390083155E-3</c:v>
                </c:pt>
                <c:pt idx="1225">
                  <c:v>2.9502657368998793E-3</c:v>
                </c:pt>
                <c:pt idx="1226">
                  <c:v>2.9448067632196415E-3</c:v>
                </c:pt>
                <c:pt idx="1227">
                  <c:v>2.9337683638478414E-3</c:v>
                </c:pt>
                <c:pt idx="1228">
                  <c:v>2.8971676582217076E-3</c:v>
                </c:pt>
                <c:pt idx="1229">
                  <c:v>2.8367060880919318E-3</c:v>
                </c:pt>
                <c:pt idx="1230">
                  <c:v>2.765848524713409E-3</c:v>
                </c:pt>
                <c:pt idx="1231">
                  <c:v>2.6721112233625585E-3</c:v>
                </c:pt>
                <c:pt idx="1232">
                  <c:v>2.5628165635024928E-3</c:v>
                </c:pt>
                <c:pt idx="1233">
                  <c:v>2.4788570017650617E-3</c:v>
                </c:pt>
                <c:pt idx="1234">
                  <c:v>2.3818297173363551E-3</c:v>
                </c:pt>
                <c:pt idx="1235">
                  <c:v>2.261258447518366E-3</c:v>
                </c:pt>
                <c:pt idx="1236">
                  <c:v>2.1331253341677491E-3</c:v>
                </c:pt>
                <c:pt idx="1237">
                  <c:v>1.9758271806602774E-3</c:v>
                </c:pt>
                <c:pt idx="1238">
                  <c:v>1.7912558518316584E-3</c:v>
                </c:pt>
                <c:pt idx="1239">
                  <c:v>1.6923373742141774E-3</c:v>
                </c:pt>
                <c:pt idx="1240">
                  <c:v>1.6026317268551195E-3</c:v>
                </c:pt>
                <c:pt idx="1241">
                  <c:v>1.5926078197559578E-3</c:v>
                </c:pt>
                <c:pt idx="1242">
                  <c:v>1.5705434831841546E-3</c:v>
                </c:pt>
                <c:pt idx="1243">
                  <c:v>1.5503041315403083E-3</c:v>
                </c:pt>
                <c:pt idx="1244">
                  <c:v>1.5515905632264358E-3</c:v>
                </c:pt>
                <c:pt idx="1245">
                  <c:v>1.5425155335039708E-3</c:v>
                </c:pt>
                <c:pt idx="1246">
                  <c:v>1.5095922983041335E-3</c:v>
                </c:pt>
                <c:pt idx="1247">
                  <c:v>1.4633249769159251E-3</c:v>
                </c:pt>
                <c:pt idx="1248">
                  <c:v>1.408881337035131E-3</c:v>
                </c:pt>
                <c:pt idx="1249">
                  <c:v>1.3590249220592787E-3</c:v>
                </c:pt>
                <c:pt idx="1250">
                  <c:v>1.3756445309614912E-3</c:v>
                </c:pt>
                <c:pt idx="1251">
                  <c:v>1.3975073092885239E-3</c:v>
                </c:pt>
                <c:pt idx="1252">
                  <c:v>1.4133188269336832E-3</c:v>
                </c:pt>
                <c:pt idx="1253">
                  <c:v>1.4343130750309931E-3</c:v>
                </c:pt>
                <c:pt idx="1254">
                  <c:v>1.447269958383056E-3</c:v>
                </c:pt>
                <c:pt idx="1255">
                  <c:v>1.4543514303053862E-3</c:v>
                </c:pt>
                <c:pt idx="1256">
                  <c:v>1.4668307253018821E-3</c:v>
                </c:pt>
                <c:pt idx="1257">
                  <c:v>1.4778210783495237E-3</c:v>
                </c:pt>
                <c:pt idx="1258">
                  <c:v>1.4820692186187463E-3</c:v>
                </c:pt>
                <c:pt idx="1259">
                  <c:v>1.4779301535362305E-3</c:v>
                </c:pt>
                <c:pt idx="1260">
                  <c:v>1.4758821854278801E-3</c:v>
                </c:pt>
                <c:pt idx="1261">
                  <c:v>1.4678706555220429E-3</c:v>
                </c:pt>
                <c:pt idx="1262">
                  <c:v>1.4689623421527539E-3</c:v>
                </c:pt>
                <c:pt idx="1263">
                  <c:v>1.4635677743041725E-3</c:v>
                </c:pt>
                <c:pt idx="1264">
                  <c:v>1.4478911027159911E-3</c:v>
                </c:pt>
                <c:pt idx="1265">
                  <c:v>1.420029077695771E-3</c:v>
                </c:pt>
                <c:pt idx="1266">
                  <c:v>1.3830467519595087E-3</c:v>
                </c:pt>
                <c:pt idx="1267">
                  <c:v>1.3336943083344533E-3</c:v>
                </c:pt>
                <c:pt idx="1268">
                  <c:v>1.2979858724073143E-3</c:v>
                </c:pt>
                <c:pt idx="1269">
                  <c:v>1.2972347055102162E-3</c:v>
                </c:pt>
                <c:pt idx="1270">
                  <c:v>1.2847005036491863E-3</c:v>
                </c:pt>
                <c:pt idx="1271">
                  <c:v>1.3837883063000027E-3</c:v>
                </c:pt>
                <c:pt idx="1272">
                  <c:v>1.459625647704293E-3</c:v>
                </c:pt>
                <c:pt idx="1273">
                  <c:v>1.5823527171232321E-3</c:v>
                </c:pt>
                <c:pt idx="1274">
                  <c:v>1.7060001256167174E-3</c:v>
                </c:pt>
                <c:pt idx="1275">
                  <c:v>1.8103610652937543E-3</c:v>
                </c:pt>
                <c:pt idx="1276">
                  <c:v>1.8889926585988019E-3</c:v>
                </c:pt>
                <c:pt idx="1277">
                  <c:v>1.954216023606676E-3</c:v>
                </c:pt>
                <c:pt idx="1278">
                  <c:v>2.0322790346158494E-3</c:v>
                </c:pt>
                <c:pt idx="1279">
                  <c:v>2.0887934707851941E-3</c:v>
                </c:pt>
                <c:pt idx="1280">
                  <c:v>2.1355045693123727E-3</c:v>
                </c:pt>
                <c:pt idx="1281">
                  <c:v>2.1884000736284081E-3</c:v>
                </c:pt>
                <c:pt idx="1282">
                  <c:v>2.2272285150447932E-3</c:v>
                </c:pt>
                <c:pt idx="1283">
                  <c:v>2.253405789502744E-3</c:v>
                </c:pt>
                <c:pt idx="1284">
                  <c:v>2.2716627755409906E-3</c:v>
                </c:pt>
                <c:pt idx="1285">
                  <c:v>2.275140260634888E-3</c:v>
                </c:pt>
                <c:pt idx="1286">
                  <c:v>2.3340557949942707E-3</c:v>
                </c:pt>
                <c:pt idx="1287">
                  <c:v>2.3710569393147469E-3</c:v>
                </c:pt>
                <c:pt idx="1288">
                  <c:v>2.3965478194718586E-3</c:v>
                </c:pt>
                <c:pt idx="1289">
                  <c:v>2.4051606294714532E-3</c:v>
                </c:pt>
                <c:pt idx="1290">
                  <c:v>2.4043283379882232E-3</c:v>
                </c:pt>
                <c:pt idx="1291">
                  <c:v>2.3838022167679252E-3</c:v>
                </c:pt>
                <c:pt idx="1292">
                  <c:v>2.3595981938374401E-3</c:v>
                </c:pt>
                <c:pt idx="1293">
                  <c:v>2.3359415468212513E-3</c:v>
                </c:pt>
                <c:pt idx="1294">
                  <c:v>2.2923618233045289E-3</c:v>
                </c:pt>
                <c:pt idx="1295">
                  <c:v>2.228569765625789E-3</c:v>
                </c:pt>
                <c:pt idx="1296">
                  <c:v>2.1421007257253107E-3</c:v>
                </c:pt>
                <c:pt idx="1297">
                  <c:v>2.063482798538054E-3</c:v>
                </c:pt>
                <c:pt idx="1298">
                  <c:v>1.9854118624726331E-3</c:v>
                </c:pt>
                <c:pt idx="1299">
                  <c:v>1.904338216425702E-3</c:v>
                </c:pt>
                <c:pt idx="1300">
                  <c:v>1.7922069106368875E-3</c:v>
                </c:pt>
                <c:pt idx="1301">
                  <c:v>1.7787331867512341E-3</c:v>
                </c:pt>
                <c:pt idx="1302">
                  <c:v>1.7677714299909148E-3</c:v>
                </c:pt>
                <c:pt idx="1303">
                  <c:v>1.7977444934993156E-3</c:v>
                </c:pt>
                <c:pt idx="1304">
                  <c:v>1.8179099357595806E-3</c:v>
                </c:pt>
                <c:pt idx="1305">
                  <c:v>1.8216250015153526E-3</c:v>
                </c:pt>
                <c:pt idx="1306">
                  <c:v>1.8660188867256941E-3</c:v>
                </c:pt>
                <c:pt idx="1307">
                  <c:v>1.8972858581104474E-3</c:v>
                </c:pt>
                <c:pt idx="1308">
                  <c:v>1.9312960270304188E-3</c:v>
                </c:pt>
                <c:pt idx="1309">
                  <c:v>1.9426330959106009E-3</c:v>
                </c:pt>
                <c:pt idx="1310">
                  <c:v>1.9431105522382409E-3</c:v>
                </c:pt>
                <c:pt idx="1311">
                  <c:v>1.9460985903127241E-3</c:v>
                </c:pt>
                <c:pt idx="1312">
                  <c:v>1.9366576581464775E-3</c:v>
                </c:pt>
                <c:pt idx="1313">
                  <c:v>1.90980870292471E-3</c:v>
                </c:pt>
                <c:pt idx="1314">
                  <c:v>1.8735700563357537E-3</c:v>
                </c:pt>
                <c:pt idx="1315">
                  <c:v>1.8208013376097832E-3</c:v>
                </c:pt>
                <c:pt idx="1316">
                  <c:v>1.8249113973084498E-3</c:v>
                </c:pt>
                <c:pt idx="1317">
                  <c:v>1.8376992567111854E-3</c:v>
                </c:pt>
                <c:pt idx="1318">
                  <c:v>1.8438513042228477E-3</c:v>
                </c:pt>
                <c:pt idx="1319">
                  <c:v>1.8387146464033826E-3</c:v>
                </c:pt>
                <c:pt idx="1320">
                  <c:v>1.8394925847665766E-3</c:v>
                </c:pt>
                <c:pt idx="1321">
                  <c:v>1.822591353359157E-3</c:v>
                </c:pt>
                <c:pt idx="1322">
                  <c:v>1.7900301579139211E-3</c:v>
                </c:pt>
                <c:pt idx="1323">
                  <c:v>1.7689571095929023E-3</c:v>
                </c:pt>
                <c:pt idx="1324">
                  <c:v>1.7355425884489713E-3</c:v>
                </c:pt>
                <c:pt idx="1325">
                  <c:v>1.6882746637510405E-3</c:v>
                </c:pt>
                <c:pt idx="1326">
                  <c:v>1.622896788313068E-3</c:v>
                </c:pt>
                <c:pt idx="1327">
                  <c:v>1.5867541196477651E-3</c:v>
                </c:pt>
                <c:pt idx="1328">
                  <c:v>1.5332683951397037E-3</c:v>
                </c:pt>
                <c:pt idx="1329">
                  <c:v>1.5100407443593301E-3</c:v>
                </c:pt>
                <c:pt idx="1330">
                  <c:v>1.4729406716686589E-3</c:v>
                </c:pt>
                <c:pt idx="1331">
                  <c:v>1.4321872236780519E-3</c:v>
                </c:pt>
                <c:pt idx="1332">
                  <c:v>1.3916845471308439E-3</c:v>
                </c:pt>
                <c:pt idx="1333">
                  <c:v>1.3733943917304467E-3</c:v>
                </c:pt>
                <c:pt idx="1334">
                  <c:v>1.3645164586296435E-3</c:v>
                </c:pt>
                <c:pt idx="1335">
                  <c:v>1.373879004071837E-3</c:v>
                </c:pt>
                <c:pt idx="1336">
                  <c:v>1.4579048260513891E-3</c:v>
                </c:pt>
                <c:pt idx="1337">
                  <c:v>1.5278329777426217E-3</c:v>
                </c:pt>
                <c:pt idx="1338">
                  <c:v>1.6741451609131671E-3</c:v>
                </c:pt>
                <c:pt idx="1339">
                  <c:v>1.8134807077519249E-3</c:v>
                </c:pt>
                <c:pt idx="1340">
                  <c:v>1.9257962245128016E-3</c:v>
                </c:pt>
                <c:pt idx="1341">
                  <c:v>2.0230700333312215E-3</c:v>
                </c:pt>
                <c:pt idx="1342">
                  <c:v>2.0954402489772529E-3</c:v>
                </c:pt>
                <c:pt idx="1343">
                  <c:v>2.155820121863591E-3</c:v>
                </c:pt>
                <c:pt idx="1344">
                  <c:v>2.1967232134320132E-3</c:v>
                </c:pt>
                <c:pt idx="1345">
                  <c:v>2.2222252855962194E-3</c:v>
                </c:pt>
                <c:pt idx="1346">
                  <c:v>2.2367420825609007E-3</c:v>
                </c:pt>
                <c:pt idx="1347">
                  <c:v>2.2535499762806753E-3</c:v>
                </c:pt>
                <c:pt idx="1348">
                  <c:v>2.3046229474977622E-3</c:v>
                </c:pt>
                <c:pt idx="1349">
                  <c:v>2.3871816836065563E-3</c:v>
                </c:pt>
                <c:pt idx="1350">
                  <c:v>2.4630787266629031E-3</c:v>
                </c:pt>
                <c:pt idx="1351">
                  <c:v>2.5151047815117353E-3</c:v>
                </c:pt>
                <c:pt idx="1352">
                  <c:v>2.5553453346266078E-3</c:v>
                </c:pt>
                <c:pt idx="1353">
                  <c:v>2.579725986432082E-3</c:v>
                </c:pt>
                <c:pt idx="1354">
                  <c:v>2.6589685676608409E-3</c:v>
                </c:pt>
                <c:pt idx="1355">
                  <c:v>2.7246503660940092E-3</c:v>
                </c:pt>
                <c:pt idx="1356">
                  <c:v>2.7912513608273188E-3</c:v>
                </c:pt>
                <c:pt idx="1357">
                  <c:v>2.8359302154955203E-3</c:v>
                </c:pt>
                <c:pt idx="1358">
                  <c:v>2.8437423532906838E-3</c:v>
                </c:pt>
                <c:pt idx="1359">
                  <c:v>2.8570513737715608E-3</c:v>
                </c:pt>
                <c:pt idx="1360">
                  <c:v>2.8554028119699907E-3</c:v>
                </c:pt>
                <c:pt idx="1361">
                  <c:v>2.8311466361692064E-3</c:v>
                </c:pt>
                <c:pt idx="1362">
                  <c:v>2.77857472921322E-3</c:v>
                </c:pt>
                <c:pt idx="1363">
                  <c:v>2.7150675205055192E-3</c:v>
                </c:pt>
                <c:pt idx="1364">
                  <c:v>2.6376222271321495E-3</c:v>
                </c:pt>
                <c:pt idx="1365">
                  <c:v>2.5872148915901168E-3</c:v>
                </c:pt>
                <c:pt idx="1366">
                  <c:v>2.5400443705675146E-3</c:v>
                </c:pt>
                <c:pt idx="1367">
                  <c:v>2.4679114705485751E-3</c:v>
                </c:pt>
                <c:pt idx="1368">
                  <c:v>2.4446708346528077E-3</c:v>
                </c:pt>
                <c:pt idx="1369">
                  <c:v>2.4241516973151447E-3</c:v>
                </c:pt>
                <c:pt idx="1370">
                  <c:v>2.3858604941932372E-3</c:v>
                </c:pt>
                <c:pt idx="1371">
                  <c:v>2.3478361947322098E-3</c:v>
                </c:pt>
                <c:pt idx="1372">
                  <c:v>2.311705889303667E-3</c:v>
                </c:pt>
                <c:pt idx="1373">
                  <c:v>2.2615604601191664E-3</c:v>
                </c:pt>
                <c:pt idx="1374">
                  <c:v>2.2120447753889777E-3</c:v>
                </c:pt>
                <c:pt idx="1375">
                  <c:v>2.1677588399551966E-3</c:v>
                </c:pt>
                <c:pt idx="1376">
                  <c:v>2.1046196795823677E-3</c:v>
                </c:pt>
                <c:pt idx="1377">
                  <c:v>2.0055927551918158E-3</c:v>
                </c:pt>
                <c:pt idx="1378">
                  <c:v>1.9419499667098486E-3</c:v>
                </c:pt>
                <c:pt idx="1379">
                  <c:v>1.9198034895776222E-3</c:v>
                </c:pt>
                <c:pt idx="1380">
                  <c:v>1.8828067107136059E-3</c:v>
                </c:pt>
                <c:pt idx="1381">
                  <c:v>1.8503481476260066E-3</c:v>
                </c:pt>
                <c:pt idx="1382">
                  <c:v>1.8031925768002763E-3</c:v>
                </c:pt>
                <c:pt idx="1383">
                  <c:v>1.7396962352674294E-3</c:v>
                </c:pt>
                <c:pt idx="1384">
                  <c:v>1.7386998713037497E-3</c:v>
                </c:pt>
                <c:pt idx="1385">
                  <c:v>1.7405368146207929E-3</c:v>
                </c:pt>
                <c:pt idx="1386">
                  <c:v>1.7619656422443303E-3</c:v>
                </c:pt>
                <c:pt idx="1387">
                  <c:v>1.7980775153396006E-3</c:v>
                </c:pt>
                <c:pt idx="1388">
                  <c:v>1.9510898025877749E-3</c:v>
                </c:pt>
                <c:pt idx="1389">
                  <c:v>2.0659061036939815E-3</c:v>
                </c:pt>
                <c:pt idx="1390">
                  <c:v>2.1620380742513436E-3</c:v>
                </c:pt>
                <c:pt idx="1391">
                  <c:v>2.2350871685419588E-3</c:v>
                </c:pt>
                <c:pt idx="1392">
                  <c:v>2.2864396960068675E-3</c:v>
                </c:pt>
                <c:pt idx="1393">
                  <c:v>2.3818976838276438E-3</c:v>
                </c:pt>
                <c:pt idx="1394">
                  <c:v>2.4468603281670065E-3</c:v>
                </c:pt>
                <c:pt idx="1395">
                  <c:v>2.5035539814920443E-3</c:v>
                </c:pt>
                <c:pt idx="1396">
                  <c:v>2.5544742445590134E-3</c:v>
                </c:pt>
                <c:pt idx="1397">
                  <c:v>2.6158882284762265E-3</c:v>
                </c:pt>
                <c:pt idx="1398">
                  <c:v>2.8296115592940986E-3</c:v>
                </c:pt>
                <c:pt idx="1399">
                  <c:v>3.0904054003053206E-3</c:v>
                </c:pt>
                <c:pt idx="1400">
                  <c:v>3.313639919492883E-3</c:v>
                </c:pt>
                <c:pt idx="1401">
                  <c:v>3.494494972066236E-3</c:v>
                </c:pt>
                <c:pt idx="1402">
                  <c:v>3.671437403100602E-3</c:v>
                </c:pt>
                <c:pt idx="1403">
                  <c:v>3.8358754743092931E-3</c:v>
                </c:pt>
                <c:pt idx="1404">
                  <c:v>4.0241056581856493E-3</c:v>
                </c:pt>
                <c:pt idx="1405">
                  <c:v>4.2280461185143052E-3</c:v>
                </c:pt>
                <c:pt idx="1406">
                  <c:v>4.3903979951050399E-3</c:v>
                </c:pt>
                <c:pt idx="1407">
                  <c:v>4.5235639788273781E-3</c:v>
                </c:pt>
                <c:pt idx="1408">
                  <c:v>4.620222216621883E-3</c:v>
                </c:pt>
                <c:pt idx="1409">
                  <c:v>4.6833366084950466E-3</c:v>
                </c:pt>
                <c:pt idx="1410">
                  <c:v>4.7622482231879908E-3</c:v>
                </c:pt>
                <c:pt idx="1411">
                  <c:v>4.8197721150876928E-3</c:v>
                </c:pt>
                <c:pt idx="1412">
                  <c:v>4.8365141756480795E-3</c:v>
                </c:pt>
                <c:pt idx="1413">
                  <c:v>4.817313555875247E-3</c:v>
                </c:pt>
                <c:pt idx="1414">
                  <c:v>4.7573897998415852E-3</c:v>
                </c:pt>
                <c:pt idx="1415">
                  <c:v>4.6715082836237005E-3</c:v>
                </c:pt>
                <c:pt idx="1416">
                  <c:v>4.5534316155557593E-3</c:v>
                </c:pt>
                <c:pt idx="1417">
                  <c:v>4.4085938246608844E-3</c:v>
                </c:pt>
                <c:pt idx="1418">
                  <c:v>4.3451583597957071E-3</c:v>
                </c:pt>
                <c:pt idx="1419">
                  <c:v>4.2494035055588653E-3</c:v>
                </c:pt>
                <c:pt idx="1420">
                  <c:v>4.1176695014738269E-3</c:v>
                </c:pt>
                <c:pt idx="1421">
                  <c:v>3.9528833941379132E-3</c:v>
                </c:pt>
                <c:pt idx="1422">
                  <c:v>3.7530871937068323E-3</c:v>
                </c:pt>
                <c:pt idx="1423">
                  <c:v>3.5862611706399617E-3</c:v>
                </c:pt>
                <c:pt idx="1424">
                  <c:v>3.3715502656224872E-3</c:v>
                </c:pt>
                <c:pt idx="1425">
                  <c:v>3.0941461282985479E-3</c:v>
                </c:pt>
                <c:pt idx="1426">
                  <c:v>2.8270264211794631E-3</c:v>
                </c:pt>
                <c:pt idx="1427">
                  <c:v>2.5505588639917866E-3</c:v>
                </c:pt>
                <c:pt idx="1428">
                  <c:v>2.5138554183177326E-3</c:v>
                </c:pt>
                <c:pt idx="1429">
                  <c:v>2.5207513435763153E-3</c:v>
                </c:pt>
                <c:pt idx="1430">
                  <c:v>2.5160181029103604E-3</c:v>
                </c:pt>
                <c:pt idx="1431">
                  <c:v>2.5153981448713778E-3</c:v>
                </c:pt>
                <c:pt idx="1432">
                  <c:v>2.5013502698353739E-3</c:v>
                </c:pt>
                <c:pt idx="1433">
                  <c:v>2.5511249451399104E-3</c:v>
                </c:pt>
                <c:pt idx="1434">
                  <c:v>2.6171838535615235E-3</c:v>
                </c:pt>
                <c:pt idx="1435">
                  <c:v>2.6836424909945289E-3</c:v>
                </c:pt>
                <c:pt idx="1436">
                  <c:v>2.7278892506946155E-3</c:v>
                </c:pt>
                <c:pt idx="1437">
                  <c:v>2.7567975768850801E-3</c:v>
                </c:pt>
                <c:pt idx="1438">
                  <c:v>0.12857143854984465</c:v>
                </c:pt>
                <c:pt idx="1439">
                  <c:v>0.27833022040309391</c:v>
                </c:pt>
                <c:pt idx="1440">
                  <c:v>0.36944482848369914</c:v>
                </c:pt>
                <c:pt idx="1441">
                  <c:v>0.45122158869056983</c:v>
                </c:pt>
                <c:pt idx="1442">
                  <c:v>0.57807570330824942</c:v>
                </c:pt>
                <c:pt idx="1443">
                  <c:v>0.67914950654916262</c:v>
                </c:pt>
                <c:pt idx="1444">
                  <c:v>0.80841250561813138</c:v>
                </c:pt>
                <c:pt idx="1445">
                  <c:v>0.9125924133089931</c:v>
                </c:pt>
                <c:pt idx="1446">
                  <c:v>1.0035825509342675</c:v>
                </c:pt>
                <c:pt idx="1447">
                  <c:v>1.2312721240729529</c:v>
                </c:pt>
                <c:pt idx="1448">
                  <c:v>1.698998093094819</c:v>
                </c:pt>
                <c:pt idx="1449">
                  <c:v>2.1514430141097187</c:v>
                </c:pt>
                <c:pt idx="1450">
                  <c:v>2.690692819196252</c:v>
                </c:pt>
                <c:pt idx="1451">
                  <c:v>3.2196445517999672</c:v>
                </c:pt>
                <c:pt idx="1452">
                  <c:v>3.6364759881751518</c:v>
                </c:pt>
                <c:pt idx="1453">
                  <c:v>3.9869277127353264</c:v>
                </c:pt>
                <c:pt idx="1454">
                  <c:v>4.2897825957994451</c:v>
                </c:pt>
                <c:pt idx="1455">
                  <c:v>4.5398828935657995</c:v>
                </c:pt>
                <c:pt idx="1456">
                  <c:v>4.775777249237608</c:v>
                </c:pt>
                <c:pt idx="1457">
                  <c:v>5.0368504283656712</c:v>
                </c:pt>
                <c:pt idx="1458">
                  <c:v>5.2516527234201105</c:v>
                </c:pt>
                <c:pt idx="1459">
                  <c:v>5.4245657832544119</c:v>
                </c:pt>
                <c:pt idx="1460">
                  <c:v>5.5554899109089328</c:v>
                </c:pt>
                <c:pt idx="1461">
                  <c:v>5.7389405757888179</c:v>
                </c:pt>
                <c:pt idx="1462">
                  <c:v>5.8713254311436742</c:v>
                </c:pt>
                <c:pt idx="1463">
                  <c:v>5.9595704058345627</c:v>
                </c:pt>
                <c:pt idx="1464">
                  <c:v>5.9987973001999642</c:v>
                </c:pt>
                <c:pt idx="1465">
                  <c:v>6.0088151145173008</c:v>
                </c:pt>
                <c:pt idx="1466">
                  <c:v>5.9660815174687682</c:v>
                </c:pt>
                <c:pt idx="1467">
                  <c:v>5.9376425200240037</c:v>
                </c:pt>
                <c:pt idx="1468">
                  <c:v>5.8908014892854483</c:v>
                </c:pt>
                <c:pt idx="1469">
                  <c:v>5.8219510250553057</c:v>
                </c:pt>
                <c:pt idx="1470">
                  <c:v>5.7072982908193639</c:v>
                </c:pt>
                <c:pt idx="1471">
                  <c:v>5.5407117145845382</c:v>
                </c:pt>
                <c:pt idx="1472">
                  <c:v>5.3519200159597755</c:v>
                </c:pt>
                <c:pt idx="1473">
                  <c:v>5.1448149463849635</c:v>
                </c:pt>
                <c:pt idx="1474">
                  <c:v>4.9041205504944001</c:v>
                </c:pt>
                <c:pt idx="1475">
                  <c:v>4.5820680860471166</c:v>
                </c:pt>
                <c:pt idx="1476">
                  <c:v>4.1694229791848239</c:v>
                </c:pt>
                <c:pt idx="1477">
                  <c:v>3.8018069636719209</c:v>
                </c:pt>
                <c:pt idx="1478">
                  <c:v>3.5979588769233586</c:v>
                </c:pt>
                <c:pt idx="1479">
                  <c:v>3.4179372816400297</c:v>
                </c:pt>
                <c:pt idx="1480">
                  <c:v>3.3454393126779367</c:v>
                </c:pt>
                <c:pt idx="1481">
                  <c:v>3.439897939626122</c:v>
                </c:pt>
                <c:pt idx="1482">
                  <c:v>3.5301933115362325</c:v>
                </c:pt>
                <c:pt idx="1483">
                  <c:v>3.587861821714371</c:v>
                </c:pt>
                <c:pt idx="1484">
                  <c:v>3.6093703926201126</c:v>
                </c:pt>
                <c:pt idx="1485">
                  <c:v>3.599148359215274</c:v>
                </c:pt>
                <c:pt idx="1486">
                  <c:v>3.7418795231163116</c:v>
                </c:pt>
                <c:pt idx="1487">
                  <c:v>3.8930487964972822</c:v>
                </c:pt>
                <c:pt idx="1488">
                  <c:v>3.9911015234703937</c:v>
                </c:pt>
                <c:pt idx="1489">
                  <c:v>4.0836510425750383</c:v>
                </c:pt>
                <c:pt idx="1490">
                  <c:v>4.1484570112407306</c:v>
                </c:pt>
                <c:pt idx="1491">
                  <c:v>4.2756716755711208</c:v>
                </c:pt>
                <c:pt idx="1492">
                  <c:v>4.3619372513390076</c:v>
                </c:pt>
                <c:pt idx="1493">
                  <c:v>4.4553092012754645</c:v>
                </c:pt>
                <c:pt idx="1494">
                  <c:v>4.5000581778985431</c:v>
                </c:pt>
                <c:pt idx="1495">
                  <c:v>4.5207052966818457</c:v>
                </c:pt>
                <c:pt idx="1496">
                  <c:v>4.5204373590918481</c:v>
                </c:pt>
                <c:pt idx="1497">
                  <c:v>4.5557506058097976</c:v>
                </c:pt>
                <c:pt idx="1498">
                  <c:v>4.5975957040022291</c:v>
                </c:pt>
                <c:pt idx="1499">
                  <c:v>4.6234816951629547</c:v>
                </c:pt>
                <c:pt idx="1500">
                  <c:v>4.6170228826268698</c:v>
                </c:pt>
                <c:pt idx="1501">
                  <c:v>4.5704457627168864</c:v>
                </c:pt>
                <c:pt idx="1502">
                  <c:v>4.4843462906986593</c:v>
                </c:pt>
                <c:pt idx="1503">
                  <c:v>4.4801072264665294</c:v>
                </c:pt>
                <c:pt idx="1504">
                  <c:v>4.4383217987281913</c:v>
                </c:pt>
                <c:pt idx="1505">
                  <c:v>4.3884188163425133</c:v>
                </c:pt>
                <c:pt idx="1506">
                  <c:v>4.3345294237187115</c:v>
                </c:pt>
                <c:pt idx="1507">
                  <c:v>4.2331568684868657</c:v>
                </c:pt>
                <c:pt idx="1508">
                  <c:v>4.1378989257146044</c:v>
                </c:pt>
                <c:pt idx="1509">
                  <c:v>3.9951609303533497</c:v>
                </c:pt>
                <c:pt idx="1510">
                  <c:v>3.8303074432093274</c:v>
                </c:pt>
                <c:pt idx="1511">
                  <c:v>3.7687986096698491</c:v>
                </c:pt>
                <c:pt idx="1512">
                  <c:v>3.7053546627897078</c:v>
                </c:pt>
                <c:pt idx="1513">
                  <c:v>3.6120550486429419</c:v>
                </c:pt>
                <c:pt idx="1514">
                  <c:v>3.4738642798292276</c:v>
                </c:pt>
                <c:pt idx="1515">
                  <c:v>3.4288670943717432</c:v>
                </c:pt>
                <c:pt idx="1516">
                  <c:v>3.5010079373374574</c:v>
                </c:pt>
                <c:pt idx="1517">
                  <c:v>3.5517559132540977</c:v>
                </c:pt>
                <c:pt idx="1518">
                  <c:v>3.5576686902430867</c:v>
                </c:pt>
                <c:pt idx="1519">
                  <c:v>3.5659236298141401</c:v>
                </c:pt>
                <c:pt idx="1520">
                  <c:v>3.6818512905651404</c:v>
                </c:pt>
                <c:pt idx="1521">
                  <c:v>3.7736322139224585</c:v>
                </c:pt>
                <c:pt idx="1522">
                  <c:v>3.859130014138791</c:v>
                </c:pt>
                <c:pt idx="1523">
                  <c:v>3.9374868869868358</c:v>
                </c:pt>
                <c:pt idx="1524">
                  <c:v>3.9724020570092042</c:v>
                </c:pt>
                <c:pt idx="1525">
                  <c:v>3.979928066585678</c:v>
                </c:pt>
                <c:pt idx="1526">
                  <c:v>4.0127195016869157</c:v>
                </c:pt>
                <c:pt idx="1527">
                  <c:v>4.0164781974298371</c:v>
                </c:pt>
                <c:pt idx="1528">
                  <c:v>4.0240965038071641</c:v>
                </c:pt>
                <c:pt idx="1529">
                  <c:v>4.0212394578447954</c:v>
                </c:pt>
                <c:pt idx="1530">
                  <c:v>3.980375871806324</c:v>
                </c:pt>
                <c:pt idx="1531">
                  <c:v>3.9303566073939651</c:v>
                </c:pt>
                <c:pt idx="1532">
                  <c:v>3.8399384122541496</c:v>
                </c:pt>
                <c:pt idx="1533">
                  <c:v>3.7877665479803482</c:v>
                </c:pt>
                <c:pt idx="1534">
                  <c:v>3.7152984028057459</c:v>
                </c:pt>
                <c:pt idx="1535">
                  <c:v>3.6482038742907568</c:v>
                </c:pt>
                <c:pt idx="1536">
                  <c:v>3.5848590831839786</c:v>
                </c:pt>
                <c:pt idx="1537">
                  <c:v>3.4987176214987441</c:v>
                </c:pt>
                <c:pt idx="1538">
                  <c:v>3.4820925855775848</c:v>
                </c:pt>
                <c:pt idx="1539">
                  <c:v>3.4399091973723688</c:v>
                </c:pt>
                <c:pt idx="1540">
                  <c:v>3.3898542187998855</c:v>
                </c:pt>
                <c:pt idx="1541">
                  <c:v>3.3325085389972675</c:v>
                </c:pt>
                <c:pt idx="1542">
                  <c:v>3.2419134342438216</c:v>
                </c:pt>
                <c:pt idx="1543">
                  <c:v>3.1200241821010546</c:v>
                </c:pt>
                <c:pt idx="1544">
                  <c:v>2.9466113504762821</c:v>
                </c:pt>
                <c:pt idx="1545">
                  <c:v>2.8886390813681855</c:v>
                </c:pt>
                <c:pt idx="1546">
                  <c:v>2.8057080826719343</c:v>
                </c:pt>
                <c:pt idx="1547">
                  <c:v>2.7069107276232405</c:v>
                </c:pt>
                <c:pt idx="1548">
                  <c:v>2.6638409835880732</c:v>
                </c:pt>
                <c:pt idx="1549">
                  <c:v>2.6826020102277006</c:v>
                </c:pt>
                <c:pt idx="1550">
                  <c:v>2.8271084183646011</c:v>
                </c:pt>
                <c:pt idx="1551">
                  <c:v>2.9357662294096327</c:v>
                </c:pt>
                <c:pt idx="1552">
                  <c:v>3.0460934683345893</c:v>
                </c:pt>
                <c:pt idx="1553">
                  <c:v>3.1601234608229882</c:v>
                </c:pt>
                <c:pt idx="1554">
                  <c:v>3.3102674218378922</c:v>
                </c:pt>
                <c:pt idx="1555">
                  <c:v>3.426280930900703</c:v>
                </c:pt>
                <c:pt idx="1556">
                  <c:v>3.5420832060299188</c:v>
                </c:pt>
                <c:pt idx="1557">
                  <c:v>3.6720031913504783</c:v>
                </c:pt>
                <c:pt idx="1558">
                  <c:v>3.7629580576152111</c:v>
                </c:pt>
                <c:pt idx="1559">
                  <c:v>3.881974338884556</c:v>
                </c:pt>
                <c:pt idx="1560">
                  <c:v>3.9774550840536946</c:v>
                </c:pt>
                <c:pt idx="1561">
                  <c:v>4.0817061703973119</c:v>
                </c:pt>
                <c:pt idx="1562">
                  <c:v>4.1554037243956774</c:v>
                </c:pt>
                <c:pt idx="1563">
                  <c:v>4.2144526811785097</c:v>
                </c:pt>
                <c:pt idx="1564">
                  <c:v>4.2582184382380701</c:v>
                </c:pt>
                <c:pt idx="1565">
                  <c:v>4.263851671783919</c:v>
                </c:pt>
                <c:pt idx="1566">
                  <c:v>4.3067171759435396</c:v>
                </c:pt>
                <c:pt idx="1567">
                  <c:v>4.3393177299006762</c:v>
                </c:pt>
                <c:pt idx="1568">
                  <c:v>4.3972504637441512</c:v>
                </c:pt>
                <c:pt idx="1569">
                  <c:v>4.4100752721019951</c:v>
                </c:pt>
                <c:pt idx="1570">
                  <c:v>4.4398830776711957</c:v>
                </c:pt>
                <c:pt idx="1571">
                  <c:v>4.5326511478007898</c:v>
                </c:pt>
                <c:pt idx="1572">
                  <c:v>4.5872869160908891</c:v>
                </c:pt>
                <c:pt idx="1573">
                  <c:v>4.6360883197859843</c:v>
                </c:pt>
                <c:pt idx="1574">
                  <c:v>4.6359764626892552</c:v>
                </c:pt>
                <c:pt idx="1575">
                  <c:v>4.6031460510292979</c:v>
                </c:pt>
                <c:pt idx="1576">
                  <c:v>4.542090202408871</c:v>
                </c:pt>
                <c:pt idx="1577">
                  <c:v>4.4906546077512681</c:v>
                </c:pt>
                <c:pt idx="1578">
                  <c:v>4.4930861173065333</c:v>
                </c:pt>
                <c:pt idx="1579">
                  <c:v>4.5269104226812997</c:v>
                </c:pt>
                <c:pt idx="1580">
                  <c:v>4.5515538165207428</c:v>
                </c:pt>
                <c:pt idx="1581">
                  <c:v>4.5858399187935586</c:v>
                </c:pt>
                <c:pt idx="1582">
                  <c:v>4.6164936311906057</c:v>
                </c:pt>
                <c:pt idx="1583">
                  <c:v>4.6272333705389652</c:v>
                </c:pt>
                <c:pt idx="1584">
                  <c:v>4.7031732817541441</c:v>
                </c:pt>
                <c:pt idx="1585">
                  <c:v>4.7436654689294464</c:v>
                </c:pt>
                <c:pt idx="1586">
                  <c:v>4.7710729770085436</c:v>
                </c:pt>
                <c:pt idx="1587">
                  <c:v>4.8058641229044303</c:v>
                </c:pt>
                <c:pt idx="1588">
                  <c:v>4.7838450122594871</c:v>
                </c:pt>
                <c:pt idx="1589">
                  <c:v>4.7730343283705778</c:v>
                </c:pt>
                <c:pt idx="1590">
                  <c:v>4.7805511529135423</c:v>
                </c:pt>
                <c:pt idx="1591">
                  <c:v>4.7897222894209985</c:v>
                </c:pt>
                <c:pt idx="1592">
                  <c:v>4.7665409661184137</c:v>
                </c:pt>
                <c:pt idx="1593">
                  <c:v>4.7234430432811418</c:v>
                </c:pt>
                <c:pt idx="1594">
                  <c:v>4.6383524110703354</c:v>
                </c:pt>
                <c:pt idx="1595">
                  <c:v>4.5132832828223348</c:v>
                </c:pt>
                <c:pt idx="1596">
                  <c:v>4.43797125851777</c:v>
                </c:pt>
                <c:pt idx="1597">
                  <c:v>4.358072618590092</c:v>
                </c:pt>
                <c:pt idx="1598">
                  <c:v>4.2340091426391355</c:v>
                </c:pt>
                <c:pt idx="1599">
                  <c:v>4.0610539429659314</c:v>
                </c:pt>
                <c:pt idx="1600">
                  <c:v>3.8965810363641404</c:v>
                </c:pt>
                <c:pt idx="1601">
                  <c:v>3.7760784101252609</c:v>
                </c:pt>
                <c:pt idx="1602">
                  <c:v>3.6657245671984473</c:v>
                </c:pt>
                <c:pt idx="1603">
                  <c:v>3.5533059901004411</c:v>
                </c:pt>
                <c:pt idx="1604">
                  <c:v>3.4274444185265005</c:v>
                </c:pt>
                <c:pt idx="1605">
                  <c:v>3.2897171286476059</c:v>
                </c:pt>
                <c:pt idx="1606">
                  <c:v>3.1770176477734404</c:v>
                </c:pt>
                <c:pt idx="1607">
                  <c:v>3.1138071439034469</c:v>
                </c:pt>
                <c:pt idx="1608">
                  <c:v>3.0215022307325858</c:v>
                </c:pt>
                <c:pt idx="1609">
                  <c:v>2.8964483137979218</c:v>
                </c:pt>
                <c:pt idx="1610">
                  <c:v>2.7498625694945154</c:v>
                </c:pt>
                <c:pt idx="1611">
                  <c:v>2.6475152875341457</c:v>
                </c:pt>
                <c:pt idx="1612">
                  <c:v>2.7200256554403732</c:v>
                </c:pt>
                <c:pt idx="1613">
                  <c:v>2.7494948236748953</c:v>
                </c:pt>
                <c:pt idx="1614">
                  <c:v>2.795422042776214</c:v>
                </c:pt>
                <c:pt idx="1615">
                  <c:v>2.8231850150663171</c:v>
                </c:pt>
                <c:pt idx="1616">
                  <c:v>2.9922318110371133</c:v>
                </c:pt>
                <c:pt idx="1617">
                  <c:v>3.2463542726061867</c:v>
                </c:pt>
                <c:pt idx="1618">
                  <c:v>3.4369175675326167</c:v>
                </c:pt>
                <c:pt idx="1619">
                  <c:v>3.6214388333521894</c:v>
                </c:pt>
                <c:pt idx="1620">
                  <c:v>3.7946592421602809</c:v>
                </c:pt>
                <c:pt idx="1621">
                  <c:v>4.1890581923562147</c:v>
                </c:pt>
                <c:pt idx="1622">
                  <c:v>4.628177973550283</c:v>
                </c:pt>
                <c:pt idx="1623">
                  <c:v>5.0454525836836766</c:v>
                </c:pt>
                <c:pt idx="1624">
                  <c:v>5.3797075767345417</c:v>
                </c:pt>
                <c:pt idx="1625">
                  <c:v>5.6535517550803585</c:v>
                </c:pt>
                <c:pt idx="1626">
                  <c:v>5.868713638448706</c:v>
                </c:pt>
                <c:pt idx="1627">
                  <c:v>6.0297864920019704</c:v>
                </c:pt>
                <c:pt idx="1628">
                  <c:v>11.097939056641467</c:v>
                </c:pt>
                <c:pt idx="1629">
                  <c:v>12.263245422606573</c:v>
                </c:pt>
                <c:pt idx="1630">
                  <c:v>12.114065310305737</c:v>
                </c:pt>
                <c:pt idx="1631">
                  <c:v>12.319749211126487</c:v>
                </c:pt>
                <c:pt idx="1632">
                  <c:v>13.685697845389727</c:v>
                </c:pt>
                <c:pt idx="1633">
                  <c:v>13.975844635594477</c:v>
                </c:pt>
                <c:pt idx="1634">
                  <c:v>14.491131121191813</c:v>
                </c:pt>
                <c:pt idx="1635">
                  <c:v>15.228368229494693</c:v>
                </c:pt>
                <c:pt idx="1636">
                  <c:v>15.178445950898466</c:v>
                </c:pt>
                <c:pt idx="1637">
                  <c:v>15.878884133276156</c:v>
                </c:pt>
                <c:pt idx="1638">
                  <c:v>15.599304902320538</c:v>
                </c:pt>
                <c:pt idx="1639">
                  <c:v>16.469088259805492</c:v>
                </c:pt>
                <c:pt idx="1640">
                  <c:v>16.247853225621004</c:v>
                </c:pt>
                <c:pt idx="1641">
                  <c:v>15.846151623859383</c:v>
                </c:pt>
                <c:pt idx="1642">
                  <c:v>15.865282817966493</c:v>
                </c:pt>
                <c:pt idx="1643">
                  <c:v>15.51760484041751</c:v>
                </c:pt>
                <c:pt idx="1644">
                  <c:v>15.12279922765423</c:v>
                </c:pt>
                <c:pt idx="1645">
                  <c:v>15.09152010143219</c:v>
                </c:pt>
                <c:pt idx="1646">
                  <c:v>14.838685417073487</c:v>
                </c:pt>
                <c:pt idx="1647">
                  <c:v>14.927277829019612</c:v>
                </c:pt>
                <c:pt idx="1648">
                  <c:v>14.577840203548348</c:v>
                </c:pt>
                <c:pt idx="1649">
                  <c:v>14.2867401501414</c:v>
                </c:pt>
                <c:pt idx="1650">
                  <c:v>13.923030144572291</c:v>
                </c:pt>
                <c:pt idx="1651">
                  <c:v>14.061005524307562</c:v>
                </c:pt>
                <c:pt idx="1652">
                  <c:v>13.972886586786313</c:v>
                </c:pt>
                <c:pt idx="1653">
                  <c:v>13.635389799917551</c:v>
                </c:pt>
                <c:pt idx="1654">
                  <c:v>13.523591657174835</c:v>
                </c:pt>
                <c:pt idx="1655">
                  <c:v>13.060724209349548</c:v>
                </c:pt>
                <c:pt idx="1656">
                  <c:v>12.916794442649939</c:v>
                </c:pt>
                <c:pt idx="1657">
                  <c:v>13.386080513926853</c:v>
                </c:pt>
                <c:pt idx="1658">
                  <c:v>12.889235183190463</c:v>
                </c:pt>
                <c:pt idx="1659">
                  <c:v>13.391728699645629</c:v>
                </c:pt>
                <c:pt idx="1660">
                  <c:v>13.427455071668714</c:v>
                </c:pt>
                <c:pt idx="1661">
                  <c:v>13.18593838392858</c:v>
                </c:pt>
                <c:pt idx="1662">
                  <c:v>14.485958830580842</c:v>
                </c:pt>
                <c:pt idx="1663">
                  <c:v>14.466720630372453</c:v>
                </c:pt>
                <c:pt idx="1664">
                  <c:v>15.227003969157735</c:v>
                </c:pt>
                <c:pt idx="1665">
                  <c:v>15.283995284698554</c:v>
                </c:pt>
                <c:pt idx="1666">
                  <c:v>17.357925112422144</c:v>
                </c:pt>
                <c:pt idx="1667">
                  <c:v>17.656357692685486</c:v>
                </c:pt>
                <c:pt idx="1668">
                  <c:v>18.626634984849737</c:v>
                </c:pt>
                <c:pt idx="1669">
                  <c:v>20.071275595635274</c:v>
                </c:pt>
                <c:pt idx="1670">
                  <c:v>19.990799920256855</c:v>
                </c:pt>
                <c:pt idx="1671">
                  <c:v>19.573623911768841</c:v>
                </c:pt>
                <c:pt idx="1672">
                  <c:v>19.594224046665602</c:v>
                </c:pt>
                <c:pt idx="1673">
                  <c:v>19.567179826652961</c:v>
                </c:pt>
                <c:pt idx="1674">
                  <c:v>18.428983757674416</c:v>
                </c:pt>
                <c:pt idx="1675">
                  <c:v>18.845391444043255</c:v>
                </c:pt>
                <c:pt idx="1676">
                  <c:v>18.125491477561688</c:v>
                </c:pt>
                <c:pt idx="1677">
                  <c:v>18.100769068020266</c:v>
                </c:pt>
                <c:pt idx="1678">
                  <c:v>17.159847055802608</c:v>
                </c:pt>
                <c:pt idx="1679">
                  <c:v>16.659147844656513</c:v>
                </c:pt>
                <c:pt idx="1680">
                  <c:v>16.376814149511556</c:v>
                </c:pt>
                <c:pt idx="1681">
                  <c:v>17.391999908505543</c:v>
                </c:pt>
                <c:pt idx="1682">
                  <c:v>17.122087136363042</c:v>
                </c:pt>
                <c:pt idx="1683">
                  <c:v>17.505224418993908</c:v>
                </c:pt>
                <c:pt idx="1684">
                  <c:v>17.179784361436539</c:v>
                </c:pt>
                <c:pt idx="1685">
                  <c:v>16.669969203881372</c:v>
                </c:pt>
                <c:pt idx="1686">
                  <c:v>16.258266873246757</c:v>
                </c:pt>
                <c:pt idx="1687">
                  <c:v>16.932806059405834</c:v>
                </c:pt>
                <c:pt idx="1688">
                  <c:v>15.997520860918335</c:v>
                </c:pt>
                <c:pt idx="1689">
                  <c:v>16.041160740771595</c:v>
                </c:pt>
                <c:pt idx="1690">
                  <c:v>16.234663543489972</c:v>
                </c:pt>
                <c:pt idx="1691">
                  <c:v>14.997349465118431</c:v>
                </c:pt>
                <c:pt idx="1692">
                  <c:v>15.634013438974991</c:v>
                </c:pt>
                <c:pt idx="1693">
                  <c:v>31.017381409036748</c:v>
                </c:pt>
                <c:pt idx="1694">
                  <c:v>40.32730036765458</c:v>
                </c:pt>
                <c:pt idx="1695">
                  <c:v>46.529357183135602</c:v>
                </c:pt>
                <c:pt idx="1696">
                  <c:v>46.910235770851251</c:v>
                </c:pt>
                <c:pt idx="1697">
                  <c:v>47.237655761121047</c:v>
                </c:pt>
                <c:pt idx="1698">
                  <c:v>47.199557189671076</c:v>
                </c:pt>
                <c:pt idx="1699">
                  <c:v>46.841636070035158</c:v>
                </c:pt>
                <c:pt idx="1700">
                  <c:v>48.040254504065146</c:v>
                </c:pt>
                <c:pt idx="1701">
                  <c:v>48.29410520717596</c:v>
                </c:pt>
                <c:pt idx="1702">
                  <c:v>48.29608092876979</c:v>
                </c:pt>
                <c:pt idx="1703">
                  <c:v>48.516704681379402</c:v>
                </c:pt>
                <c:pt idx="1704">
                  <c:v>48.710985299284843</c:v>
                </c:pt>
                <c:pt idx="1705">
                  <c:v>48.609822012641942</c:v>
                </c:pt>
                <c:pt idx="1706">
                  <c:v>48.45557711710142</c:v>
                </c:pt>
                <c:pt idx="1707">
                  <c:v>48.861254818459159</c:v>
                </c:pt>
                <c:pt idx="1708">
                  <c:v>48.601736385903735</c:v>
                </c:pt>
                <c:pt idx="1709">
                  <c:v>48.728467572698264</c:v>
                </c:pt>
                <c:pt idx="1710">
                  <c:v>49.163475031896738</c:v>
                </c:pt>
                <c:pt idx="1711">
                  <c:v>48.608011803772818</c:v>
                </c:pt>
                <c:pt idx="1712">
                  <c:v>48.702577063951772</c:v>
                </c:pt>
                <c:pt idx="1713">
                  <c:v>48.64238045826685</c:v>
                </c:pt>
                <c:pt idx="1714">
                  <c:v>48.551481696986087</c:v>
                </c:pt>
                <c:pt idx="1715">
                  <c:v>48.375319928136207</c:v>
                </c:pt>
                <c:pt idx="1716">
                  <c:v>49.01246322808796</c:v>
                </c:pt>
                <c:pt idx="1717">
                  <c:v>48.458870851879631</c:v>
                </c:pt>
                <c:pt idx="1718">
                  <c:v>48.780673648017938</c:v>
                </c:pt>
                <c:pt idx="1719">
                  <c:v>49.06350517656545</c:v>
                </c:pt>
                <c:pt idx="1720">
                  <c:v>49.127690092566795</c:v>
                </c:pt>
                <c:pt idx="1721">
                  <c:v>49.580060690349043</c:v>
                </c:pt>
                <c:pt idx="1722">
                  <c:v>49.73206471745555</c:v>
                </c:pt>
                <c:pt idx="1723">
                  <c:v>42.612320868312892</c:v>
                </c:pt>
                <c:pt idx="1724">
                  <c:v>34.162697140711792</c:v>
                </c:pt>
                <c:pt idx="1725">
                  <c:v>22.941463938686002</c:v>
                </c:pt>
                <c:pt idx="1726">
                  <c:v>19.980790279410506</c:v>
                </c:pt>
                <c:pt idx="1727">
                  <c:v>18.292215308997342</c:v>
                </c:pt>
                <c:pt idx="1728">
                  <c:v>15.65164482515655</c:v>
                </c:pt>
                <c:pt idx="1729">
                  <c:v>14.516233057418416</c:v>
                </c:pt>
                <c:pt idx="1730">
                  <c:v>13.563142582605924</c:v>
                </c:pt>
                <c:pt idx="1731">
                  <c:v>13.797128528190838</c:v>
                </c:pt>
                <c:pt idx="1732">
                  <c:v>13.213445549126989</c:v>
                </c:pt>
                <c:pt idx="1733">
                  <c:v>13.543246348714204</c:v>
                </c:pt>
                <c:pt idx="1734">
                  <c:v>13.526246254303427</c:v>
                </c:pt>
                <c:pt idx="1735">
                  <c:v>13.367581738280458</c:v>
                </c:pt>
                <c:pt idx="1736">
                  <c:v>13.337320861245562</c:v>
                </c:pt>
                <c:pt idx="1737">
                  <c:v>13.534409822826774</c:v>
                </c:pt>
                <c:pt idx="1738">
                  <c:v>12.801115449461747</c:v>
                </c:pt>
                <c:pt idx="1739">
                  <c:v>12.912696900270845</c:v>
                </c:pt>
                <c:pt idx="1740">
                  <c:v>12.738082844885739</c:v>
                </c:pt>
                <c:pt idx="1741">
                  <c:v>11.938447664518062</c:v>
                </c:pt>
                <c:pt idx="1742">
                  <c:v>11.889008626182282</c:v>
                </c:pt>
                <c:pt idx="1743">
                  <c:v>12.140645878914158</c:v>
                </c:pt>
                <c:pt idx="1744">
                  <c:v>11.500078609108639</c:v>
                </c:pt>
                <c:pt idx="1745">
                  <c:v>11.818725965570119</c:v>
                </c:pt>
                <c:pt idx="1746">
                  <c:v>11.628562832819346</c:v>
                </c:pt>
                <c:pt idx="1747">
                  <c:v>11.388730655638414</c:v>
                </c:pt>
                <c:pt idx="1748">
                  <c:v>11.367140572317036</c:v>
                </c:pt>
                <c:pt idx="1749">
                  <c:v>11.491091423657309</c:v>
                </c:pt>
                <c:pt idx="1750">
                  <c:v>11.50214346225115</c:v>
                </c:pt>
                <c:pt idx="1751">
                  <c:v>11.60914187323443</c:v>
                </c:pt>
                <c:pt idx="1752">
                  <c:v>11.765558760757077</c:v>
                </c:pt>
                <c:pt idx="1753">
                  <c:v>10.78018821185419</c:v>
                </c:pt>
                <c:pt idx="1754">
                  <c:v>11.447439297720692</c:v>
                </c:pt>
                <c:pt idx="1755">
                  <c:v>11.373620382371605</c:v>
                </c:pt>
                <c:pt idx="1756">
                  <c:v>11.23812652070681</c:v>
                </c:pt>
                <c:pt idx="1757">
                  <c:v>11.062799729057803</c:v>
                </c:pt>
                <c:pt idx="1758">
                  <c:v>11.29929126955043</c:v>
                </c:pt>
                <c:pt idx="1759">
                  <c:v>12.118288448671482</c:v>
                </c:pt>
                <c:pt idx="1760">
                  <c:v>11.453615473368311</c:v>
                </c:pt>
                <c:pt idx="1761">
                  <c:v>12.429318553120359</c:v>
                </c:pt>
                <c:pt idx="1762">
                  <c:v>11.974073760960971</c:v>
                </c:pt>
                <c:pt idx="1763">
                  <c:v>12.733160211029958</c:v>
                </c:pt>
                <c:pt idx="1764">
                  <c:v>12.534588610441157</c:v>
                </c:pt>
                <c:pt idx="1765">
                  <c:v>12.550771547757048</c:v>
                </c:pt>
                <c:pt idx="1766">
                  <c:v>12.768699968919265</c:v>
                </c:pt>
                <c:pt idx="1767">
                  <c:v>12.84960785275344</c:v>
                </c:pt>
                <c:pt idx="1768">
                  <c:v>13.039851272220703</c:v>
                </c:pt>
                <c:pt idx="1769">
                  <c:v>13.046608837042713</c:v>
                </c:pt>
                <c:pt idx="1770">
                  <c:v>13.65888180631724</c:v>
                </c:pt>
                <c:pt idx="1771">
                  <c:v>13.956908785308123</c:v>
                </c:pt>
                <c:pt idx="1772">
                  <c:v>13.449022203025729</c:v>
                </c:pt>
                <c:pt idx="1773">
                  <c:v>13.467352837634554</c:v>
                </c:pt>
                <c:pt idx="1774">
                  <c:v>14.052816555906551</c:v>
                </c:pt>
                <c:pt idx="1775">
                  <c:v>14.170776014190404</c:v>
                </c:pt>
                <c:pt idx="1776">
                  <c:v>13.70742797244138</c:v>
                </c:pt>
                <c:pt idx="1777">
                  <c:v>14.221601054090945</c:v>
                </c:pt>
                <c:pt idx="1778">
                  <c:v>13.887823768995659</c:v>
                </c:pt>
                <c:pt idx="1779">
                  <c:v>13.925958553313928</c:v>
                </c:pt>
                <c:pt idx="1780">
                  <c:v>14.064437397621422</c:v>
                </c:pt>
                <c:pt idx="1781">
                  <c:v>13.919154644083738</c:v>
                </c:pt>
                <c:pt idx="1782">
                  <c:v>13.93289092427748</c:v>
                </c:pt>
                <c:pt idx="1783">
                  <c:v>13.421354809507392</c:v>
                </c:pt>
                <c:pt idx="1784">
                  <c:v>14.251166323868986</c:v>
                </c:pt>
                <c:pt idx="1785">
                  <c:v>13.816643304634729</c:v>
                </c:pt>
                <c:pt idx="1786">
                  <c:v>13.730942338094035</c:v>
                </c:pt>
                <c:pt idx="1787">
                  <c:v>14.583196206544681</c:v>
                </c:pt>
                <c:pt idx="1788">
                  <c:v>14.769343916279297</c:v>
                </c:pt>
                <c:pt idx="1789">
                  <c:v>14.704706506801884</c:v>
                </c:pt>
                <c:pt idx="1790">
                  <c:v>14.878408695208556</c:v>
                </c:pt>
                <c:pt idx="1791">
                  <c:v>14.944326498598263</c:v>
                </c:pt>
                <c:pt idx="1792">
                  <c:v>15.50381790222897</c:v>
                </c:pt>
                <c:pt idx="1793">
                  <c:v>20.807133617724034</c:v>
                </c:pt>
                <c:pt idx="1794">
                  <c:v>20.494763677956012</c:v>
                </c:pt>
                <c:pt idx="1795">
                  <c:v>24.224890190943565</c:v>
                </c:pt>
                <c:pt idx="1796">
                  <c:v>25.020581376855503</c:v>
                </c:pt>
                <c:pt idx="1797">
                  <c:v>26.926946960123974</c:v>
                </c:pt>
                <c:pt idx="1798">
                  <c:v>27.407901670088119</c:v>
                </c:pt>
                <c:pt idx="1799">
                  <c:v>28.129260342041608</c:v>
                </c:pt>
                <c:pt idx="1800">
                  <c:v>29.063526659660997</c:v>
                </c:pt>
                <c:pt idx="1801">
                  <c:v>29.61530234872772</c:v>
                </c:pt>
                <c:pt idx="1802">
                  <c:v>29.102257249706739</c:v>
                </c:pt>
                <c:pt idx="1803">
                  <c:v>30.104182591560196</c:v>
                </c:pt>
                <c:pt idx="1804">
                  <c:v>30.371266120696848</c:v>
                </c:pt>
                <c:pt idx="1805">
                  <c:v>29.903381882973807</c:v>
                </c:pt>
                <c:pt idx="1806">
                  <c:v>30.136231527779316</c:v>
                </c:pt>
                <c:pt idx="1807">
                  <c:v>30.043207324718189</c:v>
                </c:pt>
                <c:pt idx="1808">
                  <c:v>29.309764594311606</c:v>
                </c:pt>
                <c:pt idx="1809">
                  <c:v>28.999979453115735</c:v>
                </c:pt>
                <c:pt idx="1810">
                  <c:v>28.023849790506908</c:v>
                </c:pt>
                <c:pt idx="1811">
                  <c:v>28.299450412824445</c:v>
                </c:pt>
                <c:pt idx="1812">
                  <c:v>27.655625219423971</c:v>
                </c:pt>
                <c:pt idx="1813">
                  <c:v>26.434194481182484</c:v>
                </c:pt>
                <c:pt idx="1814">
                  <c:v>26.349921752641322</c:v>
                </c:pt>
                <c:pt idx="1815">
                  <c:v>25.035644031669609</c:v>
                </c:pt>
                <c:pt idx="1816">
                  <c:v>23.559165042486782</c:v>
                </c:pt>
                <c:pt idx="1817">
                  <c:v>23.461241525371943</c:v>
                </c:pt>
                <c:pt idx="1818">
                  <c:v>20.636328692778278</c:v>
                </c:pt>
                <c:pt idx="1819">
                  <c:v>19.067016865127304</c:v>
                </c:pt>
                <c:pt idx="1820">
                  <c:v>18.364520465431323</c:v>
                </c:pt>
                <c:pt idx="1821">
                  <c:v>14.019324973385032</c:v>
                </c:pt>
                <c:pt idx="1822">
                  <c:v>13.112304177588536</c:v>
                </c:pt>
                <c:pt idx="1823">
                  <c:v>12.544148078792572</c:v>
                </c:pt>
                <c:pt idx="1824">
                  <c:v>11.553271114525943</c:v>
                </c:pt>
                <c:pt idx="1825">
                  <c:v>10.750763204585072</c:v>
                </c:pt>
                <c:pt idx="1826">
                  <c:v>11.286983696778043</c:v>
                </c:pt>
                <c:pt idx="1827">
                  <c:v>11.378128176043516</c:v>
                </c:pt>
                <c:pt idx="1828">
                  <c:v>11.180083211996642</c:v>
                </c:pt>
                <c:pt idx="1829">
                  <c:v>11.197486154338362</c:v>
                </c:pt>
                <c:pt idx="1830">
                  <c:v>11.726736776800553</c:v>
                </c:pt>
                <c:pt idx="1831">
                  <c:v>12.181321239544138</c:v>
                </c:pt>
                <c:pt idx="1832">
                  <c:v>11.960590507656219</c:v>
                </c:pt>
                <c:pt idx="1833">
                  <c:v>11.734331088360145</c:v>
                </c:pt>
                <c:pt idx="1834">
                  <c:v>11.805896726785848</c:v>
                </c:pt>
                <c:pt idx="1835">
                  <c:v>12.188621290909254</c:v>
                </c:pt>
                <c:pt idx="1836">
                  <c:v>12.09085869819795</c:v>
                </c:pt>
                <c:pt idx="1837">
                  <c:v>11.487726630268845</c:v>
                </c:pt>
                <c:pt idx="1838">
                  <c:v>11.613531737646648</c:v>
                </c:pt>
                <c:pt idx="1839">
                  <c:v>11.575691512290975</c:v>
                </c:pt>
                <c:pt idx="1840">
                  <c:v>11.506898185601269</c:v>
                </c:pt>
                <c:pt idx="1841">
                  <c:v>11.534031529816769</c:v>
                </c:pt>
                <c:pt idx="1842">
                  <c:v>11.750707356553896</c:v>
                </c:pt>
                <c:pt idx="1843">
                  <c:v>11.740330162787201</c:v>
                </c:pt>
                <c:pt idx="1844">
                  <c:v>11.944076068129526</c:v>
                </c:pt>
                <c:pt idx="1845">
                  <c:v>11.868866211105837</c:v>
                </c:pt>
                <c:pt idx="1846">
                  <c:v>11.890295017212706</c:v>
                </c:pt>
                <c:pt idx="1847">
                  <c:v>11.885227838258171</c:v>
                </c:pt>
                <c:pt idx="1848">
                  <c:v>12.046096538787243</c:v>
                </c:pt>
                <c:pt idx="1849">
                  <c:v>11.890223399973188</c:v>
                </c:pt>
                <c:pt idx="1850">
                  <c:v>11.665258072024109</c:v>
                </c:pt>
                <c:pt idx="1851">
                  <c:v>11.888747516228904</c:v>
                </c:pt>
                <c:pt idx="1852">
                  <c:v>11.90047382438822</c:v>
                </c:pt>
                <c:pt idx="1853">
                  <c:v>11.826969476498588</c:v>
                </c:pt>
                <c:pt idx="1854">
                  <c:v>11.797967347409172</c:v>
                </c:pt>
                <c:pt idx="1855">
                  <c:v>12.346226323003526</c:v>
                </c:pt>
                <c:pt idx="1856">
                  <c:v>11.614120422107691</c:v>
                </c:pt>
                <c:pt idx="1857">
                  <c:v>11.912690214571786</c:v>
                </c:pt>
                <c:pt idx="1858">
                  <c:v>12.324302872562324</c:v>
                </c:pt>
                <c:pt idx="1859">
                  <c:v>12.395514189311879</c:v>
                </c:pt>
                <c:pt idx="1860">
                  <c:v>12.484004061712184</c:v>
                </c:pt>
                <c:pt idx="1861">
                  <c:v>12.61658115556291</c:v>
                </c:pt>
                <c:pt idx="1862">
                  <c:v>12.655135882497939</c:v>
                </c:pt>
                <c:pt idx="1863">
                  <c:v>12.883187204817506</c:v>
                </c:pt>
                <c:pt idx="1864">
                  <c:v>13.501109536558221</c:v>
                </c:pt>
                <c:pt idx="1865">
                  <c:v>13.171106699408192</c:v>
                </c:pt>
                <c:pt idx="1866">
                  <c:v>13.205731499777588</c:v>
                </c:pt>
                <c:pt idx="1867">
                  <c:v>13.139227033765522</c:v>
                </c:pt>
                <c:pt idx="1868">
                  <c:v>13.157260091960282</c:v>
                </c:pt>
                <c:pt idx="1869">
                  <c:v>13.081967128722916</c:v>
                </c:pt>
                <c:pt idx="1870">
                  <c:v>13.197335740940392</c:v>
                </c:pt>
                <c:pt idx="1871">
                  <c:v>13.213788114785725</c:v>
                </c:pt>
                <c:pt idx="1872">
                  <c:v>13.230830512561518</c:v>
                </c:pt>
                <c:pt idx="1873">
                  <c:v>13.169120184653453</c:v>
                </c:pt>
                <c:pt idx="1874">
                  <c:v>13.165465573018528</c:v>
                </c:pt>
                <c:pt idx="1875">
                  <c:v>13.121966367257825</c:v>
                </c:pt>
                <c:pt idx="1876">
                  <c:v>13.458740841498024</c:v>
                </c:pt>
                <c:pt idx="1877">
                  <c:v>13.669828727421219</c:v>
                </c:pt>
                <c:pt idx="1878">
                  <c:v>13.596431897480736</c:v>
                </c:pt>
                <c:pt idx="1879">
                  <c:v>13.58447945729506</c:v>
                </c:pt>
                <c:pt idx="1880">
                  <c:v>13.686813165195653</c:v>
                </c:pt>
                <c:pt idx="1881">
                  <c:v>13.827989968155476</c:v>
                </c:pt>
                <c:pt idx="1882">
                  <c:v>13.822239989745622</c:v>
                </c:pt>
                <c:pt idx="1883">
                  <c:v>14.023813265557106</c:v>
                </c:pt>
                <c:pt idx="1884">
                  <c:v>14.178542132094719</c:v>
                </c:pt>
                <c:pt idx="1885">
                  <c:v>14.307397313270823</c:v>
                </c:pt>
                <c:pt idx="1886">
                  <c:v>14.254461358380034</c:v>
                </c:pt>
                <c:pt idx="1887">
                  <c:v>13.928585776381883</c:v>
                </c:pt>
                <c:pt idx="1888">
                  <c:v>13.804535675937226</c:v>
                </c:pt>
                <c:pt idx="1889">
                  <c:v>13.930844876477428</c:v>
                </c:pt>
                <c:pt idx="1890">
                  <c:v>13.54585652166163</c:v>
                </c:pt>
                <c:pt idx="1891">
                  <c:v>13.2127846743121</c:v>
                </c:pt>
                <c:pt idx="1892">
                  <c:v>13.504048490565522</c:v>
                </c:pt>
                <c:pt idx="1893">
                  <c:v>13.144268357823504</c:v>
                </c:pt>
                <c:pt idx="1894">
                  <c:v>12.464781926619111</c:v>
                </c:pt>
                <c:pt idx="1895">
                  <c:v>12.658343102958145</c:v>
                </c:pt>
                <c:pt idx="1896">
                  <c:v>12.837931504730136</c:v>
                </c:pt>
                <c:pt idx="1897">
                  <c:v>12.544511463482694</c:v>
                </c:pt>
                <c:pt idx="1898">
                  <c:v>12.442382896135863</c:v>
                </c:pt>
                <c:pt idx="1899">
                  <c:v>12.536404028510521</c:v>
                </c:pt>
                <c:pt idx="1900">
                  <c:v>12.615710707862979</c:v>
                </c:pt>
                <c:pt idx="1901">
                  <c:v>12.499277216260957</c:v>
                </c:pt>
                <c:pt idx="1902">
                  <c:v>12.545385486247598</c:v>
                </c:pt>
                <c:pt idx="1903">
                  <c:v>12.488970155760979</c:v>
                </c:pt>
                <c:pt idx="1904">
                  <c:v>12.441847448193995</c:v>
                </c:pt>
                <c:pt idx="1905">
                  <c:v>12.350959703842467</c:v>
                </c:pt>
                <c:pt idx="1906">
                  <c:v>12.300254850790585</c:v>
                </c:pt>
                <c:pt idx="1907">
                  <c:v>12.571508743549675</c:v>
                </c:pt>
                <c:pt idx="1908">
                  <c:v>12.555920783227817</c:v>
                </c:pt>
                <c:pt idx="1909">
                  <c:v>13.144127688107513</c:v>
                </c:pt>
                <c:pt idx="1910">
                  <c:v>13.224733366123035</c:v>
                </c:pt>
                <c:pt idx="1911">
                  <c:v>12.826384740347914</c:v>
                </c:pt>
                <c:pt idx="1912">
                  <c:v>13.036125778201523</c:v>
                </c:pt>
                <c:pt idx="1913">
                  <c:v>13.286208144563767</c:v>
                </c:pt>
                <c:pt idx="1914">
                  <c:v>12.762062063368283</c:v>
                </c:pt>
                <c:pt idx="1915">
                  <c:v>12.613818389023093</c:v>
                </c:pt>
                <c:pt idx="1916">
                  <c:v>12.978050384040747</c:v>
                </c:pt>
                <c:pt idx="1917">
                  <c:v>12.728366652710136</c:v>
                </c:pt>
                <c:pt idx="1918">
                  <c:v>12.74640200364678</c:v>
                </c:pt>
                <c:pt idx="1919">
                  <c:v>12.845122151909548</c:v>
                </c:pt>
                <c:pt idx="1920">
                  <c:v>12.726729553217615</c:v>
                </c:pt>
                <c:pt idx="1921">
                  <c:v>12.537768621716596</c:v>
                </c:pt>
                <c:pt idx="1922">
                  <c:v>12.673675746869456</c:v>
                </c:pt>
                <c:pt idx="1923">
                  <c:v>12.786649863712299</c:v>
                </c:pt>
                <c:pt idx="1924">
                  <c:v>12.711913152339291</c:v>
                </c:pt>
                <c:pt idx="1925">
                  <c:v>12.414349404922316</c:v>
                </c:pt>
                <c:pt idx="1926">
                  <c:v>12.302635385787298</c:v>
                </c:pt>
                <c:pt idx="1927">
                  <c:v>12.330062320997754</c:v>
                </c:pt>
                <c:pt idx="1928">
                  <c:v>12.564171960871105</c:v>
                </c:pt>
                <c:pt idx="1929">
                  <c:v>12.591151043895247</c:v>
                </c:pt>
                <c:pt idx="1930">
                  <c:v>12.427577415121029</c:v>
                </c:pt>
                <c:pt idx="1931">
                  <c:v>12.336378905649475</c:v>
                </c:pt>
                <c:pt idx="1932">
                  <c:v>12.377468951644438</c:v>
                </c:pt>
                <c:pt idx="1933">
                  <c:v>12.821756329974402</c:v>
                </c:pt>
                <c:pt idx="1934">
                  <c:v>12.794791659790203</c:v>
                </c:pt>
                <c:pt idx="1935">
                  <c:v>13.426490330701649</c:v>
                </c:pt>
                <c:pt idx="1936">
                  <c:v>13.39836666127062</c:v>
                </c:pt>
                <c:pt idx="1937">
                  <c:v>12.911781151506593</c:v>
                </c:pt>
                <c:pt idx="1938">
                  <c:v>13.094211994304128</c:v>
                </c:pt>
                <c:pt idx="1939">
                  <c:v>13.228207599385003</c:v>
                </c:pt>
                <c:pt idx="1940">
                  <c:v>12.93218331193126</c:v>
                </c:pt>
                <c:pt idx="1941">
                  <c:v>13.244635072572663</c:v>
                </c:pt>
                <c:pt idx="1942">
                  <c:v>13.578581496449816</c:v>
                </c:pt>
                <c:pt idx="1943">
                  <c:v>13.232006135460173</c:v>
                </c:pt>
                <c:pt idx="1944">
                  <c:v>13.270537263322069</c:v>
                </c:pt>
                <c:pt idx="1945">
                  <c:v>13.184785962718664</c:v>
                </c:pt>
                <c:pt idx="1946">
                  <c:v>12.817479155116844</c:v>
                </c:pt>
                <c:pt idx="1947">
                  <c:v>12.857680020570873</c:v>
                </c:pt>
                <c:pt idx="1948">
                  <c:v>12.66749463174555</c:v>
                </c:pt>
                <c:pt idx="1949">
                  <c:v>12.43946147716909</c:v>
                </c:pt>
                <c:pt idx="1950">
                  <c:v>12.417974325027018</c:v>
                </c:pt>
                <c:pt idx="1951">
                  <c:v>12.539411403524717</c:v>
                </c:pt>
                <c:pt idx="1952">
                  <c:v>11.944993678765476</c:v>
                </c:pt>
                <c:pt idx="1953">
                  <c:v>11.924706156766508</c:v>
                </c:pt>
                <c:pt idx="1954">
                  <c:v>11.869167711557795</c:v>
                </c:pt>
                <c:pt idx="1955">
                  <c:v>11.976571035317463</c:v>
                </c:pt>
                <c:pt idx="1956">
                  <c:v>11.993106430338274</c:v>
                </c:pt>
                <c:pt idx="1957">
                  <c:v>11.985091732998985</c:v>
                </c:pt>
                <c:pt idx="1958">
                  <c:v>11.866654591931439</c:v>
                </c:pt>
                <c:pt idx="1959">
                  <c:v>12.200218857340136</c:v>
                </c:pt>
                <c:pt idx="1960">
                  <c:v>12.318308728425704</c:v>
                </c:pt>
                <c:pt idx="1961">
                  <c:v>12.695021997885341</c:v>
                </c:pt>
                <c:pt idx="1962">
                  <c:v>12.857969357129846</c:v>
                </c:pt>
                <c:pt idx="1963">
                  <c:v>12.441406462155991</c:v>
                </c:pt>
                <c:pt idx="1964">
                  <c:v>12.853959756101638</c:v>
                </c:pt>
                <c:pt idx="1965">
                  <c:v>12.707934546796377</c:v>
                </c:pt>
                <c:pt idx="1966">
                  <c:v>12.481091026066867</c:v>
                </c:pt>
                <c:pt idx="1967">
                  <c:v>12.712298411692458</c:v>
                </c:pt>
                <c:pt idx="1968">
                  <c:v>12.968997445994317</c:v>
                </c:pt>
                <c:pt idx="1969">
                  <c:v>12.498720183540627</c:v>
                </c:pt>
                <c:pt idx="1970">
                  <c:v>12.759664804642179</c:v>
                </c:pt>
                <c:pt idx="1971">
                  <c:v>12.838542212209276</c:v>
                </c:pt>
                <c:pt idx="1972">
                  <c:v>12.250913215553471</c:v>
                </c:pt>
                <c:pt idx="1973">
                  <c:v>12.479816562236753</c:v>
                </c:pt>
                <c:pt idx="1974">
                  <c:v>12.502145202392182</c:v>
                </c:pt>
                <c:pt idx="1975">
                  <c:v>12.39885220828328</c:v>
                </c:pt>
                <c:pt idx="1976">
                  <c:v>12.378629179156828</c:v>
                </c:pt>
                <c:pt idx="1977">
                  <c:v>12.582957348108192</c:v>
                </c:pt>
                <c:pt idx="1978">
                  <c:v>12.544467642356848</c:v>
                </c:pt>
                <c:pt idx="1979">
                  <c:v>12.500002779454951</c:v>
                </c:pt>
                <c:pt idx="1980">
                  <c:v>12.602467865840246</c:v>
                </c:pt>
                <c:pt idx="1981">
                  <c:v>12.564442781784027</c:v>
                </c:pt>
                <c:pt idx="1982">
                  <c:v>12.654509337977373</c:v>
                </c:pt>
                <c:pt idx="1983">
                  <c:v>12.911776472261748</c:v>
                </c:pt>
                <c:pt idx="1984">
                  <c:v>13.514812923590309</c:v>
                </c:pt>
                <c:pt idx="1985">
                  <c:v>13.478596999569097</c:v>
                </c:pt>
                <c:pt idx="1986">
                  <c:v>13.453317216638949</c:v>
                </c:pt>
                <c:pt idx="1987">
                  <c:v>13.772621422094682</c:v>
                </c:pt>
                <c:pt idx="1988">
                  <c:v>13.761991103107135</c:v>
                </c:pt>
                <c:pt idx="1989">
                  <c:v>13.313633425202203</c:v>
                </c:pt>
                <c:pt idx="1990">
                  <c:v>13.23695250964137</c:v>
                </c:pt>
                <c:pt idx="1991">
                  <c:v>13.188308879793256</c:v>
                </c:pt>
                <c:pt idx="1992">
                  <c:v>13.04314681005247</c:v>
                </c:pt>
                <c:pt idx="1993">
                  <c:v>13.075359887330206</c:v>
                </c:pt>
                <c:pt idx="1994">
                  <c:v>13.012569918278182</c:v>
                </c:pt>
                <c:pt idx="1995">
                  <c:v>13.016581918417632</c:v>
                </c:pt>
                <c:pt idx="1996">
                  <c:v>12.953538889530538</c:v>
                </c:pt>
                <c:pt idx="1997">
                  <c:v>12.827071667739725</c:v>
                </c:pt>
                <c:pt idx="1998">
                  <c:v>12.756544954511398</c:v>
                </c:pt>
                <c:pt idx="1999">
                  <c:v>12.687832482045607</c:v>
                </c:pt>
                <c:pt idx="2000">
                  <c:v>12.636416206708258</c:v>
                </c:pt>
                <c:pt idx="2001">
                  <c:v>12.711764393948529</c:v>
                </c:pt>
                <c:pt idx="2002">
                  <c:v>12.761575596149083</c:v>
                </c:pt>
                <c:pt idx="2003">
                  <c:v>12.42939604213716</c:v>
                </c:pt>
                <c:pt idx="2004">
                  <c:v>12.51258062481388</c:v>
                </c:pt>
                <c:pt idx="2005">
                  <c:v>12.586862586199945</c:v>
                </c:pt>
                <c:pt idx="2006">
                  <c:v>12.598800932586569</c:v>
                </c:pt>
                <c:pt idx="2007">
                  <c:v>12.262279327604512</c:v>
                </c:pt>
                <c:pt idx="2008">
                  <c:v>12.184339963624977</c:v>
                </c:pt>
                <c:pt idx="2009">
                  <c:v>12.257198148767516</c:v>
                </c:pt>
                <c:pt idx="2010">
                  <c:v>12.190563066784959</c:v>
                </c:pt>
                <c:pt idx="2011">
                  <c:v>12.185009144359782</c:v>
                </c:pt>
                <c:pt idx="2012">
                  <c:v>12.386793590566912</c:v>
                </c:pt>
                <c:pt idx="2013">
                  <c:v>12.190543733900951</c:v>
                </c:pt>
                <c:pt idx="2014">
                  <c:v>11.622492244022782</c:v>
                </c:pt>
                <c:pt idx="2015">
                  <c:v>11.634403619675465</c:v>
                </c:pt>
                <c:pt idx="2016">
                  <c:v>12.142175913001036</c:v>
                </c:pt>
                <c:pt idx="2017">
                  <c:v>12.607363131812715</c:v>
                </c:pt>
                <c:pt idx="2018">
                  <c:v>12.564661945937214</c:v>
                </c:pt>
                <c:pt idx="2019">
                  <c:v>12.721654391517433</c:v>
                </c:pt>
                <c:pt idx="2020">
                  <c:v>13.107287433257671</c:v>
                </c:pt>
                <c:pt idx="2021">
                  <c:v>12.804146196095564</c:v>
                </c:pt>
                <c:pt idx="2022">
                  <c:v>12.934456276475538</c:v>
                </c:pt>
                <c:pt idx="2023">
                  <c:v>13.342059917696456</c:v>
                </c:pt>
                <c:pt idx="2024">
                  <c:v>13.19769037672706</c:v>
                </c:pt>
                <c:pt idx="2025">
                  <c:v>12.678552368536113</c:v>
                </c:pt>
                <c:pt idx="2026">
                  <c:v>12.900198680168309</c:v>
                </c:pt>
                <c:pt idx="2027">
                  <c:v>13.15106318252827</c:v>
                </c:pt>
                <c:pt idx="2028">
                  <c:v>12.870420034003484</c:v>
                </c:pt>
                <c:pt idx="2029">
                  <c:v>12.807964210495935</c:v>
                </c:pt>
                <c:pt idx="2030">
                  <c:v>12.892853487704045</c:v>
                </c:pt>
                <c:pt idx="2031">
                  <c:v>12.534046390981022</c:v>
                </c:pt>
                <c:pt idx="2032">
                  <c:v>12.490926167082479</c:v>
                </c:pt>
                <c:pt idx="2033">
                  <c:v>12.498541867022436</c:v>
                </c:pt>
                <c:pt idx="2034">
                  <c:v>12.258529742889943</c:v>
                </c:pt>
                <c:pt idx="2035">
                  <c:v>12.112797637264661</c:v>
                </c:pt>
                <c:pt idx="2036">
                  <c:v>12.090440046624916</c:v>
                </c:pt>
                <c:pt idx="2037">
                  <c:v>12.072811832663712</c:v>
                </c:pt>
                <c:pt idx="2038">
                  <c:v>12.229247980391463</c:v>
                </c:pt>
                <c:pt idx="2039">
                  <c:v>12.46017537876436</c:v>
                </c:pt>
                <c:pt idx="2040">
                  <c:v>12.593854679073505</c:v>
                </c:pt>
                <c:pt idx="2041">
                  <c:v>12.500496778907811</c:v>
                </c:pt>
                <c:pt idx="2042">
                  <c:v>12.752293072669033</c:v>
                </c:pt>
                <c:pt idx="2043">
                  <c:v>13.062952448721219</c:v>
                </c:pt>
                <c:pt idx="2044">
                  <c:v>13.109280421715413</c:v>
                </c:pt>
                <c:pt idx="2045">
                  <c:v>13.506868596828845</c:v>
                </c:pt>
                <c:pt idx="2046">
                  <c:v>13.335865090308985</c:v>
                </c:pt>
                <c:pt idx="2047">
                  <c:v>12.642893172094979</c:v>
                </c:pt>
                <c:pt idx="2048">
                  <c:v>12.758330626847229</c:v>
                </c:pt>
                <c:pt idx="2049">
                  <c:v>12.887277107796054</c:v>
                </c:pt>
                <c:pt idx="2050">
                  <c:v>12.875208430487444</c:v>
                </c:pt>
                <c:pt idx="2051">
                  <c:v>12.867344894942342</c:v>
                </c:pt>
                <c:pt idx="2052">
                  <c:v>12.686379599800684</c:v>
                </c:pt>
                <c:pt idx="2053">
                  <c:v>12.781897777332595</c:v>
                </c:pt>
                <c:pt idx="2054">
                  <c:v>12.763381422810042</c:v>
                </c:pt>
                <c:pt idx="2055">
                  <c:v>12.89926266726939</c:v>
                </c:pt>
                <c:pt idx="2056">
                  <c:v>12.83101811947439</c:v>
                </c:pt>
                <c:pt idx="2057">
                  <c:v>12.433961850779356</c:v>
                </c:pt>
                <c:pt idx="2058">
                  <c:v>12.458531120778146</c:v>
                </c:pt>
                <c:pt idx="2059">
                  <c:v>12.387066331121028</c:v>
                </c:pt>
                <c:pt idx="2060">
                  <c:v>12.280725951758784</c:v>
                </c:pt>
                <c:pt idx="2061">
                  <c:v>12.065037198341875</c:v>
                </c:pt>
                <c:pt idx="2062">
                  <c:v>12.05507353017377</c:v>
                </c:pt>
                <c:pt idx="2063">
                  <c:v>12.072949411714184</c:v>
                </c:pt>
                <c:pt idx="2064">
                  <c:v>12.075327400600367</c:v>
                </c:pt>
                <c:pt idx="2065">
                  <c:v>12.026031398730526</c:v>
                </c:pt>
                <c:pt idx="2066">
                  <c:v>12.241688142395075</c:v>
                </c:pt>
                <c:pt idx="2067">
                  <c:v>12.242901991076577</c:v>
                </c:pt>
                <c:pt idx="2068">
                  <c:v>12.415465999938045</c:v>
                </c:pt>
                <c:pt idx="2069">
                  <c:v>12.578435981245963</c:v>
                </c:pt>
                <c:pt idx="2070">
                  <c:v>12.317733070743923</c:v>
                </c:pt>
                <c:pt idx="2071">
                  <c:v>12.557808362869494</c:v>
                </c:pt>
                <c:pt idx="2072">
                  <c:v>12.440237420245113</c:v>
                </c:pt>
                <c:pt idx="2073">
                  <c:v>11.900715812769352</c:v>
                </c:pt>
                <c:pt idx="2074">
                  <c:v>11.965653228847424</c:v>
                </c:pt>
                <c:pt idx="2075">
                  <c:v>11.55381956923817</c:v>
                </c:pt>
                <c:pt idx="2076">
                  <c:v>11.447626856407174</c:v>
                </c:pt>
                <c:pt idx="2077">
                  <c:v>11.453098471934128</c:v>
                </c:pt>
                <c:pt idx="2078">
                  <c:v>11.810757566367659</c:v>
                </c:pt>
                <c:pt idx="2079">
                  <c:v>11.81365945517889</c:v>
                </c:pt>
                <c:pt idx="2080">
                  <c:v>11.341570985348964</c:v>
                </c:pt>
                <c:pt idx="2081">
                  <c:v>11.514863142352581</c:v>
                </c:pt>
                <c:pt idx="2082">
                  <c:v>11.557685274497533</c:v>
                </c:pt>
                <c:pt idx="2083">
                  <c:v>11.109499754263338</c:v>
                </c:pt>
                <c:pt idx="2084">
                  <c:v>10.87263531259156</c:v>
                </c:pt>
                <c:pt idx="2085">
                  <c:v>10.797081377540518</c:v>
                </c:pt>
                <c:pt idx="2086">
                  <c:v>10.858640447193949</c:v>
                </c:pt>
                <c:pt idx="2087">
                  <c:v>10.893189662185387</c:v>
                </c:pt>
                <c:pt idx="2088">
                  <c:v>10.890177287540546</c:v>
                </c:pt>
                <c:pt idx="2089">
                  <c:v>11.000890443658609</c:v>
                </c:pt>
                <c:pt idx="2090">
                  <c:v>10.88630160121045</c:v>
                </c:pt>
                <c:pt idx="2091">
                  <c:v>11.146522646493011</c:v>
                </c:pt>
                <c:pt idx="2092">
                  <c:v>11.173404138823193</c:v>
                </c:pt>
                <c:pt idx="2093">
                  <c:v>11.150986359290954</c:v>
                </c:pt>
                <c:pt idx="2094">
                  <c:v>11.128441606180832</c:v>
                </c:pt>
                <c:pt idx="2095">
                  <c:v>11.378535263341258</c:v>
                </c:pt>
                <c:pt idx="2096">
                  <c:v>11.292772156146883</c:v>
                </c:pt>
                <c:pt idx="2097">
                  <c:v>11.604696487502363</c:v>
                </c:pt>
                <c:pt idx="2098">
                  <c:v>11.786213232023288</c:v>
                </c:pt>
                <c:pt idx="2099">
                  <c:v>11.466349103545962</c:v>
                </c:pt>
                <c:pt idx="2100">
                  <c:v>11.84535912442866</c:v>
                </c:pt>
                <c:pt idx="2101">
                  <c:v>12.177795818427676</c:v>
                </c:pt>
                <c:pt idx="2102">
                  <c:v>12.234044669693803</c:v>
                </c:pt>
                <c:pt idx="2103">
                  <c:v>12.194130684578617</c:v>
                </c:pt>
                <c:pt idx="2104">
                  <c:v>12.19108551477018</c:v>
                </c:pt>
                <c:pt idx="2105">
                  <c:v>12.566196319444439</c:v>
                </c:pt>
                <c:pt idx="2106">
                  <c:v>13.404742309178564</c:v>
                </c:pt>
                <c:pt idx="2107">
                  <c:v>13.764977672170829</c:v>
                </c:pt>
                <c:pt idx="2108">
                  <c:v>13.330743856496257</c:v>
                </c:pt>
                <c:pt idx="2109">
                  <c:v>13.501874739772386</c:v>
                </c:pt>
                <c:pt idx="2110">
                  <c:v>13.989732916815678</c:v>
                </c:pt>
                <c:pt idx="2111">
                  <c:v>14.074453792644178</c:v>
                </c:pt>
                <c:pt idx="2112">
                  <c:v>13.773497790558165</c:v>
                </c:pt>
                <c:pt idx="2113">
                  <c:v>13.889239253963186</c:v>
                </c:pt>
                <c:pt idx="2114">
                  <c:v>14.215959950372154</c:v>
                </c:pt>
                <c:pt idx="2115">
                  <c:v>14.279722622078339</c:v>
                </c:pt>
                <c:pt idx="2116">
                  <c:v>14.292208530753539</c:v>
                </c:pt>
                <c:pt idx="2117">
                  <c:v>14.420827256086476</c:v>
                </c:pt>
                <c:pt idx="2118">
                  <c:v>14.291815819436634</c:v>
                </c:pt>
                <c:pt idx="2119">
                  <c:v>14.24546675850458</c:v>
                </c:pt>
                <c:pt idx="2120">
                  <c:v>14.309726933717211</c:v>
                </c:pt>
                <c:pt idx="2121">
                  <c:v>14.13810606923894</c:v>
                </c:pt>
                <c:pt idx="2122">
                  <c:v>14.098682785375649</c:v>
                </c:pt>
                <c:pt idx="2123">
                  <c:v>14.138998816820477</c:v>
                </c:pt>
                <c:pt idx="2124">
                  <c:v>14.200483071187232</c:v>
                </c:pt>
                <c:pt idx="2125">
                  <c:v>13.916903236497761</c:v>
                </c:pt>
                <c:pt idx="2126">
                  <c:v>13.99852339801077</c:v>
                </c:pt>
                <c:pt idx="2127">
                  <c:v>13.973198876948853</c:v>
                </c:pt>
                <c:pt idx="2128">
                  <c:v>13.535495401266557</c:v>
                </c:pt>
                <c:pt idx="2129">
                  <c:v>13.506545272923368</c:v>
                </c:pt>
                <c:pt idx="2130">
                  <c:v>13.420488373318943</c:v>
                </c:pt>
                <c:pt idx="2131">
                  <c:v>12.975186018207408</c:v>
                </c:pt>
                <c:pt idx="2132">
                  <c:v>12.726661909612732</c:v>
                </c:pt>
                <c:pt idx="2133">
                  <c:v>13.199748317669806</c:v>
                </c:pt>
                <c:pt idx="2134">
                  <c:v>13.597668457585973</c:v>
                </c:pt>
                <c:pt idx="2135">
                  <c:v>13.072838077908928</c:v>
                </c:pt>
                <c:pt idx="2136">
                  <c:v>12.522820411697268</c:v>
                </c:pt>
                <c:pt idx="2137">
                  <c:v>12.407746753640438</c:v>
                </c:pt>
                <c:pt idx="2138">
                  <c:v>12.623394205631262</c:v>
                </c:pt>
                <c:pt idx="2139">
                  <c:v>12.195117904712427</c:v>
                </c:pt>
                <c:pt idx="2140">
                  <c:v>11.749922048899005</c:v>
                </c:pt>
                <c:pt idx="2141">
                  <c:v>12.011171305593642</c:v>
                </c:pt>
                <c:pt idx="2142">
                  <c:v>11.958340202565928</c:v>
                </c:pt>
                <c:pt idx="2143">
                  <c:v>12.132917095543768</c:v>
                </c:pt>
                <c:pt idx="2144">
                  <c:v>11.803917137103888</c:v>
                </c:pt>
                <c:pt idx="2145">
                  <c:v>11.727732287872968</c:v>
                </c:pt>
                <c:pt idx="2146">
                  <c:v>11.462404954212344</c:v>
                </c:pt>
                <c:pt idx="2147">
                  <c:v>11.313639042028022</c:v>
                </c:pt>
                <c:pt idx="2148">
                  <c:v>11.352139482830479</c:v>
                </c:pt>
                <c:pt idx="2149">
                  <c:v>11.353611408016457</c:v>
                </c:pt>
                <c:pt idx="2150">
                  <c:v>11.337671256865193</c:v>
                </c:pt>
                <c:pt idx="2151">
                  <c:v>11.345492417465126</c:v>
                </c:pt>
                <c:pt idx="2152">
                  <c:v>11.55803337798921</c:v>
                </c:pt>
                <c:pt idx="2153">
                  <c:v>11.829841090706495</c:v>
                </c:pt>
                <c:pt idx="2154">
                  <c:v>11.746929952251012</c:v>
                </c:pt>
                <c:pt idx="2155">
                  <c:v>12.317167850037141</c:v>
                </c:pt>
                <c:pt idx="2156">
                  <c:v>12.328006281675194</c:v>
                </c:pt>
                <c:pt idx="2157">
                  <c:v>11.990119579247061</c:v>
                </c:pt>
                <c:pt idx="2158">
                  <c:v>12.43959462802029</c:v>
                </c:pt>
                <c:pt idx="2159">
                  <c:v>12.716030875945076</c:v>
                </c:pt>
                <c:pt idx="2160">
                  <c:v>12.502430886162275</c:v>
                </c:pt>
                <c:pt idx="2161">
                  <c:v>12.780705888544313</c:v>
                </c:pt>
                <c:pt idx="2162">
                  <c:v>13.038183368058851</c:v>
                </c:pt>
                <c:pt idx="2163">
                  <c:v>12.779853457626279</c:v>
                </c:pt>
                <c:pt idx="2164">
                  <c:v>12.543273427574498</c:v>
                </c:pt>
                <c:pt idx="2165">
                  <c:v>12.763679237266485</c:v>
                </c:pt>
                <c:pt idx="2166">
                  <c:v>12.354508714179902</c:v>
                </c:pt>
                <c:pt idx="2167">
                  <c:v>12.109731487255889</c:v>
                </c:pt>
                <c:pt idx="2168">
                  <c:v>12.036453163994075</c:v>
                </c:pt>
                <c:pt idx="2169">
                  <c:v>12.063914746959069</c:v>
                </c:pt>
                <c:pt idx="2170">
                  <c:v>11.850450497227094</c:v>
                </c:pt>
                <c:pt idx="2171">
                  <c:v>11.688585307494925</c:v>
                </c:pt>
                <c:pt idx="2172">
                  <c:v>11.784203345505791</c:v>
                </c:pt>
                <c:pt idx="2173">
                  <c:v>11.44943537875252</c:v>
                </c:pt>
                <c:pt idx="2174">
                  <c:v>11.7673521609779</c:v>
                </c:pt>
                <c:pt idx="2175">
                  <c:v>11.781814919077718</c:v>
                </c:pt>
                <c:pt idx="2176">
                  <c:v>11.795296119555454</c:v>
                </c:pt>
                <c:pt idx="2177">
                  <c:v>11.79162027259871</c:v>
                </c:pt>
                <c:pt idx="2178">
                  <c:v>11.790092982800939</c:v>
                </c:pt>
                <c:pt idx="2179">
                  <c:v>11.973125855350283</c:v>
                </c:pt>
                <c:pt idx="2180">
                  <c:v>11.973125855350284</c:v>
                </c:pt>
                <c:pt idx="2181">
                  <c:v>12.205287517294137</c:v>
                </c:pt>
                <c:pt idx="2182">
                  <c:v>12.078005541898316</c:v>
                </c:pt>
                <c:pt idx="2183">
                  <c:v>11.946609993523051</c:v>
                </c:pt>
                <c:pt idx="2184">
                  <c:v>12.550922611408879</c:v>
                </c:pt>
                <c:pt idx="2185">
                  <c:v>11.959302984542701</c:v>
                </c:pt>
                <c:pt idx="2186">
                  <c:v>12.332241471107864</c:v>
                </c:pt>
                <c:pt idx="2187">
                  <c:v>12.754975757623953</c:v>
                </c:pt>
                <c:pt idx="2188">
                  <c:v>12.32377114466278</c:v>
                </c:pt>
                <c:pt idx="2189">
                  <c:v>12.044822803929703</c:v>
                </c:pt>
                <c:pt idx="2190">
                  <c:v>12.419488054228003</c:v>
                </c:pt>
                <c:pt idx="2191">
                  <c:v>12.111178206521647</c:v>
                </c:pt>
                <c:pt idx="2192">
                  <c:v>11.773270847390611</c:v>
                </c:pt>
                <c:pt idx="2193">
                  <c:v>11.499414533967149</c:v>
                </c:pt>
                <c:pt idx="2194">
                  <c:v>11.316707877429401</c:v>
                </c:pt>
                <c:pt idx="2195">
                  <c:v>11.010371695443343</c:v>
                </c:pt>
                <c:pt idx="2196">
                  <c:v>11.035520088224077</c:v>
                </c:pt>
                <c:pt idx="2197">
                  <c:v>10.901707466755807</c:v>
                </c:pt>
                <c:pt idx="2198">
                  <c:v>10.871515156874761</c:v>
                </c:pt>
                <c:pt idx="2199">
                  <c:v>11.071477124652132</c:v>
                </c:pt>
                <c:pt idx="2200">
                  <c:v>11.020351202666243</c:v>
                </c:pt>
                <c:pt idx="2201">
                  <c:v>10.918313589337343</c:v>
                </c:pt>
                <c:pt idx="2202">
                  <c:v>11.054756643196386</c:v>
                </c:pt>
                <c:pt idx="2203">
                  <c:v>11.003500487603652</c:v>
                </c:pt>
                <c:pt idx="2204">
                  <c:v>10.787491911844857</c:v>
                </c:pt>
                <c:pt idx="2205">
                  <c:v>11.001113816040338</c:v>
                </c:pt>
                <c:pt idx="2206">
                  <c:v>11.006442451721623</c:v>
                </c:pt>
                <c:pt idx="2207">
                  <c:v>11.357508745430568</c:v>
                </c:pt>
                <c:pt idx="2208">
                  <c:v>11.865478754310395</c:v>
                </c:pt>
                <c:pt idx="2209">
                  <c:v>11.716581348190202</c:v>
                </c:pt>
                <c:pt idx="2210">
                  <c:v>12.160556398851924</c:v>
                </c:pt>
                <c:pt idx="2211">
                  <c:v>12.674486825739779</c:v>
                </c:pt>
                <c:pt idx="2212">
                  <c:v>12.709304608130626</c:v>
                </c:pt>
                <c:pt idx="2213">
                  <c:v>12.699079216050167</c:v>
                </c:pt>
                <c:pt idx="2214">
                  <c:v>12.516257119339004</c:v>
                </c:pt>
                <c:pt idx="2215">
                  <c:v>12.646832947658654</c:v>
                </c:pt>
                <c:pt idx="2216">
                  <c:v>12.058940064307542</c:v>
                </c:pt>
                <c:pt idx="2217">
                  <c:v>11.845597595214626</c:v>
                </c:pt>
                <c:pt idx="2218">
                  <c:v>12.012930507284372</c:v>
                </c:pt>
                <c:pt idx="2219">
                  <c:v>12.446345526402391</c:v>
                </c:pt>
                <c:pt idx="2220">
                  <c:v>12.050234712548063</c:v>
                </c:pt>
                <c:pt idx="2221">
                  <c:v>12.038855821705651</c:v>
                </c:pt>
                <c:pt idx="2222">
                  <c:v>12.339703875223394</c:v>
                </c:pt>
                <c:pt idx="2223">
                  <c:v>12.475338720312983</c:v>
                </c:pt>
                <c:pt idx="2224">
                  <c:v>12.383754862855469</c:v>
                </c:pt>
                <c:pt idx="2225">
                  <c:v>12.311658200874518</c:v>
                </c:pt>
                <c:pt idx="2226">
                  <c:v>12.406779983224011</c:v>
                </c:pt>
                <c:pt idx="2227">
                  <c:v>12.423708431406464</c:v>
                </c:pt>
                <c:pt idx="2228">
                  <c:v>14.140355242649782</c:v>
                </c:pt>
                <c:pt idx="2229">
                  <c:v>13.90572082708707</c:v>
                </c:pt>
                <c:pt idx="2230">
                  <c:v>47.721088734912144</c:v>
                </c:pt>
                <c:pt idx="2231">
                  <c:v>64.975490438621165</c:v>
                </c:pt>
                <c:pt idx="2232">
                  <c:v>77.190218083281422</c:v>
                </c:pt>
                <c:pt idx="2233">
                  <c:v>87.003266924801352</c:v>
                </c:pt>
                <c:pt idx="2234">
                  <c:v>95.151715055011991</c:v>
                </c:pt>
                <c:pt idx="2235">
                  <c:v>101.4050851083299</c:v>
                </c:pt>
                <c:pt idx="2236">
                  <c:v>106.96625894706672</c:v>
                </c:pt>
                <c:pt idx="2237">
                  <c:v>111.08618878971826</c:v>
                </c:pt>
                <c:pt idx="2238">
                  <c:v>115.05331460688804</c:v>
                </c:pt>
                <c:pt idx="2239">
                  <c:v>117.79765649142135</c:v>
                </c:pt>
                <c:pt idx="2240">
                  <c:v>120.52065018041509</c:v>
                </c:pt>
                <c:pt idx="2241">
                  <c:v>121.46235286433439</c:v>
                </c:pt>
                <c:pt idx="2242">
                  <c:v>122.84682610610756</c:v>
                </c:pt>
                <c:pt idx="2243">
                  <c:v>122.94179303548239</c:v>
                </c:pt>
                <c:pt idx="2244">
                  <c:v>123.38820418249969</c:v>
                </c:pt>
                <c:pt idx="2245">
                  <c:v>122.42171124242711</c:v>
                </c:pt>
                <c:pt idx="2246">
                  <c:v>121.26909709746329</c:v>
                </c:pt>
                <c:pt idx="2247">
                  <c:v>119.99923989338305</c:v>
                </c:pt>
                <c:pt idx="2248">
                  <c:v>116.95294287824504</c:v>
                </c:pt>
                <c:pt idx="2249">
                  <c:v>114.79180411620391</c:v>
                </c:pt>
                <c:pt idx="2250">
                  <c:v>111.21365803823358</c:v>
                </c:pt>
                <c:pt idx="2251">
                  <c:v>106.252478466364</c:v>
                </c:pt>
                <c:pt idx="2252">
                  <c:v>102.06786734992356</c:v>
                </c:pt>
                <c:pt idx="2253">
                  <c:v>95.429593054242574</c:v>
                </c:pt>
                <c:pt idx="2254">
                  <c:v>88.090356672084042</c:v>
                </c:pt>
                <c:pt idx="2255">
                  <c:v>79.885207550073005</c:v>
                </c:pt>
                <c:pt idx="2256">
                  <c:v>68.481522856358254</c:v>
                </c:pt>
                <c:pt idx="2257">
                  <c:v>55.813030763522207</c:v>
                </c:pt>
                <c:pt idx="2258">
                  <c:v>43.566867105349452</c:v>
                </c:pt>
                <c:pt idx="2259">
                  <c:v>9.6172866486620876</c:v>
                </c:pt>
                <c:pt idx="2260">
                  <c:v>9.664618592776467</c:v>
                </c:pt>
                <c:pt idx="2261">
                  <c:v>9.6743966059316033</c:v>
                </c:pt>
                <c:pt idx="2262">
                  <c:v>9.805305870301483</c:v>
                </c:pt>
                <c:pt idx="2263">
                  <c:v>9.8430473728606831</c:v>
                </c:pt>
                <c:pt idx="2264">
                  <c:v>10.757723010702044</c:v>
                </c:pt>
                <c:pt idx="2265">
                  <c:v>11.672522861734123</c:v>
                </c:pt>
                <c:pt idx="2266">
                  <c:v>12.511030742625618</c:v>
                </c:pt>
                <c:pt idx="2267">
                  <c:v>13.210738149199658</c:v>
                </c:pt>
                <c:pt idx="2268">
                  <c:v>13.914949043182407</c:v>
                </c:pt>
                <c:pt idx="2269">
                  <c:v>14.504397396462466</c:v>
                </c:pt>
                <c:pt idx="2270">
                  <c:v>15.002428931785349</c:v>
                </c:pt>
                <c:pt idx="2271">
                  <c:v>15.380411372413054</c:v>
                </c:pt>
                <c:pt idx="2272">
                  <c:v>15.641719886005623</c:v>
                </c:pt>
                <c:pt idx="2273">
                  <c:v>16.20999251533344</c:v>
                </c:pt>
                <c:pt idx="2274">
                  <c:v>16.690360034230284</c:v>
                </c:pt>
                <c:pt idx="2275">
                  <c:v>17.043739473365374</c:v>
                </c:pt>
                <c:pt idx="2276">
                  <c:v>17.332669296195821</c:v>
                </c:pt>
                <c:pt idx="2277">
                  <c:v>17.580958414771452</c:v>
                </c:pt>
                <c:pt idx="2278">
                  <c:v>17.758157695071688</c:v>
                </c:pt>
                <c:pt idx="2279">
                  <c:v>17.818888575622569</c:v>
                </c:pt>
                <c:pt idx="2280">
                  <c:v>17.922432703911866</c:v>
                </c:pt>
                <c:pt idx="2281">
                  <c:v>17.933445996492015</c:v>
                </c:pt>
                <c:pt idx="2282">
                  <c:v>17.939108314879672</c:v>
                </c:pt>
                <c:pt idx="2283">
                  <c:v>17.870074102854517</c:v>
                </c:pt>
                <c:pt idx="2284">
                  <c:v>18.075573012427089</c:v>
                </c:pt>
                <c:pt idx="2285">
                  <c:v>18.306128756492146</c:v>
                </c:pt>
                <c:pt idx="2286">
                  <c:v>18.553346604354719</c:v>
                </c:pt>
                <c:pt idx="2287">
                  <c:v>18.686474628841452</c:v>
                </c:pt>
                <c:pt idx="2288">
                  <c:v>20.144671229016652</c:v>
                </c:pt>
                <c:pt idx="2289">
                  <c:v>21.598249048525954</c:v>
                </c:pt>
                <c:pt idx="2290">
                  <c:v>23.468256105508026</c:v>
                </c:pt>
                <c:pt idx="2291">
                  <c:v>23.818757551757145</c:v>
                </c:pt>
                <c:pt idx="2292">
                  <c:v>24.327284775700161</c:v>
                </c:pt>
                <c:pt idx="2293">
                  <c:v>24.699335705045588</c:v>
                </c:pt>
                <c:pt idx="2294">
                  <c:v>25.572757181055831</c:v>
                </c:pt>
                <c:pt idx="2295">
                  <c:v>26.728740022567347</c:v>
                </c:pt>
                <c:pt idx="2296">
                  <c:v>28.165242001310499</c:v>
                </c:pt>
                <c:pt idx="2297">
                  <c:v>28.426405343727925</c:v>
                </c:pt>
                <c:pt idx="2298">
                  <c:v>28.460728029432239</c:v>
                </c:pt>
                <c:pt idx="2299">
                  <c:v>28.27009542212426</c:v>
                </c:pt>
                <c:pt idx="2300">
                  <c:v>27.885087286763564</c:v>
                </c:pt>
                <c:pt idx="2301">
                  <c:v>27.251572703615278</c:v>
                </c:pt>
                <c:pt idx="2302">
                  <c:v>26.327273029933494</c:v>
                </c:pt>
                <c:pt idx="2303">
                  <c:v>25.593472709472184</c:v>
                </c:pt>
                <c:pt idx="2304">
                  <c:v>24.769401634508604</c:v>
                </c:pt>
                <c:pt idx="2305">
                  <c:v>23.812441985126785</c:v>
                </c:pt>
                <c:pt idx="2306">
                  <c:v>22.776966943919984</c:v>
                </c:pt>
                <c:pt idx="2307">
                  <c:v>21.727588380802409</c:v>
                </c:pt>
                <c:pt idx="2308">
                  <c:v>28.738481351408286</c:v>
                </c:pt>
                <c:pt idx="2309">
                  <c:v>34.261825531391331</c:v>
                </c:pt>
                <c:pt idx="2310">
                  <c:v>38.864665621478657</c:v>
                </c:pt>
                <c:pt idx="2311">
                  <c:v>42.856665700008691</c:v>
                </c:pt>
                <c:pt idx="2312">
                  <c:v>46.402342602739566</c:v>
                </c:pt>
                <c:pt idx="2313">
                  <c:v>49.564610770243398</c:v>
                </c:pt>
                <c:pt idx="2314">
                  <c:v>52.448734005165065</c:v>
                </c:pt>
                <c:pt idx="2315">
                  <c:v>55.025871711765276</c:v>
                </c:pt>
                <c:pt idx="2316">
                  <c:v>57.315656676244537</c:v>
                </c:pt>
                <c:pt idx="2317">
                  <c:v>59.340880985996783</c:v>
                </c:pt>
                <c:pt idx="2318">
                  <c:v>60.810418177065308</c:v>
                </c:pt>
                <c:pt idx="2319">
                  <c:v>61.874202328029071</c:v>
                </c:pt>
                <c:pt idx="2320">
                  <c:v>62.340406277509445</c:v>
                </c:pt>
                <c:pt idx="2321">
                  <c:v>62.94853007267163</c:v>
                </c:pt>
                <c:pt idx="2322">
                  <c:v>63.118890182648812</c:v>
                </c:pt>
                <c:pt idx="2323">
                  <c:v>62.90614632546869</c:v>
                </c:pt>
                <c:pt idx="2324">
                  <c:v>62.285018142964802</c:v>
                </c:pt>
                <c:pt idx="2325">
                  <c:v>60.960686586304575</c:v>
                </c:pt>
                <c:pt idx="2326">
                  <c:v>58.779980118085795</c:v>
                </c:pt>
                <c:pt idx="2327">
                  <c:v>56.945713210481351</c:v>
                </c:pt>
                <c:pt idx="2328">
                  <c:v>54.775288187299509</c:v>
                </c:pt>
                <c:pt idx="2329">
                  <c:v>52.237266290089302</c:v>
                </c:pt>
                <c:pt idx="2330">
                  <c:v>49.285827119677286</c:v>
                </c:pt>
                <c:pt idx="2331">
                  <c:v>45.958463394869213</c:v>
                </c:pt>
                <c:pt idx="2332">
                  <c:v>42.413596794931323</c:v>
                </c:pt>
                <c:pt idx="2333">
                  <c:v>38.250730354207661</c:v>
                </c:pt>
                <c:pt idx="2334">
                  <c:v>33.258672208364409</c:v>
                </c:pt>
                <c:pt idx="2335">
                  <c:v>27.360647077419323</c:v>
                </c:pt>
                <c:pt idx="2336">
                  <c:v>19.565141246176935</c:v>
                </c:pt>
                <c:pt idx="2337">
                  <c:v>0.14463436817963551</c:v>
                </c:pt>
                <c:pt idx="2338">
                  <c:v>4.3463530105455894E-4</c:v>
                </c:pt>
                <c:pt idx="2339">
                  <c:v>4.3212193207381152E-4</c:v>
                </c:pt>
                <c:pt idx="2340">
                  <c:v>4.280378092329146E-4</c:v>
                </c:pt>
                <c:pt idx="2341">
                  <c:v>4.222014422167093E-4</c:v>
                </c:pt>
                <c:pt idx="2342">
                  <c:v>4.1504609155776703E-4</c:v>
                </c:pt>
                <c:pt idx="2343">
                  <c:v>4.0604588025424369E-4</c:v>
                </c:pt>
                <c:pt idx="2344">
                  <c:v>3.9651881267291318E-4</c:v>
                </c:pt>
                <c:pt idx="2345">
                  <c:v>3.8521908741002893E-4</c:v>
                </c:pt>
                <c:pt idx="2346">
                  <c:v>3.7529435469549436E-4</c:v>
                </c:pt>
                <c:pt idx="2347">
                  <c:v>3.6332806200996818E-4</c:v>
                </c:pt>
                <c:pt idx="2348">
                  <c:v>3.6997674591429945E-4</c:v>
                </c:pt>
                <c:pt idx="2349">
                  <c:v>3.7725873058499224E-4</c:v>
                </c:pt>
                <c:pt idx="2350">
                  <c:v>3.8393773576729805E-4</c:v>
                </c:pt>
                <c:pt idx="2351">
                  <c:v>3.8808712465246892E-4</c:v>
                </c:pt>
                <c:pt idx="2352">
                  <c:v>3.8882466519263087E-4</c:v>
                </c:pt>
                <c:pt idx="2353">
                  <c:v>3.9291984150975119E-4</c:v>
                </c:pt>
                <c:pt idx="2354">
                  <c:v>3.9447399034914455E-4</c:v>
                </c:pt>
                <c:pt idx="2355">
                  <c:v>4.0628129508366332E-4</c:v>
                </c:pt>
                <c:pt idx="2356">
                  <c:v>4.1581336055891791E-4</c:v>
                </c:pt>
                <c:pt idx="2357">
                  <c:v>4.2649882903929943E-4</c:v>
                </c:pt>
                <c:pt idx="2358">
                  <c:v>4.3431826315758237E-4</c:v>
                </c:pt>
                <c:pt idx="2359">
                  <c:v>4.3931541028361114E-4</c:v>
                </c:pt>
                <c:pt idx="2360">
                  <c:v>4.4481367673064555E-4</c:v>
                </c:pt>
                <c:pt idx="2361">
                  <c:v>4.4880313355854249E-4</c:v>
                </c:pt>
                <c:pt idx="2362">
                  <c:v>4.5436570431698009E-4</c:v>
                </c:pt>
                <c:pt idx="2363">
                  <c:v>4.6089096505274273E-4</c:v>
                </c:pt>
                <c:pt idx="2364">
                  <c:v>4.7005258257299927E-4</c:v>
                </c:pt>
                <c:pt idx="2365">
                  <c:v>4.8097053792409052E-4</c:v>
                </c:pt>
                <c:pt idx="2366">
                  <c:v>4.9911308688618101E-4</c:v>
                </c:pt>
                <c:pt idx="2367">
                  <c:v>5.279246926033483E-4</c:v>
                </c:pt>
                <c:pt idx="2368">
                  <c:v>5.6383278192028449E-4</c:v>
                </c:pt>
                <c:pt idx="2369">
                  <c:v>5.9033449086280296E-4</c:v>
                </c:pt>
                <c:pt idx="2370">
                  <c:v>6.2055125447061927E-4</c:v>
                </c:pt>
                <c:pt idx="2371">
                  <c:v>6.4540144825010509E-4</c:v>
                </c:pt>
                <c:pt idx="2372">
                  <c:v>6.681806828407723E-4</c:v>
                </c:pt>
                <c:pt idx="2373">
                  <c:v>6.8977481243212623E-4</c:v>
                </c:pt>
                <c:pt idx="2374">
                  <c:v>7.6682129736427458E-4</c:v>
                </c:pt>
                <c:pt idx="2375">
                  <c:v>8.2983382190617906E-4</c:v>
                </c:pt>
                <c:pt idx="2376">
                  <c:v>9.0104788775602579E-4</c:v>
                </c:pt>
                <c:pt idx="2377">
                  <c:v>9.6930826527453584E-4</c:v>
                </c:pt>
                <c:pt idx="2378">
                  <c:v>1.022679131715846E-3</c:v>
                </c:pt>
                <c:pt idx="2379">
                  <c:v>1.0658516345066853E-3</c:v>
                </c:pt>
                <c:pt idx="2380">
                  <c:v>1.101206250017861E-3</c:v>
                </c:pt>
                <c:pt idx="2381">
                  <c:v>1.129953796052207E-3</c:v>
                </c:pt>
                <c:pt idx="2382">
                  <c:v>1.1484679804353594E-3</c:v>
                </c:pt>
                <c:pt idx="2383">
                  <c:v>1.1622095815753616E-3</c:v>
                </c:pt>
                <c:pt idx="2384">
                  <c:v>1.1715537516580844E-3</c:v>
                </c:pt>
                <c:pt idx="2385">
                  <c:v>1.1796647420931504E-3</c:v>
                </c:pt>
                <c:pt idx="2386">
                  <c:v>1.1801682986519498E-3</c:v>
                </c:pt>
                <c:pt idx="2387">
                  <c:v>1.1745736154965593E-3</c:v>
                </c:pt>
                <c:pt idx="2388">
                  <c:v>1.1614296292778684E-3</c:v>
                </c:pt>
                <c:pt idx="2389">
                  <c:v>1.1422849574818622E-3</c:v>
                </c:pt>
                <c:pt idx="2390">
                  <c:v>1.1188098494303237E-3</c:v>
                </c:pt>
                <c:pt idx="2391">
                  <c:v>1.0921933829696698E-3</c:v>
                </c:pt>
                <c:pt idx="2392">
                  <c:v>1.0578597984809443E-3</c:v>
                </c:pt>
                <c:pt idx="2393">
                  <c:v>1.0201067589035362E-3</c:v>
                </c:pt>
                <c:pt idx="2394">
                  <c:v>9.779475035707997E-4</c:v>
                </c:pt>
                <c:pt idx="2395">
                  <c:v>9.4160798306092738E-4</c:v>
                </c:pt>
                <c:pt idx="2396">
                  <c:v>9.04559969509845E-4</c:v>
                </c:pt>
                <c:pt idx="2397">
                  <c:v>8.7045259658541613E-4</c:v>
                </c:pt>
                <c:pt idx="2398">
                  <c:v>8.627553656820042E-4</c:v>
                </c:pt>
                <c:pt idx="2399">
                  <c:v>9.6208643589845157E-4</c:v>
                </c:pt>
                <c:pt idx="2400">
                  <c:v>1.0387434898464106E-3</c:v>
                </c:pt>
                <c:pt idx="2401">
                  <c:v>1.1789471009499475E-3</c:v>
                </c:pt>
                <c:pt idx="2402">
                  <c:v>1.4948460458205199E-3</c:v>
                </c:pt>
                <c:pt idx="2403">
                  <c:v>1.7314391436713749E-3</c:v>
                </c:pt>
                <c:pt idx="2404">
                  <c:v>2.0003320773875053E-3</c:v>
                </c:pt>
                <c:pt idx="2405">
                  <c:v>2.2182265652378528E-3</c:v>
                </c:pt>
                <c:pt idx="2406">
                  <c:v>2.4216818013919794E-3</c:v>
                </c:pt>
                <c:pt idx="2407">
                  <c:v>2.6204350288257668E-3</c:v>
                </c:pt>
                <c:pt idx="2408">
                  <c:v>2.7994371921800836E-3</c:v>
                </c:pt>
                <c:pt idx="2409">
                  <c:v>2.9484214650087625E-3</c:v>
                </c:pt>
                <c:pt idx="2410">
                  <c:v>3.0689848651979995E-3</c:v>
                </c:pt>
                <c:pt idx="2411">
                  <c:v>3.1933783867635502E-3</c:v>
                </c:pt>
                <c:pt idx="2412">
                  <c:v>3.2891786052245725E-3</c:v>
                </c:pt>
                <c:pt idx="2413">
                  <c:v>3.3633677614807256E-3</c:v>
                </c:pt>
                <c:pt idx="2414">
                  <c:v>3.4189134440938103E-3</c:v>
                </c:pt>
                <c:pt idx="2415">
                  <c:v>3.4626486548750696E-3</c:v>
                </c:pt>
                <c:pt idx="2416">
                  <c:v>3.4966315688509352E-3</c:v>
                </c:pt>
                <c:pt idx="2417">
                  <c:v>3.5650190844364413E-3</c:v>
                </c:pt>
                <c:pt idx="2418">
                  <c:v>3.6139985226102725E-3</c:v>
                </c:pt>
                <c:pt idx="2419">
                  <c:v>3.6360238347186448E-3</c:v>
                </c:pt>
                <c:pt idx="2420">
                  <c:v>3.6299437951688644E-3</c:v>
                </c:pt>
                <c:pt idx="2421">
                  <c:v>3.5985924692171251E-3</c:v>
                </c:pt>
                <c:pt idx="2422">
                  <c:v>3.5392966052692557E-3</c:v>
                </c:pt>
                <c:pt idx="2423">
                  <c:v>3.4508820856161268E-3</c:v>
                </c:pt>
                <c:pt idx="2424">
                  <c:v>3.3273466946772455E-3</c:v>
                </c:pt>
                <c:pt idx="2425">
                  <c:v>3.179883300826478E-3</c:v>
                </c:pt>
                <c:pt idx="2426">
                  <c:v>2.9876944898747809E-3</c:v>
                </c:pt>
                <c:pt idx="2427">
                  <c:v>2.74433809182333E-3</c:v>
                </c:pt>
                <c:pt idx="2428">
                  <c:v>2.4768750404104011E-3</c:v>
                </c:pt>
                <c:pt idx="2429">
                  <c:v>2.2803561110379795E-3</c:v>
                </c:pt>
                <c:pt idx="2430">
                  <c:v>2.0296379573362779E-3</c:v>
                </c:pt>
                <c:pt idx="2431">
                  <c:v>1.8099282404343427E-3</c:v>
                </c:pt>
                <c:pt idx="2432">
                  <c:v>1.719751608061373E-3</c:v>
                </c:pt>
                <c:pt idx="2433">
                  <c:v>1.6131142820601232E-3</c:v>
                </c:pt>
                <c:pt idx="2434">
                  <c:v>1.5332208896193988E-3</c:v>
                </c:pt>
                <c:pt idx="2435">
                  <c:v>1.4407900753192688E-3</c:v>
                </c:pt>
                <c:pt idx="2436">
                  <c:v>1.3512155641930803E-3</c:v>
                </c:pt>
                <c:pt idx="2437">
                  <c:v>1.274714862069094E-3</c:v>
                </c:pt>
                <c:pt idx="2438">
                  <c:v>1.2019436713606405E-3</c:v>
                </c:pt>
                <c:pt idx="2439">
                  <c:v>1.1179673616661145E-3</c:v>
                </c:pt>
                <c:pt idx="2440">
                  <c:v>1.0185416399581969E-3</c:v>
                </c:pt>
                <c:pt idx="2441">
                  <c:v>9.4537678734737062E-4</c:v>
                </c:pt>
                <c:pt idx="2442">
                  <c:v>8.5770542724452519E-4</c:v>
                </c:pt>
                <c:pt idx="2443">
                  <c:v>7.5349152834068719E-4</c:v>
                </c:pt>
                <c:pt idx="2444">
                  <c:v>6.2501270854517412E-4</c:v>
                </c:pt>
                <c:pt idx="2445">
                  <c:v>4.8262062466213908E-4</c:v>
                </c:pt>
                <c:pt idx="2446">
                  <c:v>3.2566732509145942E-4</c:v>
                </c:pt>
                <c:pt idx="2447">
                  <c:v>3.025294892096371E-4</c:v>
                </c:pt>
                <c:pt idx="2448">
                  <c:v>2.960912646759596E-4</c:v>
                </c:pt>
                <c:pt idx="2449">
                  <c:v>2.9250820202616199E-4</c:v>
                </c:pt>
                <c:pt idx="2450">
                  <c:v>2.9100129097378032E-4</c:v>
                </c:pt>
                <c:pt idx="2451">
                  <c:v>2.9075140473200508E-4</c:v>
                </c:pt>
                <c:pt idx="2452">
                  <c:v>2.9409509802270288E-4</c:v>
                </c:pt>
                <c:pt idx="2453">
                  <c:v>2.959202691377689E-4</c:v>
                </c:pt>
                <c:pt idx="2454">
                  <c:v>2.9638985121615196E-4</c:v>
                </c:pt>
                <c:pt idx="2455">
                  <c:v>2.9766308530359019E-4</c:v>
                </c:pt>
                <c:pt idx="2456">
                  <c:v>2.9964358238248901E-4</c:v>
                </c:pt>
                <c:pt idx="2457">
                  <c:v>3.0140897480326792E-4</c:v>
                </c:pt>
                <c:pt idx="2458">
                  <c:v>3.0094990513684428E-4</c:v>
                </c:pt>
                <c:pt idx="2459">
                  <c:v>2.9895358329312834E-4</c:v>
                </c:pt>
                <c:pt idx="2460">
                  <c:v>2.9619847322439843E-4</c:v>
                </c:pt>
                <c:pt idx="2461">
                  <c:v>2.9173002130951906E-4</c:v>
                </c:pt>
                <c:pt idx="2462">
                  <c:v>2.8779009536413836E-4</c:v>
                </c:pt>
                <c:pt idx="2463">
                  <c:v>2.8270284665308961E-4</c:v>
                </c:pt>
                <c:pt idx="2464">
                  <c:v>2.7561923391944285E-4</c:v>
                </c:pt>
                <c:pt idx="2465">
                  <c:v>2.6636523070216458E-4</c:v>
                </c:pt>
                <c:pt idx="2466">
                  <c:v>2.5689299291359872E-4</c:v>
                </c:pt>
                <c:pt idx="2467">
                  <c:v>2.444141089160572E-4</c:v>
                </c:pt>
                <c:pt idx="2468">
                  <c:v>2.3121212634345217E-4</c:v>
                </c:pt>
                <c:pt idx="2469">
                  <c:v>2.1508942316356727E-4</c:v>
                </c:pt>
                <c:pt idx="2470">
                  <c:v>2.0229736501936705E-4</c:v>
                </c:pt>
                <c:pt idx="2471">
                  <c:v>1.9438632211775766E-4</c:v>
                </c:pt>
                <c:pt idx="2472">
                  <c:v>1.9127556706525901E-4</c:v>
                </c:pt>
                <c:pt idx="2473">
                  <c:v>1.8826686505279624E-4</c:v>
                </c:pt>
                <c:pt idx="2474">
                  <c:v>1.861671061955411E-4</c:v>
                </c:pt>
                <c:pt idx="2475">
                  <c:v>1.8330683487687569E-4</c:v>
                </c:pt>
                <c:pt idx="2476">
                  <c:v>1.8059329325523192E-4</c:v>
                </c:pt>
                <c:pt idx="2477">
                  <c:v>1.796822274923731E-4</c:v>
                </c:pt>
                <c:pt idx="2478">
                  <c:v>1.7895443078004092E-4</c:v>
                </c:pt>
                <c:pt idx="2479">
                  <c:v>1.8009819296473331E-4</c:v>
                </c:pt>
                <c:pt idx="2480">
                  <c:v>1.813442773195174E-4</c:v>
                </c:pt>
                <c:pt idx="2481">
                  <c:v>1.826286256665837E-4</c:v>
                </c:pt>
                <c:pt idx="2482">
                  <c:v>1.8391188230488945E-4</c:v>
                </c:pt>
                <c:pt idx="2483">
                  <c:v>1.8416332698229266E-4</c:v>
                </c:pt>
                <c:pt idx="2484">
                  <c:v>1.8418930525596308E-4</c:v>
                </c:pt>
                <c:pt idx="2485">
                  <c:v>1.8587731049327943E-4</c:v>
                </c:pt>
                <c:pt idx="2486">
                  <c:v>1.9098298001559919E-4</c:v>
                </c:pt>
                <c:pt idx="2487">
                  <c:v>1.9523404388398401E-4</c:v>
                </c:pt>
                <c:pt idx="2488">
                  <c:v>1.9839465244908926E-4</c:v>
                </c:pt>
                <c:pt idx="2489">
                  <c:v>2.0053590916385973E-4</c:v>
                </c:pt>
                <c:pt idx="2490">
                  <c:v>2.0170350406074197E-4</c:v>
                </c:pt>
                <c:pt idx="2491">
                  <c:v>2.0358383425350503E-4</c:v>
                </c:pt>
                <c:pt idx="2492">
                  <c:v>2.0783132275455852E-4</c:v>
                </c:pt>
                <c:pt idx="2493">
                  <c:v>2.1183070113920294E-4</c:v>
                </c:pt>
                <c:pt idx="2494">
                  <c:v>2.1662897634633951E-4</c:v>
                </c:pt>
                <c:pt idx="2495">
                  <c:v>2.2124075812749548E-4</c:v>
                </c:pt>
                <c:pt idx="2496">
                  <c:v>2.2473519839437593E-4</c:v>
                </c:pt>
                <c:pt idx="2497">
                  <c:v>2.2723559822549266E-4</c:v>
                </c:pt>
                <c:pt idx="2498">
                  <c:v>2.2937154185547758E-4</c:v>
                </c:pt>
                <c:pt idx="2499">
                  <c:v>2.3565238024583448E-4</c:v>
                </c:pt>
                <c:pt idx="2500">
                  <c:v>2.4029738061621307E-4</c:v>
                </c:pt>
                <c:pt idx="2501">
                  <c:v>2.5114457674136953E-4</c:v>
                </c:pt>
                <c:pt idx="2502">
                  <c:v>2.6707037356855614E-4</c:v>
                </c:pt>
                <c:pt idx="2503">
                  <c:v>2.8284242031200357E-4</c:v>
                </c:pt>
                <c:pt idx="2504">
                  <c:v>2.9588427106411208E-4</c:v>
                </c:pt>
                <c:pt idx="2505">
                  <c:v>3.1103231697094156E-4</c:v>
                </c:pt>
                <c:pt idx="2506">
                  <c:v>3.2897425784485853E-4</c:v>
                </c:pt>
                <c:pt idx="2507">
                  <c:v>3.4427726592656737E-4</c:v>
                </c:pt>
                <c:pt idx="2508">
                  <c:v>3.5796590256616478E-4</c:v>
                </c:pt>
                <c:pt idx="2509">
                  <c:v>3.7053004069743353E-4</c:v>
                </c:pt>
                <c:pt idx="2510">
                  <c:v>3.8237557299686009E-4</c:v>
                </c:pt>
                <c:pt idx="2511">
                  <c:v>3.9173395990713643E-4</c:v>
                </c:pt>
                <c:pt idx="2512">
                  <c:v>3.9890000893564247E-4</c:v>
                </c:pt>
                <c:pt idx="2513">
                  <c:v>4.0408756216603065E-4</c:v>
                </c:pt>
                <c:pt idx="2514">
                  <c:v>4.0745992843911589E-4</c:v>
                </c:pt>
                <c:pt idx="2515">
                  <c:v>4.0841258858002926E-4</c:v>
                </c:pt>
                <c:pt idx="2516">
                  <c:v>4.091561637029372E-4</c:v>
                </c:pt>
                <c:pt idx="2517">
                  <c:v>4.1038029206832434E-4</c:v>
                </c:pt>
                <c:pt idx="2518">
                  <c:v>4.0914273327089087E-4</c:v>
                </c:pt>
                <c:pt idx="2519">
                  <c:v>4.0542681167107667E-4</c:v>
                </c:pt>
                <c:pt idx="2520">
                  <c:v>4.0187955277226547E-4</c:v>
                </c:pt>
                <c:pt idx="2521">
                  <c:v>3.9629380573835498E-4</c:v>
                </c:pt>
                <c:pt idx="2522">
                  <c:v>3.9024415186602056E-4</c:v>
                </c:pt>
                <c:pt idx="2523">
                  <c:v>3.8131637322179183E-4</c:v>
                </c:pt>
                <c:pt idx="2524">
                  <c:v>3.712220645914833E-4</c:v>
                </c:pt>
                <c:pt idx="2525">
                  <c:v>3.5845580617281669E-4</c:v>
                </c:pt>
                <c:pt idx="2526">
                  <c:v>3.5738887616143181E-4</c:v>
                </c:pt>
                <c:pt idx="2527">
                  <c:v>3.566850619122868E-4</c:v>
                </c:pt>
                <c:pt idx="2528">
                  <c:v>3.5498957576454742E-4</c:v>
                </c:pt>
                <c:pt idx="2529">
                  <c:v>3.5973088146405252E-4</c:v>
                </c:pt>
                <c:pt idx="2530">
                  <c:v>3.5923031022034576E-4</c:v>
                </c:pt>
                <c:pt idx="2531">
                  <c:v>3.6200962185786869E-4</c:v>
                </c:pt>
                <c:pt idx="2532">
                  <c:v>3.671068070464966E-4</c:v>
                </c:pt>
                <c:pt idx="2533">
                  <c:v>3.8280617082340395E-4</c:v>
                </c:pt>
                <c:pt idx="2534">
                  <c:v>3.9478086489436946E-4</c:v>
                </c:pt>
                <c:pt idx="2535">
                  <c:v>4.082288463906576E-4</c:v>
                </c:pt>
                <c:pt idx="2536">
                  <c:v>4.2952525396683957E-4</c:v>
                </c:pt>
                <c:pt idx="2537">
                  <c:v>4.520897856948348E-4</c:v>
                </c:pt>
                <c:pt idx="2538">
                  <c:v>4.7283219954358875E-4</c:v>
                </c:pt>
                <c:pt idx="2539">
                  <c:v>4.886331302779664E-4</c:v>
                </c:pt>
                <c:pt idx="2540">
                  <c:v>5.0250627364340601E-4</c:v>
                </c:pt>
                <c:pt idx="2541">
                  <c:v>5.1420993026049609E-4</c:v>
                </c:pt>
                <c:pt idx="2542">
                  <c:v>5.2215700278078199E-4</c:v>
                </c:pt>
                <c:pt idx="2543">
                  <c:v>5.272835643754778E-4</c:v>
                </c:pt>
                <c:pt idx="2544">
                  <c:v>5.2954819974972589E-4</c:v>
                </c:pt>
                <c:pt idx="2545">
                  <c:v>5.2816834029118529E-4</c:v>
                </c:pt>
                <c:pt idx="2546">
                  <c:v>5.2393431797622238E-4</c:v>
                </c:pt>
                <c:pt idx="2547">
                  <c:v>5.1848595224832431E-4</c:v>
                </c:pt>
                <c:pt idx="2548">
                  <c:v>5.0955714364881951E-4</c:v>
                </c:pt>
                <c:pt idx="2549">
                  <c:v>4.9638760198471993E-4</c:v>
                </c:pt>
                <c:pt idx="2550">
                  <c:v>4.830354100192553E-4</c:v>
                </c:pt>
                <c:pt idx="2551">
                  <c:v>4.6600137198697547E-4</c:v>
                </c:pt>
                <c:pt idx="2552">
                  <c:v>4.4642772152810544E-4</c:v>
                </c:pt>
                <c:pt idx="2553">
                  <c:v>4.2288484952119921E-4</c:v>
                </c:pt>
                <c:pt idx="2554">
                  <c:v>3.996580970917313E-4</c:v>
                </c:pt>
                <c:pt idx="2555">
                  <c:v>3.6836648333780518E-4</c:v>
                </c:pt>
                <c:pt idx="2556">
                  <c:v>3.5610880233648094E-4</c:v>
                </c:pt>
                <c:pt idx="2557">
                  <c:v>3.4489735040397313E-4</c:v>
                </c:pt>
                <c:pt idx="2558">
                  <c:v>3.3635864812505729E-4</c:v>
                </c:pt>
                <c:pt idx="2559">
                  <c:v>3.3096228093362713E-4</c:v>
                </c:pt>
                <c:pt idx="2560">
                  <c:v>3.2636621964417841E-4</c:v>
                </c:pt>
                <c:pt idx="2561">
                  <c:v>3.2442014318107893E-4</c:v>
                </c:pt>
                <c:pt idx="2562">
                  <c:v>3.176494332474095E-4</c:v>
                </c:pt>
                <c:pt idx="2563">
                  <c:v>3.1936752115668181E-4</c:v>
                </c:pt>
                <c:pt idx="2564">
                  <c:v>3.1863391440559001E-4</c:v>
                </c:pt>
                <c:pt idx="2565">
                  <c:v>3.1659157179312572E-4</c:v>
                </c:pt>
                <c:pt idx="2566">
                  <c:v>3.1879452280996596E-4</c:v>
                </c:pt>
                <c:pt idx="2567">
                  <c:v>3.2332602676573804E-4</c:v>
                </c:pt>
                <c:pt idx="2568">
                  <c:v>3.2814429982176111E-4</c:v>
                </c:pt>
                <c:pt idx="2569">
                  <c:v>3.3278885423618601E-4</c:v>
                </c:pt>
                <c:pt idx="2570">
                  <c:v>3.3607214804843747E-4</c:v>
                </c:pt>
                <c:pt idx="2571">
                  <c:v>3.3958900036547344E-4</c:v>
                </c:pt>
                <c:pt idx="2572">
                  <c:v>3.4122886754803846E-4</c:v>
                </c:pt>
                <c:pt idx="2573">
                  <c:v>3.4249250769380666E-4</c:v>
                </c:pt>
                <c:pt idx="2574">
                  <c:v>3.4407606861352813E-4</c:v>
                </c:pt>
                <c:pt idx="2575">
                  <c:v>3.4519871093980216E-4</c:v>
                </c:pt>
                <c:pt idx="2576">
                  <c:v>3.4499148551278823E-4</c:v>
                </c:pt>
                <c:pt idx="2577">
                  <c:v>3.419582149857723E-4</c:v>
                </c:pt>
                <c:pt idx="2578">
                  <c:v>3.3746438357812108E-4</c:v>
                </c:pt>
                <c:pt idx="2579">
                  <c:v>3.3187214353009589E-4</c:v>
                </c:pt>
                <c:pt idx="2580">
                  <c:v>3.2356624652336646E-4</c:v>
                </c:pt>
                <c:pt idx="2581">
                  <c:v>3.1540189083273861E-4</c:v>
                </c:pt>
                <c:pt idx="2582">
                  <c:v>3.0487890122175056E-4</c:v>
                </c:pt>
                <c:pt idx="2583">
                  <c:v>2.9193823258385343E-4</c:v>
                </c:pt>
                <c:pt idx="2584">
                  <c:v>2.8621303246377413E-4</c:v>
                </c:pt>
                <c:pt idx="2585">
                  <c:v>2.7792639054918908E-4</c:v>
                </c:pt>
                <c:pt idx="2586">
                  <c:v>2.7013545389464893E-4</c:v>
                </c:pt>
                <c:pt idx="2587">
                  <c:v>2.6102603995700204E-4</c:v>
                </c:pt>
                <c:pt idx="2588">
                  <c:v>2.5256897349122264E-4</c:v>
                </c:pt>
                <c:pt idx="2589">
                  <c:v>2.4397462752373035E-4</c:v>
                </c:pt>
                <c:pt idx="2590">
                  <c:v>2.3848312240768617E-4</c:v>
                </c:pt>
                <c:pt idx="2591">
                  <c:v>2.3774970737606201E-4</c:v>
                </c:pt>
                <c:pt idx="2592">
                  <c:v>2.3676367393252092E-4</c:v>
                </c:pt>
                <c:pt idx="2593">
                  <c:v>2.3473073216506279E-4</c:v>
                </c:pt>
                <c:pt idx="2594">
                  <c:v>2.3239458917774018E-4</c:v>
                </c:pt>
                <c:pt idx="2595">
                  <c:v>2.3459913152132952E-4</c:v>
                </c:pt>
                <c:pt idx="2596">
                  <c:v>2.3595663242892285E-4</c:v>
                </c:pt>
                <c:pt idx="2597">
                  <c:v>2.3735337777485761E-4</c:v>
                </c:pt>
                <c:pt idx="2598">
                  <c:v>2.3780635421928554E-4</c:v>
                </c:pt>
                <c:pt idx="2599">
                  <c:v>2.3839377099858013E-4</c:v>
                </c:pt>
                <c:pt idx="2600">
                  <c:v>2.4684689031677235E-4</c:v>
                </c:pt>
                <c:pt idx="2601">
                  <c:v>2.5464930051752826E-4</c:v>
                </c:pt>
                <c:pt idx="2602">
                  <c:v>2.6102627538195295E-4</c:v>
                </c:pt>
                <c:pt idx="2603">
                  <c:v>2.6497547695658575E-4</c:v>
                </c:pt>
                <c:pt idx="2604">
                  <c:v>2.7024378512360841E-4</c:v>
                </c:pt>
                <c:pt idx="2605">
                  <c:v>2.7683961422125607E-4</c:v>
                </c:pt>
                <c:pt idx="2606">
                  <c:v>2.8301826929734658E-4</c:v>
                </c:pt>
                <c:pt idx="2607">
                  <c:v>2.8636921693072552E-4</c:v>
                </c:pt>
                <c:pt idx="2608">
                  <c:v>2.8847208360235042E-4</c:v>
                </c:pt>
                <c:pt idx="2609">
                  <c:v>2.9104882457982594E-4</c:v>
                </c:pt>
                <c:pt idx="2610">
                  <c:v>2.919621285004439E-4</c:v>
                </c:pt>
                <c:pt idx="2611">
                  <c:v>2.9431045354015264E-4</c:v>
                </c:pt>
                <c:pt idx="2612">
                  <c:v>2.9527492419664553E-4</c:v>
                </c:pt>
                <c:pt idx="2613">
                  <c:v>2.9487823013987362E-4</c:v>
                </c:pt>
                <c:pt idx="2614">
                  <c:v>2.9390597064155114E-4</c:v>
                </c:pt>
                <c:pt idx="2615">
                  <c:v>2.9231198646980305E-4</c:v>
                </c:pt>
                <c:pt idx="2616">
                  <c:v>2.8999304573458973E-4</c:v>
                </c:pt>
                <c:pt idx="2617">
                  <c:v>2.8620800963094652E-4</c:v>
                </c:pt>
                <c:pt idx="2618">
                  <c:v>2.8154569735893586E-4</c:v>
                </c:pt>
                <c:pt idx="2619">
                  <c:v>2.7522014930962294E-4</c:v>
                </c:pt>
                <c:pt idx="2620">
                  <c:v>2.6712794998466117E-4</c:v>
                </c:pt>
                <c:pt idx="2621">
                  <c:v>2.5773280324291098E-4</c:v>
                </c:pt>
                <c:pt idx="2622">
                  <c:v>2.472350548836335E-4</c:v>
                </c:pt>
                <c:pt idx="2623">
                  <c:v>2.3443604976777693E-4</c:v>
                </c:pt>
                <c:pt idx="2624">
                  <c:v>2.2021136550519907E-4</c:v>
                </c:pt>
                <c:pt idx="2625">
                  <c:v>2.1234301049442159E-4</c:v>
                </c:pt>
                <c:pt idx="2626">
                  <c:v>2.0386497814413074E-4</c:v>
                </c:pt>
                <c:pt idx="2627">
                  <c:v>1.9593343431446435E-4</c:v>
                </c:pt>
                <c:pt idx="2628">
                  <c:v>1.8640633373278009E-4</c:v>
                </c:pt>
                <c:pt idx="2629">
                  <c:v>1.7370636350641738E-4</c:v>
                </c:pt>
                <c:pt idx="2630">
                  <c:v>1.6995589600221934E-4</c:v>
                </c:pt>
                <c:pt idx="2631">
                  <c:v>1.6731502706667444E-4</c:v>
                </c:pt>
                <c:pt idx="2632">
                  <c:v>1.7137188297717071E-4</c:v>
                </c:pt>
                <c:pt idx="2633">
                  <c:v>1.8372663983241385E-4</c:v>
                </c:pt>
                <c:pt idx="2634">
                  <c:v>2.0835507071130107E-4</c:v>
                </c:pt>
                <c:pt idx="2635">
                  <c:v>2.29551707622913E-4</c:v>
                </c:pt>
                <c:pt idx="2636">
                  <c:v>2.4761958474755092E-4</c:v>
                </c:pt>
                <c:pt idx="2637">
                  <c:v>2.6272769382348888E-4</c:v>
                </c:pt>
                <c:pt idx="2638">
                  <c:v>2.7533554488345301E-4</c:v>
                </c:pt>
                <c:pt idx="2639">
                  <c:v>2.8674275727760151E-4</c:v>
                </c:pt>
                <c:pt idx="2640">
                  <c:v>2.9606776145309574E-4</c:v>
                </c:pt>
                <c:pt idx="2641">
                  <c:v>3.0612169092404234E-4</c:v>
                </c:pt>
                <c:pt idx="2642">
                  <c:v>3.1497339311628347E-4</c:v>
                </c:pt>
                <c:pt idx="2643">
                  <c:v>3.2097174914238184E-4</c:v>
                </c:pt>
                <c:pt idx="2644">
                  <c:v>3.2514821505235958E-4</c:v>
                </c:pt>
                <c:pt idx="2645">
                  <c:v>3.3060039760749647E-4</c:v>
                </c:pt>
                <c:pt idx="2646">
                  <c:v>3.3484183623138714E-4</c:v>
                </c:pt>
                <c:pt idx="2647">
                  <c:v>3.3734521432847062E-4</c:v>
                </c:pt>
                <c:pt idx="2648">
                  <c:v>3.3951754744499858E-4</c:v>
                </c:pt>
                <c:pt idx="2649">
                  <c:v>3.4785096927978244E-4</c:v>
                </c:pt>
                <c:pt idx="2650">
                  <c:v>3.5707165527312356E-4</c:v>
                </c:pt>
                <c:pt idx="2651">
                  <c:v>3.676786611013453E-4</c:v>
                </c:pt>
                <c:pt idx="2652">
                  <c:v>3.7514139111525683E-4</c:v>
                </c:pt>
                <c:pt idx="2653">
                  <c:v>3.7971947647872869E-4</c:v>
                </c:pt>
                <c:pt idx="2654">
                  <c:v>3.8138186105404759E-4</c:v>
                </c:pt>
                <c:pt idx="2655">
                  <c:v>3.8105366040117798E-4</c:v>
                </c:pt>
                <c:pt idx="2656">
                  <c:v>3.7799993525123991E-4</c:v>
                </c:pt>
                <c:pt idx="2657">
                  <c:v>3.7214742274022214E-4</c:v>
                </c:pt>
                <c:pt idx="2658">
                  <c:v>3.6333949003139189E-4</c:v>
                </c:pt>
                <c:pt idx="2659">
                  <c:v>3.5137316355435581E-4</c:v>
                </c:pt>
                <c:pt idx="2660">
                  <c:v>3.3763334526865785E-4</c:v>
                </c:pt>
                <c:pt idx="2661">
                  <c:v>3.2395597049136903E-4</c:v>
                </c:pt>
                <c:pt idx="2662">
                  <c:v>3.1820305214108456E-4</c:v>
                </c:pt>
                <c:pt idx="2663">
                  <c:v>3.1792237672835624E-4</c:v>
                </c:pt>
                <c:pt idx="2664">
                  <c:v>3.2407525930484637E-4</c:v>
                </c:pt>
                <c:pt idx="2665">
                  <c:v>3.2889282698237191E-4</c:v>
                </c:pt>
                <c:pt idx="2666">
                  <c:v>3.3230570770786299E-4</c:v>
                </c:pt>
                <c:pt idx="2667">
                  <c:v>3.3346592321500642E-4</c:v>
                </c:pt>
                <c:pt idx="2668">
                  <c:v>3.3316352024664886E-4</c:v>
                </c:pt>
                <c:pt idx="2669">
                  <c:v>3.3143636452001758E-4</c:v>
                </c:pt>
                <c:pt idx="2670">
                  <c:v>3.2747386046579985E-4</c:v>
                </c:pt>
                <c:pt idx="2671">
                  <c:v>3.2385127138968265E-4</c:v>
                </c:pt>
                <c:pt idx="2672">
                  <c:v>3.2860783302383147E-4</c:v>
                </c:pt>
                <c:pt idx="2673">
                  <c:v>3.3126142375592424E-4</c:v>
                </c:pt>
                <c:pt idx="2674">
                  <c:v>3.4589358890892494E-4</c:v>
                </c:pt>
                <c:pt idx="2675">
                  <c:v>3.6597229578926369E-4</c:v>
                </c:pt>
                <c:pt idx="2676">
                  <c:v>3.9446739032168059E-4</c:v>
                </c:pt>
                <c:pt idx="2677">
                  <c:v>4.1549946763394746E-4</c:v>
                </c:pt>
                <c:pt idx="2678">
                  <c:v>4.3198792471954713E-4</c:v>
                </c:pt>
                <c:pt idx="2679">
                  <c:v>4.5050397044541781E-4</c:v>
                </c:pt>
                <c:pt idx="2680">
                  <c:v>4.6885656736367955E-4</c:v>
                </c:pt>
                <c:pt idx="2681">
                  <c:v>4.862202899332805E-4</c:v>
                </c:pt>
                <c:pt idx="2682">
                  <c:v>4.9969920904314709E-4</c:v>
                </c:pt>
                <c:pt idx="2683">
                  <c:v>5.1117047860757949E-4</c:v>
                </c:pt>
                <c:pt idx="2684">
                  <c:v>5.1902284844680593E-4</c:v>
                </c:pt>
                <c:pt idx="2685">
                  <c:v>5.2417243481438214E-4</c:v>
                </c:pt>
                <c:pt idx="2686">
                  <c:v>5.2588900949641373E-4</c:v>
                </c:pt>
                <c:pt idx="2687">
                  <c:v>5.248765277459707E-4</c:v>
                </c:pt>
                <c:pt idx="2688">
                  <c:v>5.2033961178785386E-4</c:v>
                </c:pt>
                <c:pt idx="2689">
                  <c:v>5.1219395294699755E-4</c:v>
                </c:pt>
                <c:pt idx="2690">
                  <c:v>5.0694225893482315E-4</c:v>
                </c:pt>
                <c:pt idx="2691">
                  <c:v>5.0123528976437617E-4</c:v>
                </c:pt>
                <c:pt idx="2692">
                  <c:v>4.9673520858222278E-4</c:v>
                </c:pt>
                <c:pt idx="2693">
                  <c:v>4.896496312050665E-4</c:v>
                </c:pt>
                <c:pt idx="2694">
                  <c:v>4.8003737746509856E-4</c:v>
                </c:pt>
                <c:pt idx="2695">
                  <c:v>4.6786403274506118E-4</c:v>
                </c:pt>
                <c:pt idx="2696">
                  <c:v>4.530204278935852E-4</c:v>
                </c:pt>
                <c:pt idx="2697">
                  <c:v>4.3429018934339241E-4</c:v>
                </c:pt>
                <c:pt idx="2698">
                  <c:v>4.1227964566389961E-4</c:v>
                </c:pt>
                <c:pt idx="2699">
                  <c:v>3.8531418959712559E-4</c:v>
                </c:pt>
                <c:pt idx="2700">
                  <c:v>3.5236484019718096E-4</c:v>
                </c:pt>
                <c:pt idx="2701">
                  <c:v>3.1142623092649891E-4</c:v>
                </c:pt>
                <c:pt idx="2702">
                  <c:v>2.7953262337874888E-4</c:v>
                </c:pt>
                <c:pt idx="2703">
                  <c:v>2.4287021164255337E-4</c:v>
                </c:pt>
                <c:pt idx="2704">
                  <c:v>2.2248748302697898E-4</c:v>
                </c:pt>
                <c:pt idx="2705">
                  <c:v>2.0918809449946022E-4</c:v>
                </c:pt>
                <c:pt idx="2706">
                  <c:v>2.1028636659369492E-4</c:v>
                </c:pt>
                <c:pt idx="2707">
                  <c:v>2.2365886009652829E-4</c:v>
                </c:pt>
                <c:pt idx="2708">
                  <c:v>2.6341724779825685E-4</c:v>
                </c:pt>
                <c:pt idx="2709">
                  <c:v>3.1794666226365483E-4</c:v>
                </c:pt>
                <c:pt idx="2710">
                  <c:v>3.9773407681958646E-4</c:v>
                </c:pt>
                <c:pt idx="2711">
                  <c:v>4.6128744257763069E-4</c:v>
                </c:pt>
                <c:pt idx="2712">
                  <c:v>5.1163623679243537E-4</c:v>
                </c:pt>
                <c:pt idx="2713">
                  <c:v>5.7365551963867352E-4</c:v>
                </c:pt>
                <c:pt idx="2714">
                  <c:v>6.2369044395134616E-4</c:v>
                </c:pt>
                <c:pt idx="2715">
                  <c:v>6.6496255521605505E-4</c:v>
                </c:pt>
                <c:pt idx="2716">
                  <c:v>6.9963204742787787E-4</c:v>
                </c:pt>
                <c:pt idx="2717">
                  <c:v>7.2811650956426687E-4</c:v>
                </c:pt>
                <c:pt idx="2718">
                  <c:v>7.514891039911122E-4</c:v>
                </c:pt>
                <c:pt idx="2719">
                  <c:v>7.6939913592672174E-4</c:v>
                </c:pt>
                <c:pt idx="2720">
                  <c:v>7.8641703783485989E-4</c:v>
                </c:pt>
                <c:pt idx="2721">
                  <c:v>8.0079778185816264E-4</c:v>
                </c:pt>
                <c:pt idx="2722">
                  <c:v>8.1166686563505903E-4</c:v>
                </c:pt>
                <c:pt idx="2723">
                  <c:v>8.1844050265396893E-4</c:v>
                </c:pt>
                <c:pt idx="2724">
                  <c:v>8.2077212193396639E-4</c:v>
                </c:pt>
                <c:pt idx="2725">
                  <c:v>8.1925775887633438E-4</c:v>
                </c:pt>
                <c:pt idx="2726">
                  <c:v>8.1379240169176506E-4</c:v>
                </c:pt>
                <c:pt idx="2727">
                  <c:v>8.0415168244871128E-4</c:v>
                </c:pt>
                <c:pt idx="2728">
                  <c:v>7.8961708539300999E-4</c:v>
                </c:pt>
                <c:pt idx="2729">
                  <c:v>7.7035753192958181E-4</c:v>
                </c:pt>
                <c:pt idx="2730">
                  <c:v>7.454866398652495E-4</c:v>
                </c:pt>
                <c:pt idx="2731">
                  <c:v>7.1388676622100499E-4</c:v>
                </c:pt>
                <c:pt idx="2732">
                  <c:v>6.7560499056449491E-4</c:v>
                </c:pt>
                <c:pt idx="2733">
                  <c:v>6.2887503795028797E-4</c:v>
                </c:pt>
                <c:pt idx="2734">
                  <c:v>5.730425083433358E-4</c:v>
                </c:pt>
                <c:pt idx="2735">
                  <c:v>5.0687324766395068E-4</c:v>
                </c:pt>
                <c:pt idx="2736">
                  <c:v>4.2993427296029812E-4</c:v>
                </c:pt>
                <c:pt idx="2737">
                  <c:v>3.544715858108912E-4</c:v>
                </c:pt>
                <c:pt idx="2738">
                  <c:v>2.9683029390090561E-4</c:v>
                </c:pt>
                <c:pt idx="2739">
                  <c:v>2.5196419335722533E-4</c:v>
                </c:pt>
                <c:pt idx="2740">
                  <c:v>2.3511800789872216E-4</c:v>
                </c:pt>
                <c:pt idx="2741">
                  <c:v>2.1817058556298708E-4</c:v>
                </c:pt>
                <c:pt idx="2742">
                  <c:v>1.968364069121756E-4</c:v>
                </c:pt>
                <c:pt idx="2743">
                  <c:v>1.9968170618671159E-4</c:v>
                </c:pt>
                <c:pt idx="2744">
                  <c:v>2.0116621402529552E-4</c:v>
                </c:pt>
                <c:pt idx="2745">
                  <c:v>2.0137527878375346E-4</c:v>
                </c:pt>
                <c:pt idx="2746">
                  <c:v>2.01271759986633E-4</c:v>
                </c:pt>
                <c:pt idx="2747">
                  <c:v>1.9992467529689669E-4</c:v>
                </c:pt>
                <c:pt idx="2748">
                  <c:v>1.9916675778012925E-4</c:v>
                </c:pt>
                <c:pt idx="2749">
                  <c:v>1.9809874284037993E-4</c:v>
                </c:pt>
                <c:pt idx="2750">
                  <c:v>1.9762973114374809E-4</c:v>
                </c:pt>
                <c:pt idx="2751">
                  <c:v>1.9874301705549092E-4</c:v>
                </c:pt>
                <c:pt idx="2752">
                  <c:v>1.9980193295040616E-4</c:v>
                </c:pt>
                <c:pt idx="2753">
                  <c:v>2.0166817462948582E-4</c:v>
                </c:pt>
                <c:pt idx="2754">
                  <c:v>2.250874295144203E-4</c:v>
                </c:pt>
                <c:pt idx="2755">
                  <c:v>2.4455308125875098E-4</c:v>
                </c:pt>
                <c:pt idx="2756">
                  <c:v>2.6576521445630271E-4</c:v>
                </c:pt>
                <c:pt idx="2757">
                  <c:v>3.0119475773960778E-4</c:v>
                </c:pt>
                <c:pt idx="2758">
                  <c:v>3.2966488630081331E-4</c:v>
                </c:pt>
                <c:pt idx="2759">
                  <c:v>3.6651055360667332E-4</c:v>
                </c:pt>
                <c:pt idx="2760">
                  <c:v>3.9767257172987949E-4</c:v>
                </c:pt>
                <c:pt idx="2761">
                  <c:v>4.3140027404428848E-4</c:v>
                </c:pt>
                <c:pt idx="2762">
                  <c:v>4.7163431299401072E-4</c:v>
                </c:pt>
                <c:pt idx="2763">
                  <c:v>5.053050059158963E-4</c:v>
                </c:pt>
                <c:pt idx="2764">
                  <c:v>5.3361047393500562E-4</c:v>
                </c:pt>
                <c:pt idx="2765">
                  <c:v>5.5631747034400514E-4</c:v>
                </c:pt>
                <c:pt idx="2766">
                  <c:v>5.7464296876832521E-4</c:v>
                </c:pt>
                <c:pt idx="2767">
                  <c:v>5.8916032456750094E-4</c:v>
                </c:pt>
                <c:pt idx="2768">
                  <c:v>5.9962487846656868E-4</c:v>
                </c:pt>
                <c:pt idx="2769">
                  <c:v>6.056021978161207E-4</c:v>
                </c:pt>
                <c:pt idx="2770">
                  <c:v>6.084339227018364E-4</c:v>
                </c:pt>
                <c:pt idx="2771">
                  <c:v>6.0814049010966375E-4</c:v>
                </c:pt>
                <c:pt idx="2772">
                  <c:v>6.0338697665040912E-4</c:v>
                </c:pt>
                <c:pt idx="2773">
                  <c:v>6.0061132940024918E-4</c:v>
                </c:pt>
                <c:pt idx="2774">
                  <c:v>5.9397419638945259E-4</c:v>
                </c:pt>
                <c:pt idx="2775">
                  <c:v>5.839863675421974E-4</c:v>
                </c:pt>
                <c:pt idx="2776">
                  <c:v>5.704522907626564E-4</c:v>
                </c:pt>
                <c:pt idx="2777">
                  <c:v>5.5311104136059747E-4</c:v>
                </c:pt>
                <c:pt idx="2778">
                  <c:v>5.3258383724282151E-4</c:v>
                </c:pt>
                <c:pt idx="2779">
                  <c:v>5.0907000548500191E-4</c:v>
                </c:pt>
                <c:pt idx="2780">
                  <c:v>4.8053675421299479E-4</c:v>
                </c:pt>
                <c:pt idx="2781">
                  <c:v>4.474924379124349E-4</c:v>
                </c:pt>
                <c:pt idx="2782">
                  <c:v>4.0687209750947127E-4</c:v>
                </c:pt>
                <c:pt idx="2783">
                  <c:v>3.5993056398940125E-4</c:v>
                </c:pt>
                <c:pt idx="2784">
                  <c:v>3.3249450010408859E-4</c:v>
                </c:pt>
                <c:pt idx="2785">
                  <c:v>2.985474598588181E-4</c:v>
                </c:pt>
                <c:pt idx="2786">
                  <c:v>2.6452896598077718E-4</c:v>
                </c:pt>
                <c:pt idx="2787">
                  <c:v>2.6918848160899705E-4</c:v>
                </c:pt>
                <c:pt idx="2788">
                  <c:v>2.6798460004866953E-4</c:v>
                </c:pt>
                <c:pt idx="2789">
                  <c:v>2.7486306090214512E-4</c:v>
                </c:pt>
                <c:pt idx="2790">
                  <c:v>2.7977576324170363E-4</c:v>
                </c:pt>
                <c:pt idx="2791">
                  <c:v>2.896632408789971E-4</c:v>
                </c:pt>
                <c:pt idx="2792">
                  <c:v>3.0872400590498502E-4</c:v>
                </c:pt>
                <c:pt idx="2793">
                  <c:v>3.2506618246468648E-4</c:v>
                </c:pt>
                <c:pt idx="2794">
                  <c:v>3.4935056265149002E-4</c:v>
                </c:pt>
                <c:pt idx="2795">
                  <c:v>3.8261469306486432E-4</c:v>
                </c:pt>
                <c:pt idx="2796">
                  <c:v>4.1657319433422612E-4</c:v>
                </c:pt>
                <c:pt idx="2797">
                  <c:v>4.4658298365400851E-4</c:v>
                </c:pt>
                <c:pt idx="2798">
                  <c:v>4.7215129693335028E-4</c:v>
                </c:pt>
                <c:pt idx="2799">
                  <c:v>4.9296784614332378E-4</c:v>
                </c:pt>
                <c:pt idx="2800">
                  <c:v>5.1844454970756068E-4</c:v>
                </c:pt>
                <c:pt idx="2801">
                  <c:v>5.3975290939568387E-4</c:v>
                </c:pt>
                <c:pt idx="2802">
                  <c:v>5.6000078187860641E-4</c:v>
                </c:pt>
                <c:pt idx="2803">
                  <c:v>5.8163205865898989E-4</c:v>
                </c:pt>
                <c:pt idx="2804">
                  <c:v>6.0186535114039848E-4</c:v>
                </c:pt>
                <c:pt idx="2805">
                  <c:v>6.2193474390071857E-4</c:v>
                </c:pt>
                <c:pt idx="2806">
                  <c:v>6.4048096190966717E-4</c:v>
                </c:pt>
                <c:pt idx="2807">
                  <c:v>6.5391201991810361E-4</c:v>
                </c:pt>
                <c:pt idx="2808">
                  <c:v>6.6159958200794641E-4</c:v>
                </c:pt>
                <c:pt idx="2809">
                  <c:v>6.6528374442176449E-4</c:v>
                </c:pt>
                <c:pt idx="2810">
                  <c:v>6.6422961166138627E-4</c:v>
                </c:pt>
                <c:pt idx="2811">
                  <c:v>6.6008660530513842E-4</c:v>
                </c:pt>
                <c:pt idx="2812">
                  <c:v>6.5117826184673752E-4</c:v>
                </c:pt>
                <c:pt idx="2813">
                  <c:v>6.3749049956642295E-4</c:v>
                </c:pt>
                <c:pt idx="2814">
                  <c:v>6.1948836266056907E-4</c:v>
                </c:pt>
                <c:pt idx="2815">
                  <c:v>5.9445141571699009E-4</c:v>
                </c:pt>
                <c:pt idx="2816">
                  <c:v>5.6557096525477189E-4</c:v>
                </c:pt>
                <c:pt idx="2817">
                  <c:v>5.5378738124669548E-4</c:v>
                </c:pt>
                <c:pt idx="2818">
                  <c:v>5.3794481724008479E-4</c:v>
                </c:pt>
                <c:pt idx="2819">
                  <c:v>5.1765005074293701E-4</c:v>
                </c:pt>
                <c:pt idx="2820">
                  <c:v>4.9347974826735987E-4</c:v>
                </c:pt>
                <c:pt idx="2821">
                  <c:v>4.6437004077139573E-4</c:v>
                </c:pt>
                <c:pt idx="2822">
                  <c:v>4.3836941736465816E-4</c:v>
                </c:pt>
                <c:pt idx="2823">
                  <c:v>4.1524576530904407E-4</c:v>
                </c:pt>
                <c:pt idx="2824">
                  <c:v>4.015201641763175E-4</c:v>
                </c:pt>
                <c:pt idx="2825">
                  <c:v>3.9526456921634196E-4</c:v>
                </c:pt>
                <c:pt idx="2826">
                  <c:v>3.9113393161177622E-4</c:v>
                </c:pt>
                <c:pt idx="2827">
                  <c:v>3.8550818173087428E-4</c:v>
                </c:pt>
                <c:pt idx="2828">
                  <c:v>3.7814988723135657E-4</c:v>
                </c:pt>
                <c:pt idx="2829">
                  <c:v>3.752750765781047E-4</c:v>
                </c:pt>
                <c:pt idx="2830">
                  <c:v>3.826473597344265E-4</c:v>
                </c:pt>
                <c:pt idx="2831">
                  <c:v>3.8666426884675426E-4</c:v>
                </c:pt>
                <c:pt idx="2832">
                  <c:v>3.9249595255628984E-4</c:v>
                </c:pt>
                <c:pt idx="2833">
                  <c:v>3.9978234410793865E-4</c:v>
                </c:pt>
                <c:pt idx="2834">
                  <c:v>4.137028197297595E-4</c:v>
                </c:pt>
                <c:pt idx="2835">
                  <c:v>4.3654771350666501E-4</c:v>
                </c:pt>
                <c:pt idx="2836">
                  <c:v>4.573568975501649E-4</c:v>
                </c:pt>
                <c:pt idx="2837">
                  <c:v>4.7443083705180235E-4</c:v>
                </c:pt>
                <c:pt idx="2838">
                  <c:v>4.875894395354751E-4</c:v>
                </c:pt>
                <c:pt idx="2839">
                  <c:v>4.9703838608311133E-4</c:v>
                </c:pt>
                <c:pt idx="2840">
                  <c:v>5.0384259307065889E-4</c:v>
                </c:pt>
                <c:pt idx="2841">
                  <c:v>5.0761406159766955E-4</c:v>
                </c:pt>
                <c:pt idx="2842">
                  <c:v>5.0906547019406972E-4</c:v>
                </c:pt>
                <c:pt idx="2843">
                  <c:v>5.0763389693165759E-4</c:v>
                </c:pt>
                <c:pt idx="2844">
                  <c:v>5.0467147686516578E-4</c:v>
                </c:pt>
                <c:pt idx="2845">
                  <c:v>4.9922264736030903E-4</c:v>
                </c:pt>
                <c:pt idx="2846">
                  <c:v>4.9110614619001219E-4</c:v>
                </c:pt>
                <c:pt idx="2847">
                  <c:v>4.7947513196723742E-4</c:v>
                </c:pt>
                <c:pt idx="2848">
                  <c:v>4.6410774557519474E-4</c:v>
                </c:pt>
                <c:pt idx="2849">
                  <c:v>4.4512202602113062E-4</c:v>
                </c:pt>
                <c:pt idx="2850">
                  <c:v>4.2142531497134177E-4</c:v>
                </c:pt>
                <c:pt idx="2851">
                  <c:v>3.9032904634518173E-4</c:v>
                </c:pt>
                <c:pt idx="2852">
                  <c:v>3.6321434656260755E-4</c:v>
                </c:pt>
                <c:pt idx="2853">
                  <c:v>3.4730877519428534E-4</c:v>
                </c:pt>
                <c:pt idx="2854">
                  <c:v>3.3372352470511824E-4</c:v>
                </c:pt>
                <c:pt idx="2855">
                  <c:v>3.2259471230803173E-4</c:v>
                </c:pt>
                <c:pt idx="2856">
                  <c:v>3.0849581261629673E-4</c:v>
                </c:pt>
                <c:pt idx="2857">
                  <c:v>2.920875233574236E-4</c:v>
                </c:pt>
                <c:pt idx="2858">
                  <c:v>2.7515454141107244E-4</c:v>
                </c:pt>
                <c:pt idx="2859">
                  <c:v>2.6620183125464751E-4</c:v>
                </c:pt>
                <c:pt idx="2860">
                  <c:v>2.6088150891408988E-4</c:v>
                </c:pt>
                <c:pt idx="2861">
                  <c:v>2.5580298026348661E-4</c:v>
                </c:pt>
                <c:pt idx="2862">
                  <c:v>2.5130618515179534E-4</c:v>
                </c:pt>
                <c:pt idx="2863">
                  <c:v>2.4433723966612426E-4</c:v>
                </c:pt>
                <c:pt idx="2864">
                  <c:v>2.5188483392837098E-4</c:v>
                </c:pt>
                <c:pt idx="2865">
                  <c:v>2.6909193037716664E-4</c:v>
                </c:pt>
                <c:pt idx="2866">
                  <c:v>2.8328670900374243E-4</c:v>
                </c:pt>
                <c:pt idx="2867">
                  <c:v>2.949545060941708E-4</c:v>
                </c:pt>
                <c:pt idx="2868">
                  <c:v>3.0439093241375762E-4</c:v>
                </c:pt>
                <c:pt idx="2869">
                  <c:v>3.1109493693503242E-4</c:v>
                </c:pt>
                <c:pt idx="2870">
                  <c:v>3.2009927361572433E-4</c:v>
                </c:pt>
                <c:pt idx="2871">
                  <c:v>3.2844316477659172E-4</c:v>
                </c:pt>
                <c:pt idx="2872">
                  <c:v>3.3427473763057795E-4</c:v>
                </c:pt>
                <c:pt idx="2873">
                  <c:v>3.3778645356449008E-4</c:v>
                </c:pt>
                <c:pt idx="2874">
                  <c:v>3.4219611459156558E-4</c:v>
                </c:pt>
                <c:pt idx="2875">
                  <c:v>3.4570252006390858E-4</c:v>
                </c:pt>
                <c:pt idx="2876">
                  <c:v>3.4854246469612861E-4</c:v>
                </c:pt>
                <c:pt idx="2877">
                  <c:v>3.491515539616653E-4</c:v>
                </c:pt>
                <c:pt idx="2878">
                  <c:v>3.4762555150471939E-4</c:v>
                </c:pt>
                <c:pt idx="2879">
                  <c:v>3.4467801337245528E-4</c:v>
                </c:pt>
                <c:pt idx="2880">
                  <c:v>3.3956334650186862E-4</c:v>
                </c:pt>
                <c:pt idx="2881">
                  <c:v>3.3193192602730333E-4</c:v>
                </c:pt>
                <c:pt idx="2882">
                  <c:v>3.2328970596039473E-4</c:v>
                </c:pt>
                <c:pt idx="2883">
                  <c:v>3.3824297501248426E-4</c:v>
                </c:pt>
                <c:pt idx="2884">
                  <c:v>3.478528920969195E-4</c:v>
                </c:pt>
                <c:pt idx="2885">
                  <c:v>3.6185962246890549E-4</c:v>
                </c:pt>
                <c:pt idx="2886">
                  <c:v>3.7179567583327781E-4</c:v>
                </c:pt>
                <c:pt idx="2887">
                  <c:v>3.7884506802458797E-4</c:v>
                </c:pt>
                <c:pt idx="2888">
                  <c:v>3.8409371418809274E-4</c:v>
                </c:pt>
                <c:pt idx="2889">
                  <c:v>3.8702105375877215E-4</c:v>
                </c:pt>
                <c:pt idx="2890">
                  <c:v>4.267904916008036E-4</c:v>
                </c:pt>
                <c:pt idx="2891">
                  <c:v>4.5954907612501017E-4</c:v>
                </c:pt>
                <c:pt idx="2892">
                  <c:v>4.8772074153948929E-4</c:v>
                </c:pt>
                <c:pt idx="2893">
                  <c:v>5.0841919040926428E-4</c:v>
                </c:pt>
                <c:pt idx="2894">
                  <c:v>5.3901667589315797E-4</c:v>
                </c:pt>
                <c:pt idx="2895">
                  <c:v>5.6583406236669046E-4</c:v>
                </c:pt>
                <c:pt idx="2896">
                  <c:v>5.8780138747203112E-4</c:v>
                </c:pt>
                <c:pt idx="2897">
                  <c:v>6.1158905435568331E-4</c:v>
                </c:pt>
                <c:pt idx="2898">
                  <c:v>6.3037726519539201E-4</c:v>
                </c:pt>
                <c:pt idx="2899">
                  <c:v>6.4283501300303855E-4</c:v>
                </c:pt>
                <c:pt idx="2900">
                  <c:v>6.5350654130305499E-4</c:v>
                </c:pt>
                <c:pt idx="2901">
                  <c:v>6.6093543408051239E-4</c:v>
                </c:pt>
                <c:pt idx="2902">
                  <c:v>6.6408382776701042E-4</c:v>
                </c:pt>
                <c:pt idx="2903">
                  <c:v>6.6307597015230685E-4</c:v>
                </c:pt>
                <c:pt idx="2904">
                  <c:v>6.6062638616233094E-4</c:v>
                </c:pt>
                <c:pt idx="2905">
                  <c:v>6.5468724325679832E-4</c:v>
                </c:pt>
                <c:pt idx="2906">
                  <c:v>6.4767765546421701E-4</c:v>
                </c:pt>
                <c:pt idx="2907">
                  <c:v>6.3667721563571424E-4</c:v>
                </c:pt>
                <c:pt idx="2908">
                  <c:v>6.213626854402706E-4</c:v>
                </c:pt>
                <c:pt idx="2909">
                  <c:v>6.0069906263686326E-4</c:v>
                </c:pt>
                <c:pt idx="2910">
                  <c:v>5.7354529188098267E-4</c:v>
                </c:pt>
                <c:pt idx="2911">
                  <c:v>5.4183465402875936E-4</c:v>
                </c:pt>
                <c:pt idx="2912">
                  <c:v>5.0466795879123075E-4</c:v>
                </c:pt>
                <c:pt idx="2913">
                  <c:v>4.887302154672977E-4</c:v>
                </c:pt>
                <c:pt idx="2914">
                  <c:v>4.6804006523948604E-4</c:v>
                </c:pt>
                <c:pt idx="2915">
                  <c:v>4.4434970548152923E-4</c:v>
                </c:pt>
                <c:pt idx="2916">
                  <c:v>4.1500639597819158E-4</c:v>
                </c:pt>
                <c:pt idx="2917">
                  <c:v>3.7875049417357583E-4</c:v>
                </c:pt>
                <c:pt idx="2918">
                  <c:v>3.3393731861280885E-4</c:v>
                </c:pt>
                <c:pt idx="2919">
                  <c:v>2.7699265208213318E-4</c:v>
                </c:pt>
                <c:pt idx="2920">
                  <c:v>2.8436519864481589E-4</c:v>
                </c:pt>
                <c:pt idx="2921">
                  <c:v>2.9656055976693248E-4</c:v>
                </c:pt>
                <c:pt idx="2922">
                  <c:v>3.1040231205653251E-4</c:v>
                </c:pt>
                <c:pt idx="2923">
                  <c:v>3.2165809783043359E-4</c:v>
                </c:pt>
                <c:pt idx="2924">
                  <c:v>3.3725093407785894E-4</c:v>
                </c:pt>
                <c:pt idx="2925">
                  <c:v>3.4887583867013563E-4</c:v>
                </c:pt>
                <c:pt idx="2926">
                  <c:v>3.5969432253240175E-4</c:v>
                </c:pt>
                <c:pt idx="2927">
                  <c:v>3.7359789996048123E-4</c:v>
                </c:pt>
                <c:pt idx="2928">
                  <c:v>3.8608842240809725E-4</c:v>
                </c:pt>
                <c:pt idx="2929">
                  <c:v>3.9518094268681378E-4</c:v>
                </c:pt>
                <c:pt idx="2930">
                  <c:v>4.0322520801951454E-4</c:v>
                </c:pt>
                <c:pt idx="2931">
                  <c:v>4.0859847201301085E-4</c:v>
                </c:pt>
                <c:pt idx="2932">
                  <c:v>4.1136460034368563E-4</c:v>
                </c:pt>
                <c:pt idx="2933">
                  <c:v>4.1234688198622636E-4</c:v>
                </c:pt>
                <c:pt idx="2934">
                  <c:v>4.1146077815550341E-4</c:v>
                </c:pt>
                <c:pt idx="2935">
                  <c:v>4.0949216772644901E-4</c:v>
                </c:pt>
                <c:pt idx="2936">
                  <c:v>4.080844402006302E-4</c:v>
                </c:pt>
                <c:pt idx="2937">
                  <c:v>4.0584793031473798E-4</c:v>
                </c:pt>
                <c:pt idx="2938">
                  <c:v>4.0336356552750732E-4</c:v>
                </c:pt>
                <c:pt idx="2939">
                  <c:v>3.9919531985992758E-4</c:v>
                </c:pt>
                <c:pt idx="2940">
                  <c:v>3.9299580774752467E-4</c:v>
                </c:pt>
                <c:pt idx="2941">
                  <c:v>3.8636416636567014E-4</c:v>
                </c:pt>
                <c:pt idx="2942">
                  <c:v>3.7867489802173126E-4</c:v>
                </c:pt>
                <c:pt idx="2943">
                  <c:v>3.6820224025149029E-4</c:v>
                </c:pt>
                <c:pt idx="2944">
                  <c:v>3.6619516009201613E-4</c:v>
                </c:pt>
                <c:pt idx="2945">
                  <c:v>3.6109910324168769E-4</c:v>
                </c:pt>
                <c:pt idx="2946">
                  <c:v>3.5264318570900393E-4</c:v>
                </c:pt>
                <c:pt idx="2947">
                  <c:v>3.3960769529153232E-4</c:v>
                </c:pt>
                <c:pt idx="2948">
                  <c:v>3.2265101492254321E-4</c:v>
                </c:pt>
                <c:pt idx="2949">
                  <c:v>2.9935751021936842E-4</c:v>
                </c:pt>
                <c:pt idx="2950">
                  <c:v>2.9806913878026005E-4</c:v>
                </c:pt>
                <c:pt idx="2951">
                  <c:v>3.0207289875921746E-4</c:v>
                </c:pt>
                <c:pt idx="2952">
                  <c:v>3.0616219624305605E-4</c:v>
                </c:pt>
                <c:pt idx="2953">
                  <c:v>3.0961206800447951E-4</c:v>
                </c:pt>
                <c:pt idx="2954">
                  <c:v>3.1265874811841395E-4</c:v>
                </c:pt>
                <c:pt idx="2955">
                  <c:v>3.1377541417230851E-4</c:v>
                </c:pt>
                <c:pt idx="2956">
                  <c:v>3.1530360771104822E-4</c:v>
                </c:pt>
                <c:pt idx="2957">
                  <c:v>3.2140631866359122E-4</c:v>
                </c:pt>
                <c:pt idx="2958">
                  <c:v>3.312525190449718E-4</c:v>
                </c:pt>
                <c:pt idx="2959">
                  <c:v>3.3912761122167478E-4</c:v>
                </c:pt>
                <c:pt idx="2960">
                  <c:v>3.4570588870794092E-4</c:v>
                </c:pt>
                <c:pt idx="2961">
                  <c:v>3.4975025048706074E-4</c:v>
                </c:pt>
                <c:pt idx="2962">
                  <c:v>3.5135395406512361E-4</c:v>
                </c:pt>
                <c:pt idx="2963">
                  <c:v>3.5135026335662563E-4</c:v>
                </c:pt>
                <c:pt idx="2964">
                  <c:v>3.5716356450702768E-4</c:v>
                </c:pt>
                <c:pt idx="2965">
                  <c:v>3.6416045048103928E-4</c:v>
                </c:pt>
                <c:pt idx="2966">
                  <c:v>3.6860199260059002E-4</c:v>
                </c:pt>
                <c:pt idx="2967">
                  <c:v>3.7126145926842338E-4</c:v>
                </c:pt>
                <c:pt idx="2968">
                  <c:v>3.7223497929699868E-4</c:v>
                </c:pt>
                <c:pt idx="2969">
                  <c:v>3.7008896176791935E-4</c:v>
                </c:pt>
                <c:pt idx="2970">
                  <c:v>3.6667481009457567E-4</c:v>
                </c:pt>
                <c:pt idx="2971">
                  <c:v>3.6272859417559527E-4</c:v>
                </c:pt>
                <c:pt idx="2972">
                  <c:v>3.5489040134218335E-4</c:v>
                </c:pt>
                <c:pt idx="2973">
                  <c:v>3.4447825555979664E-4</c:v>
                </c:pt>
                <c:pt idx="2974">
                  <c:v>3.4443198863145103E-4</c:v>
                </c:pt>
                <c:pt idx="2975">
                  <c:v>3.4312965163696565E-4</c:v>
                </c:pt>
                <c:pt idx="2976">
                  <c:v>3.4132709098494044E-4</c:v>
                </c:pt>
                <c:pt idx="2977">
                  <c:v>3.3751548315580826E-4</c:v>
                </c:pt>
                <c:pt idx="2978">
                  <c:v>3.3158365435951898E-4</c:v>
                </c:pt>
                <c:pt idx="2979">
                  <c:v>3.2437089543217349E-4</c:v>
                </c:pt>
                <c:pt idx="2980">
                  <c:v>3.1680200224845666E-4</c:v>
                </c:pt>
                <c:pt idx="2981">
                  <c:v>3.0896436997734754E-4</c:v>
                </c:pt>
                <c:pt idx="2982">
                  <c:v>2.9913908466159969E-4</c:v>
                </c:pt>
                <c:pt idx="2983">
                  <c:v>2.8702712754460609E-4</c:v>
                </c:pt>
                <c:pt idx="2984">
                  <c:v>2.7343869304052355E-4</c:v>
                </c:pt>
                <c:pt idx="2985">
                  <c:v>2.5711913365540862E-4</c:v>
                </c:pt>
                <c:pt idx="2986">
                  <c:v>2.4006066114022723E-4</c:v>
                </c:pt>
                <c:pt idx="2987">
                  <c:v>2.2908330800382946E-4</c:v>
                </c:pt>
                <c:pt idx="2988">
                  <c:v>2.2247185809049646E-4</c:v>
                </c:pt>
                <c:pt idx="2989">
                  <c:v>2.1764471325163052E-4</c:v>
                </c:pt>
                <c:pt idx="2990">
                  <c:v>2.1370086635305201E-4</c:v>
                </c:pt>
                <c:pt idx="2991">
                  <c:v>2.0859458139348627E-4</c:v>
                </c:pt>
                <c:pt idx="2992">
                  <c:v>2.0529696567397516E-4</c:v>
                </c:pt>
                <c:pt idx="2993">
                  <c:v>2.014185358885866E-4</c:v>
                </c:pt>
                <c:pt idx="2994">
                  <c:v>2.1391262276701091E-4</c:v>
                </c:pt>
                <c:pt idx="2995">
                  <c:v>2.3528330156658269E-4</c:v>
                </c:pt>
                <c:pt idx="2996">
                  <c:v>2.6085166850208478E-4</c:v>
                </c:pt>
                <c:pt idx="2997">
                  <c:v>2.9348987654867676E-4</c:v>
                </c:pt>
                <c:pt idx="2998">
                  <c:v>3.2005490407819394E-4</c:v>
                </c:pt>
                <c:pt idx="2999">
                  <c:v>3.4130544100602545E-4</c:v>
                </c:pt>
                <c:pt idx="3000">
                  <c:v>3.5972076535141967E-4</c:v>
                </c:pt>
                <c:pt idx="3001">
                  <c:v>3.7583666170011343E-4</c:v>
                </c:pt>
                <c:pt idx="3002">
                  <c:v>3.8836215290004718E-4</c:v>
                </c:pt>
                <c:pt idx="3003">
                  <c:v>4.0131125914573754E-4</c:v>
                </c:pt>
                <c:pt idx="3004">
                  <c:v>4.1537570333329747E-4</c:v>
                </c:pt>
                <c:pt idx="3005">
                  <c:v>4.2727469166498581E-4</c:v>
                </c:pt>
                <c:pt idx="3006">
                  <c:v>4.4184705051985304E-4</c:v>
                </c:pt>
                <c:pt idx="3007">
                  <c:v>4.5388373287442264E-4</c:v>
                </c:pt>
                <c:pt idx="3008">
                  <c:v>4.6350195878629933E-4</c:v>
                </c:pt>
                <c:pt idx="3009">
                  <c:v>4.6995339556439472E-4</c:v>
                </c:pt>
                <c:pt idx="3010">
                  <c:v>4.7337875508794019E-4</c:v>
                </c:pt>
                <c:pt idx="3011">
                  <c:v>4.7389976874015536E-4</c:v>
                </c:pt>
                <c:pt idx="3012">
                  <c:v>4.7212171120201041E-4</c:v>
                </c:pt>
                <c:pt idx="3013">
                  <c:v>4.6864978290277296E-4</c:v>
                </c:pt>
                <c:pt idx="3014">
                  <c:v>4.6192175000327266E-4</c:v>
                </c:pt>
                <c:pt idx="3015">
                  <c:v>4.5306238051583114E-4</c:v>
                </c:pt>
                <c:pt idx="3016">
                  <c:v>4.4500998944523165E-4</c:v>
                </c:pt>
                <c:pt idx="3017">
                  <c:v>4.3396935857145327E-4</c:v>
                </c:pt>
                <c:pt idx="3018">
                  <c:v>4.1879456473773775E-4</c:v>
                </c:pt>
                <c:pt idx="3019">
                  <c:v>4.0294742295211996E-4</c:v>
                </c:pt>
                <c:pt idx="3020">
                  <c:v>3.865904733927282E-4</c:v>
                </c:pt>
                <c:pt idx="3021">
                  <c:v>3.6662157558996764E-4</c:v>
                </c:pt>
                <c:pt idx="3022">
                  <c:v>3.4650313839779877E-4</c:v>
                </c:pt>
                <c:pt idx="3023">
                  <c:v>3.2893333817201226E-4</c:v>
                </c:pt>
                <c:pt idx="3024">
                  <c:v>3.148145016688368E-4</c:v>
                </c:pt>
                <c:pt idx="3025">
                  <c:v>3.0453155605215731E-4</c:v>
                </c:pt>
                <c:pt idx="3026">
                  <c:v>2.9818500422157526E-4</c:v>
                </c:pt>
                <c:pt idx="3027">
                  <c:v>2.9837219003831699E-4</c:v>
                </c:pt>
                <c:pt idx="3028">
                  <c:v>2.9731440685057181E-4</c:v>
                </c:pt>
                <c:pt idx="3029">
                  <c:v>2.9490324002756787E-4</c:v>
                </c:pt>
                <c:pt idx="3030">
                  <c:v>2.9117961132174553E-4</c:v>
                </c:pt>
                <c:pt idx="3031">
                  <c:v>2.8674843775190262E-4</c:v>
                </c:pt>
                <c:pt idx="3032">
                  <c:v>2.7979117031642171E-4</c:v>
                </c:pt>
                <c:pt idx="3033">
                  <c:v>2.7422300428488097E-4</c:v>
                </c:pt>
                <c:pt idx="3034">
                  <c:v>2.7019924153619111E-4</c:v>
                </c:pt>
                <c:pt idx="3035">
                  <c:v>2.6519147212406713E-4</c:v>
                </c:pt>
                <c:pt idx="3036">
                  <c:v>2.6525634735056732E-4</c:v>
                </c:pt>
                <c:pt idx="3037">
                  <c:v>2.6453489933604099E-4</c:v>
                </c:pt>
                <c:pt idx="3038">
                  <c:v>2.6321169787208159E-4</c:v>
                </c:pt>
                <c:pt idx="3039">
                  <c:v>2.6114232714345909E-4</c:v>
                </c:pt>
                <c:pt idx="3040">
                  <c:v>2.5902866035226209E-4</c:v>
                </c:pt>
                <c:pt idx="3041">
                  <c:v>2.5524978184596127E-4</c:v>
                </c:pt>
                <c:pt idx="3042">
                  <c:v>2.4990663925918475E-4</c:v>
                </c:pt>
                <c:pt idx="3043">
                  <c:v>2.4547685886002727E-4</c:v>
                </c:pt>
                <c:pt idx="3044">
                  <c:v>2.4020464255453323E-4</c:v>
                </c:pt>
                <c:pt idx="3045">
                  <c:v>2.3516700524824224E-4</c:v>
                </c:pt>
                <c:pt idx="3046">
                  <c:v>2.3235980103304674E-4</c:v>
                </c:pt>
                <c:pt idx="3047">
                  <c:v>2.2899746034947796E-4</c:v>
                </c:pt>
                <c:pt idx="3048">
                  <c:v>2.2507528841142184E-4</c:v>
                </c:pt>
                <c:pt idx="3049">
                  <c:v>2.1990716749182776E-4</c:v>
                </c:pt>
                <c:pt idx="3050">
                  <c:v>2.1505834812816335E-4</c:v>
                </c:pt>
                <c:pt idx="3051">
                  <c:v>2.103144736581208E-4</c:v>
                </c:pt>
                <c:pt idx="3052">
                  <c:v>2.0402706407172792E-4</c:v>
                </c:pt>
                <c:pt idx="3053">
                  <c:v>2.0316725757037792E-4</c:v>
                </c:pt>
                <c:pt idx="3054">
                  <c:v>2.0131227727369989E-4</c:v>
                </c:pt>
                <c:pt idx="3055">
                  <c:v>1.9847685905443656E-4</c:v>
                </c:pt>
                <c:pt idx="3056">
                  <c:v>1.9634918560784031E-4</c:v>
                </c:pt>
                <c:pt idx="3057">
                  <c:v>1.9584202889964927E-4</c:v>
                </c:pt>
                <c:pt idx="3058">
                  <c:v>1.9598948682116453E-4</c:v>
                </c:pt>
                <c:pt idx="3059">
                  <c:v>1.9600552312340529E-4</c:v>
                </c:pt>
                <c:pt idx="3060">
                  <c:v>1.9586362264744443E-4</c:v>
                </c:pt>
                <c:pt idx="3061">
                  <c:v>1.9650414376270878E-4</c:v>
                </c:pt>
                <c:pt idx="3062">
                  <c:v>1.9620064955244858E-4</c:v>
                </c:pt>
                <c:pt idx="3063">
                  <c:v>1.9587838750277477E-4</c:v>
                </c:pt>
                <c:pt idx="3064">
                  <c:v>1.955287351051503E-4</c:v>
                </c:pt>
                <c:pt idx="3065">
                  <c:v>1.9512603587895584E-4</c:v>
                </c:pt>
                <c:pt idx="3066">
                  <c:v>1.9474171587912989E-4</c:v>
                </c:pt>
                <c:pt idx="3067">
                  <c:v>1.9428546753663645E-4</c:v>
                </c:pt>
                <c:pt idx="3068">
                  <c:v>1.9304092112754458E-4</c:v>
                </c:pt>
                <c:pt idx="3069">
                  <c:v>1.9179920744788551E-4</c:v>
                </c:pt>
                <c:pt idx="3070">
                  <c:v>1.9228744855777992E-4</c:v>
                </c:pt>
                <c:pt idx="3071">
                  <c:v>1.9290402569388323E-4</c:v>
                </c:pt>
                <c:pt idx="3072">
                  <c:v>1.9356327569426346E-4</c:v>
                </c:pt>
                <c:pt idx="3073">
                  <c:v>1.9405025495299963E-4</c:v>
                </c:pt>
                <c:pt idx="3074">
                  <c:v>1.9537516062471206E-4</c:v>
                </c:pt>
                <c:pt idx="3075">
                  <c:v>1.9574879576107987E-4</c:v>
                </c:pt>
                <c:pt idx="3076">
                  <c:v>1.9696756754174763E-4</c:v>
                </c:pt>
                <c:pt idx="3077">
                  <c:v>1.988253101636791E-4</c:v>
                </c:pt>
                <c:pt idx="3078">
                  <c:v>2.0139926519317528E-4</c:v>
                </c:pt>
                <c:pt idx="3079">
                  <c:v>2.0296369408793303E-4</c:v>
                </c:pt>
                <c:pt idx="3080">
                  <c:v>2.04158754762172E-4</c:v>
                </c:pt>
                <c:pt idx="3081">
                  <c:v>2.077071115002154E-4</c:v>
                </c:pt>
                <c:pt idx="3082">
                  <c:v>2.1105468082960956E-4</c:v>
                </c:pt>
                <c:pt idx="3083">
                  <c:v>2.1405143655541794E-4</c:v>
                </c:pt>
                <c:pt idx="3084">
                  <c:v>2.1582012862384636E-4</c:v>
                </c:pt>
                <c:pt idx="3085">
                  <c:v>2.1642086777971315E-4</c:v>
                </c:pt>
                <c:pt idx="3086">
                  <c:v>2.1662195092867083E-4</c:v>
                </c:pt>
                <c:pt idx="3087">
                  <c:v>2.1742658298366785E-4</c:v>
                </c:pt>
                <c:pt idx="3088">
                  <c:v>2.1807118795854117E-4</c:v>
                </c:pt>
                <c:pt idx="3089">
                  <c:v>2.1780619694345947E-4</c:v>
                </c:pt>
                <c:pt idx="3090">
                  <c:v>2.1745939272608348E-4</c:v>
                </c:pt>
                <c:pt idx="3091">
                  <c:v>2.1634330831944072E-4</c:v>
                </c:pt>
                <c:pt idx="3092">
                  <c:v>2.1664176379268402E-4</c:v>
                </c:pt>
                <c:pt idx="3093">
                  <c:v>2.1837589129577366E-4</c:v>
                </c:pt>
                <c:pt idx="3094">
                  <c:v>2.1969737138630968E-4</c:v>
                </c:pt>
                <c:pt idx="3095">
                  <c:v>2.3373500062437647E-4</c:v>
                </c:pt>
                <c:pt idx="3096">
                  <c:v>2.4975037662165652E-4</c:v>
                </c:pt>
                <c:pt idx="3097">
                  <c:v>2.6311476331825024E-4</c:v>
                </c:pt>
                <c:pt idx="3098">
                  <c:v>2.7355194990822957E-4</c:v>
                </c:pt>
                <c:pt idx="3099">
                  <c:v>2.8334653232972812E-4</c:v>
                </c:pt>
                <c:pt idx="3100">
                  <c:v>2.9124053765191248E-4</c:v>
                </c:pt>
                <c:pt idx="3101">
                  <c:v>2.9663567009255778E-4</c:v>
                </c:pt>
                <c:pt idx="3102">
                  <c:v>3.0148997997886157E-4</c:v>
                </c:pt>
                <c:pt idx="3103">
                  <c:v>3.0367477252383384E-4</c:v>
                </c:pt>
                <c:pt idx="3104">
                  <c:v>3.0487338505199945E-4</c:v>
                </c:pt>
                <c:pt idx="3105">
                  <c:v>3.0438094354408589E-4</c:v>
                </c:pt>
                <c:pt idx="3106">
                  <c:v>3.0381290040924232E-4</c:v>
                </c:pt>
                <c:pt idx="3107">
                  <c:v>3.0859751194757155E-4</c:v>
                </c:pt>
                <c:pt idx="3108">
                  <c:v>3.145884089899203E-4</c:v>
                </c:pt>
                <c:pt idx="3109">
                  <c:v>3.1914349898324413E-4</c:v>
                </c:pt>
                <c:pt idx="3110">
                  <c:v>3.223655389941094E-4</c:v>
                </c:pt>
                <c:pt idx="3111">
                  <c:v>3.2581263442580885E-4</c:v>
                </c:pt>
                <c:pt idx="3112">
                  <c:v>3.2799224723020125E-4</c:v>
                </c:pt>
                <c:pt idx="3113">
                  <c:v>3.2897573646268534E-4</c:v>
                </c:pt>
                <c:pt idx="3114">
                  <c:v>3.2888504524381147E-4</c:v>
                </c:pt>
                <c:pt idx="3115">
                  <c:v>3.2762474742745483E-4</c:v>
                </c:pt>
                <c:pt idx="3116">
                  <c:v>3.2428918700038155E-4</c:v>
                </c:pt>
                <c:pt idx="3117">
                  <c:v>3.1885694015430517E-4</c:v>
                </c:pt>
                <c:pt idx="3118">
                  <c:v>3.1127968075668797E-4</c:v>
                </c:pt>
                <c:pt idx="3119">
                  <c:v>3.0267749701788518E-4</c:v>
                </c:pt>
                <c:pt idx="3120">
                  <c:v>2.9210712967333484E-4</c:v>
                </c:pt>
                <c:pt idx="3121">
                  <c:v>2.7853722412886112E-4</c:v>
                </c:pt>
                <c:pt idx="3122">
                  <c:v>2.6513872330491915E-4</c:v>
                </c:pt>
                <c:pt idx="3123">
                  <c:v>2.587367561710003E-4</c:v>
                </c:pt>
                <c:pt idx="3124">
                  <c:v>2.4902471226432362E-4</c:v>
                </c:pt>
                <c:pt idx="3125">
                  <c:v>2.520883760469737E-4</c:v>
                </c:pt>
                <c:pt idx="3126">
                  <c:v>2.6009093774906019E-4</c:v>
                </c:pt>
                <c:pt idx="3127">
                  <c:v>2.740765496825492E-4</c:v>
                </c:pt>
                <c:pt idx="3128">
                  <c:v>3.0380313942028332E-4</c:v>
                </c:pt>
                <c:pt idx="3129">
                  <c:v>3.2881553572045513E-4</c:v>
                </c:pt>
                <c:pt idx="3130">
                  <c:v>3.4796229708936163E-4</c:v>
                </c:pt>
                <c:pt idx="3131">
                  <c:v>3.6252673251612253E-4</c:v>
                </c:pt>
                <c:pt idx="3132">
                  <c:v>3.7367821982792074E-4</c:v>
                </c:pt>
                <c:pt idx="3133">
                  <c:v>3.8103659176116396E-4</c:v>
                </c:pt>
                <c:pt idx="3134">
                  <c:v>3.8706234945723423E-4</c:v>
                </c:pt>
                <c:pt idx="3135">
                  <c:v>3.9164813742266746E-4</c:v>
                </c:pt>
                <c:pt idx="3136">
                  <c:v>3.9224455712575458E-4</c:v>
                </c:pt>
                <c:pt idx="3137">
                  <c:v>3.9600384601526503E-4</c:v>
                </c:pt>
                <c:pt idx="3138">
                  <c:v>3.9875999615267055E-4</c:v>
                </c:pt>
                <c:pt idx="3139">
                  <c:v>4.0016015019769981E-4</c:v>
                </c:pt>
                <c:pt idx="3140">
                  <c:v>4.0080896141155367E-4</c:v>
                </c:pt>
                <c:pt idx="3141">
                  <c:v>4.0143837435038684E-4</c:v>
                </c:pt>
                <c:pt idx="3142">
                  <c:v>3.9917550847828805E-4</c:v>
                </c:pt>
                <c:pt idx="3143">
                  <c:v>3.9534162612712054E-4</c:v>
                </c:pt>
                <c:pt idx="3144">
                  <c:v>3.9131632820911077E-4</c:v>
                </c:pt>
                <c:pt idx="3145">
                  <c:v>3.8639590394721156E-4</c:v>
                </c:pt>
                <c:pt idx="3146">
                  <c:v>3.789994408643359E-4</c:v>
                </c:pt>
                <c:pt idx="3147">
                  <c:v>3.6896670867747085E-4</c:v>
                </c:pt>
                <c:pt idx="3148">
                  <c:v>3.5738978520744204E-4</c:v>
                </c:pt>
                <c:pt idx="3149">
                  <c:v>3.4806398247210895E-4</c:v>
                </c:pt>
                <c:pt idx="3150">
                  <c:v>3.3714097601691989E-4</c:v>
                </c:pt>
                <c:pt idx="3151">
                  <c:v>3.2324195722975194E-4</c:v>
                </c:pt>
                <c:pt idx="3152">
                  <c:v>3.0509201446322876E-4</c:v>
                </c:pt>
                <c:pt idx="3153">
                  <c:v>2.9369838274471619E-4</c:v>
                </c:pt>
                <c:pt idx="3154">
                  <c:v>2.7945630790332824E-4</c:v>
                </c:pt>
                <c:pt idx="3155">
                  <c:v>2.6351326152193746E-4</c:v>
                </c:pt>
                <c:pt idx="3156">
                  <c:v>2.4729617579973207E-4</c:v>
                </c:pt>
                <c:pt idx="3157">
                  <c:v>2.3726795712118685E-4</c:v>
                </c:pt>
                <c:pt idx="3158">
                  <c:v>2.4035007434460766E-4</c:v>
                </c:pt>
                <c:pt idx="3159">
                  <c:v>2.43205252861651E-4</c:v>
                </c:pt>
                <c:pt idx="3160">
                  <c:v>2.4421539371861098E-4</c:v>
                </c:pt>
                <c:pt idx="3161">
                  <c:v>2.4407039995721238E-4</c:v>
                </c:pt>
                <c:pt idx="3162">
                  <c:v>2.4275143428031652E-4</c:v>
                </c:pt>
                <c:pt idx="3163">
                  <c:v>2.5079183993058352E-4</c:v>
                </c:pt>
                <c:pt idx="3164">
                  <c:v>2.5911231613007696E-4</c:v>
                </c:pt>
                <c:pt idx="3165">
                  <c:v>2.6778346527963671E-4</c:v>
                </c:pt>
                <c:pt idx="3166">
                  <c:v>2.7457607047711726E-4</c:v>
                </c:pt>
                <c:pt idx="3167">
                  <c:v>2.8017459181831105E-4</c:v>
                </c:pt>
                <c:pt idx="3168">
                  <c:v>2.8467442834971492E-4</c:v>
                </c:pt>
                <c:pt idx="3169">
                  <c:v>2.8867305762159286E-4</c:v>
                </c:pt>
                <c:pt idx="3170">
                  <c:v>2.9214942712832176E-4</c:v>
                </c:pt>
                <c:pt idx="3171">
                  <c:v>2.9600189863656566E-4</c:v>
                </c:pt>
                <c:pt idx="3172">
                  <c:v>2.9692505629510234E-4</c:v>
                </c:pt>
                <c:pt idx="3173">
                  <c:v>2.9734323356252331E-4</c:v>
                </c:pt>
                <c:pt idx="3174">
                  <c:v>2.9818451545437894E-4</c:v>
                </c:pt>
                <c:pt idx="3175">
                  <c:v>2.9785641003866984E-4</c:v>
                </c:pt>
                <c:pt idx="3176">
                  <c:v>2.9635818758553693E-4</c:v>
                </c:pt>
                <c:pt idx="3177">
                  <c:v>2.9513312132170317E-4</c:v>
                </c:pt>
                <c:pt idx="3178">
                  <c:v>2.950654586774335E-4</c:v>
                </c:pt>
                <c:pt idx="3179">
                  <c:v>2.9866189050633369E-4</c:v>
                </c:pt>
                <c:pt idx="3180">
                  <c:v>3.177040529989179E-4</c:v>
                </c:pt>
                <c:pt idx="3181">
                  <c:v>3.3534126459791255E-4</c:v>
                </c:pt>
                <c:pt idx="3182">
                  <c:v>3.4897684030307818E-4</c:v>
                </c:pt>
                <c:pt idx="3183">
                  <c:v>3.5960893140460446E-4</c:v>
                </c:pt>
                <c:pt idx="3184">
                  <c:v>3.6790988753533622E-4</c:v>
                </c:pt>
                <c:pt idx="3185">
                  <c:v>3.7340176856455725E-4</c:v>
                </c:pt>
                <c:pt idx="3186">
                  <c:v>3.7629272018031249E-4</c:v>
                </c:pt>
                <c:pt idx="3187">
                  <c:v>3.7655765629712051E-4</c:v>
                </c:pt>
                <c:pt idx="3188">
                  <c:v>3.7723638977060211E-4</c:v>
                </c:pt>
                <c:pt idx="3189">
                  <c:v>3.9552339295028304E-4</c:v>
                </c:pt>
                <c:pt idx="3190">
                  <c:v>4.0840829361683513E-4</c:v>
                </c:pt>
                <c:pt idx="3191">
                  <c:v>4.1651531795536582E-4</c:v>
                </c:pt>
                <c:pt idx="3192">
                  <c:v>4.1997653987757094E-4</c:v>
                </c:pt>
                <c:pt idx="3193">
                  <c:v>4.2978816959020891E-4</c:v>
                </c:pt>
                <c:pt idx="3194">
                  <c:v>4.3762347384354437E-4</c:v>
                </c:pt>
                <c:pt idx="3195">
                  <c:v>4.4284962283618013E-4</c:v>
                </c:pt>
                <c:pt idx="3196">
                  <c:v>4.4568237722290345E-4</c:v>
                </c:pt>
                <c:pt idx="3197">
                  <c:v>4.4621359573077519E-4</c:v>
                </c:pt>
                <c:pt idx="3198">
                  <c:v>4.4533039070619078E-4</c:v>
                </c:pt>
                <c:pt idx="3199">
                  <c:v>4.4312470484498059E-4</c:v>
                </c:pt>
                <c:pt idx="3200">
                  <c:v>4.408711549086649E-4</c:v>
                </c:pt>
                <c:pt idx="3201">
                  <c:v>4.3648525959471938E-4</c:v>
                </c:pt>
                <c:pt idx="3202">
                  <c:v>4.2906210676011699E-4</c:v>
                </c:pt>
                <c:pt idx="3203">
                  <c:v>4.2061911379629639E-4</c:v>
                </c:pt>
                <c:pt idx="3204">
                  <c:v>4.0981735312418819E-4</c:v>
                </c:pt>
                <c:pt idx="3205">
                  <c:v>3.9545220709545848E-4</c:v>
                </c:pt>
                <c:pt idx="3206">
                  <c:v>3.7892437103199305E-4</c:v>
                </c:pt>
                <c:pt idx="3207">
                  <c:v>3.6280154768365315E-4</c:v>
                </c:pt>
                <c:pt idx="3208">
                  <c:v>3.4467422678700535E-4</c:v>
                </c:pt>
                <c:pt idx="3209">
                  <c:v>3.2511701061144947E-4</c:v>
                </c:pt>
                <c:pt idx="3210">
                  <c:v>3.1891532424393397E-4</c:v>
                </c:pt>
                <c:pt idx="3211">
                  <c:v>3.1245084898550655E-4</c:v>
                </c:pt>
                <c:pt idx="3212">
                  <c:v>3.0471454279195535E-4</c:v>
                </c:pt>
                <c:pt idx="3213">
                  <c:v>2.9382259741343893E-4</c:v>
                </c:pt>
                <c:pt idx="3214">
                  <c:v>2.8233320748718993E-4</c:v>
                </c:pt>
                <c:pt idx="3215">
                  <c:v>2.6779111137210151E-4</c:v>
                </c:pt>
                <c:pt idx="3216">
                  <c:v>2.4904581398075572E-4</c:v>
                </c:pt>
                <c:pt idx="3217">
                  <c:v>2.2588852592369028E-4</c:v>
                </c:pt>
                <c:pt idx="3218">
                  <c:v>2.0268984950716869E-4</c:v>
                </c:pt>
                <c:pt idx="3219">
                  <c:v>2.0125180215715193E-4</c:v>
                </c:pt>
                <c:pt idx="3220">
                  <c:v>1.9910007830755254E-4</c:v>
                </c:pt>
                <c:pt idx="3221">
                  <c:v>2.0395651774043728E-4</c:v>
                </c:pt>
                <c:pt idx="3222">
                  <c:v>2.0927529455979377E-4</c:v>
                </c:pt>
                <c:pt idx="3223">
                  <c:v>2.2126758869957659E-4</c:v>
                </c:pt>
                <c:pt idx="3224">
                  <c:v>2.3372920287738396E-4</c:v>
                </c:pt>
                <c:pt idx="3225">
                  <c:v>2.437042891243017E-4</c:v>
                </c:pt>
                <c:pt idx="3226">
                  <c:v>2.5247277954822003E-4</c:v>
                </c:pt>
                <c:pt idx="3227">
                  <c:v>2.5909115686014827E-4</c:v>
                </c:pt>
                <c:pt idx="3228">
                  <c:v>2.636882222439228E-4</c:v>
                </c:pt>
                <c:pt idx="3229">
                  <c:v>2.6721849856470916E-4</c:v>
                </c:pt>
                <c:pt idx="3230">
                  <c:v>2.8286873353475396E-4</c:v>
                </c:pt>
                <c:pt idx="3231">
                  <c:v>2.9650831178288468E-4</c:v>
                </c:pt>
                <c:pt idx="3232">
                  <c:v>3.178355610471575E-4</c:v>
                </c:pt>
                <c:pt idx="3233">
                  <c:v>3.361089878752381E-4</c:v>
                </c:pt>
                <c:pt idx="3234">
                  <c:v>3.5279908419250317E-4</c:v>
                </c:pt>
                <c:pt idx="3235">
                  <c:v>3.6890741444216675E-4</c:v>
                </c:pt>
                <c:pt idx="3236">
                  <c:v>3.8212625518225607E-4</c:v>
                </c:pt>
                <c:pt idx="3237">
                  <c:v>3.9707326020340424E-4</c:v>
                </c:pt>
                <c:pt idx="3238">
                  <c:v>4.0958840741544037E-4</c:v>
                </c:pt>
                <c:pt idx="3239">
                  <c:v>4.1959837902377317E-4</c:v>
                </c:pt>
                <c:pt idx="3240">
                  <c:v>4.2604375714000382E-4</c:v>
                </c:pt>
                <c:pt idx="3241">
                  <c:v>4.2967786351173819E-4</c:v>
                </c:pt>
                <c:pt idx="3242">
                  <c:v>4.3130274241317553E-4</c:v>
                </c:pt>
                <c:pt idx="3243">
                  <c:v>4.3098073780138658E-4</c:v>
                </c:pt>
                <c:pt idx="3244">
                  <c:v>4.3300507868697559E-4</c:v>
                </c:pt>
                <c:pt idx="3245">
                  <c:v>4.3516778847401083E-4</c:v>
                </c:pt>
                <c:pt idx="3246">
                  <c:v>4.3339850709642565E-4</c:v>
                </c:pt>
                <c:pt idx="3247">
                  <c:v>4.2914248693585099E-4</c:v>
                </c:pt>
                <c:pt idx="3248">
                  <c:v>4.2056409829072821E-4</c:v>
                </c:pt>
                <c:pt idx="3249">
                  <c:v>4.0754534356226635E-4</c:v>
                </c:pt>
                <c:pt idx="3250">
                  <c:v>3.904100882701323E-4</c:v>
                </c:pt>
                <c:pt idx="3251">
                  <c:v>3.811544201992681E-4</c:v>
                </c:pt>
                <c:pt idx="3252">
                  <c:v>3.8081779438310035E-4</c:v>
                </c:pt>
                <c:pt idx="3253">
                  <c:v>3.8277377866567809E-4</c:v>
                </c:pt>
                <c:pt idx="3254">
                  <c:v>3.8376588944469834E-4</c:v>
                </c:pt>
                <c:pt idx="3255">
                  <c:v>3.8124491163963573E-4</c:v>
                </c:pt>
                <c:pt idx="3256">
                  <c:v>3.7604926563744178E-4</c:v>
                </c:pt>
                <c:pt idx="3257">
                  <c:v>3.6968498683042603E-4</c:v>
                </c:pt>
                <c:pt idx="3258">
                  <c:v>3.6000220594403315E-4</c:v>
                </c:pt>
                <c:pt idx="3259">
                  <c:v>3.4585455844436729E-4</c:v>
                </c:pt>
                <c:pt idx="3260">
                  <c:v>3.4025368865454213E-4</c:v>
                </c:pt>
                <c:pt idx="3261">
                  <c:v>3.3251369520543754E-4</c:v>
                </c:pt>
                <c:pt idx="3262">
                  <c:v>3.3104390234389139E-4</c:v>
                </c:pt>
                <c:pt idx="3263">
                  <c:v>3.2738638172844837E-4</c:v>
                </c:pt>
                <c:pt idx="3264">
                  <c:v>3.2395294866636895E-4</c:v>
                </c:pt>
                <c:pt idx="3265">
                  <c:v>3.2173464366533404E-4</c:v>
                </c:pt>
                <c:pt idx="3266">
                  <c:v>3.174763557510956E-4</c:v>
                </c:pt>
                <c:pt idx="3267">
                  <c:v>3.1458249063155127E-4</c:v>
                </c:pt>
                <c:pt idx="3268">
                  <c:v>3.1083860615322491E-4</c:v>
                </c:pt>
                <c:pt idx="3269">
                  <c:v>3.0477031079565321E-4</c:v>
                </c:pt>
                <c:pt idx="3270">
                  <c:v>2.9690820428062629E-4</c:v>
                </c:pt>
                <c:pt idx="3271">
                  <c:v>2.8781671635734891E-4</c:v>
                </c:pt>
                <c:pt idx="3272">
                  <c:v>2.7657654969887372E-4</c:v>
                </c:pt>
                <c:pt idx="3273">
                  <c:v>2.6348725626821039E-4</c:v>
                </c:pt>
                <c:pt idx="3274">
                  <c:v>2.5229022739406393E-4</c:v>
                </c:pt>
                <c:pt idx="3275">
                  <c:v>2.4592204234026322E-4</c:v>
                </c:pt>
                <c:pt idx="3276">
                  <c:v>2.3778509599410851E-4</c:v>
                </c:pt>
                <c:pt idx="3277">
                  <c:v>2.2883592519722581E-4</c:v>
                </c:pt>
                <c:pt idx="3278">
                  <c:v>2.1791226095194873E-4</c:v>
                </c:pt>
                <c:pt idx="3279">
                  <c:v>2.0495538840228656E-4</c:v>
                </c:pt>
                <c:pt idx="3280">
                  <c:v>1.8883727819709806E-4</c:v>
                </c:pt>
                <c:pt idx="3281">
                  <c:v>1.8644358746532492E-4</c:v>
                </c:pt>
                <c:pt idx="3282">
                  <c:v>1.9576464158598672E-4</c:v>
                </c:pt>
                <c:pt idx="3283">
                  <c:v>2.0420348937062074E-4</c:v>
                </c:pt>
                <c:pt idx="3284">
                  <c:v>2.1169790656537556E-4</c:v>
                </c:pt>
                <c:pt idx="3285">
                  <c:v>2.1754604294296371E-4</c:v>
                </c:pt>
                <c:pt idx="3286">
                  <c:v>2.2101779889467586E-4</c:v>
                </c:pt>
                <c:pt idx="3287">
                  <c:v>2.2644787703869024E-4</c:v>
                </c:pt>
                <c:pt idx="3288">
                  <c:v>2.3138666344852787E-4</c:v>
                </c:pt>
                <c:pt idx="3289">
                  <c:v>2.3605544750005509E-4</c:v>
                </c:pt>
                <c:pt idx="3290">
                  <c:v>2.4044839779635202E-4</c:v>
                </c:pt>
                <c:pt idx="3291">
                  <c:v>2.445261670434417E-4</c:v>
                </c:pt>
                <c:pt idx="3292">
                  <c:v>2.4904893280440742E-4</c:v>
                </c:pt>
                <c:pt idx="3293">
                  <c:v>2.5306798201917604E-4</c:v>
                </c:pt>
                <c:pt idx="3294">
                  <c:v>2.5647330320040739E-4</c:v>
                </c:pt>
                <c:pt idx="3295">
                  <c:v>2.593716059155418E-4</c:v>
                </c:pt>
                <c:pt idx="3296">
                  <c:v>2.6036307398095596E-4</c:v>
                </c:pt>
                <c:pt idx="3297">
                  <c:v>2.609413080697591E-4</c:v>
                </c:pt>
                <c:pt idx="3298">
                  <c:v>2.6043626228493505E-4</c:v>
                </c:pt>
                <c:pt idx="3299">
                  <c:v>2.5797961149437145E-4</c:v>
                </c:pt>
                <c:pt idx="3300">
                  <c:v>2.5421081822566782E-4</c:v>
                </c:pt>
                <c:pt idx="3301">
                  <c:v>2.5006164728476229E-4</c:v>
                </c:pt>
                <c:pt idx="3302">
                  <c:v>2.4460487077371544E-4</c:v>
                </c:pt>
                <c:pt idx="3303">
                  <c:v>2.3747596385866214E-4</c:v>
                </c:pt>
                <c:pt idx="3304">
                  <c:v>2.2794715731992097E-4</c:v>
                </c:pt>
                <c:pt idx="3305">
                  <c:v>2.2090881115528435E-4</c:v>
                </c:pt>
                <c:pt idx="3306">
                  <c:v>2.1185456618716194E-4</c:v>
                </c:pt>
                <c:pt idx="3307">
                  <c:v>2.0186019481941065E-4</c:v>
                </c:pt>
                <c:pt idx="3308">
                  <c:v>1.9014032377539139E-4</c:v>
                </c:pt>
                <c:pt idx="3309">
                  <c:v>1.7890999288570854E-4</c:v>
                </c:pt>
                <c:pt idx="3310">
                  <c:v>1.6558809097857934E-4</c:v>
                </c:pt>
                <c:pt idx="3311">
                  <c:v>1.6318968208163577E-4</c:v>
                </c:pt>
                <c:pt idx="3312">
                  <c:v>1.619096097297595E-4</c:v>
                </c:pt>
                <c:pt idx="3313">
                  <c:v>1.6102707488181096E-4</c:v>
                </c:pt>
                <c:pt idx="3314">
                  <c:v>1.5969588566390518E-4</c:v>
                </c:pt>
                <c:pt idx="3315">
                  <c:v>1.578568161210786E-4</c:v>
                </c:pt>
                <c:pt idx="3316">
                  <c:v>1.5539364057593722E-4</c:v>
                </c:pt>
                <c:pt idx="3317">
                  <c:v>1.5327116795399556E-4</c:v>
                </c:pt>
                <c:pt idx="3318">
                  <c:v>1.5332484789433852E-4</c:v>
                </c:pt>
                <c:pt idx="3319">
                  <c:v>1.5449033454288398E-4</c:v>
                </c:pt>
                <c:pt idx="3320">
                  <c:v>1.5790737624516688E-4</c:v>
                </c:pt>
                <c:pt idx="3321">
                  <c:v>1.6129233932099348E-4</c:v>
                </c:pt>
                <c:pt idx="3322">
                  <c:v>1.6562651915546058E-4</c:v>
                </c:pt>
                <c:pt idx="3323">
                  <c:v>1.6999648775819579E-4</c:v>
                </c:pt>
                <c:pt idx="3324">
                  <c:v>1.7870311558832927E-4</c:v>
                </c:pt>
                <c:pt idx="3325">
                  <c:v>1.9774544678064285E-4</c:v>
                </c:pt>
                <c:pt idx="3326">
                  <c:v>2.2885050890800019E-4</c:v>
                </c:pt>
                <c:pt idx="3327">
                  <c:v>2.5441102811680073E-4</c:v>
                </c:pt>
                <c:pt idx="3328">
                  <c:v>2.7674658798248721E-4</c:v>
                </c:pt>
                <c:pt idx="3329">
                  <c:v>2.9534588661263468E-4</c:v>
                </c:pt>
                <c:pt idx="3330">
                  <c:v>3.1088049211634288E-4</c:v>
                </c:pt>
                <c:pt idx="3331">
                  <c:v>3.2387440096064797E-4</c:v>
                </c:pt>
                <c:pt idx="3332">
                  <c:v>3.3454360003229411E-4</c:v>
                </c:pt>
                <c:pt idx="3333">
                  <c:v>3.4369413843402148E-4</c:v>
                </c:pt>
                <c:pt idx="3334">
                  <c:v>3.5035478189158722E-4</c:v>
                </c:pt>
                <c:pt idx="3335">
                  <c:v>3.5913482957159235E-4</c:v>
                </c:pt>
                <c:pt idx="3336">
                  <c:v>3.65899938466792E-4</c:v>
                </c:pt>
                <c:pt idx="3337">
                  <c:v>3.7180626748529522E-4</c:v>
                </c:pt>
                <c:pt idx="3338">
                  <c:v>3.7626608226672164E-4</c:v>
                </c:pt>
                <c:pt idx="3339">
                  <c:v>3.8160999779604694E-4</c:v>
                </c:pt>
                <c:pt idx="3340">
                  <c:v>3.8437844495957103E-4</c:v>
                </c:pt>
                <c:pt idx="3341">
                  <c:v>3.8621249189209312E-4</c:v>
                </c:pt>
                <c:pt idx="3342">
                  <c:v>3.8999862153474789E-4</c:v>
                </c:pt>
                <c:pt idx="3343">
                  <c:v>3.9107635226881608E-4</c:v>
                </c:pt>
                <c:pt idx="3344">
                  <c:v>3.9011138458505267E-4</c:v>
                </c:pt>
                <c:pt idx="3345">
                  <c:v>3.8627498382059653E-4</c:v>
                </c:pt>
                <c:pt idx="3346">
                  <c:v>3.8046820295808053E-4</c:v>
                </c:pt>
                <c:pt idx="3347">
                  <c:v>3.7165356914224473E-4</c:v>
                </c:pt>
                <c:pt idx="3348">
                  <c:v>3.6330420152999972E-4</c:v>
                </c:pt>
                <c:pt idx="3349">
                  <c:v>3.5291120466335839E-4</c:v>
                </c:pt>
                <c:pt idx="3350">
                  <c:v>3.428159350138334E-4</c:v>
                </c:pt>
                <c:pt idx="3351">
                  <c:v>3.2940304991415167E-4</c:v>
                </c:pt>
                <c:pt idx="3352">
                  <c:v>3.1379454013797021E-4</c:v>
                </c:pt>
                <c:pt idx="3353">
                  <c:v>2.9384754044502431E-4</c:v>
                </c:pt>
                <c:pt idx="3354">
                  <c:v>2.7556147208142854E-4</c:v>
                </c:pt>
                <c:pt idx="3355">
                  <c:v>2.6532910173221973E-4</c:v>
                </c:pt>
                <c:pt idx="3356">
                  <c:v>2.6499520602949535E-4</c:v>
                </c:pt>
                <c:pt idx="3357">
                  <c:v>2.6328962504722626E-4</c:v>
                </c:pt>
                <c:pt idx="3358">
                  <c:v>2.6106966376914219E-4</c:v>
                </c:pt>
                <c:pt idx="3359">
                  <c:v>2.5750864416391117E-4</c:v>
                </c:pt>
                <c:pt idx="3360">
                  <c:v>2.7220944158514338E-4</c:v>
                </c:pt>
                <c:pt idx="3361">
                  <c:v>2.9010044026429139E-4</c:v>
                </c:pt>
                <c:pt idx="3362">
                  <c:v>3.0694738926229738E-4</c:v>
                </c:pt>
                <c:pt idx="3363">
                  <c:v>3.194258867163821E-4</c:v>
                </c:pt>
                <c:pt idx="3364">
                  <c:v>3.2793472823587503E-4</c:v>
                </c:pt>
                <c:pt idx="3365">
                  <c:v>3.370365021897919E-4</c:v>
                </c:pt>
                <c:pt idx="3366">
                  <c:v>3.4667587702186665E-4</c:v>
                </c:pt>
                <c:pt idx="3367">
                  <c:v>3.5393853696417808E-4</c:v>
                </c:pt>
                <c:pt idx="3368">
                  <c:v>3.6943748981422685E-4</c:v>
                </c:pt>
                <c:pt idx="3369">
                  <c:v>3.9189019320554194E-4</c:v>
                </c:pt>
                <c:pt idx="3370">
                  <c:v>4.0851439743889192E-4</c:v>
                </c:pt>
                <c:pt idx="3371">
                  <c:v>4.242306964658745E-4</c:v>
                </c:pt>
                <c:pt idx="3372">
                  <c:v>4.39543842149908E-4</c:v>
                </c:pt>
                <c:pt idx="3373">
                  <c:v>4.5056446697845951E-4</c:v>
                </c:pt>
                <c:pt idx="3374">
                  <c:v>4.5982641384277763E-4</c:v>
                </c:pt>
                <c:pt idx="3375">
                  <c:v>4.6608062046452211E-4</c:v>
                </c:pt>
                <c:pt idx="3376">
                  <c:v>4.7023788788303281E-4</c:v>
                </c:pt>
                <c:pt idx="3377">
                  <c:v>4.7146390273366303E-4</c:v>
                </c:pt>
                <c:pt idx="3378">
                  <c:v>4.7123305299959077E-4</c:v>
                </c:pt>
                <c:pt idx="3379">
                  <c:v>4.6812840921048559E-4</c:v>
                </c:pt>
                <c:pt idx="3380">
                  <c:v>4.6369946711506444E-4</c:v>
                </c:pt>
                <c:pt idx="3381">
                  <c:v>4.5766419504277781E-4</c:v>
                </c:pt>
                <c:pt idx="3382">
                  <c:v>4.5023185822741865E-4</c:v>
                </c:pt>
                <c:pt idx="3383">
                  <c:v>4.40425417148501E-4</c:v>
                </c:pt>
                <c:pt idx="3384">
                  <c:v>4.2730390131105289E-4</c:v>
                </c:pt>
                <c:pt idx="3385">
                  <c:v>4.1059359408806065E-4</c:v>
                </c:pt>
                <c:pt idx="3386">
                  <c:v>3.9090484824880423E-4</c:v>
                </c:pt>
                <c:pt idx="3387">
                  <c:v>3.6670568221710274E-4</c:v>
                </c:pt>
                <c:pt idx="3388">
                  <c:v>3.37004630730261E-4</c:v>
                </c:pt>
                <c:pt idx="3389">
                  <c:v>3.0012976155725058E-4</c:v>
                </c:pt>
                <c:pt idx="3390">
                  <c:v>2.8455366139956435E-4</c:v>
                </c:pt>
                <c:pt idx="3391">
                  <c:v>2.7323146336408595E-4</c:v>
                </c:pt>
                <c:pt idx="3392">
                  <c:v>2.6272008210085284E-4</c:v>
                </c:pt>
                <c:pt idx="3393">
                  <c:v>2.5074818539452316E-4</c:v>
                </c:pt>
                <c:pt idx="3394">
                  <c:v>2.3688267438575929E-4</c:v>
                </c:pt>
                <c:pt idx="3395">
                  <c:v>2.1926305251894926E-4</c:v>
                </c:pt>
                <c:pt idx="3396">
                  <c:v>2.0212692382547994E-4</c:v>
                </c:pt>
                <c:pt idx="3397">
                  <c:v>1.8127225487006115E-4</c:v>
                </c:pt>
                <c:pt idx="3398">
                  <c:v>1.7223207231208457E-4</c:v>
                </c:pt>
                <c:pt idx="3399">
                  <c:v>1.7113219427378109E-4</c:v>
                </c:pt>
                <c:pt idx="3400">
                  <c:v>1.693374372254925E-4</c:v>
                </c:pt>
                <c:pt idx="3401">
                  <c:v>1.6869025608144529E-4</c:v>
                </c:pt>
                <c:pt idx="3402">
                  <c:v>1.6837119302846228E-4</c:v>
                </c:pt>
                <c:pt idx="3403">
                  <c:v>1.6748197108087224E-4</c:v>
                </c:pt>
                <c:pt idx="3404">
                  <c:v>1.6768885759358568E-4</c:v>
                </c:pt>
                <c:pt idx="3405">
                  <c:v>1.6721378476947259E-4</c:v>
                </c:pt>
                <c:pt idx="3406">
                  <c:v>1.6701395968373312E-4</c:v>
                </c:pt>
                <c:pt idx="3407">
                  <c:v>1.6708000484372748E-4</c:v>
                </c:pt>
                <c:pt idx="3408">
                  <c:v>1.674215004363278E-4</c:v>
                </c:pt>
                <c:pt idx="3409">
                  <c:v>1.6715074476748585E-4</c:v>
                </c:pt>
                <c:pt idx="3410">
                  <c:v>1.6806313154693982E-4</c:v>
                </c:pt>
                <c:pt idx="3411">
                  <c:v>1.7093759453812429E-4</c:v>
                </c:pt>
                <c:pt idx="3412">
                  <c:v>1.7399312210356188E-4</c:v>
                </c:pt>
                <c:pt idx="3413">
                  <c:v>1.7806834041436266E-4</c:v>
                </c:pt>
                <c:pt idx="3414">
                  <c:v>1.8322653735230467E-4</c:v>
                </c:pt>
                <c:pt idx="3415">
                  <c:v>1.9250376030433353E-4</c:v>
                </c:pt>
                <c:pt idx="3416">
                  <c:v>2.0336173028482609E-4</c:v>
                </c:pt>
                <c:pt idx="3417">
                  <c:v>2.1345819204341007E-4</c:v>
                </c:pt>
                <c:pt idx="3418">
                  <c:v>2.227506534898609E-4</c:v>
                </c:pt>
                <c:pt idx="3419">
                  <c:v>2.303094773265281E-4</c:v>
                </c:pt>
                <c:pt idx="3420">
                  <c:v>2.3919005884864719E-4</c:v>
                </c:pt>
                <c:pt idx="3421">
                  <c:v>2.4693003198322322E-4</c:v>
                </c:pt>
                <c:pt idx="3422">
                  <c:v>2.5578847214302288E-4</c:v>
                </c:pt>
                <c:pt idx="3423">
                  <c:v>2.6348268613467782E-4</c:v>
                </c:pt>
                <c:pt idx="3424">
                  <c:v>2.7385397372603476E-4</c:v>
                </c:pt>
                <c:pt idx="3425">
                  <c:v>2.8248011453900365E-4</c:v>
                </c:pt>
                <c:pt idx="3426">
                  <c:v>2.9178052644535069E-4</c:v>
                </c:pt>
                <c:pt idx="3427">
                  <c:v>3.0066694861636352E-4</c:v>
                </c:pt>
                <c:pt idx="3428">
                  <c:v>3.0727297934952529E-4</c:v>
                </c:pt>
                <c:pt idx="3429">
                  <c:v>3.1331164109208842E-4</c:v>
                </c:pt>
                <c:pt idx="3430">
                  <c:v>3.1796857883416383E-4</c:v>
                </c:pt>
                <c:pt idx="3431">
                  <c:v>3.2150053620403133E-4</c:v>
                </c:pt>
                <c:pt idx="3432">
                  <c:v>3.2458065249277171E-4</c:v>
                </c:pt>
                <c:pt idx="3433">
                  <c:v>3.2714221684025213E-4</c:v>
                </c:pt>
                <c:pt idx="3434">
                  <c:v>3.2839961000583068E-4</c:v>
                </c:pt>
                <c:pt idx="3435">
                  <c:v>3.2767507464159855E-4</c:v>
                </c:pt>
                <c:pt idx="3436">
                  <c:v>3.2789791955169104E-4</c:v>
                </c:pt>
                <c:pt idx="3437">
                  <c:v>3.2902080012790649E-4</c:v>
                </c:pt>
                <c:pt idx="3438">
                  <c:v>3.2764126900176145E-4</c:v>
                </c:pt>
                <c:pt idx="3439">
                  <c:v>3.2450565538440403E-4</c:v>
                </c:pt>
                <c:pt idx="3440">
                  <c:v>3.1986095651392681E-4</c:v>
                </c:pt>
                <c:pt idx="3441">
                  <c:v>3.1365456472383661E-4</c:v>
                </c:pt>
                <c:pt idx="3442">
                  <c:v>3.0662111245170282E-4</c:v>
                </c:pt>
                <c:pt idx="3443">
                  <c:v>2.9732922966991247E-4</c:v>
                </c:pt>
                <c:pt idx="3444">
                  <c:v>2.9042085908764689E-4</c:v>
                </c:pt>
                <c:pt idx="3445">
                  <c:v>2.8587332236926807E-4</c:v>
                </c:pt>
                <c:pt idx="3446">
                  <c:v>2.8126706598068134E-4</c:v>
                </c:pt>
                <c:pt idx="3447">
                  <c:v>2.756853724952598E-4</c:v>
                </c:pt>
                <c:pt idx="3448">
                  <c:v>2.6916686640314122E-4</c:v>
                </c:pt>
                <c:pt idx="3449">
                  <c:v>2.6144125439158051E-4</c:v>
                </c:pt>
                <c:pt idx="3450">
                  <c:v>2.5468078146522724E-4</c:v>
                </c:pt>
                <c:pt idx="3451">
                  <c:v>2.467586473726908E-4</c:v>
                </c:pt>
                <c:pt idx="3452">
                  <c:v>2.4068900207577617E-4</c:v>
                </c:pt>
                <c:pt idx="3453">
                  <c:v>2.3427602419841181E-4</c:v>
                </c:pt>
                <c:pt idx="3454">
                  <c:v>2.3003960756159316E-4</c:v>
                </c:pt>
                <c:pt idx="3455">
                  <c:v>2.2447049202239044E-4</c:v>
                </c:pt>
                <c:pt idx="3456">
                  <c:v>2.2030841672524357E-4</c:v>
                </c:pt>
                <c:pt idx="3457">
                  <c:v>2.1677560675914436E-4</c:v>
                </c:pt>
                <c:pt idx="3458">
                  <c:v>2.1213103019556895E-4</c:v>
                </c:pt>
                <c:pt idx="3459">
                  <c:v>2.0661267889104595E-4</c:v>
                </c:pt>
                <c:pt idx="3460">
                  <c:v>1.9993077933149934E-4</c:v>
                </c:pt>
                <c:pt idx="3461">
                  <c:v>1.9244979542616013E-4</c:v>
                </c:pt>
                <c:pt idx="3462">
                  <c:v>1.8585219561369012E-4</c:v>
                </c:pt>
                <c:pt idx="3463">
                  <c:v>1.800433646370519E-4</c:v>
                </c:pt>
                <c:pt idx="3464">
                  <c:v>1.7322555768319966E-4</c:v>
                </c:pt>
                <c:pt idx="3465">
                  <c:v>1.6533742678484696E-4</c:v>
                </c:pt>
                <c:pt idx="3466">
                  <c:v>1.6228549789992639E-4</c:v>
                </c:pt>
                <c:pt idx="3467">
                  <c:v>1.6407787522597085E-4</c:v>
                </c:pt>
                <c:pt idx="3468">
                  <c:v>1.8126468973899472E-4</c:v>
                </c:pt>
                <c:pt idx="3469">
                  <c:v>2.052892790763658E-4</c:v>
                </c:pt>
                <c:pt idx="3470">
                  <c:v>2.3355549272014142E-4</c:v>
                </c:pt>
                <c:pt idx="3471">
                  <c:v>2.7736879859755549E-4</c:v>
                </c:pt>
                <c:pt idx="3472">
                  <c:v>3.1223852610747969E-4</c:v>
                </c:pt>
                <c:pt idx="3473">
                  <c:v>3.4468539124526965E-4</c:v>
                </c:pt>
                <c:pt idx="3474">
                  <c:v>3.9726882273872631E-4</c:v>
                </c:pt>
                <c:pt idx="3475">
                  <c:v>4.4322077242934984E-4</c:v>
                </c:pt>
                <c:pt idx="3476">
                  <c:v>4.8029537636011901E-4</c:v>
                </c:pt>
                <c:pt idx="3477">
                  <c:v>5.1071329103872989E-4</c:v>
                </c:pt>
                <c:pt idx="3478">
                  <c:v>5.3760719688276948E-4</c:v>
                </c:pt>
                <c:pt idx="3479">
                  <c:v>5.5998866264325015E-4</c:v>
                </c:pt>
                <c:pt idx="3480">
                  <c:v>5.7963627239541668E-4</c:v>
                </c:pt>
                <c:pt idx="3481">
                  <c:v>5.9721891502708302E-4</c:v>
                </c:pt>
                <c:pt idx="3482">
                  <c:v>6.1133417170728137E-4</c:v>
                </c:pt>
                <c:pt idx="3483">
                  <c:v>6.2350951387100289E-4</c:v>
                </c:pt>
                <c:pt idx="3484">
                  <c:v>6.3284403399136108E-4</c:v>
                </c:pt>
                <c:pt idx="3485">
                  <c:v>6.3876267116819738E-4</c:v>
                </c:pt>
                <c:pt idx="3486">
                  <c:v>6.4178393628074948E-4</c:v>
                </c:pt>
                <c:pt idx="3487">
                  <c:v>6.4186407368373838E-4</c:v>
                </c:pt>
                <c:pt idx="3488">
                  <c:v>6.3831584091072547E-4</c:v>
                </c:pt>
                <c:pt idx="3489">
                  <c:v>6.3333685325535078E-4</c:v>
                </c:pt>
                <c:pt idx="3490">
                  <c:v>6.2468114369485287E-4</c:v>
                </c:pt>
                <c:pt idx="3491">
                  <c:v>6.1072898896638356E-4</c:v>
                </c:pt>
                <c:pt idx="3492">
                  <c:v>5.9236337539157172E-4</c:v>
                </c:pt>
                <c:pt idx="3493">
                  <c:v>5.7072290524711703E-4</c:v>
                </c:pt>
                <c:pt idx="3494">
                  <c:v>5.4300186232631841E-4</c:v>
                </c:pt>
                <c:pt idx="3495">
                  <c:v>5.0938598971388041E-4</c:v>
                </c:pt>
                <c:pt idx="3496">
                  <c:v>4.7044678248320162E-4</c:v>
                </c:pt>
                <c:pt idx="3497">
                  <c:v>4.2638084970160548E-4</c:v>
                </c:pt>
                <c:pt idx="3498">
                  <c:v>3.9164128964199092E-4</c:v>
                </c:pt>
                <c:pt idx="3499">
                  <c:v>3.580160615647578E-4</c:v>
                </c:pt>
                <c:pt idx="3500">
                  <c:v>3.3233362214969827E-4</c:v>
                </c:pt>
                <c:pt idx="3501">
                  <c:v>3.1958517908972146E-4</c:v>
                </c:pt>
                <c:pt idx="3502">
                  <c:v>3.2143583966266054E-4</c:v>
                </c:pt>
                <c:pt idx="3503">
                  <c:v>3.3416653267867227E-4</c:v>
                </c:pt>
                <c:pt idx="3504">
                  <c:v>3.6560795626871373E-4</c:v>
                </c:pt>
                <c:pt idx="3505">
                  <c:v>4.0564346775798525E-4</c:v>
                </c:pt>
                <c:pt idx="3506">
                  <c:v>4.3859647958281039E-4</c:v>
                </c:pt>
                <c:pt idx="3507">
                  <c:v>4.6574801091439839E-4</c:v>
                </c:pt>
                <c:pt idx="3508">
                  <c:v>4.8933433623926485E-4</c:v>
                </c:pt>
                <c:pt idx="3509">
                  <c:v>5.0769444497470199E-4</c:v>
                </c:pt>
                <c:pt idx="3510">
                  <c:v>5.2449129566879964E-4</c:v>
                </c:pt>
                <c:pt idx="3511">
                  <c:v>5.3897737487400288E-4</c:v>
                </c:pt>
                <c:pt idx="3512">
                  <c:v>5.4937172422405897E-4</c:v>
                </c:pt>
                <c:pt idx="3513">
                  <c:v>5.5652792298228209E-4</c:v>
                </c:pt>
                <c:pt idx="3514">
                  <c:v>5.6072820837939439E-4</c:v>
                </c:pt>
                <c:pt idx="3515">
                  <c:v>5.6348797776388157E-4</c:v>
                </c:pt>
                <c:pt idx="3516">
                  <c:v>6.0560321377869627E-4</c:v>
                </c:pt>
                <c:pt idx="3517">
                  <c:v>6.3963284590116769E-4</c:v>
                </c:pt>
                <c:pt idx="3518">
                  <c:v>6.9589871401709417E-4</c:v>
                </c:pt>
                <c:pt idx="3519">
                  <c:v>7.5132798077428599E-4</c:v>
                </c:pt>
                <c:pt idx="3520">
                  <c:v>7.9823073682499547E-4</c:v>
                </c:pt>
                <c:pt idx="3521">
                  <c:v>8.3419929128221004E-4</c:v>
                </c:pt>
                <c:pt idx="3522">
                  <c:v>8.6123532749859814E-4</c:v>
                </c:pt>
                <c:pt idx="3523">
                  <c:v>8.8099005706514515E-4</c:v>
                </c:pt>
                <c:pt idx="3524">
                  <c:v>8.9359275947200841E-4</c:v>
                </c:pt>
                <c:pt idx="3525">
                  <c:v>9.0066038368354269E-4</c:v>
                </c:pt>
                <c:pt idx="3526">
                  <c:v>9.0103737082074123E-4</c:v>
                </c:pt>
                <c:pt idx="3527">
                  <c:v>8.9545956275860646E-4</c:v>
                </c:pt>
                <c:pt idx="3528">
                  <c:v>8.8302169726181426E-4</c:v>
                </c:pt>
                <c:pt idx="3529">
                  <c:v>8.638808525306918E-4</c:v>
                </c:pt>
                <c:pt idx="3530">
                  <c:v>8.4429747986181775E-4</c:v>
                </c:pt>
                <c:pt idx="3531">
                  <c:v>8.1652037135072312E-4</c:v>
                </c:pt>
                <c:pt idx="3532">
                  <c:v>7.9860506119894747E-4</c:v>
                </c:pt>
                <c:pt idx="3533">
                  <c:v>7.8319252976362494E-4</c:v>
                </c:pt>
                <c:pt idx="3534">
                  <c:v>7.6694111852598171E-4</c:v>
                </c:pt>
                <c:pt idx="3535">
                  <c:v>7.5453418750271687E-4</c:v>
                </c:pt>
                <c:pt idx="3536">
                  <c:v>7.4560785441616273E-4</c:v>
                </c:pt>
                <c:pt idx="3537">
                  <c:v>7.403716859339291E-4</c:v>
                </c:pt>
                <c:pt idx="3538">
                  <c:v>7.2994475570936222E-4</c:v>
                </c:pt>
                <c:pt idx="3539">
                  <c:v>7.1452566450515081E-4</c:v>
                </c:pt>
                <c:pt idx="3540">
                  <c:v>6.9414102241635838E-4</c:v>
                </c:pt>
                <c:pt idx="3541">
                  <c:v>6.6733373838162948E-4</c:v>
                </c:pt>
                <c:pt idx="3542">
                  <c:v>6.3206126592557979E-4</c:v>
                </c:pt>
                <c:pt idx="3543">
                  <c:v>5.8600907151870314E-4</c:v>
                </c:pt>
                <c:pt idx="3544">
                  <c:v>5.2569511023036538E-4</c:v>
                </c:pt>
                <c:pt idx="3545">
                  <c:v>4.5006410725767374E-4</c:v>
                </c:pt>
                <c:pt idx="3546">
                  <c:v>4.2609102830166637E-4</c:v>
                </c:pt>
                <c:pt idx="3547">
                  <c:v>3.9715775939699107E-4</c:v>
                </c:pt>
                <c:pt idx="3548">
                  <c:v>3.9339987345104164E-4</c:v>
                </c:pt>
                <c:pt idx="3549">
                  <c:v>3.9260252909952285E-4</c:v>
                </c:pt>
                <c:pt idx="3550">
                  <c:v>4.0423176575613934E-4</c:v>
                </c:pt>
                <c:pt idx="3551">
                  <c:v>4.1250741851361352E-4</c:v>
                </c:pt>
                <c:pt idx="3552">
                  <c:v>4.1928358922017748E-4</c:v>
                </c:pt>
                <c:pt idx="3553">
                  <c:v>4.2365799140309425E-4</c:v>
                </c:pt>
                <c:pt idx="3554">
                  <c:v>4.2560665557745569E-4</c:v>
                </c:pt>
                <c:pt idx="3555">
                  <c:v>4.2527244084178471E-4</c:v>
                </c:pt>
                <c:pt idx="3556">
                  <c:v>4.2194785364798161E-4</c:v>
                </c:pt>
                <c:pt idx="3557">
                  <c:v>4.1570907138584597E-4</c:v>
                </c:pt>
                <c:pt idx="3558">
                  <c:v>4.0730398592988653E-4</c:v>
                </c:pt>
                <c:pt idx="3559">
                  <c:v>4.0032561224905797E-4</c:v>
                </c:pt>
                <c:pt idx="3560">
                  <c:v>3.969047424375503E-4</c:v>
                </c:pt>
                <c:pt idx="3561">
                  <c:v>3.896414511748415E-4</c:v>
                </c:pt>
                <c:pt idx="3562">
                  <c:v>3.8783534267367514E-4</c:v>
                </c:pt>
                <c:pt idx="3563">
                  <c:v>3.8494612698326011E-4</c:v>
                </c:pt>
                <c:pt idx="3564">
                  <c:v>3.857690029169128E-4</c:v>
                </c:pt>
                <c:pt idx="3565">
                  <c:v>3.8364432886616747E-4</c:v>
                </c:pt>
                <c:pt idx="3566">
                  <c:v>3.9656034881280661E-4</c:v>
                </c:pt>
                <c:pt idx="3567">
                  <c:v>4.146151590666905E-4</c:v>
                </c:pt>
                <c:pt idx="3568">
                  <c:v>4.2799712733410924E-4</c:v>
                </c:pt>
                <c:pt idx="3569">
                  <c:v>4.3959861480380176E-4</c:v>
                </c:pt>
                <c:pt idx="3570">
                  <c:v>4.4848608666779312E-4</c:v>
                </c:pt>
                <c:pt idx="3571">
                  <c:v>4.5419483697723735E-4</c:v>
                </c:pt>
                <c:pt idx="3572">
                  <c:v>4.5843182900810292E-4</c:v>
                </c:pt>
                <c:pt idx="3573">
                  <c:v>4.6589853381418016E-4</c:v>
                </c:pt>
                <c:pt idx="3574">
                  <c:v>4.7492849674467361E-4</c:v>
                </c:pt>
                <c:pt idx="3575">
                  <c:v>4.8059537449564787E-4</c:v>
                </c:pt>
                <c:pt idx="3576">
                  <c:v>4.8133417402995937E-4</c:v>
                </c:pt>
                <c:pt idx="3577">
                  <c:v>4.7874270304163206E-4</c:v>
                </c:pt>
                <c:pt idx="3578">
                  <c:v>4.9738541683942174E-4</c:v>
                </c:pt>
                <c:pt idx="3579">
                  <c:v>5.0904501168339065E-4</c:v>
                </c:pt>
                <c:pt idx="3580">
                  <c:v>5.2702269401468929E-4</c:v>
                </c:pt>
                <c:pt idx="3581">
                  <c:v>5.4908310992446809E-4</c:v>
                </c:pt>
                <c:pt idx="3582">
                  <c:v>5.7603993047066534E-4</c:v>
                </c:pt>
                <c:pt idx="3583">
                  <c:v>6.0670463479578626E-4</c:v>
                </c:pt>
                <c:pt idx="3584">
                  <c:v>6.29459124945392E-4</c:v>
                </c:pt>
                <c:pt idx="3585">
                  <c:v>6.5565891830923306E-4</c:v>
                </c:pt>
                <c:pt idx="3586">
                  <c:v>6.8252741838412882E-4</c:v>
                </c:pt>
                <c:pt idx="3587">
                  <c:v>6.9991570650442057E-4</c:v>
                </c:pt>
                <c:pt idx="3588">
                  <c:v>7.0910702300603788E-4</c:v>
                </c:pt>
                <c:pt idx="3589">
                  <c:v>7.1476377880255661E-4</c:v>
                </c:pt>
                <c:pt idx="3590">
                  <c:v>7.1957687832918302E-4</c:v>
                </c:pt>
                <c:pt idx="3591">
                  <c:v>7.1863145208932698E-4</c:v>
                </c:pt>
                <c:pt idx="3592">
                  <c:v>7.1921248920450622E-4</c:v>
                </c:pt>
                <c:pt idx="3593">
                  <c:v>7.1638262824037118E-4</c:v>
                </c:pt>
                <c:pt idx="3594">
                  <c:v>7.1489649073362737E-4</c:v>
                </c:pt>
                <c:pt idx="3595">
                  <c:v>7.0956861315062917E-4</c:v>
                </c:pt>
                <c:pt idx="3596">
                  <c:v>7.0536997072163021E-4</c:v>
                </c:pt>
                <c:pt idx="3597">
                  <c:v>6.9758752037215319E-4</c:v>
                </c:pt>
                <c:pt idx="3598">
                  <c:v>6.8521596730118672E-4</c:v>
                </c:pt>
                <c:pt idx="3599">
                  <c:v>6.6970149903603285E-4</c:v>
                </c:pt>
                <c:pt idx="3600">
                  <c:v>6.4942777976234503E-4</c:v>
                </c:pt>
                <c:pt idx="3601">
                  <c:v>6.228350481217997E-4</c:v>
                </c:pt>
                <c:pt idx="3602">
                  <c:v>5.9041460129747724E-4</c:v>
                </c:pt>
                <c:pt idx="3603">
                  <c:v>5.5988461187465334E-4</c:v>
                </c:pt>
                <c:pt idx="3604">
                  <c:v>5.3360212967721861E-4</c:v>
                </c:pt>
                <c:pt idx="3605">
                  <c:v>5.0139075028969918E-4</c:v>
                </c:pt>
                <c:pt idx="3606">
                  <c:v>4.6084974518902696E-4</c:v>
                </c:pt>
                <c:pt idx="3607">
                  <c:v>4.0948854480806342E-4</c:v>
                </c:pt>
                <c:pt idx="3608">
                  <c:v>3.8482548711402559E-4</c:v>
                </c:pt>
                <c:pt idx="3609">
                  <c:v>3.5592782698499976E-4</c:v>
                </c:pt>
                <c:pt idx="3610">
                  <c:v>3.2033290473218267E-4</c:v>
                </c:pt>
                <c:pt idx="3611">
                  <c:v>2.9106090288854138E-4</c:v>
                </c:pt>
                <c:pt idx="3612">
                  <c:v>2.6998373914004849E-4</c:v>
                </c:pt>
                <c:pt idx="3613">
                  <c:v>2.5723727725860448E-4</c:v>
                </c:pt>
                <c:pt idx="3614">
                  <c:v>2.4271573312372691E-4</c:v>
                </c:pt>
                <c:pt idx="3615">
                  <c:v>2.3948792917430613E-4</c:v>
                </c:pt>
                <c:pt idx="3616">
                  <c:v>2.4331350905379244E-4</c:v>
                </c:pt>
                <c:pt idx="3617">
                  <c:v>2.4660415215928174E-4</c:v>
                </c:pt>
                <c:pt idx="3618">
                  <c:v>2.4851665968424013E-4</c:v>
                </c:pt>
                <c:pt idx="3619">
                  <c:v>2.5066876510006057E-4</c:v>
                </c:pt>
                <c:pt idx="3620">
                  <c:v>2.514481184560923E-4</c:v>
                </c:pt>
                <c:pt idx="3621">
                  <c:v>2.5176011646687295E-4</c:v>
                </c:pt>
                <c:pt idx="3622">
                  <c:v>2.5013522825720379E-4</c:v>
                </c:pt>
                <c:pt idx="3623">
                  <c:v>2.4799581896439048E-4</c:v>
                </c:pt>
                <c:pt idx="3624">
                  <c:v>2.4451126020927019E-4</c:v>
                </c:pt>
                <c:pt idx="3625">
                  <c:v>2.3871684738724502E-4</c:v>
                </c:pt>
                <c:pt idx="3626">
                  <c:v>2.3797273661199317E-4</c:v>
                </c:pt>
                <c:pt idx="3627">
                  <c:v>2.3624671159078165E-4</c:v>
                </c:pt>
                <c:pt idx="3628">
                  <c:v>2.4023942413638948E-4</c:v>
                </c:pt>
                <c:pt idx="3629">
                  <c:v>2.4367669830539367E-4</c:v>
                </c:pt>
                <c:pt idx="3630">
                  <c:v>2.4694236319862265E-4</c:v>
                </c:pt>
                <c:pt idx="3631">
                  <c:v>2.4911467246836901E-4</c:v>
                </c:pt>
                <c:pt idx="3632">
                  <c:v>2.5031421347972746E-4</c:v>
                </c:pt>
                <c:pt idx="3633">
                  <c:v>2.5138827555457852E-4</c:v>
                </c:pt>
                <c:pt idx="3634">
                  <c:v>2.5559950965573462E-4</c:v>
                </c:pt>
                <c:pt idx="3635">
                  <c:v>2.5839327304347172E-4</c:v>
                </c:pt>
                <c:pt idx="3636">
                  <c:v>2.5906098612633421E-4</c:v>
                </c:pt>
                <c:pt idx="3637">
                  <c:v>2.5916010666987419E-4</c:v>
                </c:pt>
                <c:pt idx="3638">
                  <c:v>2.5865748121226239E-4</c:v>
                </c:pt>
                <c:pt idx="3639">
                  <c:v>2.5911926338250242E-4</c:v>
                </c:pt>
                <c:pt idx="3640">
                  <c:v>2.6050463867611015E-4</c:v>
                </c:pt>
                <c:pt idx="3641">
                  <c:v>2.6026456155175536E-4</c:v>
                </c:pt>
                <c:pt idx="3642">
                  <c:v>2.5925694031329958E-4</c:v>
                </c:pt>
                <c:pt idx="3643">
                  <c:v>2.5748723609362423E-4</c:v>
                </c:pt>
                <c:pt idx="3644">
                  <c:v>2.5590751161141761E-4</c:v>
                </c:pt>
                <c:pt idx="3645">
                  <c:v>2.5457418567479908E-4</c:v>
                </c:pt>
                <c:pt idx="3646">
                  <c:v>2.6636775569453727E-4</c:v>
                </c:pt>
                <c:pt idx="3647">
                  <c:v>2.7603337135899007E-4</c:v>
                </c:pt>
                <c:pt idx="3648">
                  <c:v>2.8317149809340498E-4</c:v>
                </c:pt>
                <c:pt idx="3649">
                  <c:v>2.8968315689743466E-4</c:v>
                </c:pt>
                <c:pt idx="3650">
                  <c:v>2.9394498464198218E-4</c:v>
                </c:pt>
                <c:pt idx="3651">
                  <c:v>2.9603348986278149E-4</c:v>
                </c:pt>
                <c:pt idx="3652">
                  <c:v>2.9595523680103671E-4</c:v>
                </c:pt>
                <c:pt idx="3653">
                  <c:v>2.9529540923929734E-4</c:v>
                </c:pt>
                <c:pt idx="3654">
                  <c:v>2.9656147496039066E-4</c:v>
                </c:pt>
                <c:pt idx="3655">
                  <c:v>2.9500938333259564E-4</c:v>
                </c:pt>
                <c:pt idx="3656">
                  <c:v>2.9718036405185357E-4</c:v>
                </c:pt>
                <c:pt idx="3657">
                  <c:v>2.9646962201895191E-4</c:v>
                </c:pt>
                <c:pt idx="3658">
                  <c:v>2.9933015652069917E-4</c:v>
                </c:pt>
                <c:pt idx="3659">
                  <c:v>2.9995979549919606E-4</c:v>
                </c:pt>
                <c:pt idx="3660">
                  <c:v>3.0051809473393245E-4</c:v>
                </c:pt>
                <c:pt idx="3661">
                  <c:v>3.0098207906952256E-4</c:v>
                </c:pt>
                <c:pt idx="3662">
                  <c:v>3.0129420178594968E-4</c:v>
                </c:pt>
                <c:pt idx="3663">
                  <c:v>3.0073850758431854E-4</c:v>
                </c:pt>
                <c:pt idx="3664">
                  <c:v>2.9923743838382256E-4</c:v>
                </c:pt>
                <c:pt idx="3665">
                  <c:v>2.9606583394118898E-4</c:v>
                </c:pt>
                <c:pt idx="3666">
                  <c:v>2.9022160222018806E-4</c:v>
                </c:pt>
                <c:pt idx="3667">
                  <c:v>2.8333326590079859E-4</c:v>
                </c:pt>
                <c:pt idx="3668">
                  <c:v>2.7478088085542443E-4</c:v>
                </c:pt>
                <c:pt idx="3669">
                  <c:v>2.6628758054890304E-4</c:v>
                </c:pt>
                <c:pt idx="3670">
                  <c:v>2.5731608131242804E-4</c:v>
                </c:pt>
                <c:pt idx="3671">
                  <c:v>2.4658635627804339E-4</c:v>
                </c:pt>
                <c:pt idx="3672">
                  <c:v>2.3382047468502144E-4</c:v>
                </c:pt>
                <c:pt idx="3673">
                  <c:v>2.1988285647940695E-4</c:v>
                </c:pt>
                <c:pt idx="3674">
                  <c:v>2.0339755552905775E-4</c:v>
                </c:pt>
                <c:pt idx="3675">
                  <c:v>1.8364143609111812E-4</c:v>
                </c:pt>
                <c:pt idx="3676">
                  <c:v>1.8018819659233867E-4</c:v>
                </c:pt>
                <c:pt idx="3677">
                  <c:v>1.7597784693763701E-4</c:v>
                </c:pt>
                <c:pt idx="3678">
                  <c:v>1.7176495813166781E-4</c:v>
                </c:pt>
                <c:pt idx="3679">
                  <c:v>1.6705612327899615E-4</c:v>
                </c:pt>
                <c:pt idx="3680">
                  <c:v>1.6318331756138847E-4</c:v>
                </c:pt>
                <c:pt idx="3681">
                  <c:v>1.5840572172799001E-4</c:v>
                </c:pt>
                <c:pt idx="3682">
                  <c:v>1.5560108633508489E-4</c:v>
                </c:pt>
                <c:pt idx="3683">
                  <c:v>1.5487193023757968E-4</c:v>
                </c:pt>
                <c:pt idx="3684">
                  <c:v>1.5903360257755415E-4</c:v>
                </c:pt>
                <c:pt idx="3685">
                  <c:v>1.6346535613727148E-4</c:v>
                </c:pt>
                <c:pt idx="3686">
                  <c:v>1.6804788534203059E-4</c:v>
                </c:pt>
                <c:pt idx="3687">
                  <c:v>1.7200284685373353E-4</c:v>
                </c:pt>
                <c:pt idx="3688">
                  <c:v>1.7498910294059085E-4</c:v>
                </c:pt>
                <c:pt idx="3689">
                  <c:v>1.7707845719705986E-4</c:v>
                </c:pt>
                <c:pt idx="3690">
                  <c:v>1.7918627378844094E-4</c:v>
                </c:pt>
                <c:pt idx="3691">
                  <c:v>1.8796007971394631E-4</c:v>
                </c:pt>
                <c:pt idx="3692">
                  <c:v>2.0622232584608988E-4</c:v>
                </c:pt>
                <c:pt idx="3693">
                  <c:v>2.226932348482417E-4</c:v>
                </c:pt>
                <c:pt idx="3694">
                  <c:v>2.3610377828514346E-4</c:v>
                </c:pt>
                <c:pt idx="3695">
                  <c:v>2.4752483793023946E-4</c:v>
                </c:pt>
                <c:pt idx="3696">
                  <c:v>2.5717505623639895E-4</c:v>
                </c:pt>
                <c:pt idx="3697">
                  <c:v>2.6896519012274E-4</c:v>
                </c:pt>
                <c:pt idx="3698">
                  <c:v>2.791584565603839E-4</c:v>
                </c:pt>
                <c:pt idx="3699">
                  <c:v>2.9015605828001771E-4</c:v>
                </c:pt>
                <c:pt idx="3700">
                  <c:v>2.9932903526925093E-4</c:v>
                </c:pt>
                <c:pt idx="3701">
                  <c:v>3.238463990551467E-4</c:v>
                </c:pt>
                <c:pt idx="3702">
                  <c:v>3.5033286814051414E-4</c:v>
                </c:pt>
                <c:pt idx="3703">
                  <c:v>3.7059409613192178E-4</c:v>
                </c:pt>
                <c:pt idx="3704">
                  <c:v>3.866858977011093E-4</c:v>
                </c:pt>
                <c:pt idx="3705">
                  <c:v>3.9911908061724132E-4</c:v>
                </c:pt>
                <c:pt idx="3706">
                  <c:v>4.0893640089684311E-4</c:v>
                </c:pt>
                <c:pt idx="3707">
                  <c:v>4.1648560994214027E-4</c:v>
                </c:pt>
                <c:pt idx="3708">
                  <c:v>4.2253974709111872E-4</c:v>
                </c:pt>
                <c:pt idx="3709">
                  <c:v>4.2499007085079787E-4</c:v>
                </c:pt>
                <c:pt idx="3710">
                  <c:v>4.2601281171535842E-4</c:v>
                </c:pt>
                <c:pt idx="3711">
                  <c:v>4.2494320374123244E-4</c:v>
                </c:pt>
                <c:pt idx="3712">
                  <c:v>4.2267140358960949E-4</c:v>
                </c:pt>
                <c:pt idx="3713">
                  <c:v>4.2064271140371744E-4</c:v>
                </c:pt>
                <c:pt idx="3714">
                  <c:v>4.1667718691799888E-4</c:v>
                </c:pt>
                <c:pt idx="3715">
                  <c:v>4.2495301778558133E-4</c:v>
                </c:pt>
                <c:pt idx="3716">
                  <c:v>4.3071147399004477E-4</c:v>
                </c:pt>
                <c:pt idx="3717">
                  <c:v>4.367330801079394E-4</c:v>
                </c:pt>
                <c:pt idx="3718">
                  <c:v>4.375735596220815E-4</c:v>
                </c:pt>
                <c:pt idx="3719">
                  <c:v>4.3420239917145323E-4</c:v>
                </c:pt>
                <c:pt idx="3720">
                  <c:v>4.2580681729708535E-4</c:v>
                </c:pt>
                <c:pt idx="3721">
                  <c:v>4.1887874318479297E-4</c:v>
                </c:pt>
                <c:pt idx="3722">
                  <c:v>4.1625099982106574E-4</c:v>
                </c:pt>
                <c:pt idx="3723">
                  <c:v>4.136389579937918E-4</c:v>
                </c:pt>
                <c:pt idx="3724">
                  <c:v>4.0923280383804012E-4</c:v>
                </c:pt>
                <c:pt idx="3725">
                  <c:v>4.0122590420259269E-4</c:v>
                </c:pt>
                <c:pt idx="3726">
                  <c:v>3.9082390655489533E-4</c:v>
                </c:pt>
                <c:pt idx="3727">
                  <c:v>3.811707894636409E-4</c:v>
                </c:pt>
                <c:pt idx="3728">
                  <c:v>3.6790099519541761E-4</c:v>
                </c:pt>
                <c:pt idx="3729">
                  <c:v>3.5375524040868979E-4</c:v>
                </c:pt>
                <c:pt idx="3730">
                  <c:v>3.3667699827526014E-4</c:v>
                </c:pt>
                <c:pt idx="3731">
                  <c:v>3.3295144783439392E-4</c:v>
                </c:pt>
                <c:pt idx="3732">
                  <c:v>3.3200085473901149E-4</c:v>
                </c:pt>
                <c:pt idx="3733">
                  <c:v>3.2941438499039258E-4</c:v>
                </c:pt>
                <c:pt idx="3734">
                  <c:v>3.2574047900942325E-4</c:v>
                </c:pt>
                <c:pt idx="3735">
                  <c:v>3.2087251338746659E-4</c:v>
                </c:pt>
                <c:pt idx="3736">
                  <c:v>3.1401547701724201E-4</c:v>
                </c:pt>
                <c:pt idx="3737">
                  <c:v>3.066386202848476E-4</c:v>
                </c:pt>
                <c:pt idx="3738">
                  <c:v>2.9800067891438704E-4</c:v>
                </c:pt>
                <c:pt idx="3739">
                  <c:v>2.8991428660739342E-4</c:v>
                </c:pt>
                <c:pt idx="3740">
                  <c:v>2.8481081623120804E-4</c:v>
                </c:pt>
                <c:pt idx="3741">
                  <c:v>2.7754892039762202E-4</c:v>
                </c:pt>
                <c:pt idx="3742">
                  <c:v>2.6873082324069372E-4</c:v>
                </c:pt>
                <c:pt idx="3743">
                  <c:v>2.7110300617332056E-4</c:v>
                </c:pt>
                <c:pt idx="3744">
                  <c:v>2.711799985294563E-4</c:v>
                </c:pt>
                <c:pt idx="3745">
                  <c:v>2.8505384119186276E-4</c:v>
                </c:pt>
                <c:pt idx="3746">
                  <c:v>2.9655032710421803E-4</c:v>
                </c:pt>
                <c:pt idx="3747">
                  <c:v>3.0809312651607025E-4</c:v>
                </c:pt>
                <c:pt idx="3748">
                  <c:v>3.1847611127208914E-4</c:v>
                </c:pt>
                <c:pt idx="3749">
                  <c:v>3.2646286836704279E-4</c:v>
                </c:pt>
                <c:pt idx="3750">
                  <c:v>3.3496641851895394E-4</c:v>
                </c:pt>
                <c:pt idx="3751">
                  <c:v>3.6633896832124254E-4</c:v>
                </c:pt>
                <c:pt idx="3752">
                  <c:v>3.9567846401821952E-4</c:v>
                </c:pt>
                <c:pt idx="3753">
                  <c:v>4.2509892346438743E-4</c:v>
                </c:pt>
                <c:pt idx="3754">
                  <c:v>4.5037496754494246E-4</c:v>
                </c:pt>
                <c:pt idx="3755">
                  <c:v>4.7058386944204657E-4</c:v>
                </c:pt>
                <c:pt idx="3756">
                  <c:v>4.8758336676213947E-4</c:v>
                </c:pt>
                <c:pt idx="3757">
                  <c:v>5.0131078537734067E-4</c:v>
                </c:pt>
                <c:pt idx="3758">
                  <c:v>5.1092450152091025E-4</c:v>
                </c:pt>
                <c:pt idx="3759">
                  <c:v>5.1713255332532296E-4</c:v>
                </c:pt>
                <c:pt idx="3760">
                  <c:v>5.2081937057464622E-4</c:v>
                </c:pt>
                <c:pt idx="3761">
                  <c:v>5.2186770554082343E-4</c:v>
                </c:pt>
                <c:pt idx="3762">
                  <c:v>5.2607952590797531E-4</c:v>
                </c:pt>
                <c:pt idx="3763">
                  <c:v>5.4314672924132465E-4</c:v>
                </c:pt>
                <c:pt idx="3764">
                  <c:v>5.5589019808619281E-4</c:v>
                </c:pt>
                <c:pt idx="3765">
                  <c:v>5.6292173742770535E-4</c:v>
                </c:pt>
                <c:pt idx="3766">
                  <c:v>5.6625602061797402E-4</c:v>
                </c:pt>
                <c:pt idx="3767">
                  <c:v>5.6746399437230545E-4</c:v>
                </c:pt>
                <c:pt idx="3768">
                  <c:v>5.6465109400125058E-4</c:v>
                </c:pt>
                <c:pt idx="3769">
                  <c:v>5.7935911347799858E-4</c:v>
                </c:pt>
                <c:pt idx="3770">
                  <c:v>6.0547760820144872E-4</c:v>
                </c:pt>
                <c:pt idx="3771">
                  <c:v>6.2693313209498034E-4</c:v>
                </c:pt>
                <c:pt idx="3772">
                  <c:v>6.5158560046237697E-4</c:v>
                </c:pt>
                <c:pt idx="3773">
                  <c:v>6.7635617587907815E-4</c:v>
                </c:pt>
                <c:pt idx="3774">
                  <c:v>6.9758701038693052E-4</c:v>
                </c:pt>
                <c:pt idx="3775">
                  <c:v>7.1140600265911331E-4</c:v>
                </c:pt>
                <c:pt idx="3776">
                  <c:v>7.1819423154911009E-4</c:v>
                </c:pt>
                <c:pt idx="3777">
                  <c:v>7.2136138359475102E-4</c:v>
                </c:pt>
                <c:pt idx="3778">
                  <c:v>7.4000522201144586E-4</c:v>
                </c:pt>
                <c:pt idx="3779">
                  <c:v>7.4921382903409841E-4</c:v>
                </c:pt>
                <c:pt idx="3780">
                  <c:v>7.5201511397050521E-4</c:v>
                </c:pt>
                <c:pt idx="3781">
                  <c:v>7.6627160568551271E-4</c:v>
                </c:pt>
                <c:pt idx="3782">
                  <c:v>7.7766861100023209E-4</c:v>
                </c:pt>
                <c:pt idx="3783">
                  <c:v>7.8517015229477647E-4</c:v>
                </c:pt>
                <c:pt idx="3784">
                  <c:v>7.8864939760392037E-4</c:v>
                </c:pt>
                <c:pt idx="3785">
                  <c:v>7.8662462574015358E-4</c:v>
                </c:pt>
                <c:pt idx="3786">
                  <c:v>7.790873390781303E-4</c:v>
                </c:pt>
                <c:pt idx="3787">
                  <c:v>7.6643734874946249E-4</c:v>
                </c:pt>
                <c:pt idx="3788">
                  <c:v>7.4836896220472032E-4</c:v>
                </c:pt>
                <c:pt idx="3789">
                  <c:v>7.2374187659053841E-4</c:v>
                </c:pt>
                <c:pt idx="3790">
                  <c:v>6.9288927082335281E-4</c:v>
                </c:pt>
                <c:pt idx="3791">
                  <c:v>6.5500863511934113E-4</c:v>
                </c:pt>
                <c:pt idx="3792">
                  <c:v>6.1845675910204877E-4</c:v>
                </c:pt>
                <c:pt idx="3793">
                  <c:v>5.9474885842107097E-4</c:v>
                </c:pt>
                <c:pt idx="3794">
                  <c:v>5.6630341903725605E-4</c:v>
                </c:pt>
                <c:pt idx="3795">
                  <c:v>5.3069056072218581E-4</c:v>
                </c:pt>
                <c:pt idx="3796">
                  <c:v>4.9015376981724566E-4</c:v>
                </c:pt>
                <c:pt idx="3797">
                  <c:v>4.4439999660878996E-4</c:v>
                </c:pt>
                <c:pt idx="3798">
                  <c:v>3.8993354192815352E-4</c:v>
                </c:pt>
                <c:pt idx="3799">
                  <c:v>3.5626933603846831E-4</c:v>
                </c:pt>
                <c:pt idx="3800">
                  <c:v>3.3271661105125543E-4</c:v>
                </c:pt>
                <c:pt idx="3801">
                  <c:v>3.0918411112625192E-4</c:v>
                </c:pt>
                <c:pt idx="3802">
                  <c:v>2.9318054734952468E-4</c:v>
                </c:pt>
                <c:pt idx="3803">
                  <c:v>2.7331243712369548E-4</c:v>
                </c:pt>
                <c:pt idx="3804">
                  <c:v>2.5399277507572238E-4</c:v>
                </c:pt>
                <c:pt idx="3805">
                  <c:v>2.3057045903675604E-4</c:v>
                </c:pt>
                <c:pt idx="3806">
                  <c:v>2.016144499873561E-4</c:v>
                </c:pt>
                <c:pt idx="3807">
                  <c:v>1.7306795165319245E-4</c:v>
                </c:pt>
                <c:pt idx="3808">
                  <c:v>1.7248540686867883E-4</c:v>
                </c:pt>
                <c:pt idx="3809">
                  <c:v>1.7146642037912675E-4</c:v>
                </c:pt>
                <c:pt idx="3810">
                  <c:v>1.6978858064880043E-4</c:v>
                </c:pt>
                <c:pt idx="3811">
                  <c:v>1.7007131505775594E-4</c:v>
                </c:pt>
                <c:pt idx="3812">
                  <c:v>1.7139106190672393E-4</c:v>
                </c:pt>
                <c:pt idx="3813">
                  <c:v>1.7295954433874545E-4</c:v>
                </c:pt>
                <c:pt idx="3814">
                  <c:v>1.7629906578228591E-4</c:v>
                </c:pt>
                <c:pt idx="3815">
                  <c:v>1.787083033002766E-4</c:v>
                </c:pt>
                <c:pt idx="3816">
                  <c:v>1.8032177367727201E-4</c:v>
                </c:pt>
                <c:pt idx="3817">
                  <c:v>1.8193268704403743E-4</c:v>
                </c:pt>
                <c:pt idx="3818">
                  <c:v>1.8363286995126126E-4</c:v>
                </c:pt>
                <c:pt idx="3819">
                  <c:v>1.8554226163524151E-4</c:v>
                </c:pt>
                <c:pt idx="3820">
                  <c:v>1.8669543483699067E-4</c:v>
                </c:pt>
                <c:pt idx="3821">
                  <c:v>1.8795742143489275E-4</c:v>
                </c:pt>
                <c:pt idx="3822">
                  <c:v>1.8924956253046487E-4</c:v>
                </c:pt>
                <c:pt idx="3823">
                  <c:v>1.9054024159139286E-4</c:v>
                </c:pt>
                <c:pt idx="3824">
                  <c:v>1.9188331146809481E-4</c:v>
                </c:pt>
                <c:pt idx="3825">
                  <c:v>1.9318326927111946E-4</c:v>
                </c:pt>
                <c:pt idx="3826">
                  <c:v>1.9486123580489102E-4</c:v>
                </c:pt>
                <c:pt idx="3827">
                  <c:v>1.9635439602667826E-4</c:v>
                </c:pt>
                <c:pt idx="3828">
                  <c:v>1.9645110771886301E-4</c:v>
                </c:pt>
                <c:pt idx="3829">
                  <c:v>1.966840973538687E-4</c:v>
                </c:pt>
                <c:pt idx="3830">
                  <c:v>1.9710736654018541E-4</c:v>
                </c:pt>
                <c:pt idx="3831">
                  <c:v>1.9681205187149889E-4</c:v>
                </c:pt>
                <c:pt idx="3832">
                  <c:v>1.9579478407754736E-4</c:v>
                </c:pt>
                <c:pt idx="3833">
                  <c:v>1.9249833053106737E-4</c:v>
                </c:pt>
                <c:pt idx="3834">
                  <c:v>1.8935265155335746E-4</c:v>
                </c:pt>
                <c:pt idx="3835">
                  <c:v>1.8479167605388178E-4</c:v>
                </c:pt>
                <c:pt idx="3836">
                  <c:v>1.7952982546160052E-4</c:v>
                </c:pt>
                <c:pt idx="3837">
                  <c:v>1.8107923087131174E-4</c:v>
                </c:pt>
                <c:pt idx="3838">
                  <c:v>1.8240503142215019E-4</c:v>
                </c:pt>
                <c:pt idx="3839">
                  <c:v>1.8767578146503376E-4</c:v>
                </c:pt>
                <c:pt idx="3840">
                  <c:v>1.9429162398854801E-4</c:v>
                </c:pt>
                <c:pt idx="3841">
                  <c:v>2.0192875898005901E-4</c:v>
                </c:pt>
                <c:pt idx="3842">
                  <c:v>2.0960754886760092E-4</c:v>
                </c:pt>
                <c:pt idx="3843">
                  <c:v>2.1717571705844195E-4</c:v>
                </c:pt>
                <c:pt idx="3844">
                  <c:v>2.2309332536775805E-4</c:v>
                </c:pt>
                <c:pt idx="3845">
                  <c:v>2.2953553391805832E-4</c:v>
                </c:pt>
                <c:pt idx="3846">
                  <c:v>2.3467828083269008E-4</c:v>
                </c:pt>
                <c:pt idx="3847">
                  <c:v>2.3851809363258317E-4</c:v>
                </c:pt>
                <c:pt idx="3848">
                  <c:v>2.4648034241752189E-4</c:v>
                </c:pt>
                <c:pt idx="3849">
                  <c:v>2.59322263956331E-4</c:v>
                </c:pt>
                <c:pt idx="3850">
                  <c:v>2.7066847058864282E-4</c:v>
                </c:pt>
                <c:pt idx="3851">
                  <c:v>2.8131644292195046E-4</c:v>
                </c:pt>
                <c:pt idx="3852">
                  <c:v>2.9048472222028898E-4</c:v>
                </c:pt>
                <c:pt idx="3853">
                  <c:v>2.9764323580132491E-4</c:v>
                </c:pt>
                <c:pt idx="3854">
                  <c:v>3.0451806400304726E-4</c:v>
                </c:pt>
                <c:pt idx="3855">
                  <c:v>3.1037459400051136E-4</c:v>
                </c:pt>
                <c:pt idx="3856">
                  <c:v>3.1442445639443553E-4</c:v>
                </c:pt>
                <c:pt idx="3857">
                  <c:v>3.1681055537332588E-4</c:v>
                </c:pt>
                <c:pt idx="3858">
                  <c:v>3.1674724587860023E-4</c:v>
                </c:pt>
                <c:pt idx="3859">
                  <c:v>3.2192123108247539E-4</c:v>
                </c:pt>
                <c:pt idx="3860">
                  <c:v>3.2559300093337745E-4</c:v>
                </c:pt>
                <c:pt idx="3861">
                  <c:v>3.2703699202152022E-4</c:v>
                </c:pt>
                <c:pt idx="3862">
                  <c:v>3.2704969768384363E-4</c:v>
                </c:pt>
                <c:pt idx="3863">
                  <c:v>3.2397949553583519E-4</c:v>
                </c:pt>
                <c:pt idx="3864">
                  <c:v>3.2075710379275962E-4</c:v>
                </c:pt>
                <c:pt idx="3865">
                  <c:v>3.1384813058916322E-4</c:v>
                </c:pt>
                <c:pt idx="3866">
                  <c:v>3.0385959507239492E-4</c:v>
                </c:pt>
                <c:pt idx="3867">
                  <c:v>2.9897433993008243E-4</c:v>
                </c:pt>
                <c:pt idx="3868">
                  <c:v>2.9426284016102506E-4</c:v>
                </c:pt>
                <c:pt idx="3869">
                  <c:v>2.9114405919681381E-4</c:v>
                </c:pt>
                <c:pt idx="3870">
                  <c:v>2.879402473470416E-4</c:v>
                </c:pt>
                <c:pt idx="3871">
                  <c:v>2.8389024723355163E-4</c:v>
                </c:pt>
                <c:pt idx="3872">
                  <c:v>2.7899137624696341E-4</c:v>
                </c:pt>
                <c:pt idx="3873">
                  <c:v>2.723868040196859E-4</c:v>
                </c:pt>
                <c:pt idx="3874">
                  <c:v>2.6236349409971058E-4</c:v>
                </c:pt>
                <c:pt idx="3875">
                  <c:v>2.5231331809036768E-4</c:v>
                </c:pt>
                <c:pt idx="3876">
                  <c:v>2.4023420754787375E-4</c:v>
                </c:pt>
                <c:pt idx="3877">
                  <c:v>2.2512643931601239E-4</c:v>
                </c:pt>
                <c:pt idx="3878">
                  <c:v>2.1453969339055667E-4</c:v>
                </c:pt>
                <c:pt idx="3879">
                  <c:v>2.0858847853687547E-4</c:v>
                </c:pt>
                <c:pt idx="3880">
                  <c:v>2.03949018025137E-4</c:v>
                </c:pt>
                <c:pt idx="3881">
                  <c:v>2.0143874943946298E-4</c:v>
                </c:pt>
                <c:pt idx="3882">
                  <c:v>1.9950984849737122E-4</c:v>
                </c:pt>
                <c:pt idx="3883">
                  <c:v>1.9629658318415103E-4</c:v>
                </c:pt>
                <c:pt idx="3884">
                  <c:v>2.1399266280970481E-4</c:v>
                </c:pt>
                <c:pt idx="3885">
                  <c:v>2.2725856650135869E-4</c:v>
                </c:pt>
                <c:pt idx="3886">
                  <c:v>2.3731970025475123E-4</c:v>
                </c:pt>
                <c:pt idx="3887">
                  <c:v>2.4469128302087367E-4</c:v>
                </c:pt>
                <c:pt idx="3888">
                  <c:v>2.4853710533744884E-4</c:v>
                </c:pt>
                <c:pt idx="3889">
                  <c:v>2.6374351723273211E-4</c:v>
                </c:pt>
                <c:pt idx="3890">
                  <c:v>2.793548760219743E-4</c:v>
                </c:pt>
                <c:pt idx="3891">
                  <c:v>2.951406554659633E-4</c:v>
                </c:pt>
                <c:pt idx="3892">
                  <c:v>3.1702828880039231E-4</c:v>
                </c:pt>
                <c:pt idx="3893">
                  <c:v>3.3809337043630265E-4</c:v>
                </c:pt>
                <c:pt idx="3894">
                  <c:v>3.569985098699339E-4</c:v>
                </c:pt>
                <c:pt idx="3895">
                  <c:v>3.7351685744570288E-4</c:v>
                </c:pt>
                <c:pt idx="3896">
                  <c:v>3.8699175843293228E-4</c:v>
                </c:pt>
                <c:pt idx="3897">
                  <c:v>3.9770301143559998E-4</c:v>
                </c:pt>
                <c:pt idx="3898">
                  <c:v>4.0790445978558423E-4</c:v>
                </c:pt>
                <c:pt idx="3899">
                  <c:v>4.225794667704197E-4</c:v>
                </c:pt>
                <c:pt idx="3900">
                  <c:v>4.5243001835269564E-4</c:v>
                </c:pt>
                <c:pt idx="3901">
                  <c:v>4.7533808103063978E-4</c:v>
                </c:pt>
                <c:pt idx="3902">
                  <c:v>5.0630127461134605E-4</c:v>
                </c:pt>
                <c:pt idx="3903">
                  <c:v>5.3373325383129994E-4</c:v>
                </c:pt>
                <c:pt idx="3904">
                  <c:v>5.5436339641229794E-4</c:v>
                </c:pt>
                <c:pt idx="3905">
                  <c:v>5.6861667329758097E-4</c:v>
                </c:pt>
                <c:pt idx="3906">
                  <c:v>5.7789535840404953E-4</c:v>
                </c:pt>
                <c:pt idx="3907">
                  <c:v>5.8246235393192539E-4</c:v>
                </c:pt>
                <c:pt idx="3908">
                  <c:v>5.829706624239276E-4</c:v>
                </c:pt>
                <c:pt idx="3909">
                  <c:v>5.7932566504729295E-4</c:v>
                </c:pt>
                <c:pt idx="3910">
                  <c:v>5.7239358395427874E-4</c:v>
                </c:pt>
                <c:pt idx="3911">
                  <c:v>5.6380393479861664E-4</c:v>
                </c:pt>
                <c:pt idx="3912">
                  <c:v>5.5207630163880072E-4</c:v>
                </c:pt>
                <c:pt idx="3913">
                  <c:v>5.352780654387958E-4</c:v>
                </c:pt>
                <c:pt idx="3914">
                  <c:v>5.3154734680902795E-4</c:v>
                </c:pt>
                <c:pt idx="3915">
                  <c:v>5.2422267696767806E-4</c:v>
                </c:pt>
                <c:pt idx="3916">
                  <c:v>5.1312732255525946E-4</c:v>
                </c:pt>
                <c:pt idx="3917">
                  <c:v>5.0118813474476847E-4</c:v>
                </c:pt>
                <c:pt idx="3918">
                  <c:v>4.8773903908422121E-4</c:v>
                </c:pt>
                <c:pt idx="3919">
                  <c:v>4.7670232512629212E-4</c:v>
                </c:pt>
                <c:pt idx="3920">
                  <c:v>4.6454789283743723E-4</c:v>
                </c:pt>
                <c:pt idx="3921">
                  <c:v>4.5819294497009393E-4</c:v>
                </c:pt>
                <c:pt idx="3922">
                  <c:v>4.5367877097142299E-4</c:v>
                </c:pt>
                <c:pt idx="3923">
                  <c:v>4.4759922583318806E-4</c:v>
                </c:pt>
                <c:pt idx="3924">
                  <c:v>4.3724697836676957E-4</c:v>
                </c:pt>
                <c:pt idx="3925">
                  <c:v>4.2338409219950634E-4</c:v>
                </c:pt>
                <c:pt idx="3926">
                  <c:v>4.046644282948899E-4</c:v>
                </c:pt>
                <c:pt idx="3927">
                  <c:v>3.8734933529638034E-4</c:v>
                </c:pt>
                <c:pt idx="3928">
                  <c:v>3.7398525166698431E-4</c:v>
                </c:pt>
                <c:pt idx="3929">
                  <c:v>3.6489104786543785E-4</c:v>
                </c:pt>
                <c:pt idx="3930">
                  <c:v>3.7028441785557942E-4</c:v>
                </c:pt>
                <c:pt idx="3931">
                  <c:v>3.7279514024550194E-4</c:v>
                </c:pt>
                <c:pt idx="3932">
                  <c:v>3.8302104069083703E-4</c:v>
                </c:pt>
                <c:pt idx="3933">
                  <c:v>3.9233174529836382E-4</c:v>
                </c:pt>
                <c:pt idx="3934">
                  <c:v>3.9896786999127598E-4</c:v>
                </c:pt>
                <c:pt idx="3935">
                  <c:v>4.0237731555407645E-4</c:v>
                </c:pt>
                <c:pt idx="3936">
                  <c:v>4.0331168877855795E-4</c:v>
                </c:pt>
                <c:pt idx="3937">
                  <c:v>4.0248604521815086E-4</c:v>
                </c:pt>
                <c:pt idx="3938">
                  <c:v>4.0001780747010154E-4</c:v>
                </c:pt>
                <c:pt idx="3939">
                  <c:v>3.9531817627149379E-4</c:v>
                </c:pt>
                <c:pt idx="3940">
                  <c:v>3.8954714968072568E-4</c:v>
                </c:pt>
                <c:pt idx="3941">
                  <c:v>3.8211502571806519E-4</c:v>
                </c:pt>
                <c:pt idx="3942">
                  <c:v>3.7210453964040447E-4</c:v>
                </c:pt>
                <c:pt idx="3943">
                  <c:v>3.5926065764622369E-4</c:v>
                </c:pt>
                <c:pt idx="3944">
                  <c:v>3.4482505652622678E-4</c:v>
                </c:pt>
                <c:pt idx="3945">
                  <c:v>3.2893654706449765E-4</c:v>
                </c:pt>
                <c:pt idx="3946">
                  <c:v>3.1210946156984515E-4</c:v>
                </c:pt>
                <c:pt idx="3947">
                  <c:v>2.9788692509424391E-4</c:v>
                </c:pt>
                <c:pt idx="3948">
                  <c:v>2.8771649340327492E-4</c:v>
                </c:pt>
                <c:pt idx="3949">
                  <c:v>2.7584626250458816E-4</c:v>
                </c:pt>
                <c:pt idx="3950">
                  <c:v>2.6213742949593633E-4</c:v>
                </c:pt>
                <c:pt idx="3951">
                  <c:v>2.5636299901183105E-4</c:v>
                </c:pt>
                <c:pt idx="3952">
                  <c:v>2.4857894856420527E-4</c:v>
                </c:pt>
                <c:pt idx="3953">
                  <c:v>2.4624951755830614E-4</c:v>
                </c:pt>
                <c:pt idx="3954">
                  <c:v>2.4116520384553214E-4</c:v>
                </c:pt>
                <c:pt idx="3955">
                  <c:v>2.3319023720555821E-4</c:v>
                </c:pt>
                <c:pt idx="3956">
                  <c:v>2.2202739780342108E-4</c:v>
                </c:pt>
                <c:pt idx="3957">
                  <c:v>2.1957331713842276E-4</c:v>
                </c:pt>
                <c:pt idx="3958">
                  <c:v>2.2537980477354454E-4</c:v>
                </c:pt>
                <c:pt idx="3959">
                  <c:v>2.2982699345751477E-4</c:v>
                </c:pt>
                <c:pt idx="3960">
                  <c:v>2.3564791502006798E-4</c:v>
                </c:pt>
                <c:pt idx="3961">
                  <c:v>2.4143115657493768E-4</c:v>
                </c:pt>
                <c:pt idx="3962">
                  <c:v>2.4923054678954336E-4</c:v>
                </c:pt>
                <c:pt idx="3963">
                  <c:v>2.5641560845981022E-4</c:v>
                </c:pt>
                <c:pt idx="3964">
                  <c:v>2.6378176827689006E-4</c:v>
                </c:pt>
                <c:pt idx="3965">
                  <c:v>2.6950650478409666E-4</c:v>
                </c:pt>
                <c:pt idx="3966">
                  <c:v>2.7368740569931604E-4</c:v>
                </c:pt>
                <c:pt idx="3967">
                  <c:v>2.7718318002491031E-4</c:v>
                </c:pt>
                <c:pt idx="3968">
                  <c:v>2.7911315109187772E-4</c:v>
                </c:pt>
                <c:pt idx="3969">
                  <c:v>2.7802192384890117E-4</c:v>
                </c:pt>
                <c:pt idx="3970">
                  <c:v>2.7702975183469507E-4</c:v>
                </c:pt>
                <c:pt idx="3971">
                  <c:v>2.7469195809431323E-4</c:v>
                </c:pt>
                <c:pt idx="3972">
                  <c:v>2.9139675899255378E-4</c:v>
                </c:pt>
                <c:pt idx="3973">
                  <c:v>3.1090214027773452E-4</c:v>
                </c:pt>
                <c:pt idx="3974">
                  <c:v>3.2831917538911381E-4</c:v>
                </c:pt>
                <c:pt idx="3975">
                  <c:v>3.4194132503221773E-4</c:v>
                </c:pt>
                <c:pt idx="3976">
                  <c:v>3.5568358750518114E-4</c:v>
                </c:pt>
                <c:pt idx="3977">
                  <c:v>3.6749646144609984E-4</c:v>
                </c:pt>
                <c:pt idx="3978">
                  <c:v>3.7668078330804967E-4</c:v>
                </c:pt>
                <c:pt idx="3979">
                  <c:v>3.9105894351819587E-4</c:v>
                </c:pt>
                <c:pt idx="3980">
                  <c:v>4.0133346068391932E-4</c:v>
                </c:pt>
                <c:pt idx="3981">
                  <c:v>4.0793194084430551E-4</c:v>
                </c:pt>
                <c:pt idx="3982">
                  <c:v>4.1174482688081547E-4</c:v>
                </c:pt>
                <c:pt idx="3983">
                  <c:v>4.197070355708765E-4</c:v>
                </c:pt>
                <c:pt idx="3984">
                  <c:v>4.2492722302063887E-4</c:v>
                </c:pt>
                <c:pt idx="3985">
                  <c:v>4.2679380830355475E-4</c:v>
                </c:pt>
                <c:pt idx="3986">
                  <c:v>4.2685217422899356E-4</c:v>
                </c:pt>
                <c:pt idx="3987">
                  <c:v>4.25047522638656E-4</c:v>
                </c:pt>
                <c:pt idx="3988">
                  <c:v>4.2216487740461223E-4</c:v>
                </c:pt>
                <c:pt idx="3989">
                  <c:v>4.1731371698516557E-4</c:v>
                </c:pt>
                <c:pt idx="3990">
                  <c:v>4.1288284849427034E-4</c:v>
                </c:pt>
                <c:pt idx="3991">
                  <c:v>4.0648725956504234E-4</c:v>
                </c:pt>
                <c:pt idx="3992">
                  <c:v>3.9989816714142894E-4</c:v>
                </c:pt>
                <c:pt idx="3993">
                  <c:v>3.9223582965513691E-4</c:v>
                </c:pt>
                <c:pt idx="3994">
                  <c:v>3.8425368561678327E-4</c:v>
                </c:pt>
                <c:pt idx="3995">
                  <c:v>3.7362685488080986E-4</c:v>
                </c:pt>
                <c:pt idx="3996">
                  <c:v>3.6005544887183111E-4</c:v>
                </c:pt>
                <c:pt idx="3997">
                  <c:v>3.4494765216497254E-4</c:v>
                </c:pt>
                <c:pt idx="3998">
                  <c:v>3.2623864586362448E-4</c:v>
                </c:pt>
                <c:pt idx="3999">
                  <c:v>3.019990549010659E-4</c:v>
                </c:pt>
                <c:pt idx="4000">
                  <c:v>2.7143439334021828E-4</c:v>
                </c:pt>
                <c:pt idx="4001">
                  <c:v>2.3301686224186483E-4</c:v>
                </c:pt>
                <c:pt idx="4002">
                  <c:v>2.2001064281269487E-4</c:v>
                </c:pt>
                <c:pt idx="4003">
                  <c:v>2.1094477088335709E-4</c:v>
                </c:pt>
                <c:pt idx="4004">
                  <c:v>2.0352454344693821E-4</c:v>
                </c:pt>
                <c:pt idx="4005">
                  <c:v>1.9548219300237994E-4</c:v>
                </c:pt>
                <c:pt idx="4006">
                  <c:v>1.8717075906273886E-4</c:v>
                </c:pt>
                <c:pt idx="4007">
                  <c:v>1.7855242586727372E-4</c:v>
                </c:pt>
                <c:pt idx="4008">
                  <c:v>1.7171455369030625E-4</c:v>
                </c:pt>
                <c:pt idx="4009">
                  <c:v>1.7380652152435591E-4</c:v>
                </c:pt>
                <c:pt idx="4010">
                  <c:v>1.7604687512707236E-4</c:v>
                </c:pt>
                <c:pt idx="4011">
                  <c:v>1.7842846061096265E-4</c:v>
                </c:pt>
                <c:pt idx="4012">
                  <c:v>1.713368530051264E-4</c:v>
                </c:pt>
                <c:pt idx="4013">
                  <c:v>1.6456252033597937E-4</c:v>
                </c:pt>
                <c:pt idx="4014">
                  <c:v>1.5966524366369509E-4</c:v>
                </c:pt>
                <c:pt idx="4015">
                  <c:v>1.565108399046228E-4</c:v>
                </c:pt>
                <c:pt idx="4016">
                  <c:v>1.7836253131528959E-4</c:v>
                </c:pt>
                <c:pt idx="4017">
                  <c:v>2.0178041944233537E-4</c:v>
                </c:pt>
                <c:pt idx="4018">
                  <c:v>2.2694546375879541E-4</c:v>
                </c:pt>
                <c:pt idx="4019">
                  <c:v>2.5279404386981011E-4</c:v>
                </c:pt>
                <c:pt idx="4020">
                  <c:v>2.8252811554409983E-4</c:v>
                </c:pt>
                <c:pt idx="4021">
                  <c:v>3.1148655429653741E-4</c:v>
                </c:pt>
                <c:pt idx="4022">
                  <c:v>3.3948210442069366E-4</c:v>
                </c:pt>
                <c:pt idx="4023">
                  <c:v>3.7280514206928335E-4</c:v>
                </c:pt>
                <c:pt idx="4024">
                  <c:v>4.0382132796954237E-4</c:v>
                </c:pt>
                <c:pt idx="4025">
                  <c:v>4.3292848466990139E-4</c:v>
                </c:pt>
                <c:pt idx="4026">
                  <c:v>4.6002386900059576E-4</c:v>
                </c:pt>
                <c:pt idx="4027">
                  <c:v>4.8230657442996697E-4</c:v>
                </c:pt>
                <c:pt idx="4028">
                  <c:v>5.0535494220171537E-4</c:v>
                </c:pt>
                <c:pt idx="4029">
                  <c:v>5.2619083800066187E-4</c:v>
                </c:pt>
                <c:pt idx="4030">
                  <c:v>5.4511444100063279E-4</c:v>
                </c:pt>
                <c:pt idx="4031">
                  <c:v>5.6171668343305697E-4</c:v>
                </c:pt>
                <c:pt idx="4032">
                  <c:v>5.7576299308637014E-4</c:v>
                </c:pt>
                <c:pt idx="4033">
                  <c:v>5.8556267366824161E-4</c:v>
                </c:pt>
                <c:pt idx="4034">
                  <c:v>5.9269289382857509E-4</c:v>
                </c:pt>
                <c:pt idx="4035">
                  <c:v>5.9615620082267644E-4</c:v>
                </c:pt>
                <c:pt idx="4036">
                  <c:v>5.9810213755307157E-4</c:v>
                </c:pt>
                <c:pt idx="4037">
                  <c:v>5.9607777749970338E-4</c:v>
                </c:pt>
                <c:pt idx="4038">
                  <c:v>5.8596016280180476E-4</c:v>
                </c:pt>
                <c:pt idx="4039">
                  <c:v>5.6891021555551891E-4</c:v>
                </c:pt>
                <c:pt idx="4040">
                  <c:v>5.5021191627355919E-4</c:v>
                </c:pt>
                <c:pt idx="4041">
                  <c:v>5.1862443506149494E-4</c:v>
                </c:pt>
                <c:pt idx="4042">
                  <c:v>4.9780728782870137E-4</c:v>
                </c:pt>
                <c:pt idx="4043">
                  <c:v>4.8986655285816001E-4</c:v>
                </c:pt>
                <c:pt idx="4044">
                  <c:v>4.7934643412097388E-4</c:v>
                </c:pt>
                <c:pt idx="4045">
                  <c:v>4.6594172755810029E-4</c:v>
                </c:pt>
                <c:pt idx="4046">
                  <c:v>4.6809920913019681E-4</c:v>
                </c:pt>
                <c:pt idx="4047">
                  <c:v>4.6893398164958062E-4</c:v>
                </c:pt>
                <c:pt idx="4048">
                  <c:v>4.7129054016594168E-4</c:v>
                </c:pt>
                <c:pt idx="4049">
                  <c:v>4.7210147738222349E-4</c:v>
                </c:pt>
                <c:pt idx="4050">
                  <c:v>4.7182910532915143E-4</c:v>
                </c:pt>
                <c:pt idx="4051">
                  <c:v>4.7295698178783367E-4</c:v>
                </c:pt>
                <c:pt idx="4052">
                  <c:v>4.7279591766367826E-4</c:v>
                </c:pt>
                <c:pt idx="4053">
                  <c:v>4.7663812162215656E-4</c:v>
                </c:pt>
                <c:pt idx="4054">
                  <c:v>4.8210292996907846E-4</c:v>
                </c:pt>
                <c:pt idx="4055">
                  <c:v>4.8901966828680495E-4</c:v>
                </c:pt>
                <c:pt idx="4056">
                  <c:v>4.9475534838522555E-4</c:v>
                </c:pt>
                <c:pt idx="4057">
                  <c:v>4.9936963784135986E-4</c:v>
                </c:pt>
                <c:pt idx="4058">
                  <c:v>5.3563873094939309E-4</c:v>
                </c:pt>
                <c:pt idx="4059">
                  <c:v>5.6961010921614081E-4</c:v>
                </c:pt>
                <c:pt idx="4060">
                  <c:v>5.9816871369392356E-4</c:v>
                </c:pt>
                <c:pt idx="4061">
                  <c:v>6.2529393164857379E-4</c:v>
                </c:pt>
                <c:pt idx="4062">
                  <c:v>6.4782452919588543E-4</c:v>
                </c:pt>
                <c:pt idx="4063">
                  <c:v>6.6411551477345461E-4</c:v>
                </c:pt>
                <c:pt idx="4064">
                  <c:v>6.7926442265508688E-4</c:v>
                </c:pt>
                <c:pt idx="4065">
                  <c:v>6.9308304910510089E-4</c:v>
                </c:pt>
                <c:pt idx="4066">
                  <c:v>7.0510179883646136E-4</c:v>
                </c:pt>
                <c:pt idx="4067">
                  <c:v>7.1341327350245038E-4</c:v>
                </c:pt>
                <c:pt idx="4068">
                  <c:v>7.206703598574794E-4</c:v>
                </c:pt>
                <c:pt idx="4069">
                  <c:v>7.2409081879319778E-4</c:v>
                </c:pt>
                <c:pt idx="4070">
                  <c:v>7.2860069458292279E-4</c:v>
                </c:pt>
                <c:pt idx="4071">
                  <c:v>7.3027222776281449E-4</c:v>
                </c:pt>
                <c:pt idx="4072">
                  <c:v>7.3327379268173112E-4</c:v>
                </c:pt>
                <c:pt idx="4073">
                  <c:v>7.3565861360348663E-4</c:v>
                </c:pt>
                <c:pt idx="4074">
                  <c:v>7.3953479044466016E-4</c:v>
                </c:pt>
                <c:pt idx="4075">
                  <c:v>7.4228242027766134E-4</c:v>
                </c:pt>
                <c:pt idx="4076">
                  <c:v>7.4139760045383572E-4</c:v>
                </c:pt>
                <c:pt idx="4077">
                  <c:v>7.4137709671747961E-4</c:v>
                </c:pt>
                <c:pt idx="4078">
                  <c:v>7.3984653174599929E-4</c:v>
                </c:pt>
                <c:pt idx="4079">
                  <c:v>7.3450024476414723E-4</c:v>
                </c:pt>
                <c:pt idx="4080">
                  <c:v>7.2249372462742647E-4</c:v>
                </c:pt>
                <c:pt idx="4081">
                  <c:v>7.0891064206643505E-4</c:v>
                </c:pt>
                <c:pt idx="4082">
                  <c:v>6.8882259913340702E-4</c:v>
                </c:pt>
                <c:pt idx="4083">
                  <c:v>6.6633275133071211E-4</c:v>
                </c:pt>
                <c:pt idx="4084">
                  <c:v>6.4201551814971965E-4</c:v>
                </c:pt>
                <c:pt idx="4085">
                  <c:v>6.1786542935799034E-4</c:v>
                </c:pt>
                <c:pt idx="4086">
                  <c:v>5.8838886231453219E-4</c:v>
                </c:pt>
                <c:pt idx="4087">
                  <c:v>5.5633867703154636E-4</c:v>
                </c:pt>
                <c:pt idx="4088">
                  <c:v>5.5171506373679594E-4</c:v>
                </c:pt>
                <c:pt idx="4089">
                  <c:v>5.4771201416382843E-4</c:v>
                </c:pt>
                <c:pt idx="4090">
                  <c:v>5.4188221847577126E-4</c:v>
                </c:pt>
                <c:pt idx="4091">
                  <c:v>5.3686471610956267E-4</c:v>
                </c:pt>
                <c:pt idx="4092">
                  <c:v>5.3007186722954774E-4</c:v>
                </c:pt>
                <c:pt idx="4093">
                  <c:v>5.2621862105475608E-4</c:v>
                </c:pt>
                <c:pt idx="4094">
                  <c:v>5.207031306594755E-4</c:v>
                </c:pt>
                <c:pt idx="4095">
                  <c:v>5.1611686992365888E-4</c:v>
                </c:pt>
                <c:pt idx="4096">
                  <c:v>5.1235993661645821E-4</c:v>
                </c:pt>
                <c:pt idx="4097">
                  <c:v>5.0671923212013397E-4</c:v>
                </c:pt>
                <c:pt idx="4098">
                  <c:v>5.2468206978113319E-4</c:v>
                </c:pt>
                <c:pt idx="4099">
                  <c:v>5.4510927005713258E-4</c:v>
                </c:pt>
                <c:pt idx="4100">
                  <c:v>5.8630546842345125E-4</c:v>
                </c:pt>
                <c:pt idx="4101">
                  <c:v>8.0251933355087498E-4</c:v>
                </c:pt>
                <c:pt idx="4102">
                  <c:v>9.7191047583376701E-4</c:v>
                </c:pt>
                <c:pt idx="4103">
                  <c:v>1.1428471322197445E-3</c:v>
                </c:pt>
                <c:pt idx="4104">
                  <c:v>1.2844984036608064E-3</c:v>
                </c:pt>
                <c:pt idx="4105">
                  <c:v>1.4081487782118161E-3</c:v>
                </c:pt>
                <c:pt idx="4106">
                  <c:v>1.5070371072127043E-3</c:v>
                </c:pt>
                <c:pt idx="4107">
                  <c:v>1.6004957499550678E-3</c:v>
                </c:pt>
                <c:pt idx="4108">
                  <c:v>1.6756641387411155E-3</c:v>
                </c:pt>
                <c:pt idx="4109">
                  <c:v>1.7377670161237329E-3</c:v>
                </c:pt>
                <c:pt idx="4110">
                  <c:v>1.7904052487664102E-3</c:v>
                </c:pt>
                <c:pt idx="4111">
                  <c:v>1.8318841990910412E-3</c:v>
                </c:pt>
                <c:pt idx="4112">
                  <c:v>1.8593350532944068E-3</c:v>
                </c:pt>
                <c:pt idx="4113">
                  <c:v>1.8954550744312206E-3</c:v>
                </c:pt>
                <c:pt idx="4114">
                  <c:v>1.9287955315845469E-3</c:v>
                </c:pt>
                <c:pt idx="4115">
                  <c:v>1.9541143750517018E-3</c:v>
                </c:pt>
                <c:pt idx="4116">
                  <c:v>1.9678280051158878E-3</c:v>
                </c:pt>
                <c:pt idx="4117">
                  <c:v>1.9779955833525505E-3</c:v>
                </c:pt>
                <c:pt idx="4118">
                  <c:v>1.9901111689807779E-3</c:v>
                </c:pt>
                <c:pt idx="4119">
                  <c:v>1.9925448435505655E-3</c:v>
                </c:pt>
                <c:pt idx="4120">
                  <c:v>1.9910842196806341E-3</c:v>
                </c:pt>
                <c:pt idx="4121">
                  <c:v>1.9738048572840211E-3</c:v>
                </c:pt>
                <c:pt idx="4122">
                  <c:v>1.9403573370575028E-3</c:v>
                </c:pt>
                <c:pt idx="4123">
                  <c:v>1.8956330910236267E-3</c:v>
                </c:pt>
                <c:pt idx="4124">
                  <c:v>1.8462736995685941E-3</c:v>
                </c:pt>
                <c:pt idx="4125">
                  <c:v>1.7759728813811801E-3</c:v>
                </c:pt>
                <c:pt idx="4126">
                  <c:v>1.6857302518828361E-3</c:v>
                </c:pt>
                <c:pt idx="4127">
                  <c:v>1.5705903700416696E-3</c:v>
                </c:pt>
                <c:pt idx="4128">
                  <c:v>1.4562537743164912E-3</c:v>
                </c:pt>
                <c:pt idx="4129">
                  <c:v>1.3202315172647424E-3</c:v>
                </c:pt>
                <c:pt idx="4130">
                  <c:v>1.1851875265863469E-3</c:v>
                </c:pt>
                <c:pt idx="4131">
                  <c:v>1.1655041821881573E-3</c:v>
                </c:pt>
                <c:pt idx="4132">
                  <c:v>1.1442871401521931E-3</c:v>
                </c:pt>
                <c:pt idx="4133">
                  <c:v>1.1373990988795544E-3</c:v>
                </c:pt>
                <c:pt idx="4134">
                  <c:v>1.1343740092913924E-3</c:v>
                </c:pt>
                <c:pt idx="4135">
                  <c:v>1.1288197722123144E-3</c:v>
                </c:pt>
                <c:pt idx="4136">
                  <c:v>1.1135609015046199E-3</c:v>
                </c:pt>
                <c:pt idx="4137">
                  <c:v>1.0984664194637667E-3</c:v>
                </c:pt>
                <c:pt idx="4138">
                  <c:v>1.0736507349346923E-3</c:v>
                </c:pt>
                <c:pt idx="4139">
                  <c:v>1.040901389419078E-3</c:v>
                </c:pt>
                <c:pt idx="4140">
                  <c:v>1.0025504904923835E-3</c:v>
                </c:pt>
                <c:pt idx="4141">
                  <c:v>9.5481695481654781E-4</c:v>
                </c:pt>
                <c:pt idx="4142">
                  <c:v>8.9663754112607541E-4</c:v>
                </c:pt>
                <c:pt idx="4143">
                  <c:v>8.5291907573538037E-4</c:v>
                </c:pt>
                <c:pt idx="4144">
                  <c:v>8.1551194506508239E-4</c:v>
                </c:pt>
                <c:pt idx="4145">
                  <c:v>7.9161121354486171E-4</c:v>
                </c:pt>
                <c:pt idx="4146">
                  <c:v>7.604703092619359E-4</c:v>
                </c:pt>
                <c:pt idx="4147">
                  <c:v>7.3366828745215467E-4</c:v>
                </c:pt>
                <c:pt idx="4148">
                  <c:v>7.2713896757817644E-4</c:v>
                </c:pt>
                <c:pt idx="4149">
                  <c:v>7.2542738237285794E-4</c:v>
                </c:pt>
                <c:pt idx="4150">
                  <c:v>7.3168377641843216E-4</c:v>
                </c:pt>
                <c:pt idx="4151">
                  <c:v>7.3503595657992973E-4</c:v>
                </c:pt>
                <c:pt idx="4152">
                  <c:v>7.3264422006052868E-4</c:v>
                </c:pt>
                <c:pt idx="4153">
                  <c:v>7.2221127035982042E-4</c:v>
                </c:pt>
                <c:pt idx="4154">
                  <c:v>7.3030512465588652E-4</c:v>
                </c:pt>
                <c:pt idx="4155">
                  <c:v>7.3718053789550585E-4</c:v>
                </c:pt>
                <c:pt idx="4156">
                  <c:v>7.4495300200377412E-4</c:v>
                </c:pt>
                <c:pt idx="4157">
                  <c:v>7.8863409164221571E-4</c:v>
                </c:pt>
                <c:pt idx="4158">
                  <c:v>8.2649814570648209E-4</c:v>
                </c:pt>
                <c:pt idx="4159">
                  <c:v>8.5802510413835267E-4</c:v>
                </c:pt>
                <c:pt idx="4160">
                  <c:v>8.8420929252130476E-4</c:v>
                </c:pt>
                <c:pt idx="4161">
                  <c:v>9.0367700751815263E-4</c:v>
                </c:pt>
                <c:pt idx="4162">
                  <c:v>9.1684889246238291E-4</c:v>
                </c:pt>
                <c:pt idx="4163">
                  <c:v>9.2638093744503791E-4</c:v>
                </c:pt>
                <c:pt idx="4164">
                  <c:v>9.4121429445504401E-4</c:v>
                </c:pt>
                <c:pt idx="4165">
                  <c:v>9.5294433117172075E-4</c:v>
                </c:pt>
                <c:pt idx="4166">
                  <c:v>9.5914111347422182E-4</c:v>
                </c:pt>
                <c:pt idx="4167">
                  <c:v>9.7682681947525206E-4</c:v>
                </c:pt>
                <c:pt idx="4168">
                  <c:v>1.0031592433241297E-3</c:v>
                </c:pt>
                <c:pt idx="4169">
                  <c:v>1.020496573945756E-3</c:v>
                </c:pt>
                <c:pt idx="4170">
                  <c:v>1.0575612269727744E-3</c:v>
                </c:pt>
                <c:pt idx="4171">
                  <c:v>1.0978458589933572E-3</c:v>
                </c:pt>
                <c:pt idx="4172">
                  <c:v>1.2214686139477421E-3</c:v>
                </c:pt>
                <c:pt idx="4173">
                  <c:v>1.34067406149641E-3</c:v>
                </c:pt>
                <c:pt idx="4174">
                  <c:v>1.4339420113150801E-3</c:v>
                </c:pt>
                <c:pt idx="4175">
                  <c:v>1.5241716206897619E-3</c:v>
                </c:pt>
                <c:pt idx="4176">
                  <c:v>1.5998963838088692E-3</c:v>
                </c:pt>
                <c:pt idx="4177">
                  <c:v>1.6586394995656128E-3</c:v>
                </c:pt>
                <c:pt idx="4178">
                  <c:v>1.7059516554483029E-3</c:v>
                </c:pt>
                <c:pt idx="4179">
                  <c:v>1.7432443688045474E-3</c:v>
                </c:pt>
                <c:pt idx="4180">
                  <c:v>1.7680428984557929E-3</c:v>
                </c:pt>
                <c:pt idx="4181">
                  <c:v>1.7827239987586447E-3</c:v>
                </c:pt>
                <c:pt idx="4182">
                  <c:v>1.7857919691957734E-3</c:v>
                </c:pt>
                <c:pt idx="4183">
                  <c:v>1.7831756890695548E-3</c:v>
                </c:pt>
                <c:pt idx="4184">
                  <c:v>1.7741352145576516E-3</c:v>
                </c:pt>
                <c:pt idx="4185">
                  <c:v>1.756403834784519E-3</c:v>
                </c:pt>
                <c:pt idx="4186">
                  <c:v>1.7466319118243474E-3</c:v>
                </c:pt>
                <c:pt idx="4187">
                  <c:v>1.7682289714298929E-3</c:v>
                </c:pt>
                <c:pt idx="4188">
                  <c:v>1.7925513806777596E-3</c:v>
                </c:pt>
                <c:pt idx="4189">
                  <c:v>1.8141213916603152E-3</c:v>
                </c:pt>
                <c:pt idx="4190">
                  <c:v>1.8201003725820154E-3</c:v>
                </c:pt>
                <c:pt idx="4191">
                  <c:v>1.9095685786376868E-3</c:v>
                </c:pt>
                <c:pt idx="4192">
                  <c:v>2.2239139507387535E-3</c:v>
                </c:pt>
                <c:pt idx="4193">
                  <c:v>2.660882305419715E-3</c:v>
                </c:pt>
                <c:pt idx="4194">
                  <c:v>3.0421569906850248E-3</c:v>
                </c:pt>
                <c:pt idx="4195">
                  <c:v>3.3340886481355706E-3</c:v>
                </c:pt>
                <c:pt idx="4196">
                  <c:v>4.0642630250116336E-3</c:v>
                </c:pt>
                <c:pt idx="4197">
                  <c:v>4.6244962737124022E-3</c:v>
                </c:pt>
                <c:pt idx="4198">
                  <c:v>5.1799660877344398E-3</c:v>
                </c:pt>
                <c:pt idx="4199">
                  <c:v>5.6186741998937159E-3</c:v>
                </c:pt>
                <c:pt idx="4200">
                  <c:v>5.9790498826440058E-3</c:v>
                </c:pt>
                <c:pt idx="4201">
                  <c:v>6.3883760911527688E-3</c:v>
                </c:pt>
                <c:pt idx="4202">
                  <c:v>6.7600342012167323E-3</c:v>
                </c:pt>
                <c:pt idx="4203">
                  <c:v>7.2030404780614402E-3</c:v>
                </c:pt>
                <c:pt idx="4204">
                  <c:v>7.5763318087258809E-3</c:v>
                </c:pt>
                <c:pt idx="4205">
                  <c:v>8.0689611734441544E-3</c:v>
                </c:pt>
                <c:pt idx="4206">
                  <c:v>8.6353989969904319E-3</c:v>
                </c:pt>
                <c:pt idx="4207">
                  <c:v>9.0886975510998565E-3</c:v>
                </c:pt>
                <c:pt idx="4208">
                  <c:v>9.4899151537419357E-3</c:v>
                </c:pt>
                <c:pt idx="4209">
                  <c:v>9.8142489203946505E-3</c:v>
                </c:pt>
                <c:pt idx="4210">
                  <c:v>1.0103064518653849E-2</c:v>
                </c:pt>
                <c:pt idx="4211">
                  <c:v>1.0348227107496109E-2</c:v>
                </c:pt>
                <c:pt idx="4212">
                  <c:v>1.0703210896615164E-2</c:v>
                </c:pt>
                <c:pt idx="4213">
                  <c:v>1.1092221216697782E-2</c:v>
                </c:pt>
                <c:pt idx="4214">
                  <c:v>1.1566015611002248E-2</c:v>
                </c:pt>
                <c:pt idx="4215">
                  <c:v>1.2069761874518995E-2</c:v>
                </c:pt>
                <c:pt idx="4216">
                  <c:v>1.2449218078785311E-2</c:v>
                </c:pt>
                <c:pt idx="4217">
                  <c:v>1.267989258934127E-2</c:v>
                </c:pt>
                <c:pt idx="4218">
                  <c:v>1.2775525932878241E-2</c:v>
                </c:pt>
                <c:pt idx="4219">
                  <c:v>1.2778474847621089E-2</c:v>
                </c:pt>
                <c:pt idx="4220">
                  <c:v>1.2630664906852211E-2</c:v>
                </c:pt>
                <c:pt idx="4221">
                  <c:v>1.2614859179200067E-2</c:v>
                </c:pt>
                <c:pt idx="4222">
                  <c:v>1.2638201666365166E-2</c:v>
                </c:pt>
                <c:pt idx="4223">
                  <c:v>1.2716415938088629E-2</c:v>
                </c:pt>
                <c:pt idx="4224">
                  <c:v>1.2702932247647781E-2</c:v>
                </c:pt>
                <c:pt idx="4225">
                  <c:v>1.2655448346874367E-2</c:v>
                </c:pt>
                <c:pt idx="4226">
                  <c:v>1.2816505588625756E-2</c:v>
                </c:pt>
                <c:pt idx="4227">
                  <c:v>1.2853914697680026E-2</c:v>
                </c:pt>
                <c:pt idx="4228">
                  <c:v>1.2979798511064579E-2</c:v>
                </c:pt>
                <c:pt idx="4229">
                  <c:v>1.3103067398794549E-2</c:v>
                </c:pt>
                <c:pt idx="4230">
                  <c:v>1.3071740684541672E-2</c:v>
                </c:pt>
                <c:pt idx="4231">
                  <c:v>1.3003160182759392E-2</c:v>
                </c:pt>
                <c:pt idx="4232">
                  <c:v>1.2790710001289158E-2</c:v>
                </c:pt>
                <c:pt idx="4233">
                  <c:v>1.2554186981220674E-2</c:v>
                </c:pt>
                <c:pt idx="4234">
                  <c:v>1.2209681959354514E-2</c:v>
                </c:pt>
                <c:pt idx="4235">
                  <c:v>1.1911801498387199E-2</c:v>
                </c:pt>
                <c:pt idx="4236">
                  <c:v>1.1719611189542253E-2</c:v>
                </c:pt>
                <c:pt idx="4237">
                  <c:v>1.1454934404712088E-2</c:v>
                </c:pt>
                <c:pt idx="4238">
                  <c:v>1.1150136945598384E-2</c:v>
                </c:pt>
                <c:pt idx="4239">
                  <c:v>1.0746906603105594E-2</c:v>
                </c:pt>
                <c:pt idx="4240">
                  <c:v>1.0303467028437763E-2</c:v>
                </c:pt>
                <c:pt idx="4241">
                  <c:v>9.9432935658292799E-3</c:v>
                </c:pt>
                <c:pt idx="4242">
                  <c:v>9.7149844426288393E-3</c:v>
                </c:pt>
                <c:pt idx="4243">
                  <c:v>9.6762330610004298E-3</c:v>
                </c:pt>
                <c:pt idx="4244">
                  <c:v>9.7274643097304755E-3</c:v>
                </c:pt>
                <c:pt idx="4245">
                  <c:v>9.8636203159757473E-3</c:v>
                </c:pt>
                <c:pt idx="4246">
                  <c:v>9.9979399094000457E-3</c:v>
                </c:pt>
                <c:pt idx="4247">
                  <c:v>1.0006358083274739E-2</c:v>
                </c:pt>
                <c:pt idx="4248">
                  <c:v>9.8949416672771146E-3</c:v>
                </c:pt>
                <c:pt idx="4249">
                  <c:v>9.8142731735623902E-3</c:v>
                </c:pt>
                <c:pt idx="4250">
                  <c:v>9.6017503104105281E-3</c:v>
                </c:pt>
                <c:pt idx="4251">
                  <c:v>9.5661024413347985E-3</c:v>
                </c:pt>
                <c:pt idx="4252">
                  <c:v>9.4713130661450672E-3</c:v>
                </c:pt>
                <c:pt idx="4253">
                  <c:v>9.4001917087418226E-3</c:v>
                </c:pt>
                <c:pt idx="4254">
                  <c:v>9.3067689860051525E-3</c:v>
                </c:pt>
                <c:pt idx="4255">
                  <c:v>9.239814801820425E-3</c:v>
                </c:pt>
                <c:pt idx="4256">
                  <c:v>9.4245579193016054E-3</c:v>
                </c:pt>
                <c:pt idx="4257">
                  <c:v>9.563125173460179E-3</c:v>
                </c:pt>
                <c:pt idx="4258">
                  <c:v>9.7848354117833717E-3</c:v>
                </c:pt>
                <c:pt idx="4259">
                  <c:v>1.0026459494509513E-2</c:v>
                </c:pt>
                <c:pt idx="4260">
                  <c:v>1.01686826415018E-2</c:v>
                </c:pt>
                <c:pt idx="4261">
                  <c:v>1.035565129548751E-2</c:v>
                </c:pt>
                <c:pt idx="4262">
                  <c:v>1.0434247354305129E-2</c:v>
                </c:pt>
                <c:pt idx="4263">
                  <c:v>1.0394635538433294E-2</c:v>
                </c:pt>
                <c:pt idx="4264">
                  <c:v>1.0383391876051803E-2</c:v>
                </c:pt>
                <c:pt idx="4265">
                  <c:v>1.0284967618756134E-2</c:v>
                </c:pt>
                <c:pt idx="4266">
                  <c:v>1.0259301411045319E-2</c:v>
                </c:pt>
                <c:pt idx="4267">
                  <c:v>1.0199007877197542E-2</c:v>
                </c:pt>
                <c:pt idx="4268">
                  <c:v>1.0072135115476525E-2</c:v>
                </c:pt>
                <c:pt idx="4269">
                  <c:v>9.8517804452337467E-3</c:v>
                </c:pt>
                <c:pt idx="4270">
                  <c:v>9.6437063509352168E-3</c:v>
                </c:pt>
                <c:pt idx="4271">
                  <c:v>9.5530405700071409E-3</c:v>
                </c:pt>
                <c:pt idx="4272">
                  <c:v>9.4492923020485821E-3</c:v>
                </c:pt>
                <c:pt idx="4273">
                  <c:v>9.4243405415994977E-3</c:v>
                </c:pt>
                <c:pt idx="4274">
                  <c:v>9.3637665512453297E-3</c:v>
                </c:pt>
                <c:pt idx="4275">
                  <c:v>9.2763297385359753E-3</c:v>
                </c:pt>
                <c:pt idx="4276">
                  <c:v>9.1965456534385173E-3</c:v>
                </c:pt>
                <c:pt idx="4277">
                  <c:v>9.0364726799254946E-3</c:v>
                </c:pt>
                <c:pt idx="4278">
                  <c:v>8.8672900251255543E-3</c:v>
                </c:pt>
                <c:pt idx="4279">
                  <c:v>8.928815297358509E-3</c:v>
                </c:pt>
                <c:pt idx="4280">
                  <c:v>8.870184664406762E-3</c:v>
                </c:pt>
                <c:pt idx="4281">
                  <c:v>8.8525373746070422E-3</c:v>
                </c:pt>
                <c:pt idx="4282">
                  <c:v>8.8388988320061215E-3</c:v>
                </c:pt>
                <c:pt idx="4283">
                  <c:v>8.7377101986599419E-3</c:v>
                </c:pt>
                <c:pt idx="4284">
                  <c:v>8.6725069046994004E-3</c:v>
                </c:pt>
                <c:pt idx="4285">
                  <c:v>8.4788201526487406E-3</c:v>
                </c:pt>
                <c:pt idx="4286">
                  <c:v>8.4984446458349974E-3</c:v>
                </c:pt>
                <c:pt idx="4287">
                  <c:v>8.6661339905161634E-3</c:v>
                </c:pt>
                <c:pt idx="4288">
                  <c:v>8.7825167319754757E-3</c:v>
                </c:pt>
                <c:pt idx="4289">
                  <c:v>8.8166464852100085E-3</c:v>
                </c:pt>
                <c:pt idx="4290">
                  <c:v>8.8788097563628869E-3</c:v>
                </c:pt>
                <c:pt idx="4291">
                  <c:v>8.9843534172671501E-3</c:v>
                </c:pt>
                <c:pt idx="4292">
                  <c:v>9.0847376439529472E-3</c:v>
                </c:pt>
                <c:pt idx="4293">
                  <c:v>9.1539695032033883E-3</c:v>
                </c:pt>
                <c:pt idx="4294">
                  <c:v>9.3426283056807346E-3</c:v>
                </c:pt>
                <c:pt idx="4295">
                  <c:v>9.4896392284871487E-3</c:v>
                </c:pt>
                <c:pt idx="4296">
                  <c:v>9.6680686342657703E-3</c:v>
                </c:pt>
                <c:pt idx="4297">
                  <c:v>9.814733720570434E-3</c:v>
                </c:pt>
                <c:pt idx="4298">
                  <c:v>9.8590501301079811E-3</c:v>
                </c:pt>
                <c:pt idx="4299">
                  <c:v>9.9178137611219928E-3</c:v>
                </c:pt>
                <c:pt idx="4300">
                  <c:v>1.0122248182868466E-2</c:v>
                </c:pt>
                <c:pt idx="4301">
                  <c:v>1.0231788162633718E-2</c:v>
                </c:pt>
                <c:pt idx="4302">
                  <c:v>1.0289178722645523E-2</c:v>
                </c:pt>
                <c:pt idx="4303">
                  <c:v>1.0311767514357403E-2</c:v>
                </c:pt>
                <c:pt idx="4304">
                  <c:v>1.0324166443818636E-2</c:v>
                </c:pt>
                <c:pt idx="4305">
                  <c:v>1.0112501701894068E-2</c:v>
                </c:pt>
                <c:pt idx="4306">
                  <c:v>9.6993291158666544E-3</c:v>
                </c:pt>
                <c:pt idx="4307">
                  <c:v>9.1956466964824707E-3</c:v>
                </c:pt>
                <c:pt idx="4308">
                  <c:v>8.7132681907070297E-3</c:v>
                </c:pt>
                <c:pt idx="4309">
                  <c:v>8.3303311970355527E-3</c:v>
                </c:pt>
                <c:pt idx="4310">
                  <c:v>7.8842937928578077E-3</c:v>
                </c:pt>
                <c:pt idx="4311">
                  <c:v>7.4522968341936271E-3</c:v>
                </c:pt>
                <c:pt idx="4312">
                  <c:v>7.0612404196505989E-3</c:v>
                </c:pt>
                <c:pt idx="4313">
                  <c:v>6.6437131891497079E-3</c:v>
                </c:pt>
                <c:pt idx="4314">
                  <c:v>6.2950141821476015E-3</c:v>
                </c:pt>
                <c:pt idx="4315">
                  <c:v>5.9173703738468666E-3</c:v>
                </c:pt>
                <c:pt idx="4316">
                  <c:v>5.6009199816673657E-3</c:v>
                </c:pt>
                <c:pt idx="4317">
                  <c:v>5.5215658412203954E-3</c:v>
                </c:pt>
                <c:pt idx="4318">
                  <c:v>5.4772372664785149E-3</c:v>
                </c:pt>
                <c:pt idx="4319">
                  <c:v>5.9225864242187709E-3</c:v>
                </c:pt>
                <c:pt idx="4320">
                  <c:v>6.5104121042544481E-3</c:v>
                </c:pt>
                <c:pt idx="4321">
                  <c:v>7.0530141498129448E-3</c:v>
                </c:pt>
                <c:pt idx="4322">
                  <c:v>7.9621438195860237E-3</c:v>
                </c:pt>
                <c:pt idx="4323">
                  <c:v>8.7921250475252039E-3</c:v>
                </c:pt>
                <c:pt idx="4324">
                  <c:v>9.6107011436628916E-3</c:v>
                </c:pt>
                <c:pt idx="4325">
                  <c:v>1.0349206378143421E-2</c:v>
                </c:pt>
                <c:pt idx="4326">
                  <c:v>1.0982132496505743E-2</c:v>
                </c:pt>
                <c:pt idx="4327">
                  <c:v>1.1634435100639794E-2</c:v>
                </c:pt>
                <c:pt idx="4328">
                  <c:v>1.231054541243215E-2</c:v>
                </c:pt>
                <c:pt idx="4329">
                  <c:v>1.2850411144293705E-2</c:v>
                </c:pt>
                <c:pt idx="4330">
                  <c:v>1.3366272188755499E-2</c:v>
                </c:pt>
                <c:pt idx="4331">
                  <c:v>1.3896616136901243E-2</c:v>
                </c:pt>
                <c:pt idx="4332">
                  <c:v>1.4662446336162958E-2</c:v>
                </c:pt>
                <c:pt idx="4333">
                  <c:v>1.5177629789505273E-2</c:v>
                </c:pt>
                <c:pt idx="4334">
                  <c:v>1.5438881526232042E-2</c:v>
                </c:pt>
                <c:pt idx="4335">
                  <c:v>1.5639895085523086E-2</c:v>
                </c:pt>
                <c:pt idx="4336">
                  <c:v>1.5919229884513882E-2</c:v>
                </c:pt>
                <c:pt idx="4337">
                  <c:v>1.6242157412775404E-2</c:v>
                </c:pt>
                <c:pt idx="4338">
                  <c:v>1.6401803160536365E-2</c:v>
                </c:pt>
                <c:pt idx="4339">
                  <c:v>1.6521413994091363E-2</c:v>
                </c:pt>
                <c:pt idx="4340">
                  <c:v>1.6502228706111899E-2</c:v>
                </c:pt>
                <c:pt idx="4341">
                  <c:v>1.6367937327300876E-2</c:v>
                </c:pt>
                <c:pt idx="4342">
                  <c:v>1.6119359928693809E-2</c:v>
                </c:pt>
                <c:pt idx="4343">
                  <c:v>1.5957309137174594E-2</c:v>
                </c:pt>
                <c:pt idx="4344">
                  <c:v>1.5895619030018657E-2</c:v>
                </c:pt>
                <c:pt idx="4345">
                  <c:v>1.5700972165517919E-2</c:v>
                </c:pt>
                <c:pt idx="4346">
                  <c:v>1.5652795222414976E-2</c:v>
                </c:pt>
                <c:pt idx="4347">
                  <c:v>1.5588327567295205E-2</c:v>
                </c:pt>
                <c:pt idx="4348">
                  <c:v>1.545307727374897E-2</c:v>
                </c:pt>
                <c:pt idx="4349">
                  <c:v>1.5618665691426952E-2</c:v>
                </c:pt>
                <c:pt idx="4350">
                  <c:v>1.5645273197169567E-2</c:v>
                </c:pt>
                <c:pt idx="4351">
                  <c:v>1.5369260563240202E-2</c:v>
                </c:pt>
                <c:pt idx="4352">
                  <c:v>1.508157215870007E-2</c:v>
                </c:pt>
                <c:pt idx="4353">
                  <c:v>1.4617105129531438E-2</c:v>
                </c:pt>
                <c:pt idx="4354">
                  <c:v>1.401083002209305E-2</c:v>
                </c:pt>
                <c:pt idx="4355">
                  <c:v>1.3265752927786969E-2</c:v>
                </c:pt>
                <c:pt idx="4356">
                  <c:v>1.2355194402711227E-2</c:v>
                </c:pt>
                <c:pt idx="4357">
                  <c:v>1.1453233793315951E-2</c:v>
                </c:pt>
                <c:pt idx="4358">
                  <c:v>1.058634367872489E-2</c:v>
                </c:pt>
                <c:pt idx="4359">
                  <c:v>9.7504971569049616E-3</c:v>
                </c:pt>
                <c:pt idx="4360">
                  <c:v>9.1190703673464553E-3</c:v>
                </c:pt>
                <c:pt idx="4361">
                  <c:v>8.7742510673359201E-3</c:v>
                </c:pt>
                <c:pt idx="4362">
                  <c:v>8.8072020771034036E-3</c:v>
                </c:pt>
                <c:pt idx="4363">
                  <c:v>8.9431305491682045E-3</c:v>
                </c:pt>
                <c:pt idx="4364">
                  <c:v>9.090933982432426E-3</c:v>
                </c:pt>
                <c:pt idx="4365">
                  <c:v>9.2804350303171031E-3</c:v>
                </c:pt>
                <c:pt idx="4366">
                  <c:v>9.5376002861331279E-3</c:v>
                </c:pt>
                <c:pt idx="4367">
                  <c:v>9.9190961488163643E-3</c:v>
                </c:pt>
                <c:pt idx="4368">
                  <c:v>1.0627762840329952E-2</c:v>
                </c:pt>
                <c:pt idx="4369">
                  <c:v>1.1307562040015552E-2</c:v>
                </c:pt>
                <c:pt idx="4370">
                  <c:v>1.198955373984017E-2</c:v>
                </c:pt>
                <c:pt idx="4371">
                  <c:v>1.28350099550087E-2</c:v>
                </c:pt>
                <c:pt idx="4372">
                  <c:v>1.3768428443842533E-2</c:v>
                </c:pt>
                <c:pt idx="4373">
                  <c:v>1.4832045656696862E-2</c:v>
                </c:pt>
                <c:pt idx="4374">
                  <c:v>1.5706061749206007E-2</c:v>
                </c:pt>
                <c:pt idx="4375">
                  <c:v>1.6492715140678151E-2</c:v>
                </c:pt>
                <c:pt idx="4376">
                  <c:v>1.7053111553402545E-2</c:v>
                </c:pt>
                <c:pt idx="4377">
                  <c:v>1.7528820690168655E-2</c:v>
                </c:pt>
                <c:pt idx="4378">
                  <c:v>1.7702458241418945E-2</c:v>
                </c:pt>
                <c:pt idx="4379">
                  <c:v>1.7649090598915469E-2</c:v>
                </c:pt>
                <c:pt idx="4380">
                  <c:v>1.7377607154424976E-2</c:v>
                </c:pt>
                <c:pt idx="4381">
                  <c:v>1.7112762627573448E-2</c:v>
                </c:pt>
                <c:pt idx="4382">
                  <c:v>1.692925326925114E-2</c:v>
                </c:pt>
                <c:pt idx="4383">
                  <c:v>1.6673775778046639E-2</c:v>
                </c:pt>
                <c:pt idx="4384">
                  <c:v>1.6537599337685907E-2</c:v>
                </c:pt>
                <c:pt idx="4385">
                  <c:v>1.6427142628838015E-2</c:v>
                </c:pt>
                <c:pt idx="4386">
                  <c:v>1.6416871682976293E-2</c:v>
                </c:pt>
                <c:pt idx="4387">
                  <c:v>1.6250477752720958E-2</c:v>
                </c:pt>
                <c:pt idx="4388">
                  <c:v>1.6049088605179312E-2</c:v>
                </c:pt>
                <c:pt idx="4389">
                  <c:v>1.6136399405983982E-2</c:v>
                </c:pt>
                <c:pt idx="4390">
                  <c:v>1.613777175392378E-2</c:v>
                </c:pt>
                <c:pt idx="4391">
                  <c:v>1.6126108387898498E-2</c:v>
                </c:pt>
                <c:pt idx="4392">
                  <c:v>1.6034978914515843E-2</c:v>
                </c:pt>
                <c:pt idx="4393">
                  <c:v>1.5879190952126306E-2</c:v>
                </c:pt>
                <c:pt idx="4394">
                  <c:v>1.5551518042741123E-2</c:v>
                </c:pt>
                <c:pt idx="4395">
                  <c:v>1.5178899422512979E-2</c:v>
                </c:pt>
                <c:pt idx="4396">
                  <c:v>1.4643993306025402E-2</c:v>
                </c:pt>
                <c:pt idx="4397">
                  <c:v>1.4018181787151999E-2</c:v>
                </c:pt>
                <c:pt idx="4398">
                  <c:v>1.3605224869429526E-2</c:v>
                </c:pt>
                <c:pt idx="4399">
                  <c:v>1.3136912033888816E-2</c:v>
                </c:pt>
                <c:pt idx="4400">
                  <c:v>1.2570650686258312E-2</c:v>
                </c:pt>
                <c:pt idx="4401">
                  <c:v>1.2164101365266966E-2</c:v>
                </c:pt>
                <c:pt idx="4402">
                  <c:v>1.1815401845694315E-2</c:v>
                </c:pt>
                <c:pt idx="4403">
                  <c:v>1.1628550122850594E-2</c:v>
                </c:pt>
                <c:pt idx="4404">
                  <c:v>1.1436680643532723E-2</c:v>
                </c:pt>
                <c:pt idx="4405">
                  <c:v>1.1197982171737259E-2</c:v>
                </c:pt>
                <c:pt idx="4406">
                  <c:v>1.0872966490354628E-2</c:v>
                </c:pt>
                <c:pt idx="4407">
                  <c:v>1.0750967319009479E-2</c:v>
                </c:pt>
                <c:pt idx="4408">
                  <c:v>1.0495333119647218E-2</c:v>
                </c:pt>
                <c:pt idx="4409">
                  <c:v>1.0203594635408042E-2</c:v>
                </c:pt>
                <c:pt idx="4410">
                  <c:v>9.7815559809656602E-3</c:v>
                </c:pt>
                <c:pt idx="4411">
                  <c:v>9.3939598912701899E-3</c:v>
                </c:pt>
                <c:pt idx="4412">
                  <c:v>9.0276502984678545E-3</c:v>
                </c:pt>
                <c:pt idx="4413">
                  <c:v>8.6431717416538302E-3</c:v>
                </c:pt>
                <c:pt idx="4414">
                  <c:v>8.3347360392106527E-3</c:v>
                </c:pt>
                <c:pt idx="4415">
                  <c:v>8.0778015705069532E-3</c:v>
                </c:pt>
                <c:pt idx="4416">
                  <c:v>7.8783560225105121E-3</c:v>
                </c:pt>
                <c:pt idx="4417">
                  <c:v>7.630685254232235E-3</c:v>
                </c:pt>
                <c:pt idx="4418">
                  <c:v>7.3444538586390712E-3</c:v>
                </c:pt>
                <c:pt idx="4419">
                  <c:v>7.2101058179582546E-3</c:v>
                </c:pt>
                <c:pt idx="4420">
                  <c:v>7.0801491568834854E-3</c:v>
                </c:pt>
                <c:pt idx="4421">
                  <c:v>6.8751820901250876E-3</c:v>
                </c:pt>
                <c:pt idx="4422">
                  <c:v>6.8824376672675849E-3</c:v>
                </c:pt>
                <c:pt idx="4423">
                  <c:v>6.8150655918302883E-3</c:v>
                </c:pt>
                <c:pt idx="4424">
                  <c:v>6.7029030894471377E-3</c:v>
                </c:pt>
                <c:pt idx="4425">
                  <c:v>6.713859564620739E-3</c:v>
                </c:pt>
                <c:pt idx="4426">
                  <c:v>6.6958162619689598E-3</c:v>
                </c:pt>
                <c:pt idx="4427">
                  <c:v>6.663786859697045E-3</c:v>
                </c:pt>
                <c:pt idx="4428">
                  <c:v>6.5441115007267197E-3</c:v>
                </c:pt>
                <c:pt idx="4429">
                  <c:v>6.5036724756407423E-3</c:v>
                </c:pt>
                <c:pt idx="4430">
                  <c:v>6.4311453332083855E-3</c:v>
                </c:pt>
                <c:pt idx="4431">
                  <c:v>6.3725265055108822E-3</c:v>
                </c:pt>
                <c:pt idx="4432">
                  <c:v>6.2702157153128784E-3</c:v>
                </c:pt>
                <c:pt idx="4433">
                  <c:v>6.16427801408249E-3</c:v>
                </c:pt>
                <c:pt idx="4434">
                  <c:v>6.1396340855341966E-3</c:v>
                </c:pt>
                <c:pt idx="4435">
                  <c:v>6.1488228764867833E-3</c:v>
                </c:pt>
                <c:pt idx="4436">
                  <c:v>6.1452621601851797E-3</c:v>
                </c:pt>
                <c:pt idx="4437">
                  <c:v>6.4253288343388854E-3</c:v>
                </c:pt>
                <c:pt idx="4438">
                  <c:v>6.6484875219635928E-3</c:v>
                </c:pt>
                <c:pt idx="4439">
                  <c:v>6.97688628816446E-3</c:v>
                </c:pt>
                <c:pt idx="4440">
                  <c:v>7.3234615651056835E-3</c:v>
                </c:pt>
                <c:pt idx="4441">
                  <c:v>7.7161790613709614E-3</c:v>
                </c:pt>
                <c:pt idx="4442">
                  <c:v>8.2362735194937697E-3</c:v>
                </c:pt>
                <c:pt idx="4443">
                  <c:v>8.6789626104388888E-3</c:v>
                </c:pt>
                <c:pt idx="4444">
                  <c:v>8.9987465948643749E-3</c:v>
                </c:pt>
                <c:pt idx="4445">
                  <c:v>9.253115086019623E-3</c:v>
                </c:pt>
                <c:pt idx="4446">
                  <c:v>9.4626582456601716E-3</c:v>
                </c:pt>
                <c:pt idx="4447">
                  <c:v>9.6196159565319298E-3</c:v>
                </c:pt>
                <c:pt idx="4448">
                  <c:v>9.70802353073872E-3</c:v>
                </c:pt>
                <c:pt idx="4449">
                  <c:v>9.8841957338812875E-3</c:v>
                </c:pt>
                <c:pt idx="4450">
                  <c:v>1.0041829214241849E-2</c:v>
                </c:pt>
                <c:pt idx="4451">
                  <c:v>1.012199754576521E-2</c:v>
                </c:pt>
                <c:pt idx="4452">
                  <c:v>1.0283623572545709E-2</c:v>
                </c:pt>
                <c:pt idx="4453">
                  <c:v>1.0365485814465818E-2</c:v>
                </c:pt>
                <c:pt idx="4454">
                  <c:v>1.0480374738294539E-2</c:v>
                </c:pt>
                <c:pt idx="4455">
                  <c:v>1.0630220307837999E-2</c:v>
                </c:pt>
                <c:pt idx="4456">
                  <c:v>1.0729573202340864E-2</c:v>
                </c:pt>
                <c:pt idx="4457">
                  <c:v>1.0774070984487504E-2</c:v>
                </c:pt>
                <c:pt idx="4458">
                  <c:v>1.083244107243999E-2</c:v>
                </c:pt>
                <c:pt idx="4459">
                  <c:v>1.0861786107096053E-2</c:v>
                </c:pt>
                <c:pt idx="4460">
                  <c:v>1.0829039073376687E-2</c:v>
                </c:pt>
                <c:pt idx="4461">
                  <c:v>1.0687877087935406E-2</c:v>
                </c:pt>
                <c:pt idx="4462">
                  <c:v>1.0551581653095337E-2</c:v>
                </c:pt>
                <c:pt idx="4463">
                  <c:v>1.0364803697281873E-2</c:v>
                </c:pt>
                <c:pt idx="4464">
                  <c:v>1.0225755576951798E-2</c:v>
                </c:pt>
                <c:pt idx="4465">
                  <c:v>1.0081697818360803E-2</c:v>
                </c:pt>
                <c:pt idx="4466">
                  <c:v>9.890075820893858E-3</c:v>
                </c:pt>
                <c:pt idx="4467">
                  <c:v>9.8112417280955544E-3</c:v>
                </c:pt>
                <c:pt idx="4468">
                  <c:v>9.6301692459610615E-3</c:v>
                </c:pt>
                <c:pt idx="4469">
                  <c:v>9.5252959657466402E-3</c:v>
                </c:pt>
                <c:pt idx="4470">
                  <c:v>9.421379522322056E-3</c:v>
                </c:pt>
                <c:pt idx="4471">
                  <c:v>9.3402094134832948E-3</c:v>
                </c:pt>
                <c:pt idx="4472">
                  <c:v>9.3497613575244214E-3</c:v>
                </c:pt>
                <c:pt idx="4473">
                  <c:v>9.3153104037712996E-3</c:v>
                </c:pt>
                <c:pt idx="4474">
                  <c:v>9.2423238919858361E-3</c:v>
                </c:pt>
                <c:pt idx="4475">
                  <c:v>9.1038729189020576E-3</c:v>
                </c:pt>
                <c:pt idx="4476">
                  <c:v>9.0148976103167321E-3</c:v>
                </c:pt>
                <c:pt idx="4477">
                  <c:v>8.8516168512324158E-3</c:v>
                </c:pt>
                <c:pt idx="4478">
                  <c:v>8.593068588820852E-3</c:v>
                </c:pt>
                <c:pt idx="4479">
                  <c:v>8.5227257038221985E-3</c:v>
                </c:pt>
                <c:pt idx="4480">
                  <c:v>8.4620652758696669E-3</c:v>
                </c:pt>
                <c:pt idx="4481">
                  <c:v>8.3711174862789086E-3</c:v>
                </c:pt>
                <c:pt idx="4482">
                  <c:v>8.3030781111562979E-3</c:v>
                </c:pt>
                <c:pt idx="4483">
                  <c:v>8.1394589245585187E-3</c:v>
                </c:pt>
                <c:pt idx="4484">
                  <c:v>8.1436355034484979E-3</c:v>
                </c:pt>
                <c:pt idx="4485">
                  <c:v>8.1790860175540801E-3</c:v>
                </c:pt>
                <c:pt idx="4486">
                  <c:v>8.2418433565418121E-3</c:v>
                </c:pt>
                <c:pt idx="4487">
                  <c:v>8.2283842925444124E-3</c:v>
                </c:pt>
                <c:pt idx="4488">
                  <c:v>8.4452568130662549E-3</c:v>
                </c:pt>
                <c:pt idx="4489">
                  <c:v>8.6212087586041847E-3</c:v>
                </c:pt>
                <c:pt idx="4490">
                  <c:v>8.8666747883809436E-3</c:v>
                </c:pt>
                <c:pt idx="4491">
                  <c:v>9.0256506312731584E-3</c:v>
                </c:pt>
                <c:pt idx="4492">
                  <c:v>9.201976817840362E-3</c:v>
                </c:pt>
                <c:pt idx="4493">
                  <c:v>9.352616800867207E-3</c:v>
                </c:pt>
                <c:pt idx="4494">
                  <c:v>9.5855519587389106E-3</c:v>
                </c:pt>
                <c:pt idx="4495">
                  <c:v>9.7518508261765936E-3</c:v>
                </c:pt>
                <c:pt idx="4496">
                  <c:v>9.9130626614966667E-3</c:v>
                </c:pt>
                <c:pt idx="4497">
                  <c:v>1.0431312408276489E-2</c:v>
                </c:pt>
                <c:pt idx="4498">
                  <c:v>1.0808534011057299E-2</c:v>
                </c:pt>
                <c:pt idx="4499">
                  <c:v>1.1232883937588445E-2</c:v>
                </c:pt>
                <c:pt idx="4500">
                  <c:v>1.1522313542490501E-2</c:v>
                </c:pt>
                <c:pt idx="4501">
                  <c:v>1.2026620091099052E-2</c:v>
                </c:pt>
                <c:pt idx="4502">
                  <c:v>1.2424432545741082E-2</c:v>
                </c:pt>
                <c:pt idx="4503">
                  <c:v>1.2990452101669714E-2</c:v>
                </c:pt>
                <c:pt idx="4504">
                  <c:v>1.3614411124364182E-2</c:v>
                </c:pt>
                <c:pt idx="4505">
                  <c:v>1.4175339411336151E-2</c:v>
                </c:pt>
                <c:pt idx="4506">
                  <c:v>1.4760510628112402E-2</c:v>
                </c:pt>
                <c:pt idx="4507">
                  <c:v>1.5220366613768252E-2</c:v>
                </c:pt>
                <c:pt idx="4508">
                  <c:v>1.5554673617213263E-2</c:v>
                </c:pt>
                <c:pt idx="4509">
                  <c:v>1.5963200335704118E-2</c:v>
                </c:pt>
                <c:pt idx="4510">
                  <c:v>1.620493467137123E-2</c:v>
                </c:pt>
                <c:pt idx="4511">
                  <c:v>1.6396513984544087E-2</c:v>
                </c:pt>
                <c:pt idx="4512">
                  <c:v>1.6578350240421629E-2</c:v>
                </c:pt>
                <c:pt idx="4513">
                  <c:v>1.7700202001028637E-2</c:v>
                </c:pt>
                <c:pt idx="4514">
                  <c:v>1.8894583461776814E-2</c:v>
                </c:pt>
                <c:pt idx="4515">
                  <c:v>1.9809899493157111E-2</c:v>
                </c:pt>
                <c:pt idx="4516">
                  <c:v>2.0519693300354278E-2</c:v>
                </c:pt>
                <c:pt idx="4517">
                  <c:v>2.0969483908399374E-2</c:v>
                </c:pt>
                <c:pt idx="4518">
                  <c:v>2.1386346433141048E-2</c:v>
                </c:pt>
                <c:pt idx="4519">
                  <c:v>2.1622249616373764E-2</c:v>
                </c:pt>
                <c:pt idx="4520">
                  <c:v>2.1772739047640422E-2</c:v>
                </c:pt>
                <c:pt idx="4521">
                  <c:v>2.2070930397099758E-2</c:v>
                </c:pt>
                <c:pt idx="4522">
                  <c:v>2.222882776813399E-2</c:v>
                </c:pt>
                <c:pt idx="4523">
                  <c:v>2.2163120093603828E-2</c:v>
                </c:pt>
                <c:pt idx="4524">
                  <c:v>2.2063162713637716E-2</c:v>
                </c:pt>
                <c:pt idx="4525">
                  <c:v>2.176889228586153E-2</c:v>
                </c:pt>
                <c:pt idx="4526">
                  <c:v>2.1285926530913445E-2</c:v>
                </c:pt>
                <c:pt idx="4527">
                  <c:v>2.1024057050754726E-2</c:v>
                </c:pt>
                <c:pt idx="4528">
                  <c:v>2.0641116479902868E-2</c:v>
                </c:pt>
                <c:pt idx="4529">
                  <c:v>2.0173427516059595E-2</c:v>
                </c:pt>
                <c:pt idx="4530">
                  <c:v>1.951340853281831E-2</c:v>
                </c:pt>
                <c:pt idx="4531">
                  <c:v>1.8944723439027287E-2</c:v>
                </c:pt>
                <c:pt idx="4532">
                  <c:v>1.8248095256999417E-2</c:v>
                </c:pt>
                <c:pt idx="4533">
                  <c:v>1.7743821079981553E-2</c:v>
                </c:pt>
                <c:pt idx="4534">
                  <c:v>1.7354943876709189E-2</c:v>
                </c:pt>
                <c:pt idx="4535">
                  <c:v>1.6891957801008595E-2</c:v>
                </c:pt>
                <c:pt idx="4536">
                  <c:v>1.6413503724135702E-2</c:v>
                </c:pt>
                <c:pt idx="4537">
                  <c:v>1.582568009980885E-2</c:v>
                </c:pt>
                <c:pt idx="4538">
                  <c:v>1.5127874575909922E-2</c:v>
                </c:pt>
                <c:pt idx="4539">
                  <c:v>1.4353864560299634E-2</c:v>
                </c:pt>
                <c:pt idx="4540">
                  <c:v>1.3325253775781183E-2</c:v>
                </c:pt>
                <c:pt idx="4541">
                  <c:v>1.2203566497997092E-2</c:v>
                </c:pt>
                <c:pt idx="4542">
                  <c:v>1.0831317731448955E-2</c:v>
                </c:pt>
                <c:pt idx="4543">
                  <c:v>1.0706443227416514E-2</c:v>
                </c:pt>
                <c:pt idx="4544">
                  <c:v>1.0793299253569536E-2</c:v>
                </c:pt>
                <c:pt idx="4545">
                  <c:v>1.0883450931316105E-2</c:v>
                </c:pt>
                <c:pt idx="4546">
                  <c:v>1.0886680132916611E-2</c:v>
                </c:pt>
                <c:pt idx="4547">
                  <c:v>1.1004612726641683E-2</c:v>
                </c:pt>
                <c:pt idx="4548">
                  <c:v>1.1331877090689363E-2</c:v>
                </c:pt>
                <c:pt idx="4549">
                  <c:v>1.1505801991443217E-2</c:v>
                </c:pt>
                <c:pt idx="4550">
                  <c:v>1.1479296632639425E-2</c:v>
                </c:pt>
                <c:pt idx="4551">
                  <c:v>1.1697961025103022E-2</c:v>
                </c:pt>
                <c:pt idx="4552">
                  <c:v>1.198921906735646E-2</c:v>
                </c:pt>
                <c:pt idx="4553">
                  <c:v>1.2217459349867963E-2</c:v>
                </c:pt>
                <c:pt idx="4554">
                  <c:v>1.2559960737743382E-2</c:v>
                </c:pt>
                <c:pt idx="4555">
                  <c:v>1.2982876340164307E-2</c:v>
                </c:pt>
                <c:pt idx="4556">
                  <c:v>1.3353609945636094E-2</c:v>
                </c:pt>
                <c:pt idx="4557">
                  <c:v>1.3612788589801037E-2</c:v>
                </c:pt>
                <c:pt idx="4558">
                  <c:v>1.4171167627937369E-2</c:v>
                </c:pt>
                <c:pt idx="4559">
                  <c:v>1.472348069293177E-2</c:v>
                </c:pt>
                <c:pt idx="4560">
                  <c:v>1.5280018432309809E-2</c:v>
                </c:pt>
                <c:pt idx="4561">
                  <c:v>1.5859873069926866E-2</c:v>
                </c:pt>
                <c:pt idx="4562">
                  <c:v>1.6297829011760929E-2</c:v>
                </c:pt>
                <c:pt idx="4563">
                  <c:v>1.6896186860318192E-2</c:v>
                </c:pt>
                <c:pt idx="4564">
                  <c:v>1.7436479470787556E-2</c:v>
                </c:pt>
                <c:pt idx="4565">
                  <c:v>1.7830646119314168E-2</c:v>
                </c:pt>
                <c:pt idx="4566">
                  <c:v>1.8117609019150837E-2</c:v>
                </c:pt>
                <c:pt idx="4567">
                  <c:v>1.8267041301586254E-2</c:v>
                </c:pt>
                <c:pt idx="4568">
                  <c:v>1.8365073867019577E-2</c:v>
                </c:pt>
                <c:pt idx="4569">
                  <c:v>1.8293384550781628E-2</c:v>
                </c:pt>
                <c:pt idx="4570">
                  <c:v>1.8098891161849803E-2</c:v>
                </c:pt>
                <c:pt idx="4571">
                  <c:v>1.7900237223018249E-2</c:v>
                </c:pt>
                <c:pt idx="4572">
                  <c:v>1.7559152411024726E-2</c:v>
                </c:pt>
                <c:pt idx="4573">
                  <c:v>1.716727999383396E-2</c:v>
                </c:pt>
                <c:pt idx="4574">
                  <c:v>1.6800162807380288E-2</c:v>
                </c:pt>
                <c:pt idx="4575">
                  <c:v>1.6432674165557361E-2</c:v>
                </c:pt>
                <c:pt idx="4576">
                  <c:v>1.6033882232488066E-2</c:v>
                </c:pt>
                <c:pt idx="4577">
                  <c:v>1.5698080295255507E-2</c:v>
                </c:pt>
                <c:pt idx="4578">
                  <c:v>1.5495149846731896E-2</c:v>
                </c:pt>
                <c:pt idx="4579">
                  <c:v>1.5170800043539566E-2</c:v>
                </c:pt>
                <c:pt idx="4580">
                  <c:v>1.4674248629142012E-2</c:v>
                </c:pt>
                <c:pt idx="4581">
                  <c:v>1.4104019916034724E-2</c:v>
                </c:pt>
                <c:pt idx="4582">
                  <c:v>1.3501086479167075E-2</c:v>
                </c:pt>
                <c:pt idx="4583">
                  <c:v>1.2864912153275643E-2</c:v>
                </c:pt>
                <c:pt idx="4584">
                  <c:v>1.224597055726811E-2</c:v>
                </c:pt>
                <c:pt idx="4585">
                  <c:v>1.1713984148326745E-2</c:v>
                </c:pt>
                <c:pt idx="4586">
                  <c:v>1.122194680257428E-2</c:v>
                </c:pt>
                <c:pt idx="4587">
                  <c:v>1.0781399549034214E-2</c:v>
                </c:pt>
                <c:pt idx="4588">
                  <c:v>1.0638975789731997E-2</c:v>
                </c:pt>
                <c:pt idx="4589">
                  <c:v>1.0576950895360834E-2</c:v>
                </c:pt>
                <c:pt idx="4590">
                  <c:v>1.050507634050492E-2</c:v>
                </c:pt>
                <c:pt idx="4591">
                  <c:v>1.0538198249345918E-2</c:v>
                </c:pt>
                <c:pt idx="4592">
                  <c:v>1.0601258317897402E-2</c:v>
                </c:pt>
                <c:pt idx="4593">
                  <c:v>1.0744606751335045E-2</c:v>
                </c:pt>
                <c:pt idx="4594">
                  <c:v>1.0891285337214264E-2</c:v>
                </c:pt>
                <c:pt idx="4595">
                  <c:v>1.0949010621515296E-2</c:v>
                </c:pt>
                <c:pt idx="4596">
                  <c:v>1.0917721342954188E-2</c:v>
                </c:pt>
                <c:pt idx="4597">
                  <c:v>1.0787649014384055E-2</c:v>
                </c:pt>
                <c:pt idx="4598">
                  <c:v>1.0653084008720131E-2</c:v>
                </c:pt>
                <c:pt idx="4599">
                  <c:v>1.0396648223703368E-2</c:v>
                </c:pt>
                <c:pt idx="4600">
                  <c:v>1.0091006903356852E-2</c:v>
                </c:pt>
                <c:pt idx="4601">
                  <c:v>9.9448145407689433E-3</c:v>
                </c:pt>
                <c:pt idx="4602">
                  <c:v>9.809217128740182E-3</c:v>
                </c:pt>
                <c:pt idx="4603">
                  <c:v>9.6030409907211216E-3</c:v>
                </c:pt>
                <c:pt idx="4604">
                  <c:v>9.3916417528165479E-3</c:v>
                </c:pt>
                <c:pt idx="4605">
                  <c:v>9.1962734005498394E-3</c:v>
                </c:pt>
                <c:pt idx="4606">
                  <c:v>9.0603201746263847E-3</c:v>
                </c:pt>
                <c:pt idx="4607">
                  <c:v>8.9385988519559527E-3</c:v>
                </c:pt>
                <c:pt idx="4608">
                  <c:v>8.8500739097876011E-3</c:v>
                </c:pt>
                <c:pt idx="4609">
                  <c:v>8.9723118651347765E-3</c:v>
                </c:pt>
                <c:pt idx="4610">
                  <c:v>8.9693322162196464E-3</c:v>
                </c:pt>
                <c:pt idx="4611">
                  <c:v>8.9414639354978061E-3</c:v>
                </c:pt>
                <c:pt idx="4612">
                  <c:v>8.7716323779974126E-3</c:v>
                </c:pt>
                <c:pt idx="4613">
                  <c:v>8.5842580224277289E-3</c:v>
                </c:pt>
                <c:pt idx="4614">
                  <c:v>8.3705662110662507E-3</c:v>
                </c:pt>
                <c:pt idx="4615">
                  <c:v>8.2665780070991703E-3</c:v>
                </c:pt>
                <c:pt idx="4616">
                  <c:v>8.1655846538226211E-3</c:v>
                </c:pt>
                <c:pt idx="4617">
                  <c:v>8.2675145799613933E-3</c:v>
                </c:pt>
                <c:pt idx="4618">
                  <c:v>8.3357143161854382E-3</c:v>
                </c:pt>
                <c:pt idx="4619">
                  <c:v>8.3707342893128943E-3</c:v>
                </c:pt>
                <c:pt idx="4620">
                  <c:v>8.3491577538264052E-3</c:v>
                </c:pt>
                <c:pt idx="4621">
                  <c:v>8.2809617927733087E-3</c:v>
                </c:pt>
                <c:pt idx="4622">
                  <c:v>8.2962769222570745E-3</c:v>
                </c:pt>
                <c:pt idx="4623">
                  <c:v>8.2769819242323843E-3</c:v>
                </c:pt>
                <c:pt idx="4624">
                  <c:v>8.2852909444423219E-3</c:v>
                </c:pt>
                <c:pt idx="4625">
                  <c:v>8.2242670542972442E-3</c:v>
                </c:pt>
                <c:pt idx="4626">
                  <c:v>8.1003049156828724E-3</c:v>
                </c:pt>
                <c:pt idx="4627">
                  <c:v>7.9261559593275452E-3</c:v>
                </c:pt>
                <c:pt idx="4628">
                  <c:v>7.7187126662689705E-3</c:v>
                </c:pt>
                <c:pt idx="4629">
                  <c:v>7.4662752769641752E-3</c:v>
                </c:pt>
                <c:pt idx="4630">
                  <c:v>7.1194529858823906E-3</c:v>
                </c:pt>
                <c:pt idx="4631">
                  <c:v>6.8353529377731329E-3</c:v>
                </c:pt>
                <c:pt idx="4632">
                  <c:v>6.6362033826037684E-3</c:v>
                </c:pt>
                <c:pt idx="4633">
                  <c:v>6.4759099215266503E-3</c:v>
                </c:pt>
                <c:pt idx="4634">
                  <c:v>6.2405585917786627E-3</c:v>
                </c:pt>
                <c:pt idx="4635">
                  <c:v>5.9561251307122462E-3</c:v>
                </c:pt>
                <c:pt idx="4636">
                  <c:v>5.5359269698046524E-3</c:v>
                </c:pt>
                <c:pt idx="4637">
                  <c:v>5.2278678712973673E-3</c:v>
                </c:pt>
                <c:pt idx="4638">
                  <c:v>4.9747296266491022E-3</c:v>
                </c:pt>
                <c:pt idx="4639">
                  <c:v>5.0844116072053499E-3</c:v>
                </c:pt>
                <c:pt idx="4640">
                  <c:v>5.1493133017106521E-3</c:v>
                </c:pt>
                <c:pt idx="4641">
                  <c:v>5.197663605708989E-3</c:v>
                </c:pt>
                <c:pt idx="4642">
                  <c:v>5.2120145192418831E-3</c:v>
                </c:pt>
                <c:pt idx="4643">
                  <c:v>5.3064552135178153E-3</c:v>
                </c:pt>
                <c:pt idx="4644">
                  <c:v>5.3796706686665237E-3</c:v>
                </c:pt>
                <c:pt idx="4645">
                  <c:v>5.6247253022063933E-3</c:v>
                </c:pt>
                <c:pt idx="4646">
                  <c:v>5.8197558905736021E-3</c:v>
                </c:pt>
                <c:pt idx="4647">
                  <c:v>6.2048991423893588E-3</c:v>
                </c:pt>
                <c:pt idx="4648">
                  <c:v>6.5152913892339917E-3</c:v>
                </c:pt>
                <c:pt idx="4649">
                  <c:v>6.7321286755206737E-3</c:v>
                </c:pt>
                <c:pt idx="4650">
                  <c:v>6.9215617439210122E-3</c:v>
                </c:pt>
                <c:pt idx="4651">
                  <c:v>7.0486319056715938E-3</c:v>
                </c:pt>
                <c:pt idx="4652">
                  <c:v>7.0741438305665502E-3</c:v>
                </c:pt>
                <c:pt idx="4653">
                  <c:v>7.0722420565034515E-3</c:v>
                </c:pt>
                <c:pt idx="4654">
                  <c:v>6.9368486178150238E-3</c:v>
                </c:pt>
                <c:pt idx="4655">
                  <c:v>6.7144155262977593E-3</c:v>
                </c:pt>
                <c:pt idx="4656">
                  <c:v>6.444961046992337E-3</c:v>
                </c:pt>
                <c:pt idx="4657">
                  <c:v>6.126293338308361E-3</c:v>
                </c:pt>
                <c:pt idx="4658">
                  <c:v>5.782261841486773E-3</c:v>
                </c:pt>
                <c:pt idx="4659">
                  <c:v>5.4652601593655932E-3</c:v>
                </c:pt>
                <c:pt idx="4660">
                  <c:v>5.1149598381725787E-3</c:v>
                </c:pt>
                <c:pt idx="4661">
                  <c:v>4.7577816372734918E-3</c:v>
                </c:pt>
                <c:pt idx="4662">
                  <c:v>4.6537356346360251E-3</c:v>
                </c:pt>
                <c:pt idx="4663">
                  <c:v>4.7370355543073471E-3</c:v>
                </c:pt>
                <c:pt idx="4664">
                  <c:v>4.858950584227752E-3</c:v>
                </c:pt>
                <c:pt idx="4665">
                  <c:v>5.0456549659189448E-3</c:v>
                </c:pt>
                <c:pt idx="4666">
                  <c:v>5.3452619860154529E-3</c:v>
                </c:pt>
                <c:pt idx="4667">
                  <c:v>5.7218131577588191E-3</c:v>
                </c:pt>
                <c:pt idx="4668">
                  <c:v>6.1296371571392984E-3</c:v>
                </c:pt>
                <c:pt idx="4669">
                  <c:v>6.5626783790399042E-3</c:v>
                </c:pt>
                <c:pt idx="4670">
                  <c:v>7.1576675576769588E-3</c:v>
                </c:pt>
                <c:pt idx="4671">
                  <c:v>7.7137962067962505E-3</c:v>
                </c:pt>
                <c:pt idx="4672">
                  <c:v>8.2518862815615691E-3</c:v>
                </c:pt>
                <c:pt idx="4673">
                  <c:v>8.7768867367622391E-3</c:v>
                </c:pt>
                <c:pt idx="4674">
                  <c:v>9.2265496113170201E-3</c:v>
                </c:pt>
                <c:pt idx="4675">
                  <c:v>9.5929229787803244E-3</c:v>
                </c:pt>
                <c:pt idx="4676">
                  <c:v>9.8796433981443062E-3</c:v>
                </c:pt>
                <c:pt idx="4677">
                  <c:v>1.0303803343961927E-2</c:v>
                </c:pt>
                <c:pt idx="4678">
                  <c:v>1.0777975115522405E-2</c:v>
                </c:pt>
                <c:pt idx="4679">
                  <c:v>1.1104498034271238E-2</c:v>
                </c:pt>
                <c:pt idx="4680">
                  <c:v>1.1299851383100794E-2</c:v>
                </c:pt>
                <c:pt idx="4681">
                  <c:v>1.1429759295920824E-2</c:v>
                </c:pt>
                <c:pt idx="4682">
                  <c:v>1.1693512919169549E-2</c:v>
                </c:pt>
                <c:pt idx="4683">
                  <c:v>1.1831523210718262E-2</c:v>
                </c:pt>
                <c:pt idx="4684">
                  <c:v>1.2125174133188203E-2</c:v>
                </c:pt>
                <c:pt idx="4685">
                  <c:v>1.2851920943238764E-2</c:v>
                </c:pt>
                <c:pt idx="4686">
                  <c:v>1.3448449088370765E-2</c:v>
                </c:pt>
                <c:pt idx="4687">
                  <c:v>1.3888933390653075E-2</c:v>
                </c:pt>
                <c:pt idx="4688">
                  <c:v>1.4277055993034216E-2</c:v>
                </c:pt>
                <c:pt idx="4689">
                  <c:v>1.4865904444947163E-2</c:v>
                </c:pt>
                <c:pt idx="4690">
                  <c:v>1.5280129226360932E-2</c:v>
                </c:pt>
                <c:pt idx="4691">
                  <c:v>1.5648895434041219E-2</c:v>
                </c:pt>
                <c:pt idx="4692">
                  <c:v>1.6260093699993258E-2</c:v>
                </c:pt>
                <c:pt idx="4693">
                  <c:v>1.6738208742253641E-2</c:v>
                </c:pt>
                <c:pt idx="4694">
                  <c:v>1.7369937748345034E-2</c:v>
                </c:pt>
                <c:pt idx="4695">
                  <c:v>1.7929724530102272E-2</c:v>
                </c:pt>
                <c:pt idx="4696">
                  <c:v>1.8450825846787734E-2</c:v>
                </c:pt>
                <c:pt idx="4697">
                  <c:v>1.8816266699434276E-2</c:v>
                </c:pt>
                <c:pt idx="4698">
                  <c:v>1.9024142536660914E-2</c:v>
                </c:pt>
                <c:pt idx="4699">
                  <c:v>1.8903459059254571E-2</c:v>
                </c:pt>
                <c:pt idx="4700">
                  <c:v>1.8692220268597615E-2</c:v>
                </c:pt>
                <c:pt idx="4701">
                  <c:v>1.8245272446993793E-2</c:v>
                </c:pt>
                <c:pt idx="4702">
                  <c:v>1.7678959614494075E-2</c:v>
                </c:pt>
                <c:pt idx="4703">
                  <c:v>1.7010746691973319E-2</c:v>
                </c:pt>
                <c:pt idx="4704">
                  <c:v>1.6151708120039934E-2</c:v>
                </c:pt>
                <c:pt idx="4705">
                  <c:v>1.5165158137776337E-2</c:v>
                </c:pt>
                <c:pt idx="4706">
                  <c:v>1.4032893197557258E-2</c:v>
                </c:pt>
                <c:pt idx="4707">
                  <c:v>1.3182035733305711E-2</c:v>
                </c:pt>
                <c:pt idx="4708">
                  <c:v>1.246895179253847E-2</c:v>
                </c:pt>
                <c:pt idx="4709">
                  <c:v>1.1777785222666669E-2</c:v>
                </c:pt>
                <c:pt idx="4710">
                  <c:v>1.1120684743291441E-2</c:v>
                </c:pt>
                <c:pt idx="4711">
                  <c:v>1.0555090087693949E-2</c:v>
                </c:pt>
                <c:pt idx="4712">
                  <c:v>1.0282395789335144E-2</c:v>
                </c:pt>
                <c:pt idx="4713">
                  <c:v>1.0182575335862153E-2</c:v>
                </c:pt>
                <c:pt idx="4714">
                  <c:v>1.0267678862761887E-2</c:v>
                </c:pt>
                <c:pt idx="4715">
                  <c:v>1.0821253048421476E-2</c:v>
                </c:pt>
                <c:pt idx="4716">
                  <c:v>1.1390360544570211E-2</c:v>
                </c:pt>
                <c:pt idx="4717">
                  <c:v>1.2157279546237762E-2</c:v>
                </c:pt>
                <c:pt idx="4718">
                  <c:v>1.285512816916211E-2</c:v>
                </c:pt>
                <c:pt idx="4719">
                  <c:v>1.3653241869018222E-2</c:v>
                </c:pt>
                <c:pt idx="4720">
                  <c:v>1.4511705737436931E-2</c:v>
                </c:pt>
                <c:pt idx="4721">
                  <c:v>1.5470236038529848E-2</c:v>
                </c:pt>
                <c:pt idx="4722">
                  <c:v>1.6207709903572877E-2</c:v>
                </c:pt>
                <c:pt idx="4723">
                  <c:v>1.6954236001749813E-2</c:v>
                </c:pt>
                <c:pt idx="4724">
                  <c:v>1.7382359433615185E-2</c:v>
                </c:pt>
                <c:pt idx="4725">
                  <c:v>1.7555743530806509E-2</c:v>
                </c:pt>
                <c:pt idx="4726">
                  <c:v>1.746341211979004E-2</c:v>
                </c:pt>
                <c:pt idx="4727">
                  <c:v>1.7191861414103331E-2</c:v>
                </c:pt>
                <c:pt idx="4728">
                  <c:v>1.672549525128799E-2</c:v>
                </c:pt>
                <c:pt idx="4729">
                  <c:v>1.6464526892541784E-2</c:v>
                </c:pt>
                <c:pt idx="4730">
                  <c:v>1.6124790299666392E-2</c:v>
                </c:pt>
                <c:pt idx="4731">
                  <c:v>1.5933268091064851E-2</c:v>
                </c:pt>
                <c:pt idx="4732">
                  <c:v>1.5642779916937591E-2</c:v>
                </c:pt>
                <c:pt idx="4733">
                  <c:v>1.5363635484087382E-2</c:v>
                </c:pt>
                <c:pt idx="4734">
                  <c:v>1.5143717808523201E-2</c:v>
                </c:pt>
                <c:pt idx="4735">
                  <c:v>1.5079454543446237E-2</c:v>
                </c:pt>
                <c:pt idx="4736">
                  <c:v>1.4914845809734642E-2</c:v>
                </c:pt>
                <c:pt idx="4737">
                  <c:v>1.4823358853330082E-2</c:v>
                </c:pt>
                <c:pt idx="4738">
                  <c:v>1.4707025713620918E-2</c:v>
                </c:pt>
                <c:pt idx="4739">
                  <c:v>1.4752879974667375E-2</c:v>
                </c:pt>
                <c:pt idx="4740">
                  <c:v>1.4704161279269131E-2</c:v>
                </c:pt>
                <c:pt idx="4741">
                  <c:v>1.4548512553206348E-2</c:v>
                </c:pt>
                <c:pt idx="4742">
                  <c:v>1.4357994409979516E-2</c:v>
                </c:pt>
                <c:pt idx="4743">
                  <c:v>1.4156458668439479E-2</c:v>
                </c:pt>
                <c:pt idx="4744">
                  <c:v>1.392917303852779E-2</c:v>
                </c:pt>
                <c:pt idx="4745">
                  <c:v>1.386373641832349E-2</c:v>
                </c:pt>
                <c:pt idx="4746">
                  <c:v>1.3663227475146929E-2</c:v>
                </c:pt>
                <c:pt idx="4747">
                  <c:v>1.3624992377203497E-2</c:v>
                </c:pt>
                <c:pt idx="4748">
                  <c:v>1.3439859083385373E-2</c:v>
                </c:pt>
                <c:pt idx="4749">
                  <c:v>1.3230155209524707E-2</c:v>
                </c:pt>
                <c:pt idx="4750">
                  <c:v>1.317334959776364E-2</c:v>
                </c:pt>
                <c:pt idx="4751">
                  <c:v>1.3258543335497988E-2</c:v>
                </c:pt>
                <c:pt idx="4752">
                  <c:v>1.3231032975226256E-2</c:v>
                </c:pt>
                <c:pt idx="4753">
                  <c:v>1.3218138350415489E-2</c:v>
                </c:pt>
                <c:pt idx="4754">
                  <c:v>1.3131900959324873E-2</c:v>
                </c:pt>
                <c:pt idx="4755">
                  <c:v>1.2916965506117383E-2</c:v>
                </c:pt>
                <c:pt idx="4756">
                  <c:v>1.2570283988132274E-2</c:v>
                </c:pt>
                <c:pt idx="4757">
                  <c:v>1.2229215222270809E-2</c:v>
                </c:pt>
                <c:pt idx="4758">
                  <c:v>1.1751712755489219E-2</c:v>
                </c:pt>
                <c:pt idx="4759">
                  <c:v>1.1394010861942059E-2</c:v>
                </c:pt>
                <c:pt idx="4760">
                  <c:v>1.0905205914135957E-2</c:v>
                </c:pt>
                <c:pt idx="4761">
                  <c:v>1.0470684797959862E-2</c:v>
                </c:pt>
                <c:pt idx="4762">
                  <c:v>1.0028419412605547E-2</c:v>
                </c:pt>
                <c:pt idx="4763">
                  <c:v>9.6456787826393886E-3</c:v>
                </c:pt>
                <c:pt idx="4764">
                  <c:v>9.1275699977486045E-3</c:v>
                </c:pt>
                <c:pt idx="4765">
                  <c:v>8.7568475541964282E-3</c:v>
                </c:pt>
                <c:pt idx="4766">
                  <c:v>8.371916438307125E-3</c:v>
                </c:pt>
                <c:pt idx="4767">
                  <c:v>8.0832573078619425E-3</c:v>
                </c:pt>
                <c:pt idx="4768">
                  <c:v>7.7478172095505459E-3</c:v>
                </c:pt>
                <c:pt idx="4769">
                  <c:v>7.4785605642297822E-3</c:v>
                </c:pt>
                <c:pt idx="4770">
                  <c:v>7.1452642208316517E-3</c:v>
                </c:pt>
                <c:pt idx="4771">
                  <c:v>6.8057066824628162E-3</c:v>
                </c:pt>
                <c:pt idx="4772">
                  <c:v>6.3976947377432161E-3</c:v>
                </c:pt>
                <c:pt idx="4773">
                  <c:v>5.9206940200304502E-3</c:v>
                </c:pt>
                <c:pt idx="4774">
                  <c:v>5.5769026128443307E-3</c:v>
                </c:pt>
                <c:pt idx="4775">
                  <c:v>5.4391722019956623E-3</c:v>
                </c:pt>
                <c:pt idx="4776">
                  <c:v>5.2500387494989094E-3</c:v>
                </c:pt>
                <c:pt idx="4777">
                  <c:v>5.2515853723218717E-3</c:v>
                </c:pt>
                <c:pt idx="4778">
                  <c:v>5.3132100533767402E-3</c:v>
                </c:pt>
                <c:pt idx="4779">
                  <c:v>5.2757070662430745E-3</c:v>
                </c:pt>
                <c:pt idx="4780">
                  <c:v>5.3520088122340206E-3</c:v>
                </c:pt>
                <c:pt idx="4781">
                  <c:v>5.5862942280635874E-3</c:v>
                </c:pt>
                <c:pt idx="4782">
                  <c:v>5.8843467355238271E-3</c:v>
                </c:pt>
                <c:pt idx="4783">
                  <c:v>6.1750737877779328E-3</c:v>
                </c:pt>
                <c:pt idx="4784">
                  <c:v>6.4059538692786914E-3</c:v>
                </c:pt>
                <c:pt idx="4785">
                  <c:v>6.5464744970307144E-3</c:v>
                </c:pt>
                <c:pt idx="4786">
                  <c:v>6.6265510219573262E-3</c:v>
                </c:pt>
                <c:pt idx="4787">
                  <c:v>6.9467030204914465E-3</c:v>
                </c:pt>
                <c:pt idx="4788">
                  <c:v>7.1948682653213188E-3</c:v>
                </c:pt>
                <c:pt idx="4789">
                  <c:v>7.5857423275821805E-3</c:v>
                </c:pt>
                <c:pt idx="4790">
                  <c:v>8.0894974280595073E-3</c:v>
                </c:pt>
                <c:pt idx="4791">
                  <c:v>8.7032235444535755E-3</c:v>
                </c:pt>
                <c:pt idx="4792">
                  <c:v>9.2496364457766798E-3</c:v>
                </c:pt>
                <c:pt idx="4793">
                  <c:v>9.742647038656925E-3</c:v>
                </c:pt>
                <c:pt idx="4794">
                  <c:v>1.0149495714041149E-2</c:v>
                </c:pt>
                <c:pt idx="4795">
                  <c:v>1.0525827053725468E-2</c:v>
                </c:pt>
                <c:pt idx="4796">
                  <c:v>1.0972781172051126E-2</c:v>
                </c:pt>
                <c:pt idx="4797">
                  <c:v>1.1329584898022622E-2</c:v>
                </c:pt>
                <c:pt idx="4798">
                  <c:v>1.157315546777503E-2</c:v>
                </c:pt>
                <c:pt idx="4799">
                  <c:v>1.1812997698568837E-2</c:v>
                </c:pt>
                <c:pt idx="4800">
                  <c:v>1.1952335567577341E-2</c:v>
                </c:pt>
                <c:pt idx="4801">
                  <c:v>1.2023136374631382E-2</c:v>
                </c:pt>
                <c:pt idx="4802">
                  <c:v>1.2028764468535581E-2</c:v>
                </c:pt>
                <c:pt idx="4803">
                  <c:v>1.1988032191621905E-2</c:v>
                </c:pt>
                <c:pt idx="4804">
                  <c:v>1.1859980287053675E-2</c:v>
                </c:pt>
                <c:pt idx="4805">
                  <c:v>1.1702871568542678E-2</c:v>
                </c:pt>
                <c:pt idx="4806">
                  <c:v>1.1478552872035619E-2</c:v>
                </c:pt>
                <c:pt idx="4807">
                  <c:v>1.1329302039813241E-2</c:v>
                </c:pt>
                <c:pt idx="4808">
                  <c:v>1.1240629504052843E-2</c:v>
                </c:pt>
                <c:pt idx="4809">
                  <c:v>1.1127222438196676E-2</c:v>
                </c:pt>
                <c:pt idx="4810">
                  <c:v>1.0903246432115758E-2</c:v>
                </c:pt>
                <c:pt idx="4811">
                  <c:v>1.0836694500676472E-2</c:v>
                </c:pt>
                <c:pt idx="4812">
                  <c:v>1.0756038401687269E-2</c:v>
                </c:pt>
                <c:pt idx="4813">
                  <c:v>1.066283652697776E-2</c:v>
                </c:pt>
                <c:pt idx="4814">
                  <c:v>1.0504633253874367E-2</c:v>
                </c:pt>
                <c:pt idx="4815">
                  <c:v>1.0214171570752105E-2</c:v>
                </c:pt>
                <c:pt idx="4816">
                  <c:v>9.8499312687067124E-3</c:v>
                </c:pt>
                <c:pt idx="4817">
                  <c:v>9.5651633329296142E-3</c:v>
                </c:pt>
                <c:pt idx="4818">
                  <c:v>9.251292714292968E-3</c:v>
                </c:pt>
                <c:pt idx="4819">
                  <c:v>9.0128975951804836E-3</c:v>
                </c:pt>
                <c:pt idx="4820">
                  <c:v>8.8510424172128128E-3</c:v>
                </c:pt>
                <c:pt idx="4821">
                  <c:v>8.6646813639547869E-3</c:v>
                </c:pt>
                <c:pt idx="4822">
                  <c:v>8.4045795589321477E-3</c:v>
                </c:pt>
                <c:pt idx="4823">
                  <c:v>8.0812271785285668E-3</c:v>
                </c:pt>
                <c:pt idx="4824">
                  <c:v>7.7159168958942891E-3</c:v>
                </c:pt>
                <c:pt idx="4825">
                  <c:v>7.2988976988204958E-3</c:v>
                </c:pt>
                <c:pt idx="4826">
                  <c:v>6.9928297475692486E-3</c:v>
                </c:pt>
                <c:pt idx="4827">
                  <c:v>6.6677966892953917E-3</c:v>
                </c:pt>
                <c:pt idx="4828">
                  <c:v>6.2903534970654611E-3</c:v>
                </c:pt>
                <c:pt idx="4829">
                  <c:v>5.9731279864492027E-3</c:v>
                </c:pt>
                <c:pt idx="4830">
                  <c:v>5.6296631190289482E-3</c:v>
                </c:pt>
                <c:pt idx="4831">
                  <c:v>5.2491540413075171E-3</c:v>
                </c:pt>
                <c:pt idx="4832">
                  <c:v>4.9010768822382528E-3</c:v>
                </c:pt>
                <c:pt idx="4833">
                  <c:v>4.579730434001718E-3</c:v>
                </c:pt>
                <c:pt idx="4834">
                  <c:v>4.2753470866826026E-3</c:v>
                </c:pt>
                <c:pt idx="4835">
                  <c:v>3.9658548307298343E-3</c:v>
                </c:pt>
                <c:pt idx="4836">
                  <c:v>3.7306842211181474E-3</c:v>
                </c:pt>
                <c:pt idx="4837">
                  <c:v>3.6061190916324695E-3</c:v>
                </c:pt>
                <c:pt idx="4838">
                  <c:v>3.6806271552175104E-3</c:v>
                </c:pt>
                <c:pt idx="4839">
                  <c:v>3.962267400953636E-3</c:v>
                </c:pt>
                <c:pt idx="4840">
                  <c:v>4.3582879583091332E-3</c:v>
                </c:pt>
                <c:pt idx="4841">
                  <c:v>4.7379521065951486E-3</c:v>
                </c:pt>
                <c:pt idx="4842">
                  <c:v>5.0648918285051223E-3</c:v>
                </c:pt>
                <c:pt idx="4843">
                  <c:v>5.629939427203693E-3</c:v>
                </c:pt>
                <c:pt idx="4844">
                  <c:v>6.0808771805556322E-3</c:v>
                </c:pt>
                <c:pt idx="4845">
                  <c:v>6.4404666785660312E-3</c:v>
                </c:pt>
                <c:pt idx="4846">
                  <c:v>6.8273730747754145E-3</c:v>
                </c:pt>
                <c:pt idx="4847">
                  <c:v>7.3151835880507724E-3</c:v>
                </c:pt>
                <c:pt idx="4848">
                  <c:v>7.60049092213857E-3</c:v>
                </c:pt>
                <c:pt idx="4849">
                  <c:v>7.8668197564524759E-3</c:v>
                </c:pt>
                <c:pt idx="4850">
                  <c:v>8.023225841632977E-3</c:v>
                </c:pt>
                <c:pt idx="4851">
                  <c:v>8.2483249835727471E-3</c:v>
                </c:pt>
                <c:pt idx="4852">
                  <c:v>8.4120014666580339E-3</c:v>
                </c:pt>
                <c:pt idx="4853">
                  <c:v>8.5543497602056928E-3</c:v>
                </c:pt>
                <c:pt idx="4854">
                  <c:v>8.7828386511869545E-3</c:v>
                </c:pt>
                <c:pt idx="4855">
                  <c:v>8.984030849530705E-3</c:v>
                </c:pt>
                <c:pt idx="4856">
                  <c:v>9.1094400370558964E-3</c:v>
                </c:pt>
                <c:pt idx="4857">
                  <c:v>9.1704340072846606E-3</c:v>
                </c:pt>
                <c:pt idx="4858">
                  <c:v>9.1683763926754102E-3</c:v>
                </c:pt>
                <c:pt idx="4859">
                  <c:v>9.0787853475692622E-3</c:v>
                </c:pt>
                <c:pt idx="4860">
                  <c:v>8.9094658366668331E-3</c:v>
                </c:pt>
                <c:pt idx="4861">
                  <c:v>8.7074167379200471E-3</c:v>
                </c:pt>
                <c:pt idx="4862">
                  <c:v>8.6432673457784246E-3</c:v>
                </c:pt>
                <c:pt idx="4863">
                  <c:v>8.522283639552623E-3</c:v>
                </c:pt>
                <c:pt idx="4864">
                  <c:v>8.3858301230998761E-3</c:v>
                </c:pt>
                <c:pt idx="4865">
                  <c:v>8.2167812372825645E-3</c:v>
                </c:pt>
                <c:pt idx="4866">
                  <c:v>7.9939760532992156E-3</c:v>
                </c:pt>
                <c:pt idx="4867">
                  <c:v>7.760584739721489E-3</c:v>
                </c:pt>
                <c:pt idx="4868">
                  <c:v>7.5243797711442321E-3</c:v>
                </c:pt>
                <c:pt idx="4869">
                  <c:v>7.2968953350875075E-3</c:v>
                </c:pt>
                <c:pt idx="4870">
                  <c:v>7.1000418705735504E-3</c:v>
                </c:pt>
                <c:pt idx="4871">
                  <c:v>6.8273567109163125E-3</c:v>
                </c:pt>
                <c:pt idx="4872">
                  <c:v>6.4645674928580383E-3</c:v>
                </c:pt>
                <c:pt idx="4873">
                  <c:v>6.3274868777751393E-3</c:v>
                </c:pt>
                <c:pt idx="4874">
                  <c:v>6.1819327360821226E-3</c:v>
                </c:pt>
                <c:pt idx="4875">
                  <c:v>5.9961313611708762E-3</c:v>
                </c:pt>
                <c:pt idx="4876">
                  <c:v>5.9380909377945599E-3</c:v>
                </c:pt>
                <c:pt idx="4877">
                  <c:v>6.0582428925533092E-3</c:v>
                </c:pt>
                <c:pt idx="4878">
                  <c:v>6.1027975096109742E-3</c:v>
                </c:pt>
                <c:pt idx="4879">
                  <c:v>6.179566102078417E-3</c:v>
                </c:pt>
                <c:pt idx="4880">
                  <c:v>6.2281599373871475E-3</c:v>
                </c:pt>
                <c:pt idx="4881">
                  <c:v>6.376391368982855E-3</c:v>
                </c:pt>
                <c:pt idx="4882">
                  <c:v>6.462628357347751E-3</c:v>
                </c:pt>
                <c:pt idx="4883">
                  <c:v>6.5203647783492044E-3</c:v>
                </c:pt>
                <c:pt idx="4884">
                  <c:v>6.7009198012783515E-3</c:v>
                </c:pt>
                <c:pt idx="4885">
                  <c:v>6.8455736936196745E-3</c:v>
                </c:pt>
                <c:pt idx="4886">
                  <c:v>6.9265267654743919E-3</c:v>
                </c:pt>
                <c:pt idx="4887">
                  <c:v>7.01830559641847E-3</c:v>
                </c:pt>
                <c:pt idx="4888">
                  <c:v>7.2858324418197768E-3</c:v>
                </c:pt>
                <c:pt idx="4889">
                  <c:v>7.4517564380747929E-3</c:v>
                </c:pt>
                <c:pt idx="4890">
                  <c:v>7.529326796736598E-3</c:v>
                </c:pt>
                <c:pt idx="4891">
                  <c:v>7.5898101516868018E-3</c:v>
                </c:pt>
                <c:pt idx="4892">
                  <c:v>7.7317392543090916E-3</c:v>
                </c:pt>
                <c:pt idx="4893">
                  <c:v>7.8142436952879663E-3</c:v>
                </c:pt>
                <c:pt idx="4894">
                  <c:v>7.9250335482071478E-3</c:v>
                </c:pt>
                <c:pt idx="4895">
                  <c:v>8.1062214666265172E-3</c:v>
                </c:pt>
                <c:pt idx="4896">
                  <c:v>8.31538627327774E-3</c:v>
                </c:pt>
                <c:pt idx="4897">
                  <c:v>8.5141157753731191E-3</c:v>
                </c:pt>
                <c:pt idx="4898">
                  <c:v>8.6954783856568775E-3</c:v>
                </c:pt>
                <c:pt idx="4899">
                  <c:v>8.8232139166870647E-3</c:v>
                </c:pt>
                <c:pt idx="4900">
                  <c:v>9.0026924065876538E-3</c:v>
                </c:pt>
                <c:pt idx="4901">
                  <c:v>9.103394568248064E-3</c:v>
                </c:pt>
                <c:pt idx="4902">
                  <c:v>9.1822528190028882E-3</c:v>
                </c:pt>
                <c:pt idx="4903">
                  <c:v>9.2016315939059696E-3</c:v>
                </c:pt>
                <c:pt idx="4904">
                  <c:v>9.2664839605845727E-3</c:v>
                </c:pt>
                <c:pt idx="4905">
                  <c:v>9.2997872954740622E-3</c:v>
                </c:pt>
                <c:pt idx="4906">
                  <c:v>9.3275754689000328E-3</c:v>
                </c:pt>
                <c:pt idx="4907">
                  <c:v>9.3279379258515774E-3</c:v>
                </c:pt>
                <c:pt idx="4908">
                  <c:v>9.2313278085891393E-3</c:v>
                </c:pt>
                <c:pt idx="4909">
                  <c:v>9.1323317970273578E-3</c:v>
                </c:pt>
                <c:pt idx="4910">
                  <c:v>9.0065812410200889E-3</c:v>
                </c:pt>
                <c:pt idx="4911">
                  <c:v>8.988418298428719E-3</c:v>
                </c:pt>
                <c:pt idx="4912">
                  <c:v>8.8821207510897913E-3</c:v>
                </c:pt>
                <c:pt idx="4913">
                  <c:v>8.7791394441260086E-3</c:v>
                </c:pt>
                <c:pt idx="4914">
                  <c:v>8.9647737362959778E-3</c:v>
                </c:pt>
                <c:pt idx="4915">
                  <c:v>9.3289899140566179E-3</c:v>
                </c:pt>
                <c:pt idx="4916">
                  <c:v>9.581442393041855E-3</c:v>
                </c:pt>
                <c:pt idx="4917">
                  <c:v>9.9684049911383087E-3</c:v>
                </c:pt>
                <c:pt idx="4918">
                  <c:v>1.0415017728249832E-2</c:v>
                </c:pt>
                <c:pt idx="4919">
                  <c:v>1.0988384514727289E-2</c:v>
                </c:pt>
                <c:pt idx="4920">
                  <c:v>1.1386805149392535E-2</c:v>
                </c:pt>
                <c:pt idx="4921">
                  <c:v>1.1652317361818643E-2</c:v>
                </c:pt>
                <c:pt idx="4922">
                  <c:v>1.1939544760872611E-2</c:v>
                </c:pt>
                <c:pt idx="4923">
                  <c:v>1.2356206704771803E-2</c:v>
                </c:pt>
                <c:pt idx="4924">
                  <c:v>1.269911083009727E-2</c:v>
                </c:pt>
                <c:pt idx="4925">
                  <c:v>1.3117462436884816E-2</c:v>
                </c:pt>
                <c:pt idx="4926">
                  <c:v>1.3486448769711929E-2</c:v>
                </c:pt>
                <c:pt idx="4927">
                  <c:v>1.3706454172304396E-2</c:v>
                </c:pt>
                <c:pt idx="4928">
                  <c:v>1.3969120190219422E-2</c:v>
                </c:pt>
                <c:pt idx="4929">
                  <c:v>1.412443217485131E-2</c:v>
                </c:pt>
                <c:pt idx="4930">
                  <c:v>1.4567145066647382E-2</c:v>
                </c:pt>
                <c:pt idx="4931">
                  <c:v>1.5088433827941212E-2</c:v>
                </c:pt>
                <c:pt idx="4932">
                  <c:v>1.5516961324090466E-2</c:v>
                </c:pt>
                <c:pt idx="4933">
                  <c:v>1.5837076543432315E-2</c:v>
                </c:pt>
                <c:pt idx="4934">
                  <c:v>1.6327438993230314E-2</c:v>
                </c:pt>
                <c:pt idx="4935">
                  <c:v>1.6750993996342313E-2</c:v>
                </c:pt>
                <c:pt idx="4936">
                  <c:v>1.7092544305931278E-2</c:v>
                </c:pt>
                <c:pt idx="4937">
                  <c:v>1.7645521758671283E-2</c:v>
                </c:pt>
                <c:pt idx="4938">
                  <c:v>1.7973350679546172E-2</c:v>
                </c:pt>
                <c:pt idx="4939">
                  <c:v>1.812766388107924E-2</c:v>
                </c:pt>
                <c:pt idx="4940">
                  <c:v>1.8217177935729988E-2</c:v>
                </c:pt>
                <c:pt idx="4941">
                  <c:v>1.8182713831877723E-2</c:v>
                </c:pt>
                <c:pt idx="4942">
                  <c:v>1.8007745894461299E-2</c:v>
                </c:pt>
                <c:pt idx="4943">
                  <c:v>1.7727525692533368E-2</c:v>
                </c:pt>
                <c:pt idx="4944">
                  <c:v>1.7587613078845425E-2</c:v>
                </c:pt>
                <c:pt idx="4945">
                  <c:v>1.7481399291200347E-2</c:v>
                </c:pt>
                <c:pt idx="4946">
                  <c:v>1.727809688746228E-2</c:v>
                </c:pt>
                <c:pt idx="4947">
                  <c:v>1.71397414159862E-2</c:v>
                </c:pt>
                <c:pt idx="4948">
                  <c:v>1.7098841608585724E-2</c:v>
                </c:pt>
                <c:pt idx="4949">
                  <c:v>1.712398861078715E-2</c:v>
                </c:pt>
                <c:pt idx="4950">
                  <c:v>1.7177696774519548E-2</c:v>
                </c:pt>
                <c:pt idx="4951">
                  <c:v>1.7076437123448716E-2</c:v>
                </c:pt>
                <c:pt idx="4952">
                  <c:v>1.7051031115673347E-2</c:v>
                </c:pt>
                <c:pt idx="4953">
                  <c:v>1.70550896438437E-2</c:v>
                </c:pt>
                <c:pt idx="4954">
                  <c:v>1.6891545474346747E-2</c:v>
                </c:pt>
                <c:pt idx="4955">
                  <c:v>1.6665609715668731E-2</c:v>
                </c:pt>
                <c:pt idx="4956">
                  <c:v>1.6404190699680361E-2</c:v>
                </c:pt>
                <c:pt idx="4957">
                  <c:v>1.6097953145929683E-2</c:v>
                </c:pt>
                <c:pt idx="4958">
                  <c:v>1.580540159374327E-2</c:v>
                </c:pt>
                <c:pt idx="4959">
                  <c:v>1.5408961225036127E-2</c:v>
                </c:pt>
                <c:pt idx="4960">
                  <c:v>1.529953610524599E-2</c:v>
                </c:pt>
                <c:pt idx="4961">
                  <c:v>1.5222114051397435E-2</c:v>
                </c:pt>
                <c:pt idx="4962">
                  <c:v>1.5202157146118398E-2</c:v>
                </c:pt>
                <c:pt idx="4963">
                  <c:v>1.5660360411676448E-2</c:v>
                </c:pt>
                <c:pt idx="4964">
                  <c:v>1.62097488567573E-2</c:v>
                </c:pt>
                <c:pt idx="4965">
                  <c:v>1.6907951995251969E-2</c:v>
                </c:pt>
                <c:pt idx="4966">
                  <c:v>1.7400594511393676E-2</c:v>
                </c:pt>
                <c:pt idx="4967">
                  <c:v>1.7976722452929632E-2</c:v>
                </c:pt>
                <c:pt idx="4968">
                  <c:v>1.850839605553125E-2</c:v>
                </c:pt>
                <c:pt idx="4969">
                  <c:v>1.8850769041070539E-2</c:v>
                </c:pt>
                <c:pt idx="4970">
                  <c:v>1.926425330379937E-2</c:v>
                </c:pt>
                <c:pt idx="4971">
                  <c:v>1.9626534536881072E-2</c:v>
                </c:pt>
                <c:pt idx="4972">
                  <c:v>1.9871711025974809E-2</c:v>
                </c:pt>
                <c:pt idx="4973">
                  <c:v>1.9975402876955969E-2</c:v>
                </c:pt>
                <c:pt idx="4974">
                  <c:v>1.9979377334327635E-2</c:v>
                </c:pt>
                <c:pt idx="4975">
                  <c:v>1.9853823106918106E-2</c:v>
                </c:pt>
                <c:pt idx="4976">
                  <c:v>1.9687548414852662E-2</c:v>
                </c:pt>
                <c:pt idx="4977">
                  <c:v>1.9671406761244192E-2</c:v>
                </c:pt>
                <c:pt idx="4978">
                  <c:v>1.9718897829276834E-2</c:v>
                </c:pt>
                <c:pt idx="4979">
                  <c:v>1.9592983790245697E-2</c:v>
                </c:pt>
                <c:pt idx="4980">
                  <c:v>1.9773541058196047E-2</c:v>
                </c:pt>
                <c:pt idx="4981">
                  <c:v>1.9763742719084806E-2</c:v>
                </c:pt>
                <c:pt idx="4982">
                  <c:v>1.9777918166540225E-2</c:v>
                </c:pt>
                <c:pt idx="4983">
                  <c:v>1.9666876331707883E-2</c:v>
                </c:pt>
                <c:pt idx="4984">
                  <c:v>1.9486048271206771E-2</c:v>
                </c:pt>
                <c:pt idx="4985">
                  <c:v>1.9183941617522456E-2</c:v>
                </c:pt>
                <c:pt idx="4986">
                  <c:v>1.8893682063021697E-2</c:v>
                </c:pt>
                <c:pt idx="4987">
                  <c:v>1.8556274432338062E-2</c:v>
                </c:pt>
                <c:pt idx="4988">
                  <c:v>1.8202780980750184E-2</c:v>
                </c:pt>
                <c:pt idx="4989">
                  <c:v>1.7822790635857708E-2</c:v>
                </c:pt>
                <c:pt idx="4990">
                  <c:v>1.751301078402126E-2</c:v>
                </c:pt>
                <c:pt idx="4991">
                  <c:v>1.7232143860547978E-2</c:v>
                </c:pt>
                <c:pt idx="4992">
                  <c:v>1.6929960656435011E-2</c:v>
                </c:pt>
                <c:pt idx="4993">
                  <c:v>1.8254040740805468E-2</c:v>
                </c:pt>
                <c:pt idx="4994">
                  <c:v>1.9260354403014809E-2</c:v>
                </c:pt>
                <c:pt idx="4995">
                  <c:v>2.0290858140974876E-2</c:v>
                </c:pt>
                <c:pt idx="4996">
                  <c:v>2.126257162712393E-2</c:v>
                </c:pt>
                <c:pt idx="4997">
                  <c:v>2.2130747028691583E-2</c:v>
                </c:pt>
                <c:pt idx="4998">
                  <c:v>2.2995989373970554E-2</c:v>
                </c:pt>
                <c:pt idx="4999">
                  <c:v>2.3571933434427705E-2</c:v>
                </c:pt>
                <c:pt idx="5000">
                  <c:v>2.4036204248499105E-2</c:v>
                </c:pt>
                <c:pt idx="5001">
                  <c:v>2.5051684925859172E-2</c:v>
                </c:pt>
                <c:pt idx="5002">
                  <c:v>2.5766150414846006E-2</c:v>
                </c:pt>
                <c:pt idx="5003">
                  <c:v>2.6168116122911846E-2</c:v>
                </c:pt>
                <c:pt idx="5004">
                  <c:v>2.6417571874083629E-2</c:v>
                </c:pt>
                <c:pt idx="5005">
                  <c:v>2.6975628069169443E-2</c:v>
                </c:pt>
                <c:pt idx="5006">
                  <c:v>2.7420290799382796E-2</c:v>
                </c:pt>
                <c:pt idx="5007">
                  <c:v>2.8036907007187993E-2</c:v>
                </c:pt>
                <c:pt idx="5008">
                  <c:v>2.8393566597595454E-2</c:v>
                </c:pt>
                <c:pt idx="5009">
                  <c:v>2.8499173165353039E-2</c:v>
                </c:pt>
                <c:pt idx="5010">
                  <c:v>2.8896201870989898E-2</c:v>
                </c:pt>
                <c:pt idx="5011">
                  <c:v>2.9016923425698785E-2</c:v>
                </c:pt>
                <c:pt idx="5012">
                  <c:v>2.9012370737912092E-2</c:v>
                </c:pt>
                <c:pt idx="5013">
                  <c:v>2.8795558070593544E-2</c:v>
                </c:pt>
                <c:pt idx="5014">
                  <c:v>2.8427312441824653E-2</c:v>
                </c:pt>
                <c:pt idx="5015">
                  <c:v>2.797773842718013E-2</c:v>
                </c:pt>
                <c:pt idx="5016">
                  <c:v>2.736417679354939E-2</c:v>
                </c:pt>
                <c:pt idx="5017">
                  <c:v>2.6444709107825298E-2</c:v>
                </c:pt>
                <c:pt idx="5018">
                  <c:v>2.5489318267724551E-2</c:v>
                </c:pt>
                <c:pt idx="5019">
                  <c:v>2.4311634166310794E-2</c:v>
                </c:pt>
                <c:pt idx="5020">
                  <c:v>2.2987659536724856E-2</c:v>
                </c:pt>
                <c:pt idx="5021">
                  <c:v>2.1706443368267915E-2</c:v>
                </c:pt>
                <c:pt idx="5022">
                  <c:v>2.0164089481463879E-2</c:v>
                </c:pt>
                <c:pt idx="5023">
                  <c:v>1.9962989102686901E-2</c:v>
                </c:pt>
                <c:pt idx="5024">
                  <c:v>1.9685371733299394E-2</c:v>
                </c:pt>
                <c:pt idx="5025">
                  <c:v>1.9485311928772751E-2</c:v>
                </c:pt>
                <c:pt idx="5026">
                  <c:v>1.9582074618721843E-2</c:v>
                </c:pt>
                <c:pt idx="5027">
                  <c:v>1.95866111484801E-2</c:v>
                </c:pt>
                <c:pt idx="5028">
                  <c:v>1.9556180251012748E-2</c:v>
                </c:pt>
                <c:pt idx="5029">
                  <c:v>1.9532487035852971E-2</c:v>
                </c:pt>
                <c:pt idx="5030">
                  <c:v>1.9827259136106851E-2</c:v>
                </c:pt>
                <c:pt idx="5031">
                  <c:v>2.1249132117556562E-2</c:v>
                </c:pt>
                <c:pt idx="5032">
                  <c:v>2.2425389071261122E-2</c:v>
                </c:pt>
                <c:pt idx="5033">
                  <c:v>2.3384876288255588E-2</c:v>
                </c:pt>
                <c:pt idx="5034">
                  <c:v>2.4006378190648024E-2</c:v>
                </c:pt>
                <c:pt idx="5035">
                  <c:v>2.479873618760043E-2</c:v>
                </c:pt>
                <c:pt idx="5036">
                  <c:v>2.5391240557508767E-2</c:v>
                </c:pt>
                <c:pt idx="5037">
                  <c:v>2.5951659554561558E-2</c:v>
                </c:pt>
                <c:pt idx="5038">
                  <c:v>2.6297631762521746E-2</c:v>
                </c:pt>
                <c:pt idx="5039">
                  <c:v>2.6675332401736911E-2</c:v>
                </c:pt>
                <c:pt idx="5040">
                  <c:v>2.7061762508189972E-2</c:v>
                </c:pt>
                <c:pt idx="5041">
                  <c:v>2.7244266707350265E-2</c:v>
                </c:pt>
                <c:pt idx="5042">
                  <c:v>2.7433315472973358E-2</c:v>
                </c:pt>
                <c:pt idx="5043">
                  <c:v>2.7402387335669621E-2</c:v>
                </c:pt>
                <c:pt idx="5044">
                  <c:v>2.714876602720424E-2</c:v>
                </c:pt>
                <c:pt idx="5045">
                  <c:v>2.6860378213634625E-2</c:v>
                </c:pt>
                <c:pt idx="5046">
                  <c:v>2.6404212561209995E-2</c:v>
                </c:pt>
                <c:pt idx="5047">
                  <c:v>2.5797303590328804E-2</c:v>
                </c:pt>
                <c:pt idx="5048">
                  <c:v>2.5091192272615564E-2</c:v>
                </c:pt>
                <c:pt idx="5049">
                  <c:v>2.4264481712650707E-2</c:v>
                </c:pt>
                <c:pt idx="5050">
                  <c:v>2.3168239390394939E-2</c:v>
                </c:pt>
                <c:pt idx="5051">
                  <c:v>2.1795619180956773E-2</c:v>
                </c:pt>
                <c:pt idx="5052">
                  <c:v>2.0364613530999508E-2</c:v>
                </c:pt>
                <c:pt idx="5053">
                  <c:v>1.9140697707105886E-2</c:v>
                </c:pt>
                <c:pt idx="5054">
                  <c:v>1.7864993229661289E-2</c:v>
                </c:pt>
                <c:pt idx="5055">
                  <c:v>1.6640976811328069E-2</c:v>
                </c:pt>
                <c:pt idx="5056">
                  <c:v>1.5569887076893335E-2</c:v>
                </c:pt>
                <c:pt idx="5057">
                  <c:v>1.4202034636626322E-2</c:v>
                </c:pt>
                <c:pt idx="5058">
                  <c:v>1.2581279037955157E-2</c:v>
                </c:pt>
                <c:pt idx="5059">
                  <c:v>1.1184559657890699E-2</c:v>
                </c:pt>
                <c:pt idx="5060">
                  <c:v>1.0372193419183967E-2</c:v>
                </c:pt>
                <c:pt idx="5061">
                  <c:v>1.0194237842825532E-2</c:v>
                </c:pt>
                <c:pt idx="5062">
                  <c:v>1.0198138361817629E-2</c:v>
                </c:pt>
                <c:pt idx="5063">
                  <c:v>1.0242187790768083E-2</c:v>
                </c:pt>
                <c:pt idx="5064">
                  <c:v>1.0171130307357822E-2</c:v>
                </c:pt>
                <c:pt idx="5065">
                  <c:v>1.00611835486122E-2</c:v>
                </c:pt>
                <c:pt idx="5066">
                  <c:v>9.9301193255801456E-3</c:v>
                </c:pt>
                <c:pt idx="5067">
                  <c:v>9.7509489791724312E-3</c:v>
                </c:pt>
                <c:pt idx="5068">
                  <c:v>9.5113922692390065E-3</c:v>
                </c:pt>
                <c:pt idx="5069">
                  <c:v>9.5873353263827826E-3</c:v>
                </c:pt>
                <c:pt idx="5070">
                  <c:v>9.9324081264318045E-3</c:v>
                </c:pt>
                <c:pt idx="5071">
                  <c:v>1.0201439279595621E-2</c:v>
                </c:pt>
                <c:pt idx="5072">
                  <c:v>1.048538808963278E-2</c:v>
                </c:pt>
                <c:pt idx="5073">
                  <c:v>1.0728355502473898E-2</c:v>
                </c:pt>
                <c:pt idx="5074">
                  <c:v>1.0827531566110009E-2</c:v>
                </c:pt>
                <c:pt idx="5075">
                  <c:v>1.0958551702080179E-2</c:v>
                </c:pt>
                <c:pt idx="5076">
                  <c:v>1.114659860031636E-2</c:v>
                </c:pt>
                <c:pt idx="5077">
                  <c:v>1.1458320585884899E-2</c:v>
                </c:pt>
                <c:pt idx="5078">
                  <c:v>1.1634729205554421E-2</c:v>
                </c:pt>
                <c:pt idx="5079">
                  <c:v>1.1823920781073702E-2</c:v>
                </c:pt>
                <c:pt idx="5080">
                  <c:v>1.1988960382967312E-2</c:v>
                </c:pt>
                <c:pt idx="5081">
                  <c:v>1.210432281553462E-2</c:v>
                </c:pt>
                <c:pt idx="5082">
                  <c:v>1.2207777154229387E-2</c:v>
                </c:pt>
                <c:pt idx="5083">
                  <c:v>1.2316866377179174E-2</c:v>
                </c:pt>
                <c:pt idx="5084">
                  <c:v>1.2317717433941533E-2</c:v>
                </c:pt>
                <c:pt idx="5085">
                  <c:v>1.2335383135601764E-2</c:v>
                </c:pt>
                <c:pt idx="5086">
                  <c:v>1.2328495869928069E-2</c:v>
                </c:pt>
                <c:pt idx="5087">
                  <c:v>1.2224366359033002E-2</c:v>
                </c:pt>
                <c:pt idx="5088">
                  <c:v>1.2109373109023457E-2</c:v>
                </c:pt>
                <c:pt idx="5089">
                  <c:v>1.2117862622144211E-2</c:v>
                </c:pt>
                <c:pt idx="5090">
                  <c:v>1.2042219201532438E-2</c:v>
                </c:pt>
                <c:pt idx="5091">
                  <c:v>1.1903648467885563E-2</c:v>
                </c:pt>
                <c:pt idx="5092">
                  <c:v>1.1921708356998651E-2</c:v>
                </c:pt>
                <c:pt idx="5093">
                  <c:v>1.1843421297464719E-2</c:v>
                </c:pt>
                <c:pt idx="5094">
                  <c:v>1.1638474699308862E-2</c:v>
                </c:pt>
                <c:pt idx="5095">
                  <c:v>1.1390971994120907E-2</c:v>
                </c:pt>
                <c:pt idx="5096">
                  <c:v>1.1197065848024077E-2</c:v>
                </c:pt>
                <c:pt idx="5097">
                  <c:v>1.090109703336856E-2</c:v>
                </c:pt>
                <c:pt idx="5098">
                  <c:v>1.052141493093289E-2</c:v>
                </c:pt>
                <c:pt idx="5099">
                  <c:v>1.0191180110899872E-2</c:v>
                </c:pt>
                <c:pt idx="5100">
                  <c:v>1.0109101812232249E-2</c:v>
                </c:pt>
                <c:pt idx="5101">
                  <c:v>1.0037186339440085E-2</c:v>
                </c:pt>
                <c:pt idx="5102">
                  <c:v>9.8974939870238293E-3</c:v>
                </c:pt>
                <c:pt idx="5103">
                  <c:v>9.7509542458654262E-3</c:v>
                </c:pt>
                <c:pt idx="5104">
                  <c:v>9.5359196873487997E-3</c:v>
                </c:pt>
                <c:pt idx="5105">
                  <c:v>9.2862051482876379E-3</c:v>
                </c:pt>
                <c:pt idx="5106">
                  <c:v>9.0799171592452869E-3</c:v>
                </c:pt>
                <c:pt idx="5107">
                  <c:v>8.9023922410499546E-3</c:v>
                </c:pt>
                <c:pt idx="5108">
                  <c:v>8.6637437614415676E-3</c:v>
                </c:pt>
                <c:pt idx="5109">
                  <c:v>8.4210275254404925E-3</c:v>
                </c:pt>
                <c:pt idx="5110">
                  <c:v>8.2225330464985973E-3</c:v>
                </c:pt>
                <c:pt idx="5111">
                  <c:v>8.00972374760805E-3</c:v>
                </c:pt>
                <c:pt idx="5112">
                  <c:v>7.7019822869660859E-3</c:v>
                </c:pt>
                <c:pt idx="5113">
                  <c:v>7.64522416558367E-3</c:v>
                </c:pt>
                <c:pt idx="5114">
                  <c:v>7.5069663432888326E-3</c:v>
                </c:pt>
                <c:pt idx="5115">
                  <c:v>7.3569786913400791E-3</c:v>
                </c:pt>
                <c:pt idx="5116">
                  <c:v>7.286657285682163E-3</c:v>
                </c:pt>
                <c:pt idx="5117">
                  <c:v>7.1717504236207515E-3</c:v>
                </c:pt>
                <c:pt idx="5118">
                  <c:v>7.2257771611279244E-3</c:v>
                </c:pt>
                <c:pt idx="5119">
                  <c:v>7.3182098274653506E-3</c:v>
                </c:pt>
                <c:pt idx="5120">
                  <c:v>1.1815491701206082</c:v>
                </c:pt>
                <c:pt idx="5121">
                  <c:v>2.3599093755900795</c:v>
                </c:pt>
                <c:pt idx="5122">
                  <c:v>4.4366097376279994</c:v>
                </c:pt>
                <c:pt idx="5123">
                  <c:v>5.9766518221670335</c:v>
                </c:pt>
                <c:pt idx="5124">
                  <c:v>7.5218727395334044</c:v>
                </c:pt>
                <c:pt idx="5125">
                  <c:v>9.2464254084618211</c:v>
                </c:pt>
                <c:pt idx="5126">
                  <c:v>10.863061968637213</c:v>
                </c:pt>
                <c:pt idx="5127">
                  <c:v>12.207642293862499</c:v>
                </c:pt>
                <c:pt idx="5128">
                  <c:v>14.398244036077163</c:v>
                </c:pt>
                <c:pt idx="5129">
                  <c:v>16.496456682625709</c:v>
                </c:pt>
                <c:pt idx="5130">
                  <c:v>19.056429566430513</c:v>
                </c:pt>
                <c:pt idx="5131">
                  <c:v>22.274723540859654</c:v>
                </c:pt>
                <c:pt idx="5132">
                  <c:v>25.155086503238895</c:v>
                </c:pt>
                <c:pt idx="5133">
                  <c:v>27.709437642781715</c:v>
                </c:pt>
                <c:pt idx="5134">
                  <c:v>29.994998998051287</c:v>
                </c:pt>
                <c:pt idx="5135">
                  <c:v>32.314328890589536</c:v>
                </c:pt>
                <c:pt idx="5136">
                  <c:v>34.337061306678606</c:v>
                </c:pt>
                <c:pt idx="5137">
                  <c:v>36.324062950312062</c:v>
                </c:pt>
                <c:pt idx="5138">
                  <c:v>37.961115222427509</c:v>
                </c:pt>
                <c:pt idx="5139">
                  <c:v>39.357787601745649</c:v>
                </c:pt>
                <c:pt idx="5140">
                  <c:v>41.207834516341187</c:v>
                </c:pt>
                <c:pt idx="5141">
                  <c:v>41.186457733703179</c:v>
                </c:pt>
                <c:pt idx="5142">
                  <c:v>40.293644049776873</c:v>
                </c:pt>
                <c:pt idx="5143">
                  <c:v>40.29339612083335</c:v>
                </c:pt>
                <c:pt idx="5144">
                  <c:v>40.274922027241544</c:v>
                </c:pt>
                <c:pt idx="5145">
                  <c:v>40.244916744802417</c:v>
                </c:pt>
                <c:pt idx="5146">
                  <c:v>40.12216364438337</c:v>
                </c:pt>
                <c:pt idx="5147">
                  <c:v>39.993117592941594</c:v>
                </c:pt>
                <c:pt idx="5148">
                  <c:v>39.779720686539925</c:v>
                </c:pt>
                <c:pt idx="5149">
                  <c:v>39.268554408962281</c:v>
                </c:pt>
                <c:pt idx="5150">
                  <c:v>38.886638676249817</c:v>
                </c:pt>
                <c:pt idx="5151">
                  <c:v>38.54213048891225</c:v>
                </c:pt>
                <c:pt idx="5152">
                  <c:v>38.362753391059329</c:v>
                </c:pt>
                <c:pt idx="5153">
                  <c:v>38.169396629167828</c:v>
                </c:pt>
                <c:pt idx="5154">
                  <c:v>38.039416528440157</c:v>
                </c:pt>
                <c:pt idx="5155">
                  <c:v>37.963545688340709</c:v>
                </c:pt>
                <c:pt idx="5156">
                  <c:v>37.915817026136132</c:v>
                </c:pt>
                <c:pt idx="5157">
                  <c:v>37.830724536970237</c:v>
                </c:pt>
                <c:pt idx="5158">
                  <c:v>37.829582991625102</c:v>
                </c:pt>
                <c:pt idx="5159">
                  <c:v>37.839052522533031</c:v>
                </c:pt>
                <c:pt idx="5160">
                  <c:v>37.796670674453878</c:v>
                </c:pt>
                <c:pt idx="5161">
                  <c:v>37.524475632461403</c:v>
                </c:pt>
                <c:pt idx="5162">
                  <c:v>37.211655232861773</c:v>
                </c:pt>
                <c:pt idx="5163">
                  <c:v>36.810901711653528</c:v>
                </c:pt>
                <c:pt idx="5164">
                  <c:v>36.298806142435659</c:v>
                </c:pt>
                <c:pt idx="5165">
                  <c:v>35.56811843133719</c:v>
                </c:pt>
                <c:pt idx="5166">
                  <c:v>34.830943534337301</c:v>
                </c:pt>
                <c:pt idx="5167">
                  <c:v>33.920997441218162</c:v>
                </c:pt>
                <c:pt idx="5168">
                  <c:v>32.989952522412366</c:v>
                </c:pt>
                <c:pt idx="5169">
                  <c:v>31.965725682691332</c:v>
                </c:pt>
                <c:pt idx="5170">
                  <c:v>30.556071145495391</c:v>
                </c:pt>
                <c:pt idx="5171">
                  <c:v>31.141185582624324</c:v>
                </c:pt>
                <c:pt idx="5172">
                  <c:v>32.68598937268915</c:v>
                </c:pt>
                <c:pt idx="5173">
                  <c:v>34.020703289689635</c:v>
                </c:pt>
                <c:pt idx="5174">
                  <c:v>34.082929854704268</c:v>
                </c:pt>
                <c:pt idx="5175">
                  <c:v>33.223833403803305</c:v>
                </c:pt>
                <c:pt idx="5176">
                  <c:v>31.800911169471412</c:v>
                </c:pt>
                <c:pt idx="5177">
                  <c:v>30.588941300023905</c:v>
                </c:pt>
                <c:pt idx="5178">
                  <c:v>29.758659323766267</c:v>
                </c:pt>
                <c:pt idx="5179">
                  <c:v>28.303408942628167</c:v>
                </c:pt>
                <c:pt idx="5180">
                  <c:v>27.636239863867118</c:v>
                </c:pt>
                <c:pt idx="5181">
                  <c:v>26.140251700584152</c:v>
                </c:pt>
                <c:pt idx="5182">
                  <c:v>25.094916089172969</c:v>
                </c:pt>
                <c:pt idx="5183">
                  <c:v>25.254730131522873</c:v>
                </c:pt>
                <c:pt idx="5184">
                  <c:v>23.862867505234917</c:v>
                </c:pt>
                <c:pt idx="5185">
                  <c:v>23.290048150884019</c:v>
                </c:pt>
                <c:pt idx="5186">
                  <c:v>21.696934708383235</c:v>
                </c:pt>
                <c:pt idx="5187">
                  <c:v>20.572966940512806</c:v>
                </c:pt>
                <c:pt idx="5188">
                  <c:v>20.252207408834497</c:v>
                </c:pt>
                <c:pt idx="5189">
                  <c:v>19.189878379207197</c:v>
                </c:pt>
                <c:pt idx="5190">
                  <c:v>19.03433853577781</c:v>
                </c:pt>
                <c:pt idx="5191">
                  <c:v>18.726416813330395</c:v>
                </c:pt>
                <c:pt idx="5192">
                  <c:v>19.608776129022786</c:v>
                </c:pt>
                <c:pt idx="5193">
                  <c:v>19.213779843705513</c:v>
                </c:pt>
                <c:pt idx="5194">
                  <c:v>20.037806104100728</c:v>
                </c:pt>
                <c:pt idx="5195">
                  <c:v>19.337931449960912</c:v>
                </c:pt>
                <c:pt idx="5196">
                  <c:v>18.933963337292969</c:v>
                </c:pt>
                <c:pt idx="5197">
                  <c:v>19.834686692739712</c:v>
                </c:pt>
                <c:pt idx="5198">
                  <c:v>19.237197542742162</c:v>
                </c:pt>
                <c:pt idx="5199">
                  <c:v>19.379928029154161</c:v>
                </c:pt>
                <c:pt idx="5200">
                  <c:v>19.29292289183088</c:v>
                </c:pt>
                <c:pt idx="5201">
                  <c:v>19.511236786318477</c:v>
                </c:pt>
                <c:pt idx="5202">
                  <c:v>19.366551022315107</c:v>
                </c:pt>
                <c:pt idx="5203">
                  <c:v>20.233079258186883</c:v>
                </c:pt>
                <c:pt idx="5204">
                  <c:v>20.199226323755443</c:v>
                </c:pt>
                <c:pt idx="5205">
                  <c:v>20.061814864589877</c:v>
                </c:pt>
                <c:pt idx="5206">
                  <c:v>20.783329445158163</c:v>
                </c:pt>
                <c:pt idx="5207">
                  <c:v>20.455020428055612</c:v>
                </c:pt>
                <c:pt idx="5208">
                  <c:v>21.349821594108104</c:v>
                </c:pt>
                <c:pt idx="5209">
                  <c:v>20.857284257095412</c:v>
                </c:pt>
                <c:pt idx="5210">
                  <c:v>20.868634799629273</c:v>
                </c:pt>
                <c:pt idx="5211">
                  <c:v>20.025451829977811</c:v>
                </c:pt>
                <c:pt idx="5212">
                  <c:v>20.534443028542043</c:v>
                </c:pt>
                <c:pt idx="5213">
                  <c:v>21.01260871033104</c:v>
                </c:pt>
                <c:pt idx="5214">
                  <c:v>20.659424599394796</c:v>
                </c:pt>
                <c:pt idx="5215">
                  <c:v>21.362055882077069</c:v>
                </c:pt>
                <c:pt idx="5216">
                  <c:v>20.874585366324435</c:v>
                </c:pt>
                <c:pt idx="5217">
                  <c:v>22.242775546100873</c:v>
                </c:pt>
                <c:pt idx="5218">
                  <c:v>24.331243645461122</c:v>
                </c:pt>
                <c:pt idx="5219">
                  <c:v>23.624736613462289</c:v>
                </c:pt>
                <c:pt idx="5220">
                  <c:v>25.160128211287716</c:v>
                </c:pt>
                <c:pt idx="5221">
                  <c:v>27.122596561605338</c:v>
                </c:pt>
                <c:pt idx="5222">
                  <c:v>29.213470305855999</c:v>
                </c:pt>
                <c:pt idx="5223">
                  <c:v>31.156351695174962</c:v>
                </c:pt>
                <c:pt idx="5224">
                  <c:v>32.306896125047196</c:v>
                </c:pt>
                <c:pt idx="5225">
                  <c:v>33.436377375268009</c:v>
                </c:pt>
                <c:pt idx="5226">
                  <c:v>33.501789592913582</c:v>
                </c:pt>
                <c:pt idx="5227">
                  <c:v>35.303711981668293</c:v>
                </c:pt>
                <c:pt idx="5228">
                  <c:v>34.453913825486474</c:v>
                </c:pt>
                <c:pt idx="5229">
                  <c:v>35.110826677925466</c:v>
                </c:pt>
                <c:pt idx="5230">
                  <c:v>34.867924459155979</c:v>
                </c:pt>
                <c:pt idx="5231">
                  <c:v>35.192642849647967</c:v>
                </c:pt>
                <c:pt idx="5232">
                  <c:v>34.694969911243199</c:v>
                </c:pt>
                <c:pt idx="5233">
                  <c:v>34.653420578270769</c:v>
                </c:pt>
                <c:pt idx="5234">
                  <c:v>33.757474893837653</c:v>
                </c:pt>
                <c:pt idx="5235">
                  <c:v>32.54686900551912</c:v>
                </c:pt>
                <c:pt idx="5236">
                  <c:v>32.638407594960512</c:v>
                </c:pt>
                <c:pt idx="5237">
                  <c:v>31.546676223163004</c:v>
                </c:pt>
                <c:pt idx="5238">
                  <c:v>30.760723954701739</c:v>
                </c:pt>
                <c:pt idx="5239">
                  <c:v>29.905140420961139</c:v>
                </c:pt>
                <c:pt idx="5240">
                  <c:v>28.523551598737672</c:v>
                </c:pt>
                <c:pt idx="5241">
                  <c:v>27.024321165532534</c:v>
                </c:pt>
                <c:pt idx="5242">
                  <c:v>26.241622711151052</c:v>
                </c:pt>
                <c:pt idx="5243">
                  <c:v>25.008947641661383</c:v>
                </c:pt>
                <c:pt idx="5244">
                  <c:v>23.532797948885168</c:v>
                </c:pt>
                <c:pt idx="5245">
                  <c:v>29.450766533126192</c:v>
                </c:pt>
                <c:pt idx="5246">
                  <c:v>28.952041828154869</c:v>
                </c:pt>
                <c:pt idx="5247">
                  <c:v>33.223047319693286</c:v>
                </c:pt>
                <c:pt idx="5248">
                  <c:v>33.868631324006927</c:v>
                </c:pt>
                <c:pt idx="5249">
                  <c:v>34.709618692525162</c:v>
                </c:pt>
                <c:pt idx="5250">
                  <c:v>35.671848585201062</c:v>
                </c:pt>
                <c:pt idx="5251">
                  <c:v>36.545021299594964</c:v>
                </c:pt>
                <c:pt idx="5252">
                  <c:v>37.089157126388542</c:v>
                </c:pt>
                <c:pt idx="5253">
                  <c:v>37.436052435835904</c:v>
                </c:pt>
                <c:pt idx="5254">
                  <c:v>37.414277737056842</c:v>
                </c:pt>
                <c:pt idx="5255">
                  <c:v>37.827812199340805</c:v>
                </c:pt>
                <c:pt idx="5256">
                  <c:v>37.78402851730084</c:v>
                </c:pt>
                <c:pt idx="5257">
                  <c:v>37.837949506991855</c:v>
                </c:pt>
                <c:pt idx="5258">
                  <c:v>36.937542648019445</c:v>
                </c:pt>
                <c:pt idx="5259">
                  <c:v>36.325815955483876</c:v>
                </c:pt>
                <c:pt idx="5260">
                  <c:v>36.508026902058219</c:v>
                </c:pt>
                <c:pt idx="5261">
                  <c:v>36.138238025513765</c:v>
                </c:pt>
                <c:pt idx="5262">
                  <c:v>36.201485292864156</c:v>
                </c:pt>
                <c:pt idx="5263">
                  <c:v>35.148975436168769</c:v>
                </c:pt>
                <c:pt idx="5264">
                  <c:v>34.603136434245847</c:v>
                </c:pt>
                <c:pt idx="5265">
                  <c:v>33.147190403756859</c:v>
                </c:pt>
                <c:pt idx="5266">
                  <c:v>31.131634329114295</c:v>
                </c:pt>
                <c:pt idx="5267">
                  <c:v>29.637844306032356</c:v>
                </c:pt>
                <c:pt idx="5268">
                  <c:v>27.39626523661499</c:v>
                </c:pt>
                <c:pt idx="5269">
                  <c:v>25.483959631102646</c:v>
                </c:pt>
                <c:pt idx="5270">
                  <c:v>24.272165648224949</c:v>
                </c:pt>
                <c:pt idx="5271">
                  <c:v>21.445100749563689</c:v>
                </c:pt>
                <c:pt idx="5272">
                  <c:v>18.390286371058572</c:v>
                </c:pt>
                <c:pt idx="5273">
                  <c:v>16.668755106064737</c:v>
                </c:pt>
                <c:pt idx="5274">
                  <c:v>12.683838360791892</c:v>
                </c:pt>
                <c:pt idx="5275">
                  <c:v>11.722578096019733</c:v>
                </c:pt>
                <c:pt idx="5276">
                  <c:v>9.6088871564615115</c:v>
                </c:pt>
                <c:pt idx="5277">
                  <c:v>8.9157038415844099</c:v>
                </c:pt>
                <c:pt idx="5278">
                  <c:v>8.7981463431359757</c:v>
                </c:pt>
                <c:pt idx="5279">
                  <c:v>8.814703447421282</c:v>
                </c:pt>
                <c:pt idx="5280">
                  <c:v>9.329158203248717</c:v>
                </c:pt>
                <c:pt idx="5281">
                  <c:v>9.2400435038619495</c:v>
                </c:pt>
                <c:pt idx="5282">
                  <c:v>9.1542869495339882</c:v>
                </c:pt>
                <c:pt idx="5283">
                  <c:v>8.7817160695292511</c:v>
                </c:pt>
                <c:pt idx="5284">
                  <c:v>9.1940282162198006</c:v>
                </c:pt>
                <c:pt idx="5285">
                  <c:v>9.0972295799249938</c:v>
                </c:pt>
                <c:pt idx="5286">
                  <c:v>9.6771359056408421</c:v>
                </c:pt>
                <c:pt idx="5287">
                  <c:v>9.4241035400785389</c:v>
                </c:pt>
                <c:pt idx="5288">
                  <c:v>10.205535904680186</c:v>
                </c:pt>
                <c:pt idx="5289">
                  <c:v>9.969160121155042</c:v>
                </c:pt>
                <c:pt idx="5290">
                  <c:v>10.306513723118524</c:v>
                </c:pt>
                <c:pt idx="5291">
                  <c:v>10.257794552468384</c:v>
                </c:pt>
                <c:pt idx="5292">
                  <c:v>11.813658869948302</c:v>
                </c:pt>
                <c:pt idx="5293">
                  <c:v>11.721494482189827</c:v>
                </c:pt>
                <c:pt idx="5294">
                  <c:v>11.976794644553914</c:v>
                </c:pt>
                <c:pt idx="5295">
                  <c:v>12.157636748852234</c:v>
                </c:pt>
                <c:pt idx="5296">
                  <c:v>11.930836013609818</c:v>
                </c:pt>
                <c:pt idx="5297">
                  <c:v>12.026094748004994</c:v>
                </c:pt>
                <c:pt idx="5298">
                  <c:v>12.031171597988015</c:v>
                </c:pt>
                <c:pt idx="5299">
                  <c:v>11.918110489168992</c:v>
                </c:pt>
                <c:pt idx="5300">
                  <c:v>11.860949131907924</c:v>
                </c:pt>
                <c:pt idx="5301">
                  <c:v>12.044226303884573</c:v>
                </c:pt>
                <c:pt idx="5302">
                  <c:v>11.687199502802049</c:v>
                </c:pt>
                <c:pt idx="5303">
                  <c:v>12.03775185386808</c:v>
                </c:pt>
                <c:pt idx="5304">
                  <c:v>12.542357351338985</c:v>
                </c:pt>
                <c:pt idx="5305">
                  <c:v>12.666976985269093</c:v>
                </c:pt>
                <c:pt idx="5306">
                  <c:v>13.013163591133791</c:v>
                </c:pt>
                <c:pt idx="5307">
                  <c:v>13.050650776203751</c:v>
                </c:pt>
                <c:pt idx="5308">
                  <c:v>13.731182277163001</c:v>
                </c:pt>
                <c:pt idx="5309">
                  <c:v>13.780138147156665</c:v>
                </c:pt>
                <c:pt idx="5310">
                  <c:v>14.860241749752246</c:v>
                </c:pt>
                <c:pt idx="5311">
                  <c:v>17.721579135271472</c:v>
                </c:pt>
                <c:pt idx="5312">
                  <c:v>19.559175189239376</c:v>
                </c:pt>
                <c:pt idx="5313">
                  <c:v>19.691208827830017</c:v>
                </c:pt>
                <c:pt idx="5314">
                  <c:v>20.447415281491008</c:v>
                </c:pt>
                <c:pt idx="5315">
                  <c:v>21.241004804892995</c:v>
                </c:pt>
                <c:pt idx="5316">
                  <c:v>22.450961653563727</c:v>
                </c:pt>
                <c:pt idx="5317">
                  <c:v>23.10760051684402</c:v>
                </c:pt>
                <c:pt idx="5318">
                  <c:v>23.330919127597028</c:v>
                </c:pt>
                <c:pt idx="5319">
                  <c:v>23.400337128139572</c:v>
                </c:pt>
                <c:pt idx="5320">
                  <c:v>23.978758768985667</c:v>
                </c:pt>
                <c:pt idx="5321">
                  <c:v>23.128928111283106</c:v>
                </c:pt>
                <c:pt idx="5322">
                  <c:v>23.80949416688734</c:v>
                </c:pt>
                <c:pt idx="5323">
                  <c:v>23.15810445653085</c:v>
                </c:pt>
                <c:pt idx="5324">
                  <c:v>22.944264223118225</c:v>
                </c:pt>
                <c:pt idx="5325">
                  <c:v>22.320621234654482</c:v>
                </c:pt>
                <c:pt idx="5326">
                  <c:v>22.075688688148517</c:v>
                </c:pt>
                <c:pt idx="5327">
                  <c:v>22.350511996861442</c:v>
                </c:pt>
                <c:pt idx="5328">
                  <c:v>21.405421705036108</c:v>
                </c:pt>
                <c:pt idx="5329">
                  <c:v>21.131976225524625</c:v>
                </c:pt>
                <c:pt idx="5330">
                  <c:v>20.007086276501632</c:v>
                </c:pt>
                <c:pt idx="5331">
                  <c:v>20.071146609906805</c:v>
                </c:pt>
                <c:pt idx="5332">
                  <c:v>18.935911488902349</c:v>
                </c:pt>
                <c:pt idx="5333">
                  <c:v>18.699960405847264</c:v>
                </c:pt>
                <c:pt idx="5334">
                  <c:v>18.608233479420999</c:v>
                </c:pt>
                <c:pt idx="5335">
                  <c:v>17.353861100988528</c:v>
                </c:pt>
                <c:pt idx="5336">
                  <c:v>16.985758666632357</c:v>
                </c:pt>
                <c:pt idx="5337">
                  <c:v>16.301893713544992</c:v>
                </c:pt>
                <c:pt idx="5338">
                  <c:v>15.11498323386221</c:v>
                </c:pt>
                <c:pt idx="5339">
                  <c:v>14.132235230858292</c:v>
                </c:pt>
                <c:pt idx="5340">
                  <c:v>13.398136185570319</c:v>
                </c:pt>
                <c:pt idx="5341">
                  <c:v>13.583983348025471</c:v>
                </c:pt>
                <c:pt idx="5342">
                  <c:v>13.849238657966854</c:v>
                </c:pt>
                <c:pt idx="5343">
                  <c:v>13.326447437344296</c:v>
                </c:pt>
                <c:pt idx="5344">
                  <c:v>12.805820205177751</c:v>
                </c:pt>
                <c:pt idx="5345">
                  <c:v>12.660205669583917</c:v>
                </c:pt>
                <c:pt idx="5346">
                  <c:v>13.088322070459315</c:v>
                </c:pt>
                <c:pt idx="5347">
                  <c:v>13.593887245908361</c:v>
                </c:pt>
                <c:pt idx="5348">
                  <c:v>13.279059379539818</c:v>
                </c:pt>
                <c:pt idx="5349">
                  <c:v>13.605168636836504</c:v>
                </c:pt>
                <c:pt idx="5350">
                  <c:v>14.069628081370876</c:v>
                </c:pt>
                <c:pt idx="5351">
                  <c:v>13.491899021169104</c:v>
                </c:pt>
                <c:pt idx="5352">
                  <c:v>13.90520416255141</c:v>
                </c:pt>
                <c:pt idx="5353">
                  <c:v>14.237241214699655</c:v>
                </c:pt>
                <c:pt idx="5354">
                  <c:v>14.24444780798161</c:v>
                </c:pt>
                <c:pt idx="5355">
                  <c:v>13.386226346662998</c:v>
                </c:pt>
                <c:pt idx="5356">
                  <c:v>13.333528482220411</c:v>
                </c:pt>
                <c:pt idx="5357">
                  <c:v>13.022315148375515</c:v>
                </c:pt>
                <c:pt idx="5358">
                  <c:v>12.893323507114998</c:v>
                </c:pt>
                <c:pt idx="5359">
                  <c:v>12.762620000484342</c:v>
                </c:pt>
                <c:pt idx="5360">
                  <c:v>12.657198505176314</c:v>
                </c:pt>
                <c:pt idx="5361">
                  <c:v>12.584598516400765</c:v>
                </c:pt>
                <c:pt idx="5362">
                  <c:v>12.550976515674211</c:v>
                </c:pt>
                <c:pt idx="5363">
                  <c:v>12.552852077580933</c:v>
                </c:pt>
                <c:pt idx="5364">
                  <c:v>12.754075554143746</c:v>
                </c:pt>
                <c:pt idx="5365">
                  <c:v>11.534146307756151</c:v>
                </c:pt>
                <c:pt idx="5366">
                  <c:v>11.150304567546451</c:v>
                </c:pt>
                <c:pt idx="5367">
                  <c:v>11.220254995926121</c:v>
                </c:pt>
                <c:pt idx="5368">
                  <c:v>11.270677652173786</c:v>
                </c:pt>
                <c:pt idx="5369">
                  <c:v>10.713368660860535</c:v>
                </c:pt>
                <c:pt idx="5370">
                  <c:v>10.268141203530348</c:v>
                </c:pt>
                <c:pt idx="5371">
                  <c:v>10.09671299804889</c:v>
                </c:pt>
                <c:pt idx="5372">
                  <c:v>10.308303210964803</c:v>
                </c:pt>
                <c:pt idx="5373">
                  <c:v>11.132511636864455</c:v>
                </c:pt>
                <c:pt idx="5374">
                  <c:v>9.1978305476988051</c:v>
                </c:pt>
                <c:pt idx="5375">
                  <c:v>9.2869907890896268</c:v>
                </c:pt>
                <c:pt idx="5376">
                  <c:v>9.9407745097217166</c:v>
                </c:pt>
                <c:pt idx="5377">
                  <c:v>10.777351724769362</c:v>
                </c:pt>
                <c:pt idx="5378">
                  <c:v>10.906788751619096</c:v>
                </c:pt>
                <c:pt idx="5379">
                  <c:v>10.919324277790743</c:v>
                </c:pt>
                <c:pt idx="5380">
                  <c:v>11.103557267314518</c:v>
                </c:pt>
                <c:pt idx="5381">
                  <c:v>11.571349338946836</c:v>
                </c:pt>
                <c:pt idx="5382">
                  <c:v>11.598182489083994</c:v>
                </c:pt>
                <c:pt idx="5383">
                  <c:v>12.490791224348607</c:v>
                </c:pt>
                <c:pt idx="5384">
                  <c:v>33.801077738885901</c:v>
                </c:pt>
                <c:pt idx="5385">
                  <c:v>66.493067030797164</c:v>
                </c:pt>
                <c:pt idx="5386">
                  <c:v>78.109902281229395</c:v>
                </c:pt>
                <c:pt idx="5387">
                  <c:v>81.316486285940556</c:v>
                </c:pt>
                <c:pt idx="5388">
                  <c:v>81.192744738004862</c:v>
                </c:pt>
                <c:pt idx="5389">
                  <c:v>87.043635387413417</c:v>
                </c:pt>
                <c:pt idx="5390">
                  <c:v>101.1059511879125</c:v>
                </c:pt>
                <c:pt idx="5391">
                  <c:v>103.47561821314855</c:v>
                </c:pt>
                <c:pt idx="5392">
                  <c:v>105.45217720377896</c:v>
                </c:pt>
                <c:pt idx="5393">
                  <c:v>104.87830730375876</c:v>
                </c:pt>
                <c:pt idx="5394">
                  <c:v>108.90797500172883</c:v>
                </c:pt>
                <c:pt idx="5395">
                  <c:v>112.26901851586923</c:v>
                </c:pt>
                <c:pt idx="5396">
                  <c:v>123.81397952228154</c:v>
                </c:pt>
                <c:pt idx="5397">
                  <c:v>122.63717451112811</c:v>
                </c:pt>
                <c:pt idx="5398">
                  <c:v>125.20047800436929</c:v>
                </c:pt>
                <c:pt idx="5399">
                  <c:v>124.40953602493583</c:v>
                </c:pt>
                <c:pt idx="5400">
                  <c:v>126.29427689165948</c:v>
                </c:pt>
                <c:pt idx="5401">
                  <c:v>134.8763446048076</c:v>
                </c:pt>
                <c:pt idx="5402">
                  <c:v>137.13995911137621</c:v>
                </c:pt>
                <c:pt idx="5403">
                  <c:v>139.18451109437558</c:v>
                </c:pt>
                <c:pt idx="5404">
                  <c:v>139.79833112167159</c:v>
                </c:pt>
                <c:pt idx="5405">
                  <c:v>139.29319897027844</c:v>
                </c:pt>
                <c:pt idx="5406">
                  <c:v>142.18891131239417</c:v>
                </c:pt>
                <c:pt idx="5407">
                  <c:v>151.59335765357235</c:v>
                </c:pt>
                <c:pt idx="5408">
                  <c:v>158.55613076572604</c:v>
                </c:pt>
                <c:pt idx="5409">
                  <c:v>162.35279677344371</c:v>
                </c:pt>
                <c:pt idx="5410">
                  <c:v>162.92078243635734</c:v>
                </c:pt>
                <c:pt idx="5411">
                  <c:v>161.72014484363888</c:v>
                </c:pt>
                <c:pt idx="5412">
                  <c:v>159.78404764013197</c:v>
                </c:pt>
                <c:pt idx="5413">
                  <c:v>161.16442182107946</c:v>
                </c:pt>
                <c:pt idx="5414">
                  <c:v>162.42874253538852</c:v>
                </c:pt>
                <c:pt idx="5415">
                  <c:v>163.31505420846017</c:v>
                </c:pt>
                <c:pt idx="5416">
                  <c:v>162.00033514942737</c:v>
                </c:pt>
                <c:pt idx="5417">
                  <c:v>157.63142988010355</c:v>
                </c:pt>
                <c:pt idx="5418">
                  <c:v>161.44310787739033</c:v>
                </c:pt>
                <c:pt idx="5419">
                  <c:v>165.94979665413518</c:v>
                </c:pt>
                <c:pt idx="5420">
                  <c:v>168.66676949358174</c:v>
                </c:pt>
                <c:pt idx="5421">
                  <c:v>170.5957023252555</c:v>
                </c:pt>
                <c:pt idx="5422">
                  <c:v>166.03118140858854</c:v>
                </c:pt>
                <c:pt idx="5423">
                  <c:v>167.39217425578929</c:v>
                </c:pt>
                <c:pt idx="5424">
                  <c:v>168.60599838223462</c:v>
                </c:pt>
                <c:pt idx="5425">
                  <c:v>169.75451661812789</c:v>
                </c:pt>
                <c:pt idx="5426">
                  <c:v>170.5781354966997</c:v>
                </c:pt>
                <c:pt idx="5427">
                  <c:v>171.59635015008078</c:v>
                </c:pt>
                <c:pt idx="5428">
                  <c:v>167.20004035477749</c:v>
                </c:pt>
                <c:pt idx="5429">
                  <c:v>169.84673617933146</c:v>
                </c:pt>
                <c:pt idx="5430">
                  <c:v>179.8740876273464</c:v>
                </c:pt>
                <c:pt idx="5431">
                  <c:v>185.84503541503693</c:v>
                </c:pt>
                <c:pt idx="5432">
                  <c:v>181.5551327329334</c:v>
                </c:pt>
                <c:pt idx="5433">
                  <c:v>183.81403768837197</c:v>
                </c:pt>
                <c:pt idx="5434">
                  <c:v>181.47075971217225</c:v>
                </c:pt>
                <c:pt idx="5435">
                  <c:v>181.29032618244054</c:v>
                </c:pt>
                <c:pt idx="5436">
                  <c:v>182.77303020328654</c:v>
                </c:pt>
                <c:pt idx="5437">
                  <c:v>187.1510726254445</c:v>
                </c:pt>
                <c:pt idx="5438">
                  <c:v>200.67300750098562</c:v>
                </c:pt>
                <c:pt idx="5439">
                  <c:v>210.93156211263289</c:v>
                </c:pt>
                <c:pt idx="5440">
                  <c:v>230.51841664846765</c:v>
                </c:pt>
                <c:pt idx="5441">
                  <c:v>230.00953801492241</c:v>
                </c:pt>
                <c:pt idx="5442">
                  <c:v>235.50163852073612</c:v>
                </c:pt>
                <c:pt idx="5443">
                  <c:v>241.0136202156412</c:v>
                </c:pt>
                <c:pt idx="5444">
                  <c:v>240.13765944277509</c:v>
                </c:pt>
                <c:pt idx="5445">
                  <c:v>235.49051303111992</c:v>
                </c:pt>
                <c:pt idx="5446">
                  <c:v>233.830840530779</c:v>
                </c:pt>
                <c:pt idx="5447">
                  <c:v>234.99732158982911</c:v>
                </c:pt>
                <c:pt idx="5448">
                  <c:v>239.14294854660537</c:v>
                </c:pt>
                <c:pt idx="5449">
                  <c:v>249.54516254397936</c:v>
                </c:pt>
                <c:pt idx="5450">
                  <c:v>260.27367513220867</c:v>
                </c:pt>
                <c:pt idx="5451">
                  <c:v>274.25168818015277</c:v>
                </c:pt>
                <c:pt idx="5452">
                  <c:v>273.14374342916182</c:v>
                </c:pt>
                <c:pt idx="5453">
                  <c:v>278.53401444007591</c:v>
                </c:pt>
                <c:pt idx="5454">
                  <c:v>288.07256267941796</c:v>
                </c:pt>
                <c:pt idx="5455">
                  <c:v>296.79098932386245</c:v>
                </c:pt>
                <c:pt idx="5456">
                  <c:v>295.57316874157908</c:v>
                </c:pt>
                <c:pt idx="5457">
                  <c:v>298.48246187106463</c:v>
                </c:pt>
                <c:pt idx="5458">
                  <c:v>304.670216577171</c:v>
                </c:pt>
                <c:pt idx="5459">
                  <c:v>311.18733286821578</c:v>
                </c:pt>
                <c:pt idx="5460">
                  <c:v>317.20281459492458</c:v>
                </c:pt>
                <c:pt idx="5461">
                  <c:v>323.28429099099492</c:v>
                </c:pt>
                <c:pt idx="5462">
                  <c:v>326.3477142319806</c:v>
                </c:pt>
                <c:pt idx="5463">
                  <c:v>312.54957928090624</c:v>
                </c:pt>
                <c:pt idx="5464">
                  <c:v>305.42459249430391</c:v>
                </c:pt>
                <c:pt idx="5465">
                  <c:v>303.55978429865206</c:v>
                </c:pt>
                <c:pt idx="5466">
                  <c:v>304.55586996560959</c:v>
                </c:pt>
                <c:pt idx="5467">
                  <c:v>307.13191664930031</c:v>
                </c:pt>
                <c:pt idx="5468">
                  <c:v>309.57359589286324</c:v>
                </c:pt>
                <c:pt idx="5469">
                  <c:v>311.66335651224813</c:v>
                </c:pt>
                <c:pt idx="5470">
                  <c:v>312.22537778594562</c:v>
                </c:pt>
                <c:pt idx="5471">
                  <c:v>307.72838515373019</c:v>
                </c:pt>
                <c:pt idx="5472">
                  <c:v>283.98920398527048</c:v>
                </c:pt>
                <c:pt idx="5473">
                  <c:v>254.03456255500521</c:v>
                </c:pt>
                <c:pt idx="5474">
                  <c:v>228.98548432977867</c:v>
                </c:pt>
                <c:pt idx="5475">
                  <c:v>217.43293708179147</c:v>
                </c:pt>
                <c:pt idx="5476">
                  <c:v>287.19638452408293</c:v>
                </c:pt>
                <c:pt idx="5477">
                  <c:v>346.69471887094767</c:v>
                </c:pt>
                <c:pt idx="5478">
                  <c:v>397.79379354787221</c:v>
                </c:pt>
                <c:pt idx="5479">
                  <c:v>440.71821768221827</c:v>
                </c:pt>
                <c:pt idx="5480">
                  <c:v>474.83492940640372</c:v>
                </c:pt>
                <c:pt idx="5481">
                  <c:v>502.02481582326573</c:v>
                </c:pt>
                <c:pt idx="5482">
                  <c:v>529.46994901009214</c:v>
                </c:pt>
                <c:pt idx="5483">
                  <c:v>548.56666740157243</c:v>
                </c:pt>
                <c:pt idx="5484">
                  <c:v>568.60517231683207</c:v>
                </c:pt>
                <c:pt idx="5485">
                  <c:v>585.24796425779084</c:v>
                </c:pt>
                <c:pt idx="5486">
                  <c:v>597.36601746344706</c:v>
                </c:pt>
                <c:pt idx="5487">
                  <c:v>605.46329547122798</c:v>
                </c:pt>
                <c:pt idx="5488">
                  <c:v>610.58783576939345</c:v>
                </c:pt>
                <c:pt idx="5489">
                  <c:v>613.74629432449467</c:v>
                </c:pt>
                <c:pt idx="5490">
                  <c:v>614.5548337443297</c:v>
                </c:pt>
                <c:pt idx="5491">
                  <c:v>612.11324220684628</c:v>
                </c:pt>
                <c:pt idx="5492">
                  <c:v>606.77021758787123</c:v>
                </c:pt>
                <c:pt idx="5493">
                  <c:v>598.17745663500341</c:v>
                </c:pt>
                <c:pt idx="5494">
                  <c:v>586.22087753033452</c:v>
                </c:pt>
                <c:pt idx="5495">
                  <c:v>570.84806105430903</c:v>
                </c:pt>
                <c:pt idx="5496">
                  <c:v>552.00277954481021</c:v>
                </c:pt>
                <c:pt idx="5497">
                  <c:v>529.641422805763</c:v>
                </c:pt>
                <c:pt idx="5498">
                  <c:v>503.03033770762812</c:v>
                </c:pt>
                <c:pt idx="5499">
                  <c:v>471.46476637181047</c:v>
                </c:pt>
                <c:pt idx="5500">
                  <c:v>432.5454815817875</c:v>
                </c:pt>
                <c:pt idx="5501">
                  <c:v>385.57955425900576</c:v>
                </c:pt>
                <c:pt idx="5502">
                  <c:v>328.3796612099498</c:v>
                </c:pt>
                <c:pt idx="5503">
                  <c:v>249.73195045981643</c:v>
                </c:pt>
                <c:pt idx="5504">
                  <c:v>115.72682598006303</c:v>
                </c:pt>
                <c:pt idx="5505">
                  <c:v>4.3652227602566469E-3</c:v>
                </c:pt>
                <c:pt idx="5506">
                  <c:v>4.1814784753250586E-3</c:v>
                </c:pt>
                <c:pt idx="5507">
                  <c:v>3.9576553817420581E-3</c:v>
                </c:pt>
                <c:pt idx="5508">
                  <c:v>3.6796923008214607E-3</c:v>
                </c:pt>
                <c:pt idx="5509">
                  <c:v>3.3858143101461609E-3</c:v>
                </c:pt>
                <c:pt idx="5510">
                  <c:v>3.0660849980255703E-3</c:v>
                </c:pt>
                <c:pt idx="5511">
                  <c:v>2.6660632042439119E-3</c:v>
                </c:pt>
                <c:pt idx="5512">
                  <c:v>2.3173539937087905E-3</c:v>
                </c:pt>
                <c:pt idx="5513">
                  <c:v>2.2434390917314652E-3</c:v>
                </c:pt>
                <c:pt idx="5514">
                  <c:v>2.2338949518978936E-3</c:v>
                </c:pt>
                <c:pt idx="5515">
                  <c:v>2.2164947002164303E-3</c:v>
                </c:pt>
                <c:pt idx="5516">
                  <c:v>2.1907688351059762E-3</c:v>
                </c:pt>
                <c:pt idx="5517">
                  <c:v>2.1596681261021669E-3</c:v>
                </c:pt>
                <c:pt idx="5518">
                  <c:v>2.1249117474645795E-3</c:v>
                </c:pt>
                <c:pt idx="5519">
                  <c:v>2.0764082847659253E-3</c:v>
                </c:pt>
                <c:pt idx="5520">
                  <c:v>2.013057496409008E-3</c:v>
                </c:pt>
                <c:pt idx="5521">
                  <c:v>1.9400806385721553E-3</c:v>
                </c:pt>
                <c:pt idx="5522">
                  <c:v>1.8496385962108604E-3</c:v>
                </c:pt>
                <c:pt idx="5523">
                  <c:v>1.7462356526641812E-3</c:v>
                </c:pt>
                <c:pt idx="5524">
                  <c:v>1.639693020350599E-3</c:v>
                </c:pt>
                <c:pt idx="5525">
                  <c:v>1.5094356723903885E-3</c:v>
                </c:pt>
                <c:pt idx="5526">
                  <c:v>1.4238294804674093E-3</c:v>
                </c:pt>
                <c:pt idx="5527">
                  <c:v>1.3203871415597055E-3</c:v>
                </c:pt>
                <c:pt idx="5528">
                  <c:v>1.2326258607795837E-3</c:v>
                </c:pt>
                <c:pt idx="5529">
                  <c:v>1.1474685556767583E-3</c:v>
                </c:pt>
                <c:pt idx="5530">
                  <c:v>1.0745690771770907E-3</c:v>
                </c:pt>
                <c:pt idx="5531">
                  <c:v>1.0771656022062288E-3</c:v>
                </c:pt>
                <c:pt idx="5532">
                  <c:v>1.0759620882083425E-3</c:v>
                </c:pt>
                <c:pt idx="5533">
                  <c:v>1.0705425714473949E-3</c:v>
                </c:pt>
                <c:pt idx="5534">
                  <c:v>1.0662244164928196E-3</c:v>
                </c:pt>
                <c:pt idx="5535">
                  <c:v>1.0585376727775461E-3</c:v>
                </c:pt>
                <c:pt idx="5536">
                  <c:v>1.0573950965826564E-3</c:v>
                </c:pt>
                <c:pt idx="5537">
                  <c:v>1.0532004288880963E-3</c:v>
                </c:pt>
                <c:pt idx="5538">
                  <c:v>1.0462421420220625E-3</c:v>
                </c:pt>
                <c:pt idx="5539">
                  <c:v>1.0508890181760773E-3</c:v>
                </c:pt>
                <c:pt idx="5540">
                  <c:v>1.0618945773123256E-3</c:v>
                </c:pt>
                <c:pt idx="5541">
                  <c:v>1.0788888213326491E-3</c:v>
                </c:pt>
                <c:pt idx="5542">
                  <c:v>1.0842185924165545E-3</c:v>
                </c:pt>
                <c:pt idx="5543">
                  <c:v>1.0838485471403681E-3</c:v>
                </c:pt>
                <c:pt idx="5544">
                  <c:v>1.0891418342747409E-3</c:v>
                </c:pt>
                <c:pt idx="5545">
                  <c:v>1.0996025955535788E-3</c:v>
                </c:pt>
                <c:pt idx="5546">
                  <c:v>1.1154938239651892E-3</c:v>
                </c:pt>
                <c:pt idx="5547">
                  <c:v>1.1465311721738751E-3</c:v>
                </c:pt>
                <c:pt idx="5548">
                  <c:v>1.1720918515250589E-3</c:v>
                </c:pt>
                <c:pt idx="5549">
                  <c:v>1.1919872693216785E-3</c:v>
                </c:pt>
                <c:pt idx="5550">
                  <c:v>1.2064951727377513E-3</c:v>
                </c:pt>
                <c:pt idx="5551">
                  <c:v>1.2211907461984006E-3</c:v>
                </c:pt>
                <c:pt idx="5552">
                  <c:v>1.2356219480993849E-3</c:v>
                </c:pt>
                <c:pt idx="5553">
                  <c:v>1.2490393202219483E-3</c:v>
                </c:pt>
                <c:pt idx="5554">
                  <c:v>1.2613134783683855E-3</c:v>
                </c:pt>
                <c:pt idx="5555">
                  <c:v>1.2728892776278397E-3</c:v>
                </c:pt>
                <c:pt idx="5556">
                  <c:v>1.2884628837060209E-3</c:v>
                </c:pt>
                <c:pt idx="5557">
                  <c:v>1.2974927781942429E-3</c:v>
                </c:pt>
                <c:pt idx="5558">
                  <c:v>1.3045474982742681E-3</c:v>
                </c:pt>
                <c:pt idx="5559">
                  <c:v>1.315162139912166E-3</c:v>
                </c:pt>
                <c:pt idx="5560">
                  <c:v>1.4446686303962136E-3</c:v>
                </c:pt>
                <c:pt idx="5561">
                  <c:v>1.5493941570457201E-3</c:v>
                </c:pt>
                <c:pt idx="5562">
                  <c:v>1.6684005822883811E-3</c:v>
                </c:pt>
                <c:pt idx="5563">
                  <c:v>1.7777253682361384E-3</c:v>
                </c:pt>
                <c:pt idx="5564">
                  <c:v>1.890843110664899E-3</c:v>
                </c:pt>
                <c:pt idx="5565">
                  <c:v>1.9812232628416641E-3</c:v>
                </c:pt>
                <c:pt idx="5566">
                  <c:v>2.0575664979357766E-3</c:v>
                </c:pt>
                <c:pt idx="5567">
                  <c:v>2.1209867932575565E-3</c:v>
                </c:pt>
                <c:pt idx="5568">
                  <c:v>2.1712708661083754E-3</c:v>
                </c:pt>
                <c:pt idx="5569">
                  <c:v>2.2175201081411368E-3</c:v>
                </c:pt>
                <c:pt idx="5570">
                  <c:v>2.2566174105442295E-3</c:v>
                </c:pt>
                <c:pt idx="5571">
                  <c:v>2.289717666092424E-3</c:v>
                </c:pt>
                <c:pt idx="5572">
                  <c:v>2.4061423618572972E-3</c:v>
                </c:pt>
                <c:pt idx="5573">
                  <c:v>2.5447521871562093E-3</c:v>
                </c:pt>
                <c:pt idx="5574">
                  <c:v>2.6562346560001075E-3</c:v>
                </c:pt>
                <c:pt idx="5575">
                  <c:v>2.7444342756933844E-3</c:v>
                </c:pt>
                <c:pt idx="5576">
                  <c:v>2.8122640461805239E-3</c:v>
                </c:pt>
                <c:pt idx="5577">
                  <c:v>2.9298973052551461E-3</c:v>
                </c:pt>
                <c:pt idx="5578">
                  <c:v>3.0181284868616605E-3</c:v>
                </c:pt>
                <c:pt idx="5579">
                  <c:v>3.0792930782747407E-3</c:v>
                </c:pt>
                <c:pt idx="5580">
                  <c:v>3.115246491652692E-3</c:v>
                </c:pt>
                <c:pt idx="5581">
                  <c:v>3.1313292844139247E-3</c:v>
                </c:pt>
                <c:pt idx="5582">
                  <c:v>3.1285254398131352E-3</c:v>
                </c:pt>
                <c:pt idx="5583">
                  <c:v>3.1071902605062586E-3</c:v>
                </c:pt>
                <c:pt idx="5584">
                  <c:v>3.0668331790414506E-3</c:v>
                </c:pt>
                <c:pt idx="5585">
                  <c:v>3.0115196880027063E-3</c:v>
                </c:pt>
                <c:pt idx="5586">
                  <c:v>2.9455300166972734E-3</c:v>
                </c:pt>
                <c:pt idx="5587">
                  <c:v>2.8825218797689503E-3</c:v>
                </c:pt>
                <c:pt idx="5588">
                  <c:v>2.7886577937779027E-3</c:v>
                </c:pt>
                <c:pt idx="5589">
                  <c:v>2.676369517317893E-3</c:v>
                </c:pt>
                <c:pt idx="5590">
                  <c:v>2.6503574347637691E-3</c:v>
                </c:pt>
                <c:pt idx="5591">
                  <c:v>2.6029492422694157E-3</c:v>
                </c:pt>
                <c:pt idx="5592">
                  <c:v>2.5608952129336795E-3</c:v>
                </c:pt>
                <c:pt idx="5593">
                  <c:v>2.5097356600362374E-3</c:v>
                </c:pt>
                <c:pt idx="5594">
                  <c:v>2.4606485309035726E-3</c:v>
                </c:pt>
                <c:pt idx="5595">
                  <c:v>2.3934816178275676E-3</c:v>
                </c:pt>
                <c:pt idx="5596">
                  <c:v>2.3165334821330964E-3</c:v>
                </c:pt>
                <c:pt idx="5597">
                  <c:v>2.2288775084747764E-3</c:v>
                </c:pt>
                <c:pt idx="5598">
                  <c:v>2.1245582372192277E-3</c:v>
                </c:pt>
                <c:pt idx="5599">
                  <c:v>1.9991926256573526E-3</c:v>
                </c:pt>
                <c:pt idx="5600">
                  <c:v>1.843135135663607E-3</c:v>
                </c:pt>
                <c:pt idx="5601">
                  <c:v>1.64793321988141E-3</c:v>
                </c:pt>
                <c:pt idx="5602">
                  <c:v>1.5695234404744965E-3</c:v>
                </c:pt>
                <c:pt idx="5603">
                  <c:v>1.5313544243960398E-3</c:v>
                </c:pt>
                <c:pt idx="5604">
                  <c:v>1.5259637999036815E-3</c:v>
                </c:pt>
                <c:pt idx="5605">
                  <c:v>1.510983584737129E-3</c:v>
                </c:pt>
                <c:pt idx="5606">
                  <c:v>1.4798878686022063E-3</c:v>
                </c:pt>
                <c:pt idx="5607">
                  <c:v>1.5037185747931968E-3</c:v>
                </c:pt>
                <c:pt idx="5608">
                  <c:v>1.5181488071998759E-3</c:v>
                </c:pt>
                <c:pt idx="5609">
                  <c:v>1.5284387494054171E-3</c:v>
                </c:pt>
                <c:pt idx="5610">
                  <c:v>1.5343830692293985E-3</c:v>
                </c:pt>
                <c:pt idx="5611">
                  <c:v>1.5306500000955552E-3</c:v>
                </c:pt>
                <c:pt idx="5612">
                  <c:v>1.5534815977683188E-3</c:v>
                </c:pt>
                <c:pt idx="5613">
                  <c:v>1.5858128129818444E-3</c:v>
                </c:pt>
                <c:pt idx="5614">
                  <c:v>1.6450389761121045E-3</c:v>
                </c:pt>
                <c:pt idx="5615">
                  <c:v>1.702734563181068E-3</c:v>
                </c:pt>
                <c:pt idx="5616">
                  <c:v>1.7649655391877533E-3</c:v>
                </c:pt>
                <c:pt idx="5617">
                  <c:v>1.9272286707588215E-3</c:v>
                </c:pt>
                <c:pt idx="5618">
                  <c:v>2.057620685668188E-3</c:v>
                </c:pt>
                <c:pt idx="5619">
                  <c:v>2.1758023888957031E-3</c:v>
                </c:pt>
                <c:pt idx="5620">
                  <c:v>2.2752579886117937E-3</c:v>
                </c:pt>
                <c:pt idx="5621">
                  <c:v>2.4192838533831753E-3</c:v>
                </c:pt>
                <c:pt idx="5622">
                  <c:v>2.552952577304677E-3</c:v>
                </c:pt>
                <c:pt idx="5623">
                  <c:v>2.7071051054361841E-3</c:v>
                </c:pt>
                <c:pt idx="5624">
                  <c:v>2.8410612205657664E-3</c:v>
                </c:pt>
                <c:pt idx="5625">
                  <c:v>2.9507435838422138E-3</c:v>
                </c:pt>
                <c:pt idx="5626">
                  <c:v>3.0419277898026029E-3</c:v>
                </c:pt>
                <c:pt idx="5627">
                  <c:v>3.1112066031924609E-3</c:v>
                </c:pt>
                <c:pt idx="5628">
                  <c:v>3.1614826381690174E-3</c:v>
                </c:pt>
                <c:pt idx="5629">
                  <c:v>3.1926629794897326E-3</c:v>
                </c:pt>
                <c:pt idx="5630">
                  <c:v>3.2014911356963898E-3</c:v>
                </c:pt>
                <c:pt idx="5631">
                  <c:v>3.1882485334924081E-3</c:v>
                </c:pt>
                <c:pt idx="5632">
                  <c:v>3.1528551127424087E-3</c:v>
                </c:pt>
                <c:pt idx="5633">
                  <c:v>3.0997577298739185E-3</c:v>
                </c:pt>
                <c:pt idx="5634">
                  <c:v>3.0678006728006549E-3</c:v>
                </c:pt>
                <c:pt idx="5635">
                  <c:v>3.0219324510310148E-3</c:v>
                </c:pt>
                <c:pt idx="5636">
                  <c:v>2.9604684059784058E-3</c:v>
                </c:pt>
                <c:pt idx="5637">
                  <c:v>2.8788066364588989E-3</c:v>
                </c:pt>
                <c:pt idx="5638">
                  <c:v>2.7746662124711629E-3</c:v>
                </c:pt>
                <c:pt idx="5639">
                  <c:v>2.6517313752454029E-3</c:v>
                </c:pt>
                <c:pt idx="5640">
                  <c:v>2.5078767402864971E-3</c:v>
                </c:pt>
                <c:pt idx="5641">
                  <c:v>2.3467040238783323E-3</c:v>
                </c:pt>
                <c:pt idx="5642">
                  <c:v>2.208439358356355E-3</c:v>
                </c:pt>
                <c:pt idx="5643">
                  <c:v>2.0670637730440021E-3</c:v>
                </c:pt>
                <c:pt idx="5644">
                  <c:v>1.9387160726184953E-3</c:v>
                </c:pt>
                <c:pt idx="5645">
                  <c:v>1.7998941302451946E-3</c:v>
                </c:pt>
                <c:pt idx="5646">
                  <c:v>1.6529294019630148E-3</c:v>
                </c:pt>
                <c:pt idx="5647">
                  <c:v>1.5762094812515673E-3</c:v>
                </c:pt>
                <c:pt idx="5648">
                  <c:v>1.4903926760397462E-3</c:v>
                </c:pt>
                <c:pt idx="5649">
                  <c:v>1.3909472722454172E-3</c:v>
                </c:pt>
                <c:pt idx="5650">
                  <c:v>1.2675483828556292E-3</c:v>
                </c:pt>
                <c:pt idx="5651">
                  <c:v>1.2093053209238128E-3</c:v>
                </c:pt>
                <c:pt idx="5652">
                  <c:v>1.1598551852210891E-3</c:v>
                </c:pt>
                <c:pt idx="5653">
                  <c:v>1.1559989434503433E-3</c:v>
                </c:pt>
                <c:pt idx="5654">
                  <c:v>1.1575086720223991E-3</c:v>
                </c:pt>
                <c:pt idx="5655">
                  <c:v>1.1642151499389646E-3</c:v>
                </c:pt>
                <c:pt idx="5656">
                  <c:v>1.1712389656561174E-3</c:v>
                </c:pt>
                <c:pt idx="5657">
                  <c:v>1.1836449980380777E-3</c:v>
                </c:pt>
                <c:pt idx="5658">
                  <c:v>1.1960951438606433E-3</c:v>
                </c:pt>
                <c:pt idx="5659">
                  <c:v>1.2085971525785165E-3</c:v>
                </c:pt>
                <c:pt idx="5660">
                  <c:v>1.2162928038178063E-3</c:v>
                </c:pt>
                <c:pt idx="5661">
                  <c:v>1.2507454920386444E-3</c:v>
                </c:pt>
                <c:pt idx="5662">
                  <c:v>1.3413950684220107E-3</c:v>
                </c:pt>
                <c:pt idx="5663">
                  <c:v>1.4281681696795658E-3</c:v>
                </c:pt>
                <c:pt idx="5664">
                  <c:v>1.5175253243884619E-3</c:v>
                </c:pt>
                <c:pt idx="5665">
                  <c:v>1.7403625538006506E-3</c:v>
                </c:pt>
                <c:pt idx="5666">
                  <c:v>1.9276915226958825E-3</c:v>
                </c:pt>
                <c:pt idx="5667">
                  <c:v>2.085755375236305E-3</c:v>
                </c:pt>
                <c:pt idx="5668">
                  <c:v>2.2742356136048617E-3</c:v>
                </c:pt>
                <c:pt idx="5669">
                  <c:v>2.4191760767654949E-3</c:v>
                </c:pt>
                <c:pt idx="5670">
                  <c:v>2.5977452531988918E-3</c:v>
                </c:pt>
                <c:pt idx="5671">
                  <c:v>2.7608685469088924E-3</c:v>
                </c:pt>
                <c:pt idx="5672">
                  <c:v>2.9353841788689987E-3</c:v>
                </c:pt>
                <c:pt idx="5673">
                  <c:v>3.077193292451067E-3</c:v>
                </c:pt>
                <c:pt idx="5674">
                  <c:v>3.1906030462253354E-3</c:v>
                </c:pt>
                <c:pt idx="5675">
                  <c:v>3.28244407898833E-3</c:v>
                </c:pt>
                <c:pt idx="5676">
                  <c:v>3.3511100414539072E-3</c:v>
                </c:pt>
                <c:pt idx="5677">
                  <c:v>3.3979719237632075E-3</c:v>
                </c:pt>
                <c:pt idx="5678">
                  <c:v>3.4318343654385678E-3</c:v>
                </c:pt>
                <c:pt idx="5679">
                  <c:v>3.4542658665882874E-3</c:v>
                </c:pt>
                <c:pt idx="5680">
                  <c:v>3.4567861326525407E-3</c:v>
                </c:pt>
                <c:pt idx="5681">
                  <c:v>3.4392112032932453E-3</c:v>
                </c:pt>
                <c:pt idx="5682">
                  <c:v>3.4162832339818604E-3</c:v>
                </c:pt>
                <c:pt idx="5683">
                  <c:v>3.3792998269269394E-3</c:v>
                </c:pt>
                <c:pt idx="5684">
                  <c:v>3.4108021264218956E-3</c:v>
                </c:pt>
                <c:pt idx="5685">
                  <c:v>3.4237488599417453E-3</c:v>
                </c:pt>
                <c:pt idx="5686">
                  <c:v>3.4028426949188218E-3</c:v>
                </c:pt>
                <c:pt idx="5687">
                  <c:v>3.3584077673043992E-3</c:v>
                </c:pt>
                <c:pt idx="5688">
                  <c:v>3.2796301188186112E-3</c:v>
                </c:pt>
                <c:pt idx="5689">
                  <c:v>3.1698568199901365E-3</c:v>
                </c:pt>
                <c:pt idx="5690">
                  <c:v>3.0287260834587102E-3</c:v>
                </c:pt>
                <c:pt idx="5691">
                  <c:v>2.8850573320652194E-3</c:v>
                </c:pt>
                <c:pt idx="5692">
                  <c:v>2.76845914419541E-3</c:v>
                </c:pt>
                <c:pt idx="5693">
                  <c:v>2.6375144188704406E-3</c:v>
                </c:pt>
                <c:pt idx="5694">
                  <c:v>2.5020043106508232E-3</c:v>
                </c:pt>
                <c:pt idx="5695">
                  <c:v>2.461371393444755E-3</c:v>
                </c:pt>
                <c:pt idx="5696">
                  <c:v>2.4084815217339881E-3</c:v>
                </c:pt>
                <c:pt idx="5697">
                  <c:v>2.3387238363188679E-3</c:v>
                </c:pt>
                <c:pt idx="5698">
                  <c:v>2.2981862599037017E-3</c:v>
                </c:pt>
                <c:pt idx="5699">
                  <c:v>2.2335516015112816E-3</c:v>
                </c:pt>
                <c:pt idx="5700">
                  <c:v>2.2086305857170301E-3</c:v>
                </c:pt>
                <c:pt idx="5701">
                  <c:v>2.1745832160942466E-3</c:v>
                </c:pt>
                <c:pt idx="5702">
                  <c:v>2.1601470415949361E-3</c:v>
                </c:pt>
                <c:pt idx="5703">
                  <c:v>2.134166730419339E-3</c:v>
                </c:pt>
                <c:pt idx="5704">
                  <c:v>2.0960427843590263E-3</c:v>
                </c:pt>
                <c:pt idx="5705">
                  <c:v>2.0455887074389469E-3</c:v>
                </c:pt>
                <c:pt idx="5706">
                  <c:v>1.9780509354767007E-3</c:v>
                </c:pt>
                <c:pt idx="5707">
                  <c:v>1.8953530752973962E-3</c:v>
                </c:pt>
                <c:pt idx="5708">
                  <c:v>1.7957650972720122E-3</c:v>
                </c:pt>
                <c:pt idx="5709">
                  <c:v>1.6906987438315563E-3</c:v>
                </c:pt>
                <c:pt idx="5710">
                  <c:v>1.5762134481127781E-3</c:v>
                </c:pt>
                <c:pt idx="5711">
                  <c:v>1.5350487047849667E-3</c:v>
                </c:pt>
                <c:pt idx="5712">
                  <c:v>1.4960479221308915E-3</c:v>
                </c:pt>
                <c:pt idx="5713">
                  <c:v>1.4876857070164405E-3</c:v>
                </c:pt>
                <c:pt idx="5714">
                  <c:v>1.6525473609565317E-3</c:v>
                </c:pt>
                <c:pt idx="5715">
                  <c:v>1.8373394144698503E-3</c:v>
                </c:pt>
                <c:pt idx="5716">
                  <c:v>2.0535254440731663E-3</c:v>
                </c:pt>
                <c:pt idx="5717">
                  <c:v>2.2342274226706026E-3</c:v>
                </c:pt>
                <c:pt idx="5718">
                  <c:v>2.3807117435101529E-3</c:v>
                </c:pt>
                <c:pt idx="5719">
                  <c:v>2.4985890196324544E-3</c:v>
                </c:pt>
                <c:pt idx="5720">
                  <c:v>2.599247832365609E-3</c:v>
                </c:pt>
                <c:pt idx="5721">
                  <c:v>2.678727544255861E-3</c:v>
                </c:pt>
                <c:pt idx="5722">
                  <c:v>2.7484992937051355E-3</c:v>
                </c:pt>
                <c:pt idx="5723">
                  <c:v>2.8109946185968459E-3</c:v>
                </c:pt>
                <c:pt idx="5724">
                  <c:v>2.8664378118037474E-3</c:v>
                </c:pt>
                <c:pt idx="5725">
                  <c:v>2.9054394361273522E-3</c:v>
                </c:pt>
                <c:pt idx="5726">
                  <c:v>2.9323205858338901E-3</c:v>
                </c:pt>
                <c:pt idx="5727">
                  <c:v>2.9483922129796111E-3</c:v>
                </c:pt>
                <c:pt idx="5728">
                  <c:v>2.9491189181964318E-3</c:v>
                </c:pt>
                <c:pt idx="5729">
                  <c:v>2.9348231586342451E-3</c:v>
                </c:pt>
                <c:pt idx="5730">
                  <c:v>2.9094321401407388E-3</c:v>
                </c:pt>
                <c:pt idx="5731">
                  <c:v>2.8685485746334132E-3</c:v>
                </c:pt>
                <c:pt idx="5732">
                  <c:v>2.8166070407603474E-3</c:v>
                </c:pt>
                <c:pt idx="5733">
                  <c:v>2.7515013074879378E-3</c:v>
                </c:pt>
                <c:pt idx="5734">
                  <c:v>2.6716743387445187E-3</c:v>
                </c:pt>
                <c:pt idx="5735">
                  <c:v>2.5723178140956955E-3</c:v>
                </c:pt>
                <c:pt idx="5736">
                  <c:v>2.4446348617077969E-3</c:v>
                </c:pt>
                <c:pt idx="5737">
                  <c:v>2.2896631497644512E-3</c:v>
                </c:pt>
                <c:pt idx="5738">
                  <c:v>2.0986308810983581E-3</c:v>
                </c:pt>
                <c:pt idx="5739">
                  <c:v>1.8675007251617711E-3</c:v>
                </c:pt>
                <c:pt idx="5740">
                  <c:v>1.6105355445074018E-3</c:v>
                </c:pt>
                <c:pt idx="5741">
                  <c:v>1.4683539135767999E-3</c:v>
                </c:pt>
                <c:pt idx="5742">
                  <c:v>1.3048644070463081E-3</c:v>
                </c:pt>
                <c:pt idx="5743">
                  <c:v>1.1707873087344048E-3</c:v>
                </c:pt>
                <c:pt idx="5744">
                  <c:v>1.0995007852883957E-3</c:v>
                </c:pt>
                <c:pt idx="5745">
                  <c:v>1.0598014747750753E-3</c:v>
                </c:pt>
                <c:pt idx="5746">
                  <c:v>1.073426529357394E-3</c:v>
                </c:pt>
                <c:pt idx="5747">
                  <c:v>1.0872088765629883E-3</c:v>
                </c:pt>
                <c:pt idx="5748">
                  <c:v>1.1129681982538912E-3</c:v>
                </c:pt>
                <c:pt idx="5749">
                  <c:v>1.1322401037335761E-3</c:v>
                </c:pt>
                <c:pt idx="5750">
                  <c:v>1.1457365608833218E-3</c:v>
                </c:pt>
                <c:pt idx="5751">
                  <c:v>1.1533803920015372E-3</c:v>
                </c:pt>
                <c:pt idx="5752">
                  <c:v>1.1655398030668653E-3</c:v>
                </c:pt>
                <c:pt idx="5753">
                  <c:v>1.1779450352049391E-3</c:v>
                </c:pt>
                <c:pt idx="5754">
                  <c:v>1.1959748866478069E-3</c:v>
                </c:pt>
                <c:pt idx="5755">
                  <c:v>1.208978103659637E-3</c:v>
                </c:pt>
                <c:pt idx="5756">
                  <c:v>1.2217766772143861E-3</c:v>
                </c:pt>
                <c:pt idx="5757">
                  <c:v>1.2340935261214139E-3</c:v>
                </c:pt>
                <c:pt idx="5758">
                  <c:v>1.2413729072264575E-3</c:v>
                </c:pt>
                <c:pt idx="5759">
                  <c:v>1.2490785473023116E-3</c:v>
                </c:pt>
                <c:pt idx="5760">
                  <c:v>1.2512659702924615E-3</c:v>
                </c:pt>
                <c:pt idx="5761">
                  <c:v>1.2850431414566051E-3</c:v>
                </c:pt>
                <c:pt idx="5762">
                  <c:v>1.3216080386430503E-3</c:v>
                </c:pt>
                <c:pt idx="5763">
                  <c:v>1.3647163885046742E-3</c:v>
                </c:pt>
                <c:pt idx="5764">
                  <c:v>1.4019667345287106E-3</c:v>
                </c:pt>
                <c:pt idx="5765">
                  <c:v>1.5280030323832907E-3</c:v>
                </c:pt>
                <c:pt idx="5766">
                  <c:v>1.6289712678762152E-3</c:v>
                </c:pt>
                <c:pt idx="5767">
                  <c:v>1.7500010916027735E-3</c:v>
                </c:pt>
                <c:pt idx="5768">
                  <c:v>1.8489753850128971E-3</c:v>
                </c:pt>
                <c:pt idx="5769">
                  <c:v>1.9621370778706332E-3</c:v>
                </c:pt>
                <c:pt idx="5770">
                  <c:v>2.0615066400013469E-3</c:v>
                </c:pt>
                <c:pt idx="5771">
                  <c:v>2.1387579679136856E-3</c:v>
                </c:pt>
                <c:pt idx="5772">
                  <c:v>2.2089693057983149E-3</c:v>
                </c:pt>
                <c:pt idx="5773">
                  <c:v>2.2621972583228775E-3</c:v>
                </c:pt>
                <c:pt idx="5774">
                  <c:v>2.3074953910938176E-3</c:v>
                </c:pt>
                <c:pt idx="5775">
                  <c:v>2.3384570575394159E-3</c:v>
                </c:pt>
                <c:pt idx="5776">
                  <c:v>2.3596040647655544E-3</c:v>
                </c:pt>
                <c:pt idx="5777">
                  <c:v>2.372335172611558E-3</c:v>
                </c:pt>
                <c:pt idx="5778">
                  <c:v>2.4852391383667076E-3</c:v>
                </c:pt>
                <c:pt idx="5779">
                  <c:v>2.601625660308375E-3</c:v>
                </c:pt>
                <c:pt idx="5780">
                  <c:v>2.6909887842909925E-3</c:v>
                </c:pt>
                <c:pt idx="5781">
                  <c:v>2.7557788634225487E-3</c:v>
                </c:pt>
                <c:pt idx="5782">
                  <c:v>2.8027597774699328E-3</c:v>
                </c:pt>
                <c:pt idx="5783">
                  <c:v>2.8321246218700104E-3</c:v>
                </c:pt>
                <c:pt idx="5784">
                  <c:v>2.8484881976782927E-3</c:v>
                </c:pt>
                <c:pt idx="5785">
                  <c:v>2.8397012260838028E-3</c:v>
                </c:pt>
                <c:pt idx="5786">
                  <c:v>2.818980928302098E-3</c:v>
                </c:pt>
                <c:pt idx="5787">
                  <c:v>2.7811681198340993E-3</c:v>
                </c:pt>
                <c:pt idx="5788">
                  <c:v>2.7250676593069119E-3</c:v>
                </c:pt>
                <c:pt idx="5789">
                  <c:v>2.6468936823655143E-3</c:v>
                </c:pt>
                <c:pt idx="5790">
                  <c:v>2.5431229219621521E-3</c:v>
                </c:pt>
                <c:pt idx="5791">
                  <c:v>2.4637275813102289E-3</c:v>
                </c:pt>
                <c:pt idx="5792">
                  <c:v>2.3729173275415364E-3</c:v>
                </c:pt>
                <c:pt idx="5793">
                  <c:v>2.2702671967839557E-3</c:v>
                </c:pt>
                <c:pt idx="5794">
                  <c:v>2.1411190984873931E-3</c:v>
                </c:pt>
                <c:pt idx="5795">
                  <c:v>2.0826052562086237E-3</c:v>
                </c:pt>
                <c:pt idx="5796">
                  <c:v>2.011836465954792E-3</c:v>
                </c:pt>
                <c:pt idx="5797">
                  <c:v>1.955789387897909E-3</c:v>
                </c:pt>
                <c:pt idx="5798">
                  <c:v>1.8917063586811594E-3</c:v>
                </c:pt>
                <c:pt idx="5799">
                  <c:v>1.8576389042749737E-3</c:v>
                </c:pt>
                <c:pt idx="5800">
                  <c:v>1.8336436203104914E-3</c:v>
                </c:pt>
                <c:pt idx="5801">
                  <c:v>1.8051347361416334E-3</c:v>
                </c:pt>
                <c:pt idx="5802">
                  <c:v>1.8496873057138436E-3</c:v>
                </c:pt>
                <c:pt idx="5803">
                  <c:v>1.9093148885663044E-3</c:v>
                </c:pt>
                <c:pt idx="5804">
                  <c:v>1.9407664367619639E-3</c:v>
                </c:pt>
                <c:pt idx="5805">
                  <c:v>1.9452956285425183E-3</c:v>
                </c:pt>
                <c:pt idx="5806">
                  <c:v>1.9235202228404036E-3</c:v>
                </c:pt>
                <c:pt idx="5807">
                  <c:v>1.8875567660763619E-3</c:v>
                </c:pt>
                <c:pt idx="5808">
                  <c:v>1.9473298903786907E-3</c:v>
                </c:pt>
                <c:pt idx="5809">
                  <c:v>2.0114815467344137E-3</c:v>
                </c:pt>
                <c:pt idx="5810">
                  <c:v>2.0624038567708587E-3</c:v>
                </c:pt>
                <c:pt idx="5811">
                  <c:v>2.1054637760965543E-3</c:v>
                </c:pt>
                <c:pt idx="5812">
                  <c:v>2.1449791007576006E-3</c:v>
                </c:pt>
                <c:pt idx="5813">
                  <c:v>2.1762286341007334E-3</c:v>
                </c:pt>
                <c:pt idx="5814">
                  <c:v>2.2053238147755646E-3</c:v>
                </c:pt>
                <c:pt idx="5815">
                  <c:v>2.2187127703056325E-3</c:v>
                </c:pt>
                <c:pt idx="5816">
                  <c:v>2.224128841047121E-3</c:v>
                </c:pt>
                <c:pt idx="5817">
                  <c:v>2.2264582103235192E-3</c:v>
                </c:pt>
                <c:pt idx="5818">
                  <c:v>2.2257473498262185E-3</c:v>
                </c:pt>
                <c:pt idx="5819">
                  <c:v>2.2300372135966554E-3</c:v>
                </c:pt>
                <c:pt idx="5820">
                  <c:v>2.2197946109589785E-3</c:v>
                </c:pt>
                <c:pt idx="5821">
                  <c:v>2.2049468877711215E-3</c:v>
                </c:pt>
                <c:pt idx="5822">
                  <c:v>2.1767922856744792E-3</c:v>
                </c:pt>
                <c:pt idx="5823">
                  <c:v>2.1343009345645351E-3</c:v>
                </c:pt>
                <c:pt idx="5824">
                  <c:v>2.080417457016617E-3</c:v>
                </c:pt>
                <c:pt idx="5825">
                  <c:v>2.1976000648578973E-3</c:v>
                </c:pt>
                <c:pt idx="5826">
                  <c:v>2.2816595619540121E-3</c:v>
                </c:pt>
                <c:pt idx="5827">
                  <c:v>2.3255571097588121E-3</c:v>
                </c:pt>
                <c:pt idx="5828">
                  <c:v>2.3364487836552124E-3</c:v>
                </c:pt>
                <c:pt idx="5829">
                  <c:v>2.3351169290756623E-3</c:v>
                </c:pt>
                <c:pt idx="5830">
                  <c:v>2.3397042526553716E-3</c:v>
                </c:pt>
                <c:pt idx="5831">
                  <c:v>2.3291489623348811E-3</c:v>
                </c:pt>
                <c:pt idx="5832">
                  <c:v>2.3756275851875529E-3</c:v>
                </c:pt>
                <c:pt idx="5833">
                  <c:v>2.4292110389104635E-3</c:v>
                </c:pt>
                <c:pt idx="5834">
                  <c:v>2.4682857928075667E-3</c:v>
                </c:pt>
                <c:pt idx="5835">
                  <c:v>2.4934831245903523E-3</c:v>
                </c:pt>
                <c:pt idx="5836">
                  <c:v>2.5056696897338819E-3</c:v>
                </c:pt>
                <c:pt idx="5837">
                  <c:v>2.5049951272815398E-3</c:v>
                </c:pt>
                <c:pt idx="5838">
                  <c:v>2.4961908428180585E-3</c:v>
                </c:pt>
                <c:pt idx="5839">
                  <c:v>2.4790533167433739E-3</c:v>
                </c:pt>
                <c:pt idx="5840">
                  <c:v>2.4494118732128292E-3</c:v>
                </c:pt>
                <c:pt idx="5841">
                  <c:v>2.4112533197337086E-3</c:v>
                </c:pt>
                <c:pt idx="5842">
                  <c:v>2.3649624851441661E-3</c:v>
                </c:pt>
                <c:pt idx="5843">
                  <c:v>2.3054470917197238E-3</c:v>
                </c:pt>
                <c:pt idx="5844">
                  <c:v>2.2455639833939222E-3</c:v>
                </c:pt>
                <c:pt idx="5845">
                  <c:v>2.1748453570792454E-3</c:v>
                </c:pt>
                <c:pt idx="5846">
                  <c:v>2.091478809072264E-3</c:v>
                </c:pt>
                <c:pt idx="5847">
                  <c:v>1.9963460952826303E-3</c:v>
                </c:pt>
                <c:pt idx="5848">
                  <c:v>1.888117646543432E-3</c:v>
                </c:pt>
                <c:pt idx="5849">
                  <c:v>1.7928758905853106E-3</c:v>
                </c:pt>
                <c:pt idx="5850">
                  <c:v>1.6787189343090876E-3</c:v>
                </c:pt>
                <c:pt idx="5851">
                  <c:v>1.5417138500638122E-3</c:v>
                </c:pt>
                <c:pt idx="5852">
                  <c:v>1.3751453840783229E-3</c:v>
                </c:pt>
                <c:pt idx="5853">
                  <c:v>1.1660279438434481E-3</c:v>
                </c:pt>
                <c:pt idx="5854">
                  <c:v>9.0452182831870641E-4</c:v>
                </c:pt>
                <c:pt idx="5855">
                  <c:v>9.1631949904335912E-4</c:v>
                </c:pt>
                <c:pt idx="5856">
                  <c:v>9.2580232161694237E-4</c:v>
                </c:pt>
                <c:pt idx="5857">
                  <c:v>9.3298871186229659E-4</c:v>
                </c:pt>
                <c:pt idx="5858">
                  <c:v>9.8600791255594716E-4</c:v>
                </c:pt>
                <c:pt idx="5859">
                  <c:v>1.0267651725833849E-3</c:v>
                </c:pt>
                <c:pt idx="5860">
                  <c:v>1.081834473119745E-3</c:v>
                </c:pt>
                <c:pt idx="5861">
                  <c:v>1.1290237508957525E-3</c:v>
                </c:pt>
                <c:pt idx="5862">
                  <c:v>1.1694138954394535E-3</c:v>
                </c:pt>
                <c:pt idx="5863">
                  <c:v>1.2090941414536873E-3</c:v>
                </c:pt>
                <c:pt idx="5864">
                  <c:v>1.2421733073337527E-3</c:v>
                </c:pt>
                <c:pt idx="5865">
                  <c:v>1.2694551792378802E-3</c:v>
                </c:pt>
                <c:pt idx="5866">
                  <c:v>1.4076011969200932E-3</c:v>
                </c:pt>
                <c:pt idx="5867">
                  <c:v>1.5942635678303297E-3</c:v>
                </c:pt>
                <c:pt idx="5868">
                  <c:v>1.7595155149596922E-3</c:v>
                </c:pt>
                <c:pt idx="5869">
                  <c:v>1.9041125918471222E-3</c:v>
                </c:pt>
                <c:pt idx="5870">
                  <c:v>2.023202684725564E-3</c:v>
                </c:pt>
                <c:pt idx="5871">
                  <c:v>2.1261880326019361E-3</c:v>
                </c:pt>
                <c:pt idx="5872">
                  <c:v>2.2095872489626481E-3</c:v>
                </c:pt>
                <c:pt idx="5873">
                  <c:v>2.2757040172967781E-3</c:v>
                </c:pt>
                <c:pt idx="5874">
                  <c:v>2.3298664357262076E-3</c:v>
                </c:pt>
                <c:pt idx="5875">
                  <c:v>2.3687289484510443E-3</c:v>
                </c:pt>
                <c:pt idx="5876">
                  <c:v>2.4026634931792429E-3</c:v>
                </c:pt>
                <c:pt idx="5877">
                  <c:v>2.4238128986302913E-3</c:v>
                </c:pt>
                <c:pt idx="5878">
                  <c:v>2.4329564911251822E-3</c:v>
                </c:pt>
                <c:pt idx="5879">
                  <c:v>2.4639099332404474E-3</c:v>
                </c:pt>
                <c:pt idx="5880">
                  <c:v>2.4788974212555633E-3</c:v>
                </c:pt>
                <c:pt idx="5881">
                  <c:v>2.5586054446797343E-3</c:v>
                </c:pt>
                <c:pt idx="5882">
                  <c:v>2.6237004412239064E-3</c:v>
                </c:pt>
                <c:pt idx="5883">
                  <c:v>2.6587716811173724E-3</c:v>
                </c:pt>
                <c:pt idx="5884">
                  <c:v>2.6852785203214536E-3</c:v>
                </c:pt>
                <c:pt idx="5885">
                  <c:v>2.8663380777504432E-3</c:v>
                </c:pt>
                <c:pt idx="5886">
                  <c:v>3.0126239989593847E-3</c:v>
                </c:pt>
                <c:pt idx="5887">
                  <c:v>3.1149118010952172E-3</c:v>
                </c:pt>
                <c:pt idx="5888">
                  <c:v>3.215675187947051E-3</c:v>
                </c:pt>
                <c:pt idx="5889">
                  <c:v>3.2832516115556963E-3</c:v>
                </c:pt>
                <c:pt idx="5890">
                  <c:v>3.3284577294370832E-3</c:v>
                </c:pt>
                <c:pt idx="5891">
                  <c:v>3.3444993286672873E-3</c:v>
                </c:pt>
                <c:pt idx="5892">
                  <c:v>3.3274243436762813E-3</c:v>
                </c:pt>
                <c:pt idx="5893">
                  <c:v>3.2864904387598448E-3</c:v>
                </c:pt>
                <c:pt idx="5894">
                  <c:v>3.2161359912465815E-3</c:v>
                </c:pt>
                <c:pt idx="5895">
                  <c:v>3.1147303917383813E-3</c:v>
                </c:pt>
                <c:pt idx="5896">
                  <c:v>3.0771243252327584E-3</c:v>
                </c:pt>
                <c:pt idx="5897">
                  <c:v>3.0650939788178415E-3</c:v>
                </c:pt>
                <c:pt idx="5898">
                  <c:v>3.046063462709673E-3</c:v>
                </c:pt>
                <c:pt idx="5899">
                  <c:v>3.0160936555242647E-3</c:v>
                </c:pt>
                <c:pt idx="5900">
                  <c:v>2.971629438656101E-3</c:v>
                </c:pt>
                <c:pt idx="5901">
                  <c:v>2.9159341715979227E-3</c:v>
                </c:pt>
                <c:pt idx="5902">
                  <c:v>2.8474863621628758E-3</c:v>
                </c:pt>
                <c:pt idx="5903">
                  <c:v>2.7959566401179708E-3</c:v>
                </c:pt>
                <c:pt idx="5904">
                  <c:v>2.7268590372499513E-3</c:v>
                </c:pt>
                <c:pt idx="5905">
                  <c:v>2.6277257580000872E-3</c:v>
                </c:pt>
                <c:pt idx="5906">
                  <c:v>2.5070953889843243E-3</c:v>
                </c:pt>
                <c:pt idx="5907">
                  <c:v>2.3632091286652089E-3</c:v>
                </c:pt>
                <c:pt idx="5908">
                  <c:v>2.1823300347592021E-3</c:v>
                </c:pt>
                <c:pt idx="5909">
                  <c:v>2.1016088210684242E-3</c:v>
                </c:pt>
                <c:pt idx="5910">
                  <c:v>2.0109278631086154E-3</c:v>
                </c:pt>
                <c:pt idx="5911">
                  <c:v>2.0201336459604691E-3</c:v>
                </c:pt>
                <c:pt idx="5912">
                  <c:v>2.018107691976558E-3</c:v>
                </c:pt>
                <c:pt idx="5913">
                  <c:v>2.0524062734213924E-3</c:v>
                </c:pt>
                <c:pt idx="5914">
                  <c:v>2.2340500678110801E-3</c:v>
                </c:pt>
                <c:pt idx="5915">
                  <c:v>2.5574096103416852E-3</c:v>
                </c:pt>
                <c:pt idx="5916">
                  <c:v>2.8597574191442476E-3</c:v>
                </c:pt>
                <c:pt idx="5917">
                  <c:v>3.1203398869069604E-3</c:v>
                </c:pt>
                <c:pt idx="5918">
                  <c:v>3.3542211865971562E-3</c:v>
                </c:pt>
                <c:pt idx="5919">
                  <c:v>3.547415517897415E-3</c:v>
                </c:pt>
                <c:pt idx="5920">
                  <c:v>3.7564401462168565E-3</c:v>
                </c:pt>
                <c:pt idx="5921">
                  <c:v>3.93808642693428E-3</c:v>
                </c:pt>
                <c:pt idx="5922">
                  <c:v>4.0814860977344417E-3</c:v>
                </c:pt>
                <c:pt idx="5923">
                  <c:v>4.1927258364353017E-3</c:v>
                </c:pt>
                <c:pt idx="5924">
                  <c:v>4.2788935855264977E-3</c:v>
                </c:pt>
                <c:pt idx="5925">
                  <c:v>4.3366670125139636E-3</c:v>
                </c:pt>
                <c:pt idx="5926">
                  <c:v>4.363514345441518E-3</c:v>
                </c:pt>
                <c:pt idx="5927">
                  <c:v>4.3632820846795633E-3</c:v>
                </c:pt>
                <c:pt idx="5928">
                  <c:v>4.3357914767342947E-3</c:v>
                </c:pt>
                <c:pt idx="5929">
                  <c:v>4.2805455791207004E-3</c:v>
                </c:pt>
                <c:pt idx="5930">
                  <c:v>4.196868589004114E-3</c:v>
                </c:pt>
                <c:pt idx="5931">
                  <c:v>4.0825058281697517E-3</c:v>
                </c:pt>
                <c:pt idx="5932">
                  <c:v>3.9439609198848261E-3</c:v>
                </c:pt>
                <c:pt idx="5933">
                  <c:v>3.8260875548007836E-3</c:v>
                </c:pt>
                <c:pt idx="5934">
                  <c:v>3.6962503731573009E-3</c:v>
                </c:pt>
                <c:pt idx="5935">
                  <c:v>3.5488688702927039E-3</c:v>
                </c:pt>
                <c:pt idx="5936">
                  <c:v>3.3716518549308711E-3</c:v>
                </c:pt>
                <c:pt idx="5937">
                  <c:v>3.1690688962766581E-3</c:v>
                </c:pt>
                <c:pt idx="5938">
                  <c:v>2.9113785934928439E-3</c:v>
                </c:pt>
                <c:pt idx="5939">
                  <c:v>2.7237222689486702E-3</c:v>
                </c:pt>
                <c:pt idx="5940">
                  <c:v>2.5704002420934386E-3</c:v>
                </c:pt>
                <c:pt idx="5941">
                  <c:v>2.4385437269580164E-3</c:v>
                </c:pt>
                <c:pt idx="5942">
                  <c:v>2.2758677021299579E-3</c:v>
                </c:pt>
                <c:pt idx="5943">
                  <c:v>2.1755463349909881E-3</c:v>
                </c:pt>
                <c:pt idx="5944">
                  <c:v>2.186063976231202E-3</c:v>
                </c:pt>
                <c:pt idx="5945">
                  <c:v>2.2155026337711548E-3</c:v>
                </c:pt>
                <c:pt idx="5946">
                  <c:v>2.247836385710108E-3</c:v>
                </c:pt>
                <c:pt idx="5947">
                  <c:v>2.2700008341163163E-3</c:v>
                </c:pt>
                <c:pt idx="5948">
                  <c:v>2.2882817780358632E-3</c:v>
                </c:pt>
                <c:pt idx="5949">
                  <c:v>2.2899846063760857E-3</c:v>
                </c:pt>
                <c:pt idx="5950">
                  <c:v>2.3871638512181158E-3</c:v>
                </c:pt>
                <c:pt idx="5951">
                  <c:v>2.4698875190065769E-3</c:v>
                </c:pt>
                <c:pt idx="5952">
                  <c:v>2.5333780468941042E-3</c:v>
                </c:pt>
                <c:pt idx="5953">
                  <c:v>2.5791323357417348E-3</c:v>
                </c:pt>
                <c:pt idx="5954">
                  <c:v>2.6118879053890266E-3</c:v>
                </c:pt>
                <c:pt idx="5955">
                  <c:v>2.6286131421676137E-3</c:v>
                </c:pt>
                <c:pt idx="5956">
                  <c:v>2.6300170644145936E-3</c:v>
                </c:pt>
                <c:pt idx="5957">
                  <c:v>2.6237145575206586E-3</c:v>
                </c:pt>
                <c:pt idx="5958">
                  <c:v>2.6006595136325674E-3</c:v>
                </c:pt>
                <c:pt idx="5959">
                  <c:v>2.564412466739714E-3</c:v>
                </c:pt>
                <c:pt idx="5960">
                  <c:v>2.510006660222228E-3</c:v>
                </c:pt>
                <c:pt idx="5961">
                  <c:v>2.4361548841407132E-3</c:v>
                </c:pt>
                <c:pt idx="5962">
                  <c:v>2.3471541688830219E-3</c:v>
                </c:pt>
                <c:pt idx="5963">
                  <c:v>2.2351094083699337E-3</c:v>
                </c:pt>
                <c:pt idx="5964">
                  <c:v>2.124311168576028E-3</c:v>
                </c:pt>
                <c:pt idx="5965">
                  <c:v>2.023475629880137E-3</c:v>
                </c:pt>
                <c:pt idx="5966">
                  <c:v>1.9206160326541387E-3</c:v>
                </c:pt>
                <c:pt idx="5967">
                  <c:v>1.8215488857093137E-3</c:v>
                </c:pt>
                <c:pt idx="5968">
                  <c:v>1.6984370557922355E-3</c:v>
                </c:pt>
                <c:pt idx="5969">
                  <c:v>1.5547091754819704E-3</c:v>
                </c:pt>
                <c:pt idx="5970">
                  <c:v>1.4620708913111609E-3</c:v>
                </c:pt>
                <c:pt idx="5971">
                  <c:v>1.4143605925098159E-3</c:v>
                </c:pt>
                <c:pt idx="5972">
                  <c:v>1.3741864218348992E-3</c:v>
                </c:pt>
                <c:pt idx="5973">
                  <c:v>1.3483344589742356E-3</c:v>
                </c:pt>
                <c:pt idx="5974">
                  <c:v>1.314397902093751E-3</c:v>
                </c:pt>
                <c:pt idx="5975">
                  <c:v>1.2810099133314821E-3</c:v>
                </c:pt>
                <c:pt idx="5976">
                  <c:v>1.2379851325695051E-3</c:v>
                </c:pt>
                <c:pt idx="5977">
                  <c:v>1.2609072257137189E-3</c:v>
                </c:pt>
                <c:pt idx="5978">
                  <c:v>1.2946858093510476E-3</c:v>
                </c:pt>
                <c:pt idx="5979">
                  <c:v>1.3309475791466864E-3</c:v>
                </c:pt>
                <c:pt idx="5980">
                  <c:v>1.4316000803585303E-3</c:v>
                </c:pt>
                <c:pt idx="5981">
                  <c:v>1.6009469157848117E-3</c:v>
                </c:pt>
                <c:pt idx="5982">
                  <c:v>1.7386542389001953E-3</c:v>
                </c:pt>
                <c:pt idx="5983">
                  <c:v>1.852351221467149E-3</c:v>
                </c:pt>
                <c:pt idx="5984">
                  <c:v>1.9457152287325518E-3</c:v>
                </c:pt>
                <c:pt idx="5985">
                  <c:v>2.021570120767278E-3</c:v>
                </c:pt>
                <c:pt idx="5986">
                  <c:v>2.0982040717368315E-3</c:v>
                </c:pt>
                <c:pt idx="5987">
                  <c:v>2.1713297489873822E-3</c:v>
                </c:pt>
                <c:pt idx="5988">
                  <c:v>2.2292526270711452E-3</c:v>
                </c:pt>
                <c:pt idx="5989">
                  <c:v>2.2770306047741259E-3</c:v>
                </c:pt>
                <c:pt idx="5990">
                  <c:v>2.378555555083834E-3</c:v>
                </c:pt>
                <c:pt idx="5991">
                  <c:v>2.4590368130724188E-3</c:v>
                </c:pt>
                <c:pt idx="5992">
                  <c:v>2.520136845513673E-3</c:v>
                </c:pt>
                <c:pt idx="5993">
                  <c:v>2.5634995200831661E-3</c:v>
                </c:pt>
                <c:pt idx="5994">
                  <c:v>2.5854326757621497E-3</c:v>
                </c:pt>
                <c:pt idx="5995">
                  <c:v>2.5913809135607929E-3</c:v>
                </c:pt>
                <c:pt idx="5996">
                  <c:v>2.5939710843671882E-3</c:v>
                </c:pt>
                <c:pt idx="5997">
                  <c:v>2.5932650833045655E-3</c:v>
                </c:pt>
                <c:pt idx="5998">
                  <c:v>2.5766825133963552E-3</c:v>
                </c:pt>
                <c:pt idx="5999">
                  <c:v>2.5438966078471649E-3</c:v>
                </c:pt>
                <c:pt idx="6000">
                  <c:v>2.4941642728623869E-3</c:v>
                </c:pt>
                <c:pt idx="6001">
                  <c:v>2.4232408493559511E-3</c:v>
                </c:pt>
                <c:pt idx="6002">
                  <c:v>2.33322180240738E-3</c:v>
                </c:pt>
                <c:pt idx="6003">
                  <c:v>2.2215948240349058E-3</c:v>
                </c:pt>
                <c:pt idx="6004">
                  <c:v>2.0925259723184766E-3</c:v>
                </c:pt>
                <c:pt idx="6005">
                  <c:v>1.95376843985547E-3</c:v>
                </c:pt>
                <c:pt idx="6006">
                  <c:v>1.8704871806660252E-3</c:v>
                </c:pt>
                <c:pt idx="6007">
                  <c:v>1.9275267757306535E-3</c:v>
                </c:pt>
                <c:pt idx="6008">
                  <c:v>1.9908291162270553E-3</c:v>
                </c:pt>
                <c:pt idx="6009">
                  <c:v>2.0752655737039435E-3</c:v>
                </c:pt>
                <c:pt idx="6010">
                  <c:v>2.1405766768662145E-3</c:v>
                </c:pt>
                <c:pt idx="6011">
                  <c:v>2.2948718605662346E-3</c:v>
                </c:pt>
                <c:pt idx="6012">
                  <c:v>2.5128368501051708E-3</c:v>
                </c:pt>
                <c:pt idx="6013">
                  <c:v>2.6844623844427835E-3</c:v>
                </c:pt>
                <c:pt idx="6014">
                  <c:v>2.8250832589908439E-3</c:v>
                </c:pt>
                <c:pt idx="6015">
                  <c:v>2.9434589165330659E-3</c:v>
                </c:pt>
                <c:pt idx="6016">
                  <c:v>3.0832373139549059E-3</c:v>
                </c:pt>
                <c:pt idx="6017">
                  <c:v>3.2583574365407713E-3</c:v>
                </c:pt>
                <c:pt idx="6018">
                  <c:v>3.4225727842569194E-3</c:v>
                </c:pt>
                <c:pt idx="6019">
                  <c:v>3.5514569146863342E-3</c:v>
                </c:pt>
                <c:pt idx="6020">
                  <c:v>3.7030150618630152E-3</c:v>
                </c:pt>
                <c:pt idx="6021">
                  <c:v>3.8277457995041946E-3</c:v>
                </c:pt>
                <c:pt idx="6022">
                  <c:v>3.9632125456107075E-3</c:v>
                </c:pt>
                <c:pt idx="6023">
                  <c:v>4.0754005111961816E-3</c:v>
                </c:pt>
                <c:pt idx="6024">
                  <c:v>4.1569097294339823E-3</c:v>
                </c:pt>
                <c:pt idx="6025">
                  <c:v>4.2030763163741413E-3</c:v>
                </c:pt>
                <c:pt idx="6026">
                  <c:v>4.2361865553938024E-3</c:v>
                </c:pt>
                <c:pt idx="6027">
                  <c:v>4.2375462141465191E-3</c:v>
                </c:pt>
                <c:pt idx="6028">
                  <c:v>4.211253451365464E-3</c:v>
                </c:pt>
                <c:pt idx="6029">
                  <c:v>4.1604060314006331E-3</c:v>
                </c:pt>
                <c:pt idx="6030">
                  <c:v>4.0801665813987031E-3</c:v>
                </c:pt>
                <c:pt idx="6031">
                  <c:v>3.9665907606620948E-3</c:v>
                </c:pt>
                <c:pt idx="6032">
                  <c:v>3.8247785840448069E-3</c:v>
                </c:pt>
                <c:pt idx="6033">
                  <c:v>3.6428895488308096E-3</c:v>
                </c:pt>
                <c:pt idx="6034">
                  <c:v>3.4145648033059605E-3</c:v>
                </c:pt>
                <c:pt idx="6035">
                  <c:v>3.1383696422015561E-3</c:v>
                </c:pt>
                <c:pt idx="6036">
                  <c:v>2.9389334203546473E-3</c:v>
                </c:pt>
                <c:pt idx="6037">
                  <c:v>2.7805823325545084E-3</c:v>
                </c:pt>
                <c:pt idx="6038">
                  <c:v>2.6008438564674627E-3</c:v>
                </c:pt>
                <c:pt idx="6039">
                  <c:v>2.4257074304107093E-3</c:v>
                </c:pt>
                <c:pt idx="6040">
                  <c:v>2.2172547833652937E-3</c:v>
                </c:pt>
                <c:pt idx="6041">
                  <c:v>2.0368459779734676E-3</c:v>
                </c:pt>
                <c:pt idx="6042">
                  <c:v>1.9262056789665085E-3</c:v>
                </c:pt>
                <c:pt idx="6043">
                  <c:v>1.7912575584855619E-3</c:v>
                </c:pt>
                <c:pt idx="6044">
                  <c:v>1.6392060566785681E-3</c:v>
                </c:pt>
                <c:pt idx="6045">
                  <c:v>1.46902523011434E-3</c:v>
                </c:pt>
                <c:pt idx="6046">
                  <c:v>1.3433341295848271E-3</c:v>
                </c:pt>
                <c:pt idx="6047">
                  <c:v>1.3024087560544893E-3</c:v>
                </c:pt>
                <c:pt idx="6048">
                  <c:v>1.2810854093734698E-3</c:v>
                </c:pt>
                <c:pt idx="6049">
                  <c:v>1.27736143715962E-3</c:v>
                </c:pt>
                <c:pt idx="6050">
                  <c:v>1.2918778587410239E-3</c:v>
                </c:pt>
                <c:pt idx="6051">
                  <c:v>1.3247324827408825E-3</c:v>
                </c:pt>
                <c:pt idx="6052">
                  <c:v>1.3984806349972981E-3</c:v>
                </c:pt>
                <c:pt idx="6053">
                  <c:v>1.4664699782574626E-3</c:v>
                </c:pt>
                <c:pt idx="6054">
                  <c:v>1.5262348319662168E-3</c:v>
                </c:pt>
                <c:pt idx="6055">
                  <c:v>1.5712493379693249E-3</c:v>
                </c:pt>
                <c:pt idx="6056">
                  <c:v>1.6106940176531224E-3</c:v>
                </c:pt>
                <c:pt idx="6057">
                  <c:v>1.6414632934512465E-3</c:v>
                </c:pt>
                <c:pt idx="6058">
                  <c:v>1.7440467842347453E-3</c:v>
                </c:pt>
                <c:pt idx="6059">
                  <c:v>1.9042607382112743E-3</c:v>
                </c:pt>
                <c:pt idx="6060">
                  <c:v>2.0266951248571583E-3</c:v>
                </c:pt>
                <c:pt idx="6061">
                  <c:v>2.1473642415137306E-3</c:v>
                </c:pt>
                <c:pt idx="6062">
                  <c:v>2.2515168917634962E-3</c:v>
                </c:pt>
                <c:pt idx="6063">
                  <c:v>2.3350048952638382E-3</c:v>
                </c:pt>
                <c:pt idx="6064">
                  <c:v>2.4002757015452311E-3</c:v>
                </c:pt>
                <c:pt idx="6065">
                  <c:v>2.4486490063962323E-3</c:v>
                </c:pt>
                <c:pt idx="6066">
                  <c:v>2.4809632362725372E-3</c:v>
                </c:pt>
                <c:pt idx="6067">
                  <c:v>2.5025302891386399E-3</c:v>
                </c:pt>
                <c:pt idx="6068">
                  <c:v>2.5127691693737904E-3</c:v>
                </c:pt>
                <c:pt idx="6069">
                  <c:v>2.5162191537738627E-3</c:v>
                </c:pt>
                <c:pt idx="6070">
                  <c:v>2.5049624309333206E-3</c:v>
                </c:pt>
                <c:pt idx="6071">
                  <c:v>2.4783081513637647E-3</c:v>
                </c:pt>
                <c:pt idx="6072">
                  <c:v>2.4364077050253946E-3</c:v>
                </c:pt>
                <c:pt idx="6073">
                  <c:v>2.3816060930066138E-3</c:v>
                </c:pt>
                <c:pt idx="6074">
                  <c:v>2.3145378145119863E-3</c:v>
                </c:pt>
                <c:pt idx="6075">
                  <c:v>2.2287133765174381E-3</c:v>
                </c:pt>
                <c:pt idx="6076">
                  <c:v>2.1470049116317854E-3</c:v>
                </c:pt>
                <c:pt idx="6077">
                  <c:v>2.0747179734500474E-3</c:v>
                </c:pt>
                <c:pt idx="6078">
                  <c:v>1.9846669869866495E-3</c:v>
                </c:pt>
                <c:pt idx="6079">
                  <c:v>1.9013806888666064E-3</c:v>
                </c:pt>
                <c:pt idx="6080">
                  <c:v>1.8196602469858531E-3</c:v>
                </c:pt>
                <c:pt idx="6081">
                  <c:v>1.7472330662208142E-3</c:v>
                </c:pt>
                <c:pt idx="6082">
                  <c:v>1.6726473259079614E-3</c:v>
                </c:pt>
                <c:pt idx="6083">
                  <c:v>1.5803881577592901E-3</c:v>
                </c:pt>
                <c:pt idx="6084">
                  <c:v>1.4710196142988527E-3</c:v>
                </c:pt>
                <c:pt idx="6085">
                  <c:v>1.3479693850674921E-3</c:v>
                </c:pt>
                <c:pt idx="6086">
                  <c:v>1.1980305214105706E-3</c:v>
                </c:pt>
                <c:pt idx="6087">
                  <c:v>1.034522471200335E-3</c:v>
                </c:pt>
                <c:pt idx="6088">
                  <c:v>9.7321704407225839E-4</c:v>
                </c:pt>
                <c:pt idx="6089">
                  <c:v>9.8259695996223153E-4</c:v>
                </c:pt>
                <c:pt idx="6090">
                  <c:v>9.7705758152024508E-4</c:v>
                </c:pt>
                <c:pt idx="6091">
                  <c:v>9.8905169451084696E-4</c:v>
                </c:pt>
                <c:pt idx="6092">
                  <c:v>1.1602947083472438E-3</c:v>
                </c:pt>
                <c:pt idx="6093">
                  <c:v>1.2969749391434338E-3</c:v>
                </c:pt>
                <c:pt idx="6094">
                  <c:v>1.431232968805022E-3</c:v>
                </c:pt>
                <c:pt idx="6095">
                  <c:v>1.5416937555730896E-3</c:v>
                </c:pt>
                <c:pt idx="6096">
                  <c:v>1.639123722204692E-3</c:v>
                </c:pt>
                <c:pt idx="6097">
                  <c:v>1.7205722260737793E-3</c:v>
                </c:pt>
                <c:pt idx="6098">
                  <c:v>1.7888376351043863E-3</c:v>
                </c:pt>
                <c:pt idx="6099">
                  <c:v>1.8425307344169153E-3</c:v>
                </c:pt>
                <c:pt idx="6100">
                  <c:v>1.8833257854863775E-3</c:v>
                </c:pt>
                <c:pt idx="6101">
                  <c:v>1.9123795675536476E-3</c:v>
                </c:pt>
                <c:pt idx="6102">
                  <c:v>1.9659625442207088E-3</c:v>
                </c:pt>
                <c:pt idx="6103">
                  <c:v>2.0310897336060433E-3</c:v>
                </c:pt>
                <c:pt idx="6104">
                  <c:v>2.0875336579909555E-3</c:v>
                </c:pt>
                <c:pt idx="6105">
                  <c:v>2.1255158109694371E-3</c:v>
                </c:pt>
                <c:pt idx="6106">
                  <c:v>2.1826791336624208E-3</c:v>
                </c:pt>
                <c:pt idx="6107">
                  <c:v>2.2261245325997385E-3</c:v>
                </c:pt>
                <c:pt idx="6108">
                  <c:v>2.2507140765368754E-3</c:v>
                </c:pt>
                <c:pt idx="6109">
                  <c:v>2.2664389163259504E-3</c:v>
                </c:pt>
                <c:pt idx="6110">
                  <c:v>2.2668334928552273E-3</c:v>
                </c:pt>
                <c:pt idx="6111">
                  <c:v>2.2521398647746839E-3</c:v>
                </c:pt>
                <c:pt idx="6112">
                  <c:v>2.2204548477681258E-3</c:v>
                </c:pt>
                <c:pt idx="6113">
                  <c:v>2.1683178094919482E-3</c:v>
                </c:pt>
                <c:pt idx="6114">
                  <c:v>2.099510773264826E-3</c:v>
                </c:pt>
                <c:pt idx="6115">
                  <c:v>2.0264873942731549E-3</c:v>
                </c:pt>
                <c:pt idx="6116">
                  <c:v>1.9357177566569602E-3</c:v>
                </c:pt>
                <c:pt idx="6117">
                  <c:v>1.845092705562602E-3</c:v>
                </c:pt>
                <c:pt idx="6118">
                  <c:v>1.7336513278383378E-3</c:v>
                </c:pt>
                <c:pt idx="6119">
                  <c:v>1.6074006511255878E-3</c:v>
                </c:pt>
                <c:pt idx="6120">
                  <c:v>1.4483687215445993E-3</c:v>
                </c:pt>
                <c:pt idx="6121">
                  <c:v>1.2609687677815455E-3</c:v>
                </c:pt>
                <c:pt idx="6122">
                  <c:v>1.2165076288792043E-3</c:v>
                </c:pt>
                <c:pt idx="6123">
                  <c:v>1.1703368911542115E-3</c:v>
                </c:pt>
                <c:pt idx="6124">
                  <c:v>1.1358919085138206E-3</c:v>
                </c:pt>
                <c:pt idx="6125">
                  <c:v>1.0955415431014297E-3</c:v>
                </c:pt>
                <c:pt idx="6126">
                  <c:v>1.0563135171533448E-3</c:v>
                </c:pt>
                <c:pt idx="6127">
                  <c:v>1.0077985535639664E-3</c:v>
                </c:pt>
                <c:pt idx="6128">
                  <c:v>9.4868022634955643E-4</c:v>
                </c:pt>
                <c:pt idx="6129">
                  <c:v>8.7476909890164931E-4</c:v>
                </c:pt>
                <c:pt idx="6130">
                  <c:v>7.8603691723503461E-4</c:v>
                </c:pt>
                <c:pt idx="6131">
                  <c:v>6.7647904707898168E-4</c:v>
                </c:pt>
                <c:pt idx="6132">
                  <c:v>6.1591253070165768E-4</c:v>
                </c:pt>
                <c:pt idx="6133">
                  <c:v>5.8071334700525727E-4</c:v>
                </c:pt>
                <c:pt idx="6134">
                  <c:v>5.5487765084585394E-4</c:v>
                </c:pt>
                <c:pt idx="6135">
                  <c:v>5.2420640158679598E-4</c:v>
                </c:pt>
                <c:pt idx="6136">
                  <c:v>5.3945860177375988E-4</c:v>
                </c:pt>
                <c:pt idx="6137">
                  <c:v>5.5476135080649938E-4</c:v>
                </c:pt>
                <c:pt idx="6138">
                  <c:v>5.6191199259025164E-4</c:v>
                </c:pt>
                <c:pt idx="6139">
                  <c:v>5.7339349908598093E-4</c:v>
                </c:pt>
                <c:pt idx="6140">
                  <c:v>5.851891980649754E-4</c:v>
                </c:pt>
                <c:pt idx="6141">
                  <c:v>5.9487435371076175E-4</c:v>
                </c:pt>
                <c:pt idx="6142">
                  <c:v>5.977960801319866E-4</c:v>
                </c:pt>
                <c:pt idx="6143">
                  <c:v>5.9845164980606178E-4</c:v>
                </c:pt>
                <c:pt idx="6144">
                  <c:v>5.9491380104348022E-4</c:v>
                </c:pt>
                <c:pt idx="6145">
                  <c:v>5.9181818941598217E-4</c:v>
                </c:pt>
                <c:pt idx="6146">
                  <c:v>5.871972861091248E-4</c:v>
                </c:pt>
                <c:pt idx="6147">
                  <c:v>5.8076301027473536E-4</c:v>
                </c:pt>
                <c:pt idx="6148">
                  <c:v>5.6990756102674679E-4</c:v>
                </c:pt>
                <c:pt idx="6149">
                  <c:v>5.5670952193925111E-4</c:v>
                </c:pt>
                <c:pt idx="6150">
                  <c:v>5.4633380270247608E-4</c:v>
                </c:pt>
                <c:pt idx="6151">
                  <c:v>5.3593870464756492E-4</c:v>
                </c:pt>
                <c:pt idx="6152">
                  <c:v>5.2090763593505172E-4</c:v>
                </c:pt>
                <c:pt idx="6153">
                  <c:v>5.1220744873212338E-4</c:v>
                </c:pt>
                <c:pt idx="6154">
                  <c:v>5.045277239960987E-4</c:v>
                </c:pt>
                <c:pt idx="6155">
                  <c:v>4.9548463413793414E-4</c:v>
                </c:pt>
                <c:pt idx="6156">
                  <c:v>4.8771305995024461E-4</c:v>
                </c:pt>
                <c:pt idx="6157">
                  <c:v>4.8094233335235699E-4</c:v>
                </c:pt>
                <c:pt idx="6158">
                  <c:v>4.7506776906531829E-4</c:v>
                </c:pt>
                <c:pt idx="6159">
                  <c:v>4.6444852962667125E-4</c:v>
                </c:pt>
                <c:pt idx="6160">
                  <c:v>4.5483543782567172E-4</c:v>
                </c:pt>
                <c:pt idx="6161">
                  <c:v>4.4643499285917156E-4</c:v>
                </c:pt>
                <c:pt idx="6162">
                  <c:v>4.3412657589852056E-4</c:v>
                </c:pt>
                <c:pt idx="6163">
                  <c:v>4.2004548209891582E-4</c:v>
                </c:pt>
                <c:pt idx="6164">
                  <c:v>4.1073781042520052E-4</c:v>
                </c:pt>
                <c:pt idx="6165">
                  <c:v>4.064930114795054E-4</c:v>
                </c:pt>
                <c:pt idx="6166">
                  <c:v>4.1811948829101954E-4</c:v>
                </c:pt>
                <c:pt idx="6167">
                  <c:v>4.3689765143222826E-4</c:v>
                </c:pt>
                <c:pt idx="6168">
                  <c:v>4.5146068688911757E-4</c:v>
                </c:pt>
                <c:pt idx="6169">
                  <c:v>4.6423053231652202E-4</c:v>
                </c:pt>
                <c:pt idx="6170">
                  <c:v>4.8053856243185025E-4</c:v>
                </c:pt>
                <c:pt idx="6171">
                  <c:v>4.926370208678607E-4</c:v>
                </c:pt>
                <c:pt idx="6172">
                  <c:v>5.0122520806951127E-4</c:v>
                </c:pt>
                <c:pt idx="6173">
                  <c:v>5.2232223880033549E-4</c:v>
                </c:pt>
                <c:pt idx="6174">
                  <c:v>5.3850719080851355E-4</c:v>
                </c:pt>
                <c:pt idx="6175">
                  <c:v>5.5181408764433772E-4</c:v>
                </c:pt>
                <c:pt idx="6176">
                  <c:v>5.626729310121303E-4</c:v>
                </c:pt>
                <c:pt idx="6177">
                  <c:v>5.7125116450371701E-4</c:v>
                </c:pt>
                <c:pt idx="6178">
                  <c:v>5.7749809287498425E-4</c:v>
                </c:pt>
                <c:pt idx="6179">
                  <c:v>5.8401406725265906E-4</c:v>
                </c:pt>
                <c:pt idx="6180">
                  <c:v>5.9065224634778754E-4</c:v>
                </c:pt>
                <c:pt idx="6181">
                  <c:v>5.9523859956285487E-4</c:v>
                </c:pt>
                <c:pt idx="6182">
                  <c:v>5.9574705939905586E-4</c:v>
                </c:pt>
                <c:pt idx="6183">
                  <c:v>5.9439679740661466E-4</c:v>
                </c:pt>
                <c:pt idx="6184">
                  <c:v>5.9573575033406519E-4</c:v>
                </c:pt>
                <c:pt idx="6185">
                  <c:v>5.9714786193206817E-4</c:v>
                </c:pt>
                <c:pt idx="6186">
                  <c:v>6.0636285841458859E-4</c:v>
                </c:pt>
                <c:pt idx="6187">
                  <c:v>6.145453154968129E-4</c:v>
                </c:pt>
                <c:pt idx="6188">
                  <c:v>6.2204115615203557E-4</c:v>
                </c:pt>
                <c:pt idx="6189">
                  <c:v>6.2661890329551685E-4</c:v>
                </c:pt>
                <c:pt idx="6190">
                  <c:v>6.3613779192049223E-4</c:v>
                </c:pt>
                <c:pt idx="6191">
                  <c:v>6.4211525262273888E-4</c:v>
                </c:pt>
                <c:pt idx="6192">
                  <c:v>6.3973173531533102E-4</c:v>
                </c:pt>
                <c:pt idx="6193">
                  <c:v>6.3360177345617174E-4</c:v>
                </c:pt>
                <c:pt idx="6194">
                  <c:v>6.2410864506912426E-4</c:v>
                </c:pt>
                <c:pt idx="6195">
                  <c:v>6.1080102896225394E-4</c:v>
                </c:pt>
                <c:pt idx="6196">
                  <c:v>6.1801439984409041E-4</c:v>
                </c:pt>
                <c:pt idx="6197">
                  <c:v>6.4432323235832315E-4</c:v>
                </c:pt>
                <c:pt idx="6198">
                  <c:v>7.2248311227565817E-4</c:v>
                </c:pt>
                <c:pt idx="6199">
                  <c:v>7.8499375892464318E-4</c:v>
                </c:pt>
                <c:pt idx="6200">
                  <c:v>8.3727448339751033E-4</c:v>
                </c:pt>
                <c:pt idx="6201">
                  <c:v>8.8384268804925735E-4</c:v>
                </c:pt>
                <c:pt idx="6202">
                  <c:v>9.2050293714828401E-4</c:v>
                </c:pt>
                <c:pt idx="6203">
                  <c:v>9.5873720899565464E-4</c:v>
                </c:pt>
                <c:pt idx="6204">
                  <c:v>9.899709147959887E-4</c:v>
                </c:pt>
                <c:pt idx="6205">
                  <c:v>1.0122496754136337E-3</c:v>
                </c:pt>
                <c:pt idx="6206">
                  <c:v>1.0287547491869083E-3</c:v>
                </c:pt>
                <c:pt idx="6207">
                  <c:v>1.0421199621447172E-3</c:v>
                </c:pt>
                <c:pt idx="6208">
                  <c:v>1.0498562983602057E-3</c:v>
                </c:pt>
                <c:pt idx="6209">
                  <c:v>1.0541320454936181E-3</c:v>
                </c:pt>
                <c:pt idx="6210">
                  <c:v>1.0554519076188948E-3</c:v>
                </c:pt>
                <c:pt idx="6211">
                  <c:v>1.0490783115702849E-3</c:v>
                </c:pt>
                <c:pt idx="6212">
                  <c:v>1.0369755591907517E-3</c:v>
                </c:pt>
                <c:pt idx="6213">
                  <c:v>1.0190408128046809E-3</c:v>
                </c:pt>
                <c:pt idx="6214">
                  <c:v>1.0001016921984791E-3</c:v>
                </c:pt>
                <c:pt idx="6215">
                  <c:v>9.7797278587690882E-4</c:v>
                </c:pt>
                <c:pt idx="6216">
                  <c:v>9.6792644410276935E-4</c:v>
                </c:pt>
                <c:pt idx="6217">
                  <c:v>9.5216447712558234E-4</c:v>
                </c:pt>
                <c:pt idx="6218">
                  <c:v>9.3061879809257849E-4</c:v>
                </c:pt>
                <c:pt idx="6219">
                  <c:v>9.1536410881042931E-4</c:v>
                </c:pt>
                <c:pt idx="6220">
                  <c:v>9.0347077865691723E-4</c:v>
                </c:pt>
                <c:pt idx="6221">
                  <c:v>8.8682554963683848E-4</c:v>
                </c:pt>
                <c:pt idx="6222">
                  <c:v>8.5951972222457148E-4</c:v>
                </c:pt>
                <c:pt idx="6223">
                  <c:v>8.2538478682838367E-4</c:v>
                </c:pt>
                <c:pt idx="6224">
                  <c:v>7.8114172000601808E-4</c:v>
                </c:pt>
                <c:pt idx="6225">
                  <c:v>7.3214400519105516E-4</c:v>
                </c:pt>
                <c:pt idx="6226">
                  <c:v>6.9299339844895323E-4</c:v>
                </c:pt>
                <c:pt idx="6227">
                  <c:v>6.6388402047039491E-4</c:v>
                </c:pt>
                <c:pt idx="6228">
                  <c:v>6.810388021978854E-4</c:v>
                </c:pt>
                <c:pt idx="6229">
                  <c:v>6.9432321107468307E-4</c:v>
                </c:pt>
                <c:pt idx="6230">
                  <c:v>7.014981560168308E-4</c:v>
                </c:pt>
                <c:pt idx="6231">
                  <c:v>7.0998197748862112E-4</c:v>
                </c:pt>
                <c:pt idx="6232">
                  <c:v>7.1554968548373965E-4</c:v>
                </c:pt>
                <c:pt idx="6233">
                  <c:v>7.1863981290741692E-4</c:v>
                </c:pt>
                <c:pt idx="6234">
                  <c:v>7.1911721684152761E-4</c:v>
                </c:pt>
                <c:pt idx="6235">
                  <c:v>7.1458229935117553E-4</c:v>
                </c:pt>
                <c:pt idx="6236">
                  <c:v>7.1842479574080046E-4</c:v>
                </c:pt>
                <c:pt idx="6237">
                  <c:v>7.2085605276288052E-4</c:v>
                </c:pt>
                <c:pt idx="6238">
                  <c:v>7.1940734836685775E-4</c:v>
                </c:pt>
                <c:pt idx="6239">
                  <c:v>7.1408787646941633E-4</c:v>
                </c:pt>
                <c:pt idx="6240">
                  <c:v>7.1016594131428283E-4</c:v>
                </c:pt>
                <c:pt idx="6241">
                  <c:v>7.0227427812242658E-4</c:v>
                </c:pt>
                <c:pt idx="6242">
                  <c:v>6.904488283780623E-4</c:v>
                </c:pt>
                <c:pt idx="6243">
                  <c:v>6.7459309539348892E-4</c:v>
                </c:pt>
                <c:pt idx="6244">
                  <c:v>6.5413250583153202E-4</c:v>
                </c:pt>
                <c:pt idx="6245">
                  <c:v>6.3134650323847332E-4</c:v>
                </c:pt>
                <c:pt idx="6246">
                  <c:v>6.1613658558163026E-4</c:v>
                </c:pt>
                <c:pt idx="6247">
                  <c:v>5.9659171137894083E-4</c:v>
                </c:pt>
                <c:pt idx="6248">
                  <c:v>5.728555654499122E-4</c:v>
                </c:pt>
                <c:pt idx="6249">
                  <c:v>5.6377257382981378E-4</c:v>
                </c:pt>
                <c:pt idx="6250">
                  <c:v>5.5481757324848729E-4</c:v>
                </c:pt>
                <c:pt idx="6251">
                  <c:v>5.462964196894241E-4</c:v>
                </c:pt>
                <c:pt idx="6252">
                  <c:v>5.4038546676512557E-4</c:v>
                </c:pt>
                <c:pt idx="6253">
                  <c:v>5.3493724947849502E-4</c:v>
                </c:pt>
                <c:pt idx="6254">
                  <c:v>5.2710659320351198E-4</c:v>
                </c:pt>
                <c:pt idx="6255">
                  <c:v>5.2506023781567171E-4</c:v>
                </c:pt>
                <c:pt idx="6256">
                  <c:v>5.2654270896416056E-4</c:v>
                </c:pt>
                <c:pt idx="6257">
                  <c:v>5.2364170842384144E-4</c:v>
                </c:pt>
                <c:pt idx="6258">
                  <c:v>5.2446555043230965E-4</c:v>
                </c:pt>
                <c:pt idx="6259">
                  <c:v>5.2358438560503717E-4</c:v>
                </c:pt>
                <c:pt idx="6260">
                  <c:v>5.1846265241139663E-4</c:v>
                </c:pt>
                <c:pt idx="6261">
                  <c:v>5.1177235633625181E-4</c:v>
                </c:pt>
                <c:pt idx="6262">
                  <c:v>5.0306703621531585E-4</c:v>
                </c:pt>
                <c:pt idx="6263">
                  <c:v>4.9256790180449866E-4</c:v>
                </c:pt>
                <c:pt idx="6264">
                  <c:v>4.7998280923904182E-4</c:v>
                </c:pt>
                <c:pt idx="6265">
                  <c:v>4.6523996480277895E-4</c:v>
                </c:pt>
                <c:pt idx="6266">
                  <c:v>4.6326498859237486E-4</c:v>
                </c:pt>
                <c:pt idx="6267">
                  <c:v>4.6033403106885833E-4</c:v>
                </c:pt>
                <c:pt idx="6268">
                  <c:v>4.5661716632250176E-4</c:v>
                </c:pt>
                <c:pt idx="6269">
                  <c:v>4.5196071068996689E-4</c:v>
                </c:pt>
                <c:pt idx="6270">
                  <c:v>4.4922614336041712E-4</c:v>
                </c:pt>
                <c:pt idx="6271">
                  <c:v>4.4567220487623846E-4</c:v>
                </c:pt>
                <c:pt idx="6272">
                  <c:v>4.4141503458685927E-4</c:v>
                </c:pt>
                <c:pt idx="6273">
                  <c:v>4.365683564662604E-4</c:v>
                </c:pt>
                <c:pt idx="6274">
                  <c:v>4.3084018025337471E-4</c:v>
                </c:pt>
                <c:pt idx="6275">
                  <c:v>4.2729992551834693E-4</c:v>
                </c:pt>
                <c:pt idx="6276">
                  <c:v>4.2323021737242239E-4</c:v>
                </c:pt>
                <c:pt idx="6277">
                  <c:v>4.1833383517064039E-4</c:v>
                </c:pt>
                <c:pt idx="6278">
                  <c:v>4.1322158000909692E-4</c:v>
                </c:pt>
                <c:pt idx="6279">
                  <c:v>4.0986821429297299E-4</c:v>
                </c:pt>
                <c:pt idx="6280">
                  <c:v>4.0822622990971234E-4</c:v>
                </c:pt>
                <c:pt idx="6281">
                  <c:v>4.0569903717662482E-4</c:v>
                </c:pt>
                <c:pt idx="6282">
                  <c:v>4.078943064499583E-4</c:v>
                </c:pt>
                <c:pt idx="6283">
                  <c:v>4.0963056247969582E-4</c:v>
                </c:pt>
                <c:pt idx="6284">
                  <c:v>4.1068301299410645E-4</c:v>
                </c:pt>
                <c:pt idx="6285">
                  <c:v>4.1122208852608987E-4</c:v>
                </c:pt>
                <c:pt idx="6286">
                  <c:v>4.1400712269308419E-4</c:v>
                </c:pt>
                <c:pt idx="6287">
                  <c:v>4.1629184794817527E-4</c:v>
                </c:pt>
                <c:pt idx="6288">
                  <c:v>4.183323681653316E-4</c:v>
                </c:pt>
                <c:pt idx="6289">
                  <c:v>4.2792945662030002E-4</c:v>
                </c:pt>
                <c:pt idx="6290">
                  <c:v>4.3645735385894005E-4</c:v>
                </c:pt>
                <c:pt idx="6291">
                  <c:v>4.4396715260071941E-4</c:v>
                </c:pt>
                <c:pt idx="6292">
                  <c:v>4.5064967979580446E-4</c:v>
                </c:pt>
                <c:pt idx="6293">
                  <c:v>4.5625361143998919E-4</c:v>
                </c:pt>
                <c:pt idx="6294">
                  <c:v>4.608213185937719E-4</c:v>
                </c:pt>
                <c:pt idx="6295">
                  <c:v>4.6476206125966956E-4</c:v>
                </c:pt>
                <c:pt idx="6296">
                  <c:v>4.6788187247563228E-4</c:v>
                </c:pt>
                <c:pt idx="6297">
                  <c:v>4.6987203999766938E-4</c:v>
                </c:pt>
                <c:pt idx="6298">
                  <c:v>4.7141679656539844E-4</c:v>
                </c:pt>
                <c:pt idx="6299">
                  <c:v>4.7210670614084916E-4</c:v>
                </c:pt>
                <c:pt idx="6300">
                  <c:v>4.7179299378848359E-4</c:v>
                </c:pt>
                <c:pt idx="6301">
                  <c:v>4.706733986126512E-4</c:v>
                </c:pt>
                <c:pt idx="6302">
                  <c:v>4.6887707446229752E-4</c:v>
                </c:pt>
                <c:pt idx="6303">
                  <c:v>4.6611835967980456E-4</c:v>
                </c:pt>
                <c:pt idx="6304">
                  <c:v>4.6237124859299964E-4</c:v>
                </c:pt>
                <c:pt idx="6305">
                  <c:v>4.5802322319352291E-4</c:v>
                </c:pt>
                <c:pt idx="6306">
                  <c:v>4.5269424518495585E-4</c:v>
                </c:pt>
                <c:pt idx="6307">
                  <c:v>4.4641819858271046E-4</c:v>
                </c:pt>
                <c:pt idx="6308">
                  <c:v>4.3945608917071472E-4</c:v>
                </c:pt>
                <c:pt idx="6309">
                  <c:v>4.3414220021065355E-4</c:v>
                </c:pt>
                <c:pt idx="6310">
                  <c:v>4.3083183758588374E-4</c:v>
                </c:pt>
                <c:pt idx="6311">
                  <c:v>4.2724508317151501E-4</c:v>
                </c:pt>
                <c:pt idx="6312">
                  <c:v>4.2292537664548584E-4</c:v>
                </c:pt>
                <c:pt idx="6313">
                  <c:v>4.2059645377603945E-4</c:v>
                </c:pt>
                <c:pt idx="6314">
                  <c:v>4.171973366671931E-4</c:v>
                </c:pt>
                <c:pt idx="6315">
                  <c:v>4.1337935474328104E-4</c:v>
                </c:pt>
                <c:pt idx="6316">
                  <c:v>4.112158536543958E-4</c:v>
                </c:pt>
                <c:pt idx="6317">
                  <c:v>4.0810620629834309E-4</c:v>
                </c:pt>
                <c:pt idx="6318">
                  <c:v>4.1256964897523586E-4</c:v>
                </c:pt>
                <c:pt idx="6319">
                  <c:v>4.2664435593946454E-4</c:v>
                </c:pt>
                <c:pt idx="6320">
                  <c:v>4.3932944036592615E-4</c:v>
                </c:pt>
                <c:pt idx="6321">
                  <c:v>4.5339180704154507E-4</c:v>
                </c:pt>
                <c:pt idx="6322">
                  <c:v>4.6885838679116881E-4</c:v>
                </c:pt>
                <c:pt idx="6323">
                  <c:v>4.8226612823049786E-4</c:v>
                </c:pt>
                <c:pt idx="6324">
                  <c:v>4.9403283727973907E-4</c:v>
                </c:pt>
                <c:pt idx="6325">
                  <c:v>5.1896175223639304E-4</c:v>
                </c:pt>
                <c:pt idx="6326">
                  <c:v>5.4056529929337579E-4</c:v>
                </c:pt>
                <c:pt idx="6327">
                  <c:v>5.6168491255929875E-4</c:v>
                </c:pt>
                <c:pt idx="6328">
                  <c:v>5.8288276215751294E-4</c:v>
                </c:pt>
                <c:pt idx="6329">
                  <c:v>6.0353054477142157E-4</c:v>
                </c:pt>
                <c:pt idx="6330">
                  <c:v>6.4556357983537734E-4</c:v>
                </c:pt>
                <c:pt idx="6331">
                  <c:v>6.8099609382310305E-4</c:v>
                </c:pt>
                <c:pt idx="6332">
                  <c:v>7.1052236882887293E-4</c:v>
                </c:pt>
                <c:pt idx="6333">
                  <c:v>7.3506176551690764E-4</c:v>
                </c:pt>
                <c:pt idx="6334">
                  <c:v>7.5503794383116466E-4</c:v>
                </c:pt>
                <c:pt idx="6335">
                  <c:v>7.7348811967793609E-4</c:v>
                </c:pt>
                <c:pt idx="6336">
                  <c:v>7.8758595149977918E-4</c:v>
                </c:pt>
                <c:pt idx="6337">
                  <c:v>7.9763744556388995E-4</c:v>
                </c:pt>
                <c:pt idx="6338">
                  <c:v>8.0406310667353702E-4</c:v>
                </c:pt>
                <c:pt idx="6339">
                  <c:v>8.0636495868282557E-4</c:v>
                </c:pt>
                <c:pt idx="6340">
                  <c:v>8.0960031485705075E-4</c:v>
                </c:pt>
                <c:pt idx="6341">
                  <c:v>8.0876185853013302E-4</c:v>
                </c:pt>
                <c:pt idx="6342">
                  <c:v>8.0348336056442892E-4</c:v>
                </c:pt>
                <c:pt idx="6343">
                  <c:v>7.9668454682926945E-4</c:v>
                </c:pt>
                <c:pt idx="6344">
                  <c:v>7.8546056961398129E-4</c:v>
                </c:pt>
                <c:pt idx="6345">
                  <c:v>7.702347700131695E-4</c:v>
                </c:pt>
                <c:pt idx="6346">
                  <c:v>7.5518429996189766E-4</c:v>
                </c:pt>
                <c:pt idx="6347">
                  <c:v>7.3760142196873041E-4</c:v>
                </c:pt>
                <c:pt idx="6348">
                  <c:v>7.2388872542890879E-4</c:v>
                </c:pt>
                <c:pt idx="6349">
                  <c:v>7.1077607704397871E-4</c:v>
                </c:pt>
                <c:pt idx="6350">
                  <c:v>6.9795590589613664E-4</c:v>
                </c:pt>
                <c:pt idx="6351">
                  <c:v>6.8314608110394553E-4</c:v>
                </c:pt>
                <c:pt idx="6352">
                  <c:v>6.6678338538137016E-4</c:v>
                </c:pt>
                <c:pt idx="6353">
                  <c:v>6.4756787451002704E-4</c:v>
                </c:pt>
                <c:pt idx="6354">
                  <c:v>6.2804436813413214E-4</c:v>
                </c:pt>
                <c:pt idx="6355">
                  <c:v>6.2171782103445812E-4</c:v>
                </c:pt>
                <c:pt idx="6356">
                  <c:v>6.108959973815752E-4</c:v>
                </c:pt>
                <c:pt idx="6357">
                  <c:v>5.9867293800570953E-4</c:v>
                </c:pt>
                <c:pt idx="6358">
                  <c:v>5.8766975057453566E-4</c:v>
                </c:pt>
                <c:pt idx="6359">
                  <c:v>5.7537289717248408E-4</c:v>
                </c:pt>
                <c:pt idx="6360">
                  <c:v>5.8450491060199226E-4</c:v>
                </c:pt>
                <c:pt idx="6361">
                  <c:v>6.1422775389934927E-4</c:v>
                </c:pt>
                <c:pt idx="6362">
                  <c:v>6.4144545912464535E-4</c:v>
                </c:pt>
                <c:pt idx="6363">
                  <c:v>6.6366124203639252E-4</c:v>
                </c:pt>
                <c:pt idx="6364">
                  <c:v>7.061912294487366E-4</c:v>
                </c:pt>
                <c:pt idx="6365">
                  <c:v>7.4311209360874823E-4</c:v>
                </c:pt>
                <c:pt idx="6366">
                  <c:v>7.7314761185692782E-4</c:v>
                </c:pt>
                <c:pt idx="6367">
                  <c:v>7.9430283139881707E-4</c:v>
                </c:pt>
                <c:pt idx="6368">
                  <c:v>8.1037867668673404E-4</c:v>
                </c:pt>
                <c:pt idx="6369">
                  <c:v>8.2658645546867008E-4</c:v>
                </c:pt>
                <c:pt idx="6370">
                  <c:v>8.5805183766309229E-4</c:v>
                </c:pt>
                <c:pt idx="6371">
                  <c:v>9.0025642538516676E-4</c:v>
                </c:pt>
                <c:pt idx="6372">
                  <c:v>9.3387673433129872E-4</c:v>
                </c:pt>
                <c:pt idx="6373">
                  <c:v>9.6231633016733938E-4</c:v>
                </c:pt>
                <c:pt idx="6374">
                  <c:v>9.8061156590708611E-4</c:v>
                </c:pt>
                <c:pt idx="6375">
                  <c:v>9.921528132154358E-4</c:v>
                </c:pt>
                <c:pt idx="6376">
                  <c:v>9.9958962287526347E-4</c:v>
                </c:pt>
                <c:pt idx="6377">
                  <c:v>1.0010399494449385E-3</c:v>
                </c:pt>
                <c:pt idx="6378">
                  <c:v>1.0104949551323675E-3</c:v>
                </c:pt>
                <c:pt idx="6379">
                  <c:v>1.0197850370045514E-3</c:v>
                </c:pt>
                <c:pt idx="6380">
                  <c:v>1.0268456575738528E-3</c:v>
                </c:pt>
                <c:pt idx="6381">
                  <c:v>1.034094823846532E-3</c:v>
                </c:pt>
                <c:pt idx="6382">
                  <c:v>1.0340640660777198E-3</c:v>
                </c:pt>
                <c:pt idx="6383">
                  <c:v>1.0312832282348586E-3</c:v>
                </c:pt>
                <c:pt idx="6384">
                  <c:v>1.0284613505964354E-3</c:v>
                </c:pt>
                <c:pt idx="6385">
                  <c:v>1.0379059687147419E-3</c:v>
                </c:pt>
                <c:pt idx="6386">
                  <c:v>1.0384368394401415E-3</c:v>
                </c:pt>
                <c:pt idx="6387">
                  <c:v>1.0303674121844128E-3</c:v>
                </c:pt>
                <c:pt idx="6388">
                  <c:v>1.0161025057791172E-3</c:v>
                </c:pt>
                <c:pt idx="6389">
                  <c:v>1.0128294052534311E-3</c:v>
                </c:pt>
                <c:pt idx="6390">
                  <c:v>1.00179354988265E-3</c:v>
                </c:pt>
                <c:pt idx="6391">
                  <c:v>1.0137180148908273E-3</c:v>
                </c:pt>
                <c:pt idx="6392">
                  <c:v>1.0184913804497612E-3</c:v>
                </c:pt>
                <c:pt idx="6393">
                  <c:v>1.0141790795847793E-3</c:v>
                </c:pt>
                <c:pt idx="6394">
                  <c:v>1.0318230799346692E-3</c:v>
                </c:pt>
                <c:pt idx="6395">
                  <c:v>1.0438632499227098E-3</c:v>
                </c:pt>
                <c:pt idx="6396">
                  <c:v>1.0477099441349863E-3</c:v>
                </c:pt>
                <c:pt idx="6397">
                  <c:v>1.04081346289419E-3</c:v>
                </c:pt>
                <c:pt idx="6398">
                  <c:v>1.0253221719503111E-3</c:v>
                </c:pt>
                <c:pt idx="6399">
                  <c:v>1.0069011737258999E-3</c:v>
                </c:pt>
                <c:pt idx="6400">
                  <c:v>9.9652210491765368E-4</c:v>
                </c:pt>
                <c:pt idx="6401">
                  <c:v>9.9436221574578576E-4</c:v>
                </c:pt>
                <c:pt idx="6402">
                  <c:v>9.9132900165985432E-4</c:v>
                </c:pt>
                <c:pt idx="6403">
                  <c:v>9.8692162124766462E-4</c:v>
                </c:pt>
                <c:pt idx="6404">
                  <c:v>9.7425453726497125E-4</c:v>
                </c:pt>
                <c:pt idx="6405">
                  <c:v>9.5505400882095785E-4</c:v>
                </c:pt>
                <c:pt idx="6406">
                  <c:v>9.2944165683431863E-4</c:v>
                </c:pt>
                <c:pt idx="6407">
                  <c:v>8.9332292398780532E-4</c:v>
                </c:pt>
                <c:pt idx="6408">
                  <c:v>8.6753818695116088E-4</c:v>
                </c:pt>
                <c:pt idx="6409">
                  <c:v>8.3935245229842812E-4</c:v>
                </c:pt>
                <c:pt idx="6410">
                  <c:v>8.0707074006756518E-4</c:v>
                </c:pt>
                <c:pt idx="6411">
                  <c:v>7.7569349682577826E-4</c:v>
                </c:pt>
                <c:pt idx="6412">
                  <c:v>7.3812433084482793E-4</c:v>
                </c:pt>
                <c:pt idx="6413">
                  <c:v>6.969690381946037E-4</c:v>
                </c:pt>
                <c:pt idx="6414">
                  <c:v>6.5195834627971368E-4</c:v>
                </c:pt>
                <c:pt idx="6415">
                  <c:v>6.2418735225885024E-4</c:v>
                </c:pt>
                <c:pt idx="6416">
                  <c:v>5.9169540415821194E-4</c:v>
                </c:pt>
                <c:pt idx="6417">
                  <c:v>5.5151943934958307E-4</c:v>
                </c:pt>
                <c:pt idx="6418">
                  <c:v>5.0663536644303809E-4</c:v>
                </c:pt>
                <c:pt idx="6419">
                  <c:v>4.876698053164788E-4</c:v>
                </c:pt>
                <c:pt idx="6420">
                  <c:v>4.6576674950738882E-4</c:v>
                </c:pt>
                <c:pt idx="6421">
                  <c:v>4.5911445148471983E-4</c:v>
                </c:pt>
                <c:pt idx="6422">
                  <c:v>4.5037899579075408E-4</c:v>
                </c:pt>
                <c:pt idx="6423">
                  <c:v>4.395810638446818E-4</c:v>
                </c:pt>
                <c:pt idx="6424">
                  <c:v>4.390026706089724E-4</c:v>
                </c:pt>
                <c:pt idx="6425">
                  <c:v>4.4008694243277203E-4</c:v>
                </c:pt>
                <c:pt idx="6426">
                  <c:v>4.4293880244392569E-4</c:v>
                </c:pt>
                <c:pt idx="6427">
                  <c:v>4.421398693367961E-4</c:v>
                </c:pt>
                <c:pt idx="6428">
                  <c:v>4.4054045111813195E-4</c:v>
                </c:pt>
                <c:pt idx="6429">
                  <c:v>4.3795587416873785E-4</c:v>
                </c:pt>
                <c:pt idx="6430">
                  <c:v>4.3438373065114353E-4</c:v>
                </c:pt>
                <c:pt idx="6431">
                  <c:v>4.3254529541371356E-4</c:v>
                </c:pt>
                <c:pt idx="6432">
                  <c:v>4.4960641702327341E-4</c:v>
                </c:pt>
                <c:pt idx="6433">
                  <c:v>4.6660101124417397E-4</c:v>
                </c:pt>
                <c:pt idx="6434">
                  <c:v>4.817752474147034E-4</c:v>
                </c:pt>
                <c:pt idx="6435">
                  <c:v>5.0089218691469917E-4</c:v>
                </c:pt>
                <c:pt idx="6436">
                  <c:v>5.2356515291553747E-4</c:v>
                </c:pt>
                <c:pt idx="6437">
                  <c:v>5.4615808563937931E-4</c:v>
                </c:pt>
                <c:pt idx="6438">
                  <c:v>5.6293483501609377E-4</c:v>
                </c:pt>
                <c:pt idx="6439">
                  <c:v>5.750713750571246E-4</c:v>
                </c:pt>
                <c:pt idx="6440">
                  <c:v>5.8717745548171434E-4</c:v>
                </c:pt>
                <c:pt idx="6441">
                  <c:v>5.9487105540034801E-4</c:v>
                </c:pt>
                <c:pt idx="6442">
                  <c:v>6.0049387246479519E-4</c:v>
                </c:pt>
                <c:pt idx="6443">
                  <c:v>6.0398966968161602E-4</c:v>
                </c:pt>
                <c:pt idx="6444">
                  <c:v>6.0541446123209307E-4</c:v>
                </c:pt>
                <c:pt idx="6445">
                  <c:v>6.0493758093392114E-4</c:v>
                </c:pt>
                <c:pt idx="6446">
                  <c:v>6.0243924275139448E-4</c:v>
                </c:pt>
                <c:pt idx="6447">
                  <c:v>6.1881142980041871E-4</c:v>
                </c:pt>
                <c:pt idx="6448">
                  <c:v>6.3286644528913244E-4</c:v>
                </c:pt>
                <c:pt idx="6449">
                  <c:v>6.4542969118721325E-4</c:v>
                </c:pt>
                <c:pt idx="6450">
                  <c:v>6.5420558616345907E-4</c:v>
                </c:pt>
                <c:pt idx="6451">
                  <c:v>6.8707290761523541E-4</c:v>
                </c:pt>
                <c:pt idx="6452">
                  <c:v>7.1363217757411325E-4</c:v>
                </c:pt>
                <c:pt idx="6453">
                  <c:v>7.4653535885201234E-4</c:v>
                </c:pt>
                <c:pt idx="6454">
                  <c:v>7.7278137207507014E-4</c:v>
                </c:pt>
                <c:pt idx="6455">
                  <c:v>7.9307347072759789E-4</c:v>
                </c:pt>
                <c:pt idx="6456">
                  <c:v>8.2107263704100149E-4</c:v>
                </c:pt>
                <c:pt idx="6457">
                  <c:v>8.4019019230566802E-4</c:v>
                </c:pt>
                <c:pt idx="6458">
                  <c:v>8.5054400656030206E-4</c:v>
                </c:pt>
                <c:pt idx="6459">
                  <c:v>8.5499695491489847E-4</c:v>
                </c:pt>
                <c:pt idx="6460">
                  <c:v>8.5389349169588593E-4</c:v>
                </c:pt>
                <c:pt idx="6461">
                  <c:v>8.4776854741080163E-4</c:v>
                </c:pt>
                <c:pt idx="6462">
                  <c:v>8.5095726651774196E-4</c:v>
                </c:pt>
                <c:pt idx="6463">
                  <c:v>8.4987884219425063E-4</c:v>
                </c:pt>
                <c:pt idx="6464">
                  <c:v>8.5599522165834079E-4</c:v>
                </c:pt>
                <c:pt idx="6465">
                  <c:v>8.6155388795272755E-4</c:v>
                </c:pt>
                <c:pt idx="6466">
                  <c:v>8.6462333690225123E-4</c:v>
                </c:pt>
                <c:pt idx="6467">
                  <c:v>8.6589272452927094E-4</c:v>
                </c:pt>
                <c:pt idx="6468">
                  <c:v>8.5898993939554746E-4</c:v>
                </c:pt>
                <c:pt idx="6469">
                  <c:v>8.4781518988471952E-4</c:v>
                </c:pt>
                <c:pt idx="6470">
                  <c:v>8.3255397174041381E-4</c:v>
                </c:pt>
                <c:pt idx="6471">
                  <c:v>8.1279950300915994E-4</c:v>
                </c:pt>
                <c:pt idx="6472">
                  <c:v>7.8847389861330674E-4</c:v>
                </c:pt>
                <c:pt idx="6473">
                  <c:v>7.5883509191328571E-4</c:v>
                </c:pt>
                <c:pt idx="6474">
                  <c:v>7.2329603601012772E-4</c:v>
                </c:pt>
                <c:pt idx="6475">
                  <c:v>6.8115913415504349E-4</c:v>
                </c:pt>
                <c:pt idx="6476">
                  <c:v>6.3292231490969658E-4</c:v>
                </c:pt>
                <c:pt idx="6477">
                  <c:v>6.1117829481436377E-4</c:v>
                </c:pt>
                <c:pt idx="6478">
                  <c:v>5.9174817106165672E-4</c:v>
                </c:pt>
                <c:pt idx="6479">
                  <c:v>5.7501188549568096E-4</c:v>
                </c:pt>
                <c:pt idx="6480">
                  <c:v>5.6074222818618808E-4</c:v>
                </c:pt>
                <c:pt idx="6481">
                  <c:v>5.734402790040533E-4</c:v>
                </c:pt>
                <c:pt idx="6482">
                  <c:v>5.8111940040017943E-4</c:v>
                </c:pt>
                <c:pt idx="6483">
                  <c:v>6.1424242947303535E-4</c:v>
                </c:pt>
                <c:pt idx="6484">
                  <c:v>6.4088423696271387E-4</c:v>
                </c:pt>
                <c:pt idx="6485">
                  <c:v>6.6196588634398392E-4</c:v>
                </c:pt>
                <c:pt idx="6486">
                  <c:v>6.8709497689039211E-4</c:v>
                </c:pt>
                <c:pt idx="6487">
                  <c:v>7.0801020157684855E-4</c:v>
                </c:pt>
                <c:pt idx="6488">
                  <c:v>7.2290259515304771E-4</c:v>
                </c:pt>
                <c:pt idx="6489">
                  <c:v>7.3412420683918549E-4</c:v>
                </c:pt>
                <c:pt idx="6490">
                  <c:v>7.4180529909326904E-4</c:v>
                </c:pt>
                <c:pt idx="6491">
                  <c:v>7.4371108437789159E-4</c:v>
                </c:pt>
                <c:pt idx="6492">
                  <c:v>7.4451233340024764E-4</c:v>
                </c:pt>
                <c:pt idx="6493">
                  <c:v>7.4185086898295651E-4</c:v>
                </c:pt>
                <c:pt idx="6494">
                  <c:v>7.4720117900653482E-4</c:v>
                </c:pt>
                <c:pt idx="6495">
                  <c:v>7.5223147910284649E-4</c:v>
                </c:pt>
                <c:pt idx="6496">
                  <c:v>7.5265951851541532E-4</c:v>
                </c:pt>
                <c:pt idx="6497">
                  <c:v>7.5029259473188478E-4</c:v>
                </c:pt>
                <c:pt idx="6498">
                  <c:v>7.4283361527680361E-4</c:v>
                </c:pt>
                <c:pt idx="6499">
                  <c:v>7.3227219547491703E-4</c:v>
                </c:pt>
                <c:pt idx="6500">
                  <c:v>7.1847251347970131E-4</c:v>
                </c:pt>
                <c:pt idx="6501">
                  <c:v>7.0137218277982818E-4</c:v>
                </c:pt>
                <c:pt idx="6502">
                  <c:v>6.8068982390562488E-4</c:v>
                </c:pt>
                <c:pt idx="6503">
                  <c:v>6.5574714400054807E-4</c:v>
                </c:pt>
                <c:pt idx="6504">
                  <c:v>6.2660817607659445E-4</c:v>
                </c:pt>
                <c:pt idx="6505">
                  <c:v>5.9236601270973982E-4</c:v>
                </c:pt>
                <c:pt idx="6506">
                  <c:v>5.5580372881992412E-4</c:v>
                </c:pt>
                <c:pt idx="6507">
                  <c:v>5.1688785325531813E-4</c:v>
                </c:pt>
                <c:pt idx="6508">
                  <c:v>4.8352605843090466E-4</c:v>
                </c:pt>
                <c:pt idx="6509">
                  <c:v>4.6113771543398351E-4</c:v>
                </c:pt>
                <c:pt idx="6510">
                  <c:v>4.8477378952539718E-4</c:v>
                </c:pt>
                <c:pt idx="6511">
                  <c:v>5.3186657116661637E-4</c:v>
                </c:pt>
                <c:pt idx="6512">
                  <c:v>5.8955573602985779E-4</c:v>
                </c:pt>
                <c:pt idx="6513">
                  <c:v>6.602850708242045E-4</c:v>
                </c:pt>
                <c:pt idx="6514">
                  <c:v>7.3363867912357226E-4</c:v>
                </c:pt>
                <c:pt idx="6515">
                  <c:v>8.1260432092501614E-4</c:v>
                </c:pt>
                <c:pt idx="6516">
                  <c:v>8.7803718298953717E-4</c:v>
                </c:pt>
                <c:pt idx="6517">
                  <c:v>9.3301153071663132E-4</c:v>
                </c:pt>
                <c:pt idx="6518">
                  <c:v>9.7906162937075043E-4</c:v>
                </c:pt>
                <c:pt idx="6519">
                  <c:v>1.0174663292260059E-3</c:v>
                </c:pt>
                <c:pt idx="6520">
                  <c:v>1.0518764429837668E-3</c:v>
                </c:pt>
                <c:pt idx="6521">
                  <c:v>1.0795186257497493E-3</c:v>
                </c:pt>
                <c:pt idx="6522">
                  <c:v>1.098981115934737E-3</c:v>
                </c:pt>
                <c:pt idx="6523">
                  <c:v>1.1149898019545508E-3</c:v>
                </c:pt>
                <c:pt idx="6524">
                  <c:v>1.1279349768102079E-3</c:v>
                </c:pt>
                <c:pt idx="6525">
                  <c:v>1.1393401564248667E-3</c:v>
                </c:pt>
                <c:pt idx="6526">
                  <c:v>1.1472317751931736E-3</c:v>
                </c:pt>
                <c:pt idx="6527">
                  <c:v>1.162322776129948E-3</c:v>
                </c:pt>
                <c:pt idx="6528">
                  <c:v>1.1773851691628907E-3</c:v>
                </c:pt>
                <c:pt idx="6529">
                  <c:v>1.1967923620825854E-3</c:v>
                </c:pt>
                <c:pt idx="6530">
                  <c:v>1.2073377559053517E-3</c:v>
                </c:pt>
                <c:pt idx="6531">
                  <c:v>1.2094837637060261E-3</c:v>
                </c:pt>
                <c:pt idx="6532">
                  <c:v>1.2381725806264034E-3</c:v>
                </c:pt>
                <c:pt idx="6533">
                  <c:v>1.2541923469763492E-3</c:v>
                </c:pt>
                <c:pt idx="6534">
                  <c:v>1.2770266547523724E-3</c:v>
                </c:pt>
                <c:pt idx="6535">
                  <c:v>1.2887044892360157E-3</c:v>
                </c:pt>
                <c:pt idx="6536">
                  <c:v>1.3085140826555833E-3</c:v>
                </c:pt>
                <c:pt idx="6537">
                  <c:v>1.3119403597349174E-3</c:v>
                </c:pt>
                <c:pt idx="6538">
                  <c:v>1.3344752727399659E-3</c:v>
                </c:pt>
                <c:pt idx="6539">
                  <c:v>1.3489316393110197E-3</c:v>
                </c:pt>
                <c:pt idx="6540">
                  <c:v>1.3962232039630969E-3</c:v>
                </c:pt>
                <c:pt idx="6541">
                  <c:v>1.4459704508176731E-3</c:v>
                </c:pt>
                <c:pt idx="6542">
                  <c:v>1.490742482710126E-3</c:v>
                </c:pt>
                <c:pt idx="6543">
                  <c:v>1.5300603600344484E-3</c:v>
                </c:pt>
                <c:pt idx="6544">
                  <c:v>1.5668281002479501E-3</c:v>
                </c:pt>
                <c:pt idx="6545">
                  <c:v>1.6035451514782929E-3</c:v>
                </c:pt>
                <c:pt idx="6546">
                  <c:v>1.6641556291911988E-3</c:v>
                </c:pt>
                <c:pt idx="6547">
                  <c:v>1.709851899270786E-3</c:v>
                </c:pt>
                <c:pt idx="6548">
                  <c:v>1.7415186891177425E-3</c:v>
                </c:pt>
                <c:pt idx="6549">
                  <c:v>1.7598768163849779E-3</c:v>
                </c:pt>
                <c:pt idx="6550">
                  <c:v>1.7699986570245492E-3</c:v>
                </c:pt>
                <c:pt idx="6551">
                  <c:v>1.767465491866668E-3</c:v>
                </c:pt>
                <c:pt idx="6552">
                  <c:v>1.7479248530912817E-3</c:v>
                </c:pt>
                <c:pt idx="6553">
                  <c:v>1.7176429405517946E-3</c:v>
                </c:pt>
                <c:pt idx="6554">
                  <c:v>1.6903346647963056E-3</c:v>
                </c:pt>
                <c:pt idx="6555">
                  <c:v>1.6819301336922093E-3</c:v>
                </c:pt>
                <c:pt idx="6556">
                  <c:v>1.6574895690637077E-3</c:v>
                </c:pt>
                <c:pt idx="6557">
                  <c:v>1.6414446898820763E-3</c:v>
                </c:pt>
                <c:pt idx="6558">
                  <c:v>1.6160258227800517E-3</c:v>
                </c:pt>
                <c:pt idx="6559">
                  <c:v>1.5874995299522757E-3</c:v>
                </c:pt>
                <c:pt idx="6560">
                  <c:v>1.5418582677988926E-3</c:v>
                </c:pt>
                <c:pt idx="6561">
                  <c:v>1.4938445309463737E-3</c:v>
                </c:pt>
                <c:pt idx="6562">
                  <c:v>1.5120825183713889E-3</c:v>
                </c:pt>
                <c:pt idx="6563">
                  <c:v>1.5217891096116593E-3</c:v>
                </c:pt>
                <c:pt idx="6564">
                  <c:v>1.5453676906227842E-3</c:v>
                </c:pt>
                <c:pt idx="6565">
                  <c:v>1.5632048497128742E-3</c:v>
                </c:pt>
                <c:pt idx="6566">
                  <c:v>1.608890826866444E-3</c:v>
                </c:pt>
                <c:pt idx="6567">
                  <c:v>1.6540770375079704E-3</c:v>
                </c:pt>
                <c:pt idx="6568">
                  <c:v>1.7065735779109221E-3</c:v>
                </c:pt>
                <c:pt idx="6569">
                  <c:v>1.7500224133882749E-3</c:v>
                </c:pt>
                <c:pt idx="6570">
                  <c:v>1.7888240900472943E-3</c:v>
                </c:pt>
                <c:pt idx="6571">
                  <c:v>1.8159368585013757E-3</c:v>
                </c:pt>
                <c:pt idx="6572">
                  <c:v>1.8283462759116703E-3</c:v>
                </c:pt>
                <c:pt idx="6573">
                  <c:v>1.8264906520902404E-3</c:v>
                </c:pt>
                <c:pt idx="6574">
                  <c:v>1.8172225675199799E-3</c:v>
                </c:pt>
                <c:pt idx="6575">
                  <c:v>1.7959532563744862E-3</c:v>
                </c:pt>
                <c:pt idx="6576">
                  <c:v>1.7933550786581776E-3</c:v>
                </c:pt>
                <c:pt idx="6577">
                  <c:v>1.7838176753364643E-3</c:v>
                </c:pt>
                <c:pt idx="6578">
                  <c:v>1.7723473468450298E-3</c:v>
                </c:pt>
                <c:pt idx="6579">
                  <c:v>1.748037472400366E-3</c:v>
                </c:pt>
                <c:pt idx="6580">
                  <c:v>1.7148779504835691E-3</c:v>
                </c:pt>
                <c:pt idx="6581">
                  <c:v>1.6814508694396164E-3</c:v>
                </c:pt>
                <c:pt idx="6582">
                  <c:v>1.6287073164895616E-3</c:v>
                </c:pt>
                <c:pt idx="6583">
                  <c:v>1.5576739374319273E-3</c:v>
                </c:pt>
                <c:pt idx="6584">
                  <c:v>1.4898842911580054E-3</c:v>
                </c:pt>
                <c:pt idx="6585">
                  <c:v>1.4479083639221872E-3</c:v>
                </c:pt>
                <c:pt idx="6586">
                  <c:v>1.3924589822213566E-3</c:v>
                </c:pt>
                <c:pt idx="6587">
                  <c:v>1.3350245188234278E-3</c:v>
                </c:pt>
                <c:pt idx="6588">
                  <c:v>1.2648038130993176E-3</c:v>
                </c:pt>
                <c:pt idx="6589">
                  <c:v>1.1868142832034032E-3</c:v>
                </c:pt>
                <c:pt idx="6590">
                  <c:v>1.0871851160494852E-3</c:v>
                </c:pt>
                <c:pt idx="6591">
                  <c:v>9.9234660905926121E-4</c:v>
                </c:pt>
                <c:pt idx="6592">
                  <c:v>9.4045304668244106E-4</c:v>
                </c:pt>
                <c:pt idx="6593">
                  <c:v>8.9009251769728542E-4</c:v>
                </c:pt>
                <c:pt idx="6594">
                  <c:v>8.4356682092060799E-4</c:v>
                </c:pt>
                <c:pt idx="6595">
                  <c:v>8.028597711355435E-4</c:v>
                </c:pt>
                <c:pt idx="6596">
                  <c:v>7.8504124026277159E-4</c:v>
                </c:pt>
                <c:pt idx="6597">
                  <c:v>7.9242599764862379E-4</c:v>
                </c:pt>
                <c:pt idx="6598">
                  <c:v>7.9980048312658239E-4</c:v>
                </c:pt>
                <c:pt idx="6599">
                  <c:v>8.0660138258917616E-4</c:v>
                </c:pt>
                <c:pt idx="6600">
                  <c:v>8.3891480096848236E-4</c:v>
                </c:pt>
                <c:pt idx="6601">
                  <c:v>8.7805476431083063E-4</c:v>
                </c:pt>
                <c:pt idx="6602">
                  <c:v>9.1651900549092572E-4</c:v>
                </c:pt>
                <c:pt idx="6603">
                  <c:v>9.4220515420159279E-4</c:v>
                </c:pt>
                <c:pt idx="6604">
                  <c:v>9.7207077099992223E-4</c:v>
                </c:pt>
                <c:pt idx="6605">
                  <c:v>1.0036968303872328E-3</c:v>
                </c:pt>
                <c:pt idx="6606">
                  <c:v>1.0303667592653678E-3</c:v>
                </c:pt>
                <c:pt idx="6607">
                  <c:v>1.0511510238124079E-3</c:v>
                </c:pt>
                <c:pt idx="6608">
                  <c:v>1.0738467171421905E-3</c:v>
                </c:pt>
                <c:pt idx="6609">
                  <c:v>1.0881494261108632E-3</c:v>
                </c:pt>
                <c:pt idx="6610">
                  <c:v>1.0966883916751684E-3</c:v>
                </c:pt>
                <c:pt idx="6611">
                  <c:v>1.1854035399465562E-3</c:v>
                </c:pt>
                <c:pt idx="6612">
                  <c:v>1.2565161657300341E-3</c:v>
                </c:pt>
                <c:pt idx="6613">
                  <c:v>1.3129126150663859E-3</c:v>
                </c:pt>
                <c:pt idx="6614">
                  <c:v>1.3566406673319483E-3</c:v>
                </c:pt>
                <c:pt idx="6615">
                  <c:v>1.3916286332713655E-3</c:v>
                </c:pt>
                <c:pt idx="6616">
                  <c:v>1.4176596286726638E-3</c:v>
                </c:pt>
                <c:pt idx="6617">
                  <c:v>1.4327005093875049E-3</c:v>
                </c:pt>
                <c:pt idx="6618">
                  <c:v>1.4537648187033863E-3</c:v>
                </c:pt>
                <c:pt idx="6619">
                  <c:v>1.4763508533787379E-3</c:v>
                </c:pt>
                <c:pt idx="6620">
                  <c:v>1.4882898142351726E-3</c:v>
                </c:pt>
                <c:pt idx="6621">
                  <c:v>1.492011965422527E-3</c:v>
                </c:pt>
                <c:pt idx="6622">
                  <c:v>1.5007605504025283E-3</c:v>
                </c:pt>
                <c:pt idx="6623">
                  <c:v>1.4972232951512799E-3</c:v>
                </c:pt>
                <c:pt idx="6624">
                  <c:v>1.4765472121805161E-3</c:v>
                </c:pt>
                <c:pt idx="6625">
                  <c:v>1.4457050634843183E-3</c:v>
                </c:pt>
                <c:pt idx="6626">
                  <c:v>1.4025323201817205E-3</c:v>
                </c:pt>
                <c:pt idx="6627">
                  <c:v>1.3622726700341238E-3</c:v>
                </c:pt>
                <c:pt idx="6628">
                  <c:v>1.3169649779258355E-3</c:v>
                </c:pt>
                <c:pt idx="6629">
                  <c:v>1.2659902886608964E-3</c:v>
                </c:pt>
                <c:pt idx="6630">
                  <c:v>1.234560425332068E-3</c:v>
                </c:pt>
                <c:pt idx="6631">
                  <c:v>1.2310215684567334E-3</c:v>
                </c:pt>
                <c:pt idx="6632">
                  <c:v>1.2313656146691601E-3</c:v>
                </c:pt>
                <c:pt idx="6633">
                  <c:v>1.2271000340779771E-3</c:v>
                </c:pt>
                <c:pt idx="6634">
                  <c:v>1.2185163094983078E-3</c:v>
                </c:pt>
                <c:pt idx="6635">
                  <c:v>1.2089539696804627E-3</c:v>
                </c:pt>
                <c:pt idx="6636">
                  <c:v>1.1938235380806175E-3</c:v>
                </c:pt>
                <c:pt idx="6637">
                  <c:v>1.1675191274352706E-3</c:v>
                </c:pt>
                <c:pt idx="6638">
                  <c:v>1.13362868054097E-3</c:v>
                </c:pt>
                <c:pt idx="6639">
                  <c:v>1.0887376561641569E-3</c:v>
                </c:pt>
                <c:pt idx="6640">
                  <c:v>1.0285272316380508E-3</c:v>
                </c:pt>
                <c:pt idx="6641">
                  <c:v>1.0336163867296377E-3</c:v>
                </c:pt>
                <c:pt idx="6642">
                  <c:v>1.0322826273749361E-3</c:v>
                </c:pt>
                <c:pt idx="6643">
                  <c:v>1.0309424748106539E-3</c:v>
                </c:pt>
                <c:pt idx="6644">
                  <c:v>1.0203470066851321E-3</c:v>
                </c:pt>
                <c:pt idx="6645">
                  <c:v>1.0054896886867208E-3</c:v>
                </c:pt>
                <c:pt idx="6646">
                  <c:v>9.8601902346834042E-4</c:v>
                </c:pt>
                <c:pt idx="6647">
                  <c:v>9.5924591637974027E-4</c:v>
                </c:pt>
                <c:pt idx="6648">
                  <c:v>9.503334070756857E-4</c:v>
                </c:pt>
                <c:pt idx="6649">
                  <c:v>9.3746993849048196E-4</c:v>
                </c:pt>
                <c:pt idx="6650">
                  <c:v>9.4489373945217531E-4</c:v>
                </c:pt>
                <c:pt idx="6651">
                  <c:v>9.4588425848202639E-4</c:v>
                </c:pt>
                <c:pt idx="6652">
                  <c:v>9.5674912370358786E-4</c:v>
                </c:pt>
                <c:pt idx="6653">
                  <c:v>9.6052823859081712E-4</c:v>
                </c:pt>
                <c:pt idx="6654">
                  <c:v>9.5473483586265529E-4</c:v>
                </c:pt>
                <c:pt idx="6655">
                  <c:v>9.4403934183580991E-4</c:v>
                </c:pt>
                <c:pt idx="6656">
                  <c:v>9.2260477324648013E-4</c:v>
                </c:pt>
                <c:pt idx="6657">
                  <c:v>8.9536048632213002E-4</c:v>
                </c:pt>
                <c:pt idx="6658">
                  <c:v>8.6252339494959898E-4</c:v>
                </c:pt>
                <c:pt idx="6659">
                  <c:v>8.3374074473212495E-4</c:v>
                </c:pt>
                <c:pt idx="6660">
                  <c:v>7.9668869849411047E-4</c:v>
                </c:pt>
                <c:pt idx="6661">
                  <c:v>7.8536538872905958E-4</c:v>
                </c:pt>
                <c:pt idx="6662">
                  <c:v>7.7978017522217465E-4</c:v>
                </c:pt>
                <c:pt idx="6663">
                  <c:v>7.9952888313824491E-4</c:v>
                </c:pt>
                <c:pt idx="6664">
                  <c:v>8.4668513560207071E-4</c:v>
                </c:pt>
                <c:pt idx="6665">
                  <c:v>8.9645274837198282E-4</c:v>
                </c:pt>
                <c:pt idx="6666">
                  <c:v>9.9174730661639315E-4</c:v>
                </c:pt>
                <c:pt idx="6667">
                  <c:v>1.0668419643048166E-3</c:v>
                </c:pt>
                <c:pt idx="6668">
                  <c:v>1.1298573827027722E-3</c:v>
                </c:pt>
                <c:pt idx="6669">
                  <c:v>1.1813605335789894E-3</c:v>
                </c:pt>
                <c:pt idx="6670">
                  <c:v>1.221056503381026E-3</c:v>
                </c:pt>
                <c:pt idx="6671">
                  <c:v>1.252184964521848E-3</c:v>
                </c:pt>
                <c:pt idx="6672">
                  <c:v>1.2735478287063966E-3</c:v>
                </c:pt>
                <c:pt idx="6673">
                  <c:v>1.2920408449030951E-3</c:v>
                </c:pt>
                <c:pt idx="6674">
                  <c:v>1.3244751606517457E-3</c:v>
                </c:pt>
                <c:pt idx="6675">
                  <c:v>1.3481017200787861E-3</c:v>
                </c:pt>
                <c:pt idx="6676">
                  <c:v>1.3681400772527046E-3</c:v>
                </c:pt>
                <c:pt idx="6677">
                  <c:v>1.374139486240757E-3</c:v>
                </c:pt>
                <c:pt idx="6678">
                  <c:v>1.3786996318888294E-3</c:v>
                </c:pt>
                <c:pt idx="6679">
                  <c:v>1.3731012502757672E-3</c:v>
                </c:pt>
                <c:pt idx="6680">
                  <c:v>1.3822321111191093E-3</c:v>
                </c:pt>
                <c:pt idx="6681">
                  <c:v>1.3839163010299872E-3</c:v>
                </c:pt>
                <c:pt idx="6682">
                  <c:v>1.3783695968595197E-3</c:v>
                </c:pt>
                <c:pt idx="6683">
                  <c:v>1.3651768303070883E-3</c:v>
                </c:pt>
                <c:pt idx="6684">
                  <c:v>1.3442152574942386E-3</c:v>
                </c:pt>
                <c:pt idx="6685">
                  <c:v>1.32300605792319E-3</c:v>
                </c:pt>
                <c:pt idx="6686">
                  <c:v>1.3046749091610744E-3</c:v>
                </c:pt>
                <c:pt idx="6687">
                  <c:v>1.2821114905256297E-3</c:v>
                </c:pt>
                <c:pt idx="6688">
                  <c:v>1.2482290755005659E-3</c:v>
                </c:pt>
                <c:pt idx="6689">
                  <c:v>1.2060806109535766E-3</c:v>
                </c:pt>
                <c:pt idx="6690">
                  <c:v>1.1497679140149138E-3</c:v>
                </c:pt>
                <c:pt idx="6691">
                  <c:v>1.0813125935424019E-3</c:v>
                </c:pt>
                <c:pt idx="6692">
                  <c:v>1.0094962669607483E-3</c:v>
                </c:pt>
                <c:pt idx="6693">
                  <c:v>9.5598457702613488E-4</c:v>
                </c:pt>
                <c:pt idx="6694">
                  <c:v>9.2718280740377527E-4</c:v>
                </c:pt>
                <c:pt idx="6695">
                  <c:v>9.1358608405757685E-4</c:v>
                </c:pt>
                <c:pt idx="6696">
                  <c:v>9.6081382302531633E-4</c:v>
                </c:pt>
                <c:pt idx="6697">
                  <c:v>1.0035099916635949E-3</c:v>
                </c:pt>
                <c:pt idx="6698">
                  <c:v>1.0356972880750167E-3</c:v>
                </c:pt>
                <c:pt idx="6699">
                  <c:v>1.0557509260361623E-3</c:v>
                </c:pt>
                <c:pt idx="6700">
                  <c:v>1.0673414614080882E-3</c:v>
                </c:pt>
                <c:pt idx="6701">
                  <c:v>1.0706165981183404E-3</c:v>
                </c:pt>
                <c:pt idx="6702">
                  <c:v>1.0656212636521805E-3</c:v>
                </c:pt>
                <c:pt idx="6703">
                  <c:v>1.0523398994763877E-3</c:v>
                </c:pt>
                <c:pt idx="6704">
                  <c:v>1.0583364310725251E-3</c:v>
                </c:pt>
                <c:pt idx="6705">
                  <c:v>1.0693775737228061E-3</c:v>
                </c:pt>
                <c:pt idx="6706">
                  <c:v>1.0871118917841482E-3</c:v>
                </c:pt>
                <c:pt idx="6707">
                  <c:v>1.0960237838969909E-3</c:v>
                </c:pt>
                <c:pt idx="6708">
                  <c:v>1.098073963265816E-3</c:v>
                </c:pt>
                <c:pt idx="6709">
                  <c:v>1.0976689144280103E-3</c:v>
                </c:pt>
                <c:pt idx="6710">
                  <c:v>1.0966499725884389E-3</c:v>
                </c:pt>
                <c:pt idx="6711">
                  <c:v>1.0899303826414294E-3</c:v>
                </c:pt>
                <c:pt idx="6712">
                  <c:v>1.0748973379962139E-3</c:v>
                </c:pt>
                <c:pt idx="6713">
                  <c:v>1.0699455372102486E-3</c:v>
                </c:pt>
                <c:pt idx="6714">
                  <c:v>1.0540939229350347E-3</c:v>
                </c:pt>
                <c:pt idx="6715">
                  <c:v>1.0361736838442528E-3</c:v>
                </c:pt>
                <c:pt idx="6716">
                  <c:v>1.0255879087975111E-3</c:v>
                </c:pt>
                <c:pt idx="6717">
                  <c:v>1.0146751653221208E-3</c:v>
                </c:pt>
                <c:pt idx="6718">
                  <c:v>9.9574697682994467E-4</c:v>
                </c:pt>
                <c:pt idx="6719">
                  <c:v>9.7424703204978375E-4</c:v>
                </c:pt>
                <c:pt idx="6720">
                  <c:v>9.4445892339110448E-4</c:v>
                </c:pt>
                <c:pt idx="6721">
                  <c:v>9.1428362749582115E-4</c:v>
                </c:pt>
                <c:pt idx="6722">
                  <c:v>9.2685079297730232E-4</c:v>
                </c:pt>
                <c:pt idx="6723">
                  <c:v>9.4711017198135638E-4</c:v>
                </c:pt>
                <c:pt idx="6724">
                  <c:v>9.6144892530776504E-4</c:v>
                </c:pt>
                <c:pt idx="6725">
                  <c:v>9.8128420384798408E-4</c:v>
                </c:pt>
                <c:pt idx="6726">
                  <c:v>1.0182623394571211E-3</c:v>
                </c:pt>
                <c:pt idx="6727">
                  <c:v>1.0503332648834599E-3</c:v>
                </c:pt>
                <c:pt idx="6728">
                  <c:v>1.0744471195957052E-3</c:v>
                </c:pt>
                <c:pt idx="6729">
                  <c:v>1.0963177014903327E-3</c:v>
                </c:pt>
                <c:pt idx="6730">
                  <c:v>1.10993595246685E-3</c:v>
                </c:pt>
                <c:pt idx="6731">
                  <c:v>1.1228087015540788E-3</c:v>
                </c:pt>
                <c:pt idx="6732">
                  <c:v>1.1269803692020382E-3</c:v>
                </c:pt>
                <c:pt idx="6733">
                  <c:v>1.1273231875487705E-3</c:v>
                </c:pt>
                <c:pt idx="6734">
                  <c:v>1.1214137492711008E-3</c:v>
                </c:pt>
                <c:pt idx="6735">
                  <c:v>1.1213650199768371E-3</c:v>
                </c:pt>
                <c:pt idx="6736">
                  <c:v>1.1227257983736261E-3</c:v>
                </c:pt>
                <c:pt idx="6737">
                  <c:v>1.1142037270105085E-3</c:v>
                </c:pt>
                <c:pt idx="6738">
                  <c:v>1.0978274267260243E-3</c:v>
                </c:pt>
                <c:pt idx="6739">
                  <c:v>1.0808481003922912E-3</c:v>
                </c:pt>
                <c:pt idx="6740">
                  <c:v>1.0620483151059254E-3</c:v>
                </c:pt>
                <c:pt idx="6741">
                  <c:v>1.0448808853719799E-3</c:v>
                </c:pt>
                <c:pt idx="6742">
                  <c:v>1.0431089551417132E-3</c:v>
                </c:pt>
                <c:pt idx="6743">
                  <c:v>1.0526899211922222E-3</c:v>
                </c:pt>
                <c:pt idx="6744">
                  <c:v>1.0643016393369232E-3</c:v>
                </c:pt>
                <c:pt idx="6745">
                  <c:v>1.0669917608075482E-3</c:v>
                </c:pt>
                <c:pt idx="6746">
                  <c:v>1.0609037439321869E-3</c:v>
                </c:pt>
                <c:pt idx="6747">
                  <c:v>1.0436050194013711E-3</c:v>
                </c:pt>
                <c:pt idx="6748">
                  <c:v>1.0193946401890997E-3</c:v>
                </c:pt>
                <c:pt idx="6749">
                  <c:v>9.8518677230362978E-4</c:v>
                </c:pt>
                <c:pt idx="6750">
                  <c:v>9.3983196673225514E-4</c:v>
                </c:pt>
                <c:pt idx="6751">
                  <c:v>8.9243477000105001E-4</c:v>
                </c:pt>
                <c:pt idx="6752">
                  <c:v>9.0347866789049441E-4</c:v>
                </c:pt>
                <c:pt idx="6753">
                  <c:v>9.4625330697694157E-4</c:v>
                </c:pt>
                <c:pt idx="6754">
                  <c:v>9.8208815042718687E-4</c:v>
                </c:pt>
                <c:pt idx="6755">
                  <c:v>1.0101030724688437E-3</c:v>
                </c:pt>
                <c:pt idx="6756">
                  <c:v>1.0335818756291026E-3</c:v>
                </c:pt>
                <c:pt idx="6757">
                  <c:v>1.048655338679467E-3</c:v>
                </c:pt>
                <c:pt idx="6758">
                  <c:v>1.0558769990409479E-3</c:v>
                </c:pt>
                <c:pt idx="6759">
                  <c:v>1.0624957000638059E-3</c:v>
                </c:pt>
                <c:pt idx="6760">
                  <c:v>1.0620918457221148E-3</c:v>
                </c:pt>
                <c:pt idx="6761">
                  <c:v>1.0808881929533132E-3</c:v>
                </c:pt>
                <c:pt idx="6762">
                  <c:v>1.091353149280649E-3</c:v>
                </c:pt>
                <c:pt idx="6763">
                  <c:v>1.0985463227567733E-3</c:v>
                </c:pt>
                <c:pt idx="6764">
                  <c:v>1.1075450158172563E-3</c:v>
                </c:pt>
                <c:pt idx="6765">
                  <c:v>1.1177985152768814E-3</c:v>
                </c:pt>
                <c:pt idx="6766">
                  <c:v>1.1221323592614299E-3</c:v>
                </c:pt>
                <c:pt idx="6767">
                  <c:v>1.1410449153397451E-3</c:v>
                </c:pt>
                <c:pt idx="6768">
                  <c:v>1.1568680934742458E-3</c:v>
                </c:pt>
                <c:pt idx="6769">
                  <c:v>1.1689345389801075E-3</c:v>
                </c:pt>
                <c:pt idx="6770">
                  <c:v>1.1771274392865E-3</c:v>
                </c:pt>
                <c:pt idx="6771">
                  <c:v>1.1805988207983804E-3</c:v>
                </c:pt>
                <c:pt idx="6772">
                  <c:v>1.2195341390016006E-3</c:v>
                </c:pt>
                <c:pt idx="6773">
                  <c:v>1.2574028703153442E-3</c:v>
                </c:pt>
                <c:pt idx="6774">
                  <c:v>1.327017710847842E-3</c:v>
                </c:pt>
                <c:pt idx="6775">
                  <c:v>1.4181349527110129E-3</c:v>
                </c:pt>
                <c:pt idx="6776">
                  <c:v>1.4880350619510976E-3</c:v>
                </c:pt>
                <c:pt idx="6777">
                  <c:v>1.5372509277386617E-3</c:v>
                </c:pt>
                <c:pt idx="6778">
                  <c:v>1.5717908881216181E-3</c:v>
                </c:pt>
                <c:pt idx="6779">
                  <c:v>1.590925282326899E-3</c:v>
                </c:pt>
                <c:pt idx="6780">
                  <c:v>1.5950285449308108E-3</c:v>
                </c:pt>
                <c:pt idx="6781">
                  <c:v>1.5945046027551265E-3</c:v>
                </c:pt>
                <c:pt idx="6782">
                  <c:v>1.601571596764073E-3</c:v>
                </c:pt>
                <c:pt idx="6783">
                  <c:v>1.6228007774961438E-3</c:v>
                </c:pt>
                <c:pt idx="6784">
                  <c:v>1.6336775697643842E-3</c:v>
                </c:pt>
                <c:pt idx="6785">
                  <c:v>1.642760354425051E-3</c:v>
                </c:pt>
                <c:pt idx="6786">
                  <c:v>1.6429243948914395E-3</c:v>
                </c:pt>
                <c:pt idx="6787">
                  <c:v>1.6317199967870839E-3</c:v>
                </c:pt>
                <c:pt idx="6788">
                  <c:v>1.6091168049079082E-3</c:v>
                </c:pt>
                <c:pt idx="6789">
                  <c:v>1.5763813463001493E-3</c:v>
                </c:pt>
                <c:pt idx="6790">
                  <c:v>1.5306415735610165E-3</c:v>
                </c:pt>
                <c:pt idx="6791">
                  <c:v>1.4955230628349876E-3</c:v>
                </c:pt>
                <c:pt idx="6792">
                  <c:v>1.4502736649057476E-3</c:v>
                </c:pt>
                <c:pt idx="6793">
                  <c:v>1.401167301104522E-3</c:v>
                </c:pt>
                <c:pt idx="6794">
                  <c:v>1.3533365296304533E-3</c:v>
                </c:pt>
                <c:pt idx="6795">
                  <c:v>1.2969655799582654E-3</c:v>
                </c:pt>
                <c:pt idx="6796">
                  <c:v>1.2242721453603867E-3</c:v>
                </c:pt>
                <c:pt idx="6797">
                  <c:v>1.1690963549589033E-3</c:v>
                </c:pt>
                <c:pt idx="6798">
                  <c:v>1.1099186503277631E-3</c:v>
                </c:pt>
                <c:pt idx="6799">
                  <c:v>1.0431552930398593E-3</c:v>
                </c:pt>
                <c:pt idx="6800">
                  <c:v>9.7571709384414521E-4</c:v>
                </c:pt>
                <c:pt idx="6801">
                  <c:v>8.9184023404291122E-4</c:v>
                </c:pt>
                <c:pt idx="6802">
                  <c:v>8.2483770256431578E-4</c:v>
                </c:pt>
                <c:pt idx="6803">
                  <c:v>7.5868933310164653E-4</c:v>
                </c:pt>
                <c:pt idx="6804">
                  <c:v>7.2560887847346019E-4</c:v>
                </c:pt>
                <c:pt idx="6805">
                  <c:v>7.2389685508482513E-4</c:v>
                </c:pt>
                <c:pt idx="6806">
                  <c:v>7.1875279448371787E-4</c:v>
                </c:pt>
                <c:pt idx="6807">
                  <c:v>7.1465656278705983E-4</c:v>
                </c:pt>
                <c:pt idx="6808">
                  <c:v>7.1123744444076325E-4</c:v>
                </c:pt>
                <c:pt idx="6809">
                  <c:v>7.1365142718695436E-4</c:v>
                </c:pt>
                <c:pt idx="6810">
                  <c:v>7.1077197742441432E-4</c:v>
                </c:pt>
                <c:pt idx="6811">
                  <c:v>7.0564264878778785E-4</c:v>
                </c:pt>
                <c:pt idx="6812">
                  <c:v>6.9549028805444368E-4</c:v>
                </c:pt>
                <c:pt idx="6813">
                  <c:v>6.9377854870118598E-4</c:v>
                </c:pt>
                <c:pt idx="6814">
                  <c:v>6.9237798413130346E-4</c:v>
                </c:pt>
                <c:pt idx="6815">
                  <c:v>7.0207730398755828E-4</c:v>
                </c:pt>
                <c:pt idx="6816">
                  <c:v>7.0687229964411799E-4</c:v>
                </c:pt>
                <c:pt idx="6817">
                  <c:v>7.0989325516700251E-4</c:v>
                </c:pt>
                <c:pt idx="6818">
                  <c:v>7.084985584962022E-4</c:v>
                </c:pt>
                <c:pt idx="6819">
                  <c:v>7.1562738711039727E-4</c:v>
                </c:pt>
                <c:pt idx="6820">
                  <c:v>7.2573952009232705E-4</c:v>
                </c:pt>
                <c:pt idx="6821">
                  <c:v>7.6728014826286581E-4</c:v>
                </c:pt>
                <c:pt idx="6822">
                  <c:v>8.0103562469518107E-4</c:v>
                </c:pt>
                <c:pt idx="6823">
                  <c:v>8.3759852581920388E-4</c:v>
                </c:pt>
                <c:pt idx="6824">
                  <c:v>8.7074398288756549E-4</c:v>
                </c:pt>
                <c:pt idx="6825">
                  <c:v>9.085845036751639E-4</c:v>
                </c:pt>
                <c:pt idx="6826">
                  <c:v>9.4747366402413266E-4</c:v>
                </c:pt>
                <c:pt idx="6827">
                  <c:v>9.7835339610037445E-4</c:v>
                </c:pt>
                <c:pt idx="6828">
                  <c:v>1.0125790157432806E-3</c:v>
                </c:pt>
                <c:pt idx="6829">
                  <c:v>1.0385174912114555E-3</c:v>
                </c:pt>
                <c:pt idx="6830">
                  <c:v>1.0593601904698101E-3</c:v>
                </c:pt>
                <c:pt idx="6831">
                  <c:v>1.0775555361315396E-3</c:v>
                </c:pt>
                <c:pt idx="6832">
                  <c:v>1.0903799334891213E-3</c:v>
                </c:pt>
                <c:pt idx="6833">
                  <c:v>1.0958060354786306E-3</c:v>
                </c:pt>
                <c:pt idx="6834">
                  <c:v>1.0984817973327115E-3</c:v>
                </c:pt>
                <c:pt idx="6835">
                  <c:v>1.0962202438590427E-3</c:v>
                </c:pt>
                <c:pt idx="6836">
                  <c:v>1.0861511930409606E-3</c:v>
                </c:pt>
                <c:pt idx="6837">
                  <c:v>1.0824280147240072E-3</c:v>
                </c:pt>
                <c:pt idx="6838">
                  <c:v>1.0979025986628426E-3</c:v>
                </c:pt>
                <c:pt idx="6839">
                  <c:v>1.1382328793206136E-3</c:v>
                </c:pt>
                <c:pt idx="6840">
                  <c:v>1.1693402519671106E-3</c:v>
                </c:pt>
                <c:pt idx="6841">
                  <c:v>1.1889308016685021E-3</c:v>
                </c:pt>
                <c:pt idx="6842">
                  <c:v>1.197761462002423E-3</c:v>
                </c:pt>
                <c:pt idx="6843">
                  <c:v>1.2163216038809425E-3</c:v>
                </c:pt>
                <c:pt idx="6844">
                  <c:v>1.2361212139537208E-3</c:v>
                </c:pt>
                <c:pt idx="6845">
                  <c:v>1.251524932624534E-3</c:v>
                </c:pt>
                <c:pt idx="6846">
                  <c:v>1.2860511704106846E-3</c:v>
                </c:pt>
                <c:pt idx="6847">
                  <c:v>1.3286411748764462E-3</c:v>
                </c:pt>
                <c:pt idx="6848">
                  <c:v>1.3537024316422903E-3</c:v>
                </c:pt>
                <c:pt idx="6849">
                  <c:v>1.3733206816677534E-3</c:v>
                </c:pt>
                <c:pt idx="6850">
                  <c:v>1.3860228405996803E-3</c:v>
                </c:pt>
                <c:pt idx="6851">
                  <c:v>1.4113263993129003E-3</c:v>
                </c:pt>
                <c:pt idx="6852">
                  <c:v>1.4259912362329806E-3</c:v>
                </c:pt>
                <c:pt idx="6853">
                  <c:v>1.4304364473634076E-3</c:v>
                </c:pt>
                <c:pt idx="6854">
                  <c:v>1.4289452726110779E-3</c:v>
                </c:pt>
                <c:pt idx="6855">
                  <c:v>1.4573250246327281E-3</c:v>
                </c:pt>
                <c:pt idx="6856">
                  <c:v>1.4793538507471365E-3</c:v>
                </c:pt>
                <c:pt idx="6857">
                  <c:v>1.4964579241618077E-3</c:v>
                </c:pt>
                <c:pt idx="6858">
                  <c:v>1.5123549598096747E-3</c:v>
                </c:pt>
                <c:pt idx="6859">
                  <c:v>1.5383457669452644E-3</c:v>
                </c:pt>
                <c:pt idx="6860">
                  <c:v>1.554965607908047E-3</c:v>
                </c:pt>
                <c:pt idx="6861">
                  <c:v>1.5649945745028536E-3</c:v>
                </c:pt>
                <c:pt idx="6862">
                  <c:v>1.5639274550966326E-3</c:v>
                </c:pt>
                <c:pt idx="6863">
                  <c:v>1.5490914984024702E-3</c:v>
                </c:pt>
                <c:pt idx="6864">
                  <c:v>1.5298883572705329E-3</c:v>
                </c:pt>
                <c:pt idx="6865">
                  <c:v>1.5006203033251513E-3</c:v>
                </c:pt>
                <c:pt idx="6866">
                  <c:v>1.4555494866218576E-3</c:v>
                </c:pt>
                <c:pt idx="6867">
                  <c:v>1.4062951722189116E-3</c:v>
                </c:pt>
                <c:pt idx="6868">
                  <c:v>1.3668828019830304E-3</c:v>
                </c:pt>
                <c:pt idx="6869">
                  <c:v>1.342051702664872E-3</c:v>
                </c:pt>
                <c:pt idx="6870">
                  <c:v>1.3093384220809903E-3</c:v>
                </c:pt>
                <c:pt idx="6871">
                  <c:v>1.265413937291626E-3</c:v>
                </c:pt>
                <c:pt idx="6872">
                  <c:v>1.2089212510272426E-3</c:v>
                </c:pt>
                <c:pt idx="6873">
                  <c:v>1.1602895961170905E-3</c:v>
                </c:pt>
                <c:pt idx="6874">
                  <c:v>1.1073257998878425E-3</c:v>
                </c:pt>
                <c:pt idx="6875">
                  <c:v>1.0455234788009058E-3</c:v>
                </c:pt>
                <c:pt idx="6876">
                  <c:v>1.0102732031077933E-3</c:v>
                </c:pt>
                <c:pt idx="6877">
                  <c:v>9.869613162460419E-4</c:v>
                </c:pt>
                <c:pt idx="6878">
                  <c:v>9.5778241485148131E-4</c:v>
                </c:pt>
                <c:pt idx="6879">
                  <c:v>9.2433978177050092E-4</c:v>
                </c:pt>
                <c:pt idx="6880">
                  <c:v>8.8356258800950606E-4</c:v>
                </c:pt>
                <c:pt idx="6881">
                  <c:v>8.3456008516816574E-4</c:v>
                </c:pt>
                <c:pt idx="6882">
                  <c:v>7.7762017680801075E-4</c:v>
                </c:pt>
                <c:pt idx="6883">
                  <c:v>7.1697987469043995E-4</c:v>
                </c:pt>
                <c:pt idx="6884">
                  <c:v>6.6341942502458947E-4</c:v>
                </c:pt>
                <c:pt idx="6885">
                  <c:v>6.5175863972617145E-4</c:v>
                </c:pt>
                <c:pt idx="6886">
                  <c:v>6.4191154101258543E-4</c:v>
                </c:pt>
                <c:pt idx="6887">
                  <c:v>6.3479545689369764E-4</c:v>
                </c:pt>
                <c:pt idx="6888">
                  <c:v>6.3016688455548087E-4</c:v>
                </c:pt>
                <c:pt idx="6889">
                  <c:v>6.7201006076252361E-4</c:v>
                </c:pt>
                <c:pt idx="6890">
                  <c:v>7.0764130782398598E-4</c:v>
                </c:pt>
                <c:pt idx="6891">
                  <c:v>7.3837130315816278E-4</c:v>
                </c:pt>
                <c:pt idx="6892">
                  <c:v>7.6490017685432643E-4</c:v>
                </c:pt>
                <c:pt idx="6893">
                  <c:v>8.2365813972980423E-4</c:v>
                </c:pt>
                <c:pt idx="6894">
                  <c:v>8.9552660615477753E-4</c:v>
                </c:pt>
                <c:pt idx="6895">
                  <c:v>9.5479249512116747E-4</c:v>
                </c:pt>
                <c:pt idx="6896">
                  <c:v>1.0039372437806516E-3</c:v>
                </c:pt>
                <c:pt idx="6897">
                  <c:v>1.0444792303736516E-3</c:v>
                </c:pt>
                <c:pt idx="6898">
                  <c:v>1.075539297569892E-3</c:v>
                </c:pt>
                <c:pt idx="6899">
                  <c:v>1.106364607023408E-3</c:v>
                </c:pt>
                <c:pt idx="6900">
                  <c:v>1.1350855816203809E-3</c:v>
                </c:pt>
                <c:pt idx="6901">
                  <c:v>1.1564234870125663E-3</c:v>
                </c:pt>
                <c:pt idx="6902">
                  <c:v>1.1707734514050995E-3</c:v>
                </c:pt>
                <c:pt idx="6903">
                  <c:v>1.180554287027707E-3</c:v>
                </c:pt>
                <c:pt idx="6904">
                  <c:v>1.1819810264343796E-3</c:v>
                </c:pt>
                <c:pt idx="6905">
                  <c:v>1.1769573597675391E-3</c:v>
                </c:pt>
                <c:pt idx="6906">
                  <c:v>1.1653202330775092E-3</c:v>
                </c:pt>
                <c:pt idx="6907">
                  <c:v>1.1468156798255375E-3</c:v>
                </c:pt>
                <c:pt idx="6908">
                  <c:v>1.1230414357805126E-3</c:v>
                </c:pt>
                <c:pt idx="6909">
                  <c:v>1.0945982071393916E-3</c:v>
                </c:pt>
                <c:pt idx="6910">
                  <c:v>1.0579976519410812E-3</c:v>
                </c:pt>
                <c:pt idx="6911">
                  <c:v>1.0124566038761692E-3</c:v>
                </c:pt>
                <c:pt idx="6912">
                  <c:v>9.6018853138723765E-4</c:v>
                </c:pt>
                <c:pt idx="6913">
                  <c:v>9.1269030498886095E-4</c:v>
                </c:pt>
                <c:pt idx="6914">
                  <c:v>8.7242587884481227E-4</c:v>
                </c:pt>
                <c:pt idx="6915">
                  <c:v>8.2676498223520616E-4</c:v>
                </c:pt>
                <c:pt idx="6916">
                  <c:v>7.8851665803382335E-4</c:v>
                </c:pt>
                <c:pt idx="6917">
                  <c:v>7.4126108086357571E-4</c:v>
                </c:pt>
                <c:pt idx="6918">
                  <c:v>6.9352632453458418E-4</c:v>
                </c:pt>
                <c:pt idx="6919">
                  <c:v>6.7268386036339715E-4</c:v>
                </c:pt>
                <c:pt idx="6920">
                  <c:v>6.7760498474718359E-4</c:v>
                </c:pt>
                <c:pt idx="6921">
                  <c:v>6.7643923842400442E-4</c:v>
                </c:pt>
                <c:pt idx="6922">
                  <c:v>6.7200210168560166E-4</c:v>
                </c:pt>
                <c:pt idx="6923">
                  <c:v>6.9657933595107177E-4</c:v>
                </c:pt>
                <c:pt idx="6924">
                  <c:v>7.2546115181274342E-4</c:v>
                </c:pt>
                <c:pt idx="6925">
                  <c:v>7.4714751646144065E-4</c:v>
                </c:pt>
                <c:pt idx="6926">
                  <c:v>7.6143582317679136E-4</c:v>
                </c:pt>
                <c:pt idx="6927">
                  <c:v>7.7157079947824615E-4</c:v>
                </c:pt>
                <c:pt idx="6928">
                  <c:v>7.8005836031676973E-4</c:v>
                </c:pt>
                <c:pt idx="6929">
                  <c:v>8.3526764911706283E-4</c:v>
                </c:pt>
                <c:pt idx="6930">
                  <c:v>8.8734225582665289E-4</c:v>
                </c:pt>
                <c:pt idx="6931">
                  <c:v>9.3615828593398805E-4</c:v>
                </c:pt>
                <c:pt idx="6932">
                  <c:v>9.8200475983200642E-4</c:v>
                </c:pt>
                <c:pt idx="6933">
                  <c:v>1.0190335479383205E-3</c:v>
                </c:pt>
                <c:pt idx="6934">
                  <c:v>1.0591478107945254E-3</c:v>
                </c:pt>
                <c:pt idx="6935">
                  <c:v>1.0961608820683219E-3</c:v>
                </c:pt>
                <c:pt idx="6936">
                  <c:v>1.1241425610669219E-3</c:v>
                </c:pt>
                <c:pt idx="6937">
                  <c:v>1.1680764149842638E-3</c:v>
                </c:pt>
                <c:pt idx="6938">
                  <c:v>1.2086610727847461E-3</c:v>
                </c:pt>
                <c:pt idx="6939">
                  <c:v>1.244023018867957E-3</c:v>
                </c:pt>
                <c:pt idx="6940">
                  <c:v>1.2713950342738256E-3</c:v>
                </c:pt>
                <c:pt idx="6941">
                  <c:v>1.291026815984909E-3</c:v>
                </c:pt>
                <c:pt idx="6942">
                  <c:v>1.3004729726775834E-3</c:v>
                </c:pt>
                <c:pt idx="6943">
                  <c:v>1.3002670463237603E-3</c:v>
                </c:pt>
                <c:pt idx="6944">
                  <c:v>1.2950218685183702E-3</c:v>
                </c:pt>
                <c:pt idx="6945">
                  <c:v>1.2818994745385458E-3</c:v>
                </c:pt>
                <c:pt idx="6946">
                  <c:v>1.2729187075337636E-3</c:v>
                </c:pt>
                <c:pt idx="6947">
                  <c:v>1.2671266820016075E-3</c:v>
                </c:pt>
                <c:pt idx="6948">
                  <c:v>1.2496078619199449E-3</c:v>
                </c:pt>
                <c:pt idx="6949">
                  <c:v>1.2288894711017656E-3</c:v>
                </c:pt>
                <c:pt idx="6950">
                  <c:v>1.2305099872326358E-3</c:v>
                </c:pt>
                <c:pt idx="6951">
                  <c:v>1.226056689118176E-3</c:v>
                </c:pt>
                <c:pt idx="6952">
                  <c:v>1.2222042988573206E-3</c:v>
                </c:pt>
                <c:pt idx="6953">
                  <c:v>1.2078682092449139E-3</c:v>
                </c:pt>
                <c:pt idx="6954">
                  <c:v>1.1823777930071941E-3</c:v>
                </c:pt>
                <c:pt idx="6955">
                  <c:v>1.1455566428351697E-3</c:v>
                </c:pt>
                <c:pt idx="6956">
                  <c:v>1.0952737174202574E-3</c:v>
                </c:pt>
                <c:pt idx="6957">
                  <c:v>1.030875078258422E-3</c:v>
                </c:pt>
                <c:pt idx="6958">
                  <c:v>9.7222368876108856E-4</c:v>
                </c:pt>
                <c:pt idx="6959">
                  <c:v>9.5386037672017909E-4</c:v>
                </c:pt>
                <c:pt idx="6960">
                  <c:v>9.6714388910423333E-4</c:v>
                </c:pt>
                <c:pt idx="6961">
                  <c:v>9.8667327681402459E-4</c:v>
                </c:pt>
                <c:pt idx="6962">
                  <c:v>1.0218309808772256E-3</c:v>
                </c:pt>
                <c:pt idx="6963">
                  <c:v>1.0524834274372741E-3</c:v>
                </c:pt>
                <c:pt idx="6964">
                  <c:v>1.0830185328735483E-3</c:v>
                </c:pt>
                <c:pt idx="6965">
                  <c:v>1.106082769350611E-3</c:v>
                </c:pt>
                <c:pt idx="6966">
                  <c:v>1.1169931686546115E-3</c:v>
                </c:pt>
                <c:pt idx="6967">
                  <c:v>1.1445498356679074E-3</c:v>
                </c:pt>
                <c:pt idx="6968">
                  <c:v>1.1720468374097823E-3</c:v>
                </c:pt>
                <c:pt idx="6969">
                  <c:v>1.1543726490937283E-3</c:v>
                </c:pt>
                <c:pt idx="6970">
                  <c:v>1.1367545212218864E-3</c:v>
                </c:pt>
                <c:pt idx="6971">
                  <c:v>1.1191747968898476E-3</c:v>
                </c:pt>
                <c:pt idx="6972">
                  <c:v>1.0990842099357343E-3</c:v>
                </c:pt>
                <c:pt idx="6973">
                  <c:v>1.073290958636206E-3</c:v>
                </c:pt>
                <c:pt idx="6974">
                  <c:v>1.0489855081010145E-3</c:v>
                </c:pt>
                <c:pt idx="6975">
                  <c:v>1.0234510358014296E-3</c:v>
                </c:pt>
                <c:pt idx="6976">
                  <c:v>1.0024739278779945E-3</c:v>
                </c:pt>
                <c:pt idx="6977">
                  <c:v>9.9471258908110966E-4</c:v>
                </c:pt>
                <c:pt idx="6978">
                  <c:v>9.8263828306875776E-4</c:v>
                </c:pt>
                <c:pt idx="6979">
                  <c:v>9.6792036025906752E-4</c:v>
                </c:pt>
                <c:pt idx="6980">
                  <c:v>9.5605191022745881E-4</c:v>
                </c:pt>
                <c:pt idx="6981">
                  <c:v>9.4103886245469322E-4</c:v>
                </c:pt>
                <c:pt idx="6982">
                  <c:v>9.2884456622890877E-4</c:v>
                </c:pt>
                <c:pt idx="6983">
                  <c:v>9.0842764154916704E-4</c:v>
                </c:pt>
                <c:pt idx="6984">
                  <c:v>8.8054312080835411E-4</c:v>
                </c:pt>
                <c:pt idx="6985">
                  <c:v>8.3566864887985102E-4</c:v>
                </c:pt>
                <c:pt idx="6986">
                  <c:v>7.6989584698898496E-4</c:v>
                </c:pt>
                <c:pt idx="6987">
                  <c:v>6.5757786073468568E-4</c:v>
                </c:pt>
                <c:pt idx="6988">
                  <c:v>5.633481746435123E-4</c:v>
                </c:pt>
                <c:pt idx="6989">
                  <c:v>3.8472450410699039E-4</c:v>
                </c:pt>
                <c:pt idx="6990">
                  <c:v>2.9770617844288629E-4</c:v>
                </c:pt>
                <c:pt idx="6991">
                  <c:v>1.9919067141133112E-4</c:v>
                </c:pt>
                <c:pt idx="6992">
                  <c:v>1.5780128586890014E-4</c:v>
                </c:pt>
                <c:pt idx="6993">
                  <c:v>1.4275295459363724E-4</c:v>
                </c:pt>
                <c:pt idx="6994">
                  <c:v>1.3801584120768024E-4</c:v>
                </c:pt>
                <c:pt idx="6995">
                  <c:v>1.3093103898368817E-4</c:v>
                </c:pt>
                <c:pt idx="6996">
                  <c:v>9.2458454280913534E-5</c:v>
                </c:pt>
              </c:numCache>
            </c:numRef>
          </c:val>
          <c:smooth val="0"/>
          <c:extLst>
            <c:ext xmlns:c16="http://schemas.microsoft.com/office/drawing/2014/chart" uri="{C3380CC4-5D6E-409C-BE32-E72D297353CC}">
              <c16:uniqueId val="{00000003-34E5-0744-AA2C-554353F9D891}"/>
            </c:ext>
          </c:extLst>
        </c:ser>
        <c:ser>
          <c:idx val="4"/>
          <c:order val="4"/>
          <c:tx>
            <c:strRef>
              <c:f>'Rolling Stdev Data'!$E$1:$E$2</c:f>
              <c:strCache>
                <c:ptCount val="2"/>
                <c:pt idx="0">
                  <c:v>Newton Meters</c:v>
                </c:pt>
                <c:pt idx="1">
                  <c:v>MAXIMUM_DAILY_PUMP_TORQUE</c:v>
                </c:pt>
              </c:strCache>
            </c:strRef>
          </c:tx>
          <c:spPr>
            <a:ln w="28575" cap="rnd">
              <a:solidFill>
                <a:schemeClr val="accent5"/>
              </a:solidFill>
              <a:round/>
            </a:ln>
            <a:effectLst/>
          </c:spPr>
          <c:marker>
            <c:symbol val="none"/>
          </c:marker>
          <c:val>
            <c:numRef>
              <c:f>'Rolling Stdev Data'!$E$3:$E$7000</c:f>
              <c:numCache>
                <c:formatCode>General</c:formatCode>
                <c:ptCount val="699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3299878698136241</c:v>
                </c:pt>
                <c:pt idx="392">
                  <c:v>0.45864338619523609</c:v>
                </c:pt>
                <c:pt idx="393">
                  <c:v>0.55163824271528628</c:v>
                </c:pt>
                <c:pt idx="394">
                  <c:v>0.62510607675795482</c:v>
                </c:pt>
                <c:pt idx="395">
                  <c:v>0.68535729026631731</c:v>
                </c:pt>
                <c:pt idx="396">
                  <c:v>0.73566424965969102</c:v>
                </c:pt>
                <c:pt idx="397">
                  <c:v>0.77792931232052132</c:v>
                </c:pt>
                <c:pt idx="398">
                  <c:v>0.81343182480363618</c:v>
                </c:pt>
                <c:pt idx="399">
                  <c:v>0.84301629720528404</c:v>
                </c:pt>
                <c:pt idx="400">
                  <c:v>0.86728162602669379</c:v>
                </c:pt>
                <c:pt idx="401">
                  <c:v>0.88665131626812976</c:v>
                </c:pt>
                <c:pt idx="402">
                  <c:v>0.9014968227600233</c:v>
                </c:pt>
                <c:pt idx="403">
                  <c:v>0.91198781649481186</c:v>
                </c:pt>
                <c:pt idx="404">
                  <c:v>0.91826358440344569</c:v>
                </c:pt>
                <c:pt idx="405">
                  <c:v>0.92041202729491944</c:v>
                </c:pt>
                <c:pt idx="406">
                  <c:v>0.91845522923476153</c:v>
                </c:pt>
                <c:pt idx="407">
                  <c:v>0.91236983996196341</c:v>
                </c:pt>
                <c:pt idx="408">
                  <c:v>0.90207777276082413</c:v>
                </c:pt>
                <c:pt idx="409">
                  <c:v>0.88742309121128993</c:v>
                </c:pt>
                <c:pt idx="410">
                  <c:v>0.86819036108898218</c:v>
                </c:pt>
                <c:pt idx="411">
                  <c:v>0.84405755478906686</c:v>
                </c:pt>
                <c:pt idx="412">
                  <c:v>0.81458487600170926</c:v>
                </c:pt>
                <c:pt idx="413">
                  <c:v>0.77916868919193394</c:v>
                </c:pt>
                <c:pt idx="414">
                  <c:v>0.73694594282759363</c:v>
                </c:pt>
                <c:pt idx="415">
                  <c:v>0.68666245271459669</c:v>
                </c:pt>
                <c:pt idx="416">
                  <c:v>0.6263935363239761</c:v>
                </c:pt>
                <c:pt idx="417">
                  <c:v>0.5528579870924808</c:v>
                </c:pt>
                <c:pt idx="418">
                  <c:v>0.45973206605277506</c:v>
                </c:pt>
                <c:pt idx="419">
                  <c:v>0.33086740680068116</c:v>
                </c:pt>
                <c:pt idx="420">
                  <c:v>2.8944989864225714E-3</c:v>
                </c:pt>
                <c:pt idx="421">
                  <c:v>2.843570120354738E-3</c:v>
                </c:pt>
                <c:pt idx="422">
                  <c:v>2.8024366541855744E-3</c:v>
                </c:pt>
                <c:pt idx="423">
                  <c:v>2.753662618744599E-3</c:v>
                </c:pt>
                <c:pt idx="424">
                  <c:v>2.6866456572482516E-3</c:v>
                </c:pt>
                <c:pt idx="425">
                  <c:v>2.6343792598602723E-3</c:v>
                </c:pt>
                <c:pt idx="426">
                  <c:v>2.5874488728800634E-3</c:v>
                </c:pt>
                <c:pt idx="427">
                  <c:v>2.5319257145059383E-3</c:v>
                </c:pt>
                <c:pt idx="428">
                  <c:v>2.4753778626418971E-3</c:v>
                </c:pt>
                <c:pt idx="429">
                  <c:v>2.5139114566721881E-3</c:v>
                </c:pt>
                <c:pt idx="430">
                  <c:v>2.5298620875754368E-3</c:v>
                </c:pt>
                <c:pt idx="431">
                  <c:v>2.5086322134985498E-3</c:v>
                </c:pt>
                <c:pt idx="432">
                  <c:v>2.5585490001615867E-3</c:v>
                </c:pt>
                <c:pt idx="433">
                  <c:v>2.5985016383276685E-3</c:v>
                </c:pt>
                <c:pt idx="434">
                  <c:v>2.6386958629245716E-3</c:v>
                </c:pt>
                <c:pt idx="435">
                  <c:v>2.6609396125694402E-3</c:v>
                </c:pt>
                <c:pt idx="436">
                  <c:v>2.6692085574354114E-3</c:v>
                </c:pt>
                <c:pt idx="437">
                  <c:v>2.6720084095155842E-3</c:v>
                </c:pt>
                <c:pt idx="438">
                  <c:v>2.6811054914631384E-3</c:v>
                </c:pt>
                <c:pt idx="439">
                  <c:v>2.67867272508667E-3</c:v>
                </c:pt>
                <c:pt idx="440">
                  <c:v>2.6770634194063191E-3</c:v>
                </c:pt>
                <c:pt idx="441">
                  <c:v>2.6644286868966948E-3</c:v>
                </c:pt>
                <c:pt idx="442">
                  <c:v>2.6770056682454517E-3</c:v>
                </c:pt>
                <c:pt idx="443">
                  <c:v>2.6752963985913272E-3</c:v>
                </c:pt>
                <c:pt idx="444">
                  <c:v>2.6726537417582226E-3</c:v>
                </c:pt>
                <c:pt idx="445">
                  <c:v>2.646331824415028E-3</c:v>
                </c:pt>
                <c:pt idx="446">
                  <c:v>2.7664123022074117E-3</c:v>
                </c:pt>
                <c:pt idx="447">
                  <c:v>2.8579848332428138E-3</c:v>
                </c:pt>
                <c:pt idx="448">
                  <c:v>2.9230331902915618E-3</c:v>
                </c:pt>
                <c:pt idx="449">
                  <c:v>2.962188457382278E-3</c:v>
                </c:pt>
                <c:pt idx="450">
                  <c:v>3.0487072542165856E-3</c:v>
                </c:pt>
                <c:pt idx="451">
                  <c:v>3.1151792464573125E-3</c:v>
                </c:pt>
                <c:pt idx="452">
                  <c:v>3.182130075545235E-3</c:v>
                </c:pt>
                <c:pt idx="453">
                  <c:v>3.2548164752020108E-3</c:v>
                </c:pt>
                <c:pt idx="454">
                  <c:v>3.2896084350343561E-3</c:v>
                </c:pt>
                <c:pt idx="455">
                  <c:v>3.3277523159860687E-3</c:v>
                </c:pt>
                <c:pt idx="456">
                  <c:v>3.3461277908572208E-3</c:v>
                </c:pt>
                <c:pt idx="457">
                  <c:v>3.3593216333467949E-3</c:v>
                </c:pt>
                <c:pt idx="458">
                  <c:v>3.3424237537489966E-3</c:v>
                </c:pt>
                <c:pt idx="459">
                  <c:v>3.3785497032317391E-3</c:v>
                </c:pt>
                <c:pt idx="460">
                  <c:v>3.3899978815888458E-3</c:v>
                </c:pt>
                <c:pt idx="461">
                  <c:v>3.3748146735881417E-3</c:v>
                </c:pt>
                <c:pt idx="462">
                  <c:v>3.3743052262922356E-3</c:v>
                </c:pt>
                <c:pt idx="463">
                  <c:v>3.3531683239261078E-3</c:v>
                </c:pt>
                <c:pt idx="464">
                  <c:v>3.3306331092691072E-3</c:v>
                </c:pt>
                <c:pt idx="465">
                  <c:v>3.4604773710718898E-3</c:v>
                </c:pt>
                <c:pt idx="466">
                  <c:v>3.6560231087114699E-3</c:v>
                </c:pt>
                <c:pt idx="467">
                  <c:v>3.8039714363157198E-3</c:v>
                </c:pt>
                <c:pt idx="468">
                  <c:v>3.90677113291432E-3</c:v>
                </c:pt>
                <c:pt idx="469">
                  <c:v>3.9651293757857926E-3</c:v>
                </c:pt>
                <c:pt idx="470">
                  <c:v>4.0040865430213107E-3</c:v>
                </c:pt>
                <c:pt idx="471">
                  <c:v>3.9970850647334973E-3</c:v>
                </c:pt>
                <c:pt idx="472">
                  <c:v>4.0020095428276812E-3</c:v>
                </c:pt>
                <c:pt idx="473">
                  <c:v>3.9998374683013994E-3</c:v>
                </c:pt>
                <c:pt idx="474">
                  <c:v>3.9917902705666596E-3</c:v>
                </c:pt>
                <c:pt idx="475">
                  <c:v>3.9578043745074065E-3</c:v>
                </c:pt>
                <c:pt idx="476">
                  <c:v>4.0088148833634539E-3</c:v>
                </c:pt>
                <c:pt idx="477">
                  <c:v>4.0360718710852539E-3</c:v>
                </c:pt>
                <c:pt idx="478">
                  <c:v>4.0288618181010608E-3</c:v>
                </c:pt>
                <c:pt idx="479">
                  <c:v>3.9868412296993113E-3</c:v>
                </c:pt>
                <c:pt idx="480">
                  <c:v>3.9755695518646564E-3</c:v>
                </c:pt>
                <c:pt idx="481">
                  <c:v>3.9765566605143273E-3</c:v>
                </c:pt>
                <c:pt idx="482">
                  <c:v>3.9799058319883547E-3</c:v>
                </c:pt>
                <c:pt idx="483">
                  <c:v>3.9829058203805206E-3</c:v>
                </c:pt>
                <c:pt idx="484">
                  <c:v>3.9634981633456705E-3</c:v>
                </c:pt>
                <c:pt idx="485">
                  <c:v>3.9578658287730776E-3</c:v>
                </c:pt>
                <c:pt idx="486">
                  <c:v>4.053441589023119E-3</c:v>
                </c:pt>
                <c:pt idx="487">
                  <c:v>4.1074323446880804E-3</c:v>
                </c:pt>
                <c:pt idx="488">
                  <c:v>4.1177886572182406E-3</c:v>
                </c:pt>
                <c:pt idx="489">
                  <c:v>4.0875376698140103E-3</c:v>
                </c:pt>
                <c:pt idx="490">
                  <c:v>4.0144409967448535E-3</c:v>
                </c:pt>
                <c:pt idx="491">
                  <c:v>3.8900905317858737E-3</c:v>
                </c:pt>
                <c:pt idx="492">
                  <c:v>3.7914096557582762E-3</c:v>
                </c:pt>
                <c:pt idx="493">
                  <c:v>3.646676877136849E-3</c:v>
                </c:pt>
                <c:pt idx="494">
                  <c:v>3.4513598431024336E-3</c:v>
                </c:pt>
                <c:pt idx="495">
                  <c:v>3.432795547732024E-3</c:v>
                </c:pt>
                <c:pt idx="496">
                  <c:v>3.4608374079345568E-3</c:v>
                </c:pt>
                <c:pt idx="497">
                  <c:v>3.4619470387198823E-3</c:v>
                </c:pt>
                <c:pt idx="498">
                  <c:v>3.4476604367750766E-3</c:v>
                </c:pt>
                <c:pt idx="499">
                  <c:v>3.4042827664023385E-3</c:v>
                </c:pt>
                <c:pt idx="500">
                  <c:v>3.3821435684196753E-3</c:v>
                </c:pt>
                <c:pt idx="501">
                  <c:v>3.3374133795884579E-3</c:v>
                </c:pt>
                <c:pt idx="502">
                  <c:v>3.2984701506473123E-3</c:v>
                </c:pt>
                <c:pt idx="503">
                  <c:v>3.2844416279707188E-3</c:v>
                </c:pt>
                <c:pt idx="504">
                  <c:v>3.3500094856437645E-3</c:v>
                </c:pt>
                <c:pt idx="505">
                  <c:v>3.4048806804677176E-3</c:v>
                </c:pt>
                <c:pt idx="506">
                  <c:v>3.5743383550751922E-3</c:v>
                </c:pt>
                <c:pt idx="507">
                  <c:v>3.713735019232973E-3</c:v>
                </c:pt>
                <c:pt idx="508">
                  <c:v>3.8036876381428875E-3</c:v>
                </c:pt>
                <c:pt idx="509">
                  <c:v>3.8722574529546027E-3</c:v>
                </c:pt>
                <c:pt idx="510">
                  <c:v>3.9061045915019855E-3</c:v>
                </c:pt>
                <c:pt idx="511">
                  <c:v>3.9257118738265148E-3</c:v>
                </c:pt>
                <c:pt idx="512">
                  <c:v>4.0461240834877895E-3</c:v>
                </c:pt>
                <c:pt idx="513">
                  <c:v>4.2610396981171807E-3</c:v>
                </c:pt>
                <c:pt idx="514">
                  <c:v>4.4221254532172474E-3</c:v>
                </c:pt>
                <c:pt idx="515">
                  <c:v>4.5865979458979177E-3</c:v>
                </c:pt>
                <c:pt idx="516">
                  <c:v>4.8406423515365057E-3</c:v>
                </c:pt>
                <c:pt idx="517">
                  <c:v>5.0460101852400699E-3</c:v>
                </c:pt>
                <c:pt idx="518">
                  <c:v>5.1957649295429065E-3</c:v>
                </c:pt>
                <c:pt idx="519">
                  <c:v>5.3020545731411531E-3</c:v>
                </c:pt>
                <c:pt idx="520">
                  <c:v>5.3669686210787411E-3</c:v>
                </c:pt>
                <c:pt idx="521">
                  <c:v>5.3969427909658493E-3</c:v>
                </c:pt>
                <c:pt idx="522">
                  <c:v>5.433200180544902E-3</c:v>
                </c:pt>
                <c:pt idx="523">
                  <c:v>5.4586682081084713E-3</c:v>
                </c:pt>
                <c:pt idx="524">
                  <c:v>5.4447111594360274E-3</c:v>
                </c:pt>
                <c:pt idx="525">
                  <c:v>5.4044572088469082E-3</c:v>
                </c:pt>
                <c:pt idx="526">
                  <c:v>5.342647553338656E-3</c:v>
                </c:pt>
                <c:pt idx="527">
                  <c:v>5.2319804856800056E-3</c:v>
                </c:pt>
                <c:pt idx="528">
                  <c:v>5.089154688233153E-3</c:v>
                </c:pt>
                <c:pt idx="529">
                  <c:v>4.9116122805050117E-3</c:v>
                </c:pt>
                <c:pt idx="530">
                  <c:v>4.7160600720119799E-3</c:v>
                </c:pt>
                <c:pt idx="531">
                  <c:v>4.4728416046334561E-3</c:v>
                </c:pt>
                <c:pt idx="532">
                  <c:v>4.2148970817735484E-3</c:v>
                </c:pt>
                <c:pt idx="533">
                  <c:v>3.9262161482660979E-3</c:v>
                </c:pt>
                <c:pt idx="534">
                  <c:v>3.7087152097852109E-3</c:v>
                </c:pt>
                <c:pt idx="535">
                  <c:v>3.4692891921198456E-3</c:v>
                </c:pt>
                <c:pt idx="536">
                  <c:v>3.3217665411758427E-3</c:v>
                </c:pt>
                <c:pt idx="537">
                  <c:v>3.1783594126617966E-3</c:v>
                </c:pt>
                <c:pt idx="538">
                  <c:v>2.9967116067021859E-3</c:v>
                </c:pt>
                <c:pt idx="539">
                  <c:v>2.7895488098105331E-3</c:v>
                </c:pt>
                <c:pt idx="540">
                  <c:v>2.7464624343847117E-3</c:v>
                </c:pt>
                <c:pt idx="541">
                  <c:v>2.6554513445110626E-3</c:v>
                </c:pt>
                <c:pt idx="542">
                  <c:v>2.6918689720652391E-3</c:v>
                </c:pt>
                <c:pt idx="543">
                  <c:v>2.8573079221767372E-3</c:v>
                </c:pt>
                <c:pt idx="544">
                  <c:v>2.9865589009467793E-3</c:v>
                </c:pt>
                <c:pt idx="545">
                  <c:v>3.1003186257593401E-3</c:v>
                </c:pt>
                <c:pt idx="546">
                  <c:v>3.2265407093388918E-3</c:v>
                </c:pt>
                <c:pt idx="547">
                  <c:v>3.3276099012309402E-3</c:v>
                </c:pt>
                <c:pt idx="548">
                  <c:v>3.4109017601720963E-3</c:v>
                </c:pt>
                <c:pt idx="549">
                  <c:v>3.5352370412194559E-3</c:v>
                </c:pt>
                <c:pt idx="550">
                  <c:v>3.6444451870203342E-3</c:v>
                </c:pt>
                <c:pt idx="551">
                  <c:v>3.7185952063252216E-3</c:v>
                </c:pt>
                <c:pt idx="552">
                  <c:v>3.8213970758473608E-3</c:v>
                </c:pt>
                <c:pt idx="553">
                  <c:v>3.9150271790830624E-3</c:v>
                </c:pt>
                <c:pt idx="554">
                  <c:v>3.9770782374520522E-3</c:v>
                </c:pt>
                <c:pt idx="555">
                  <c:v>4.0139354419775914E-3</c:v>
                </c:pt>
                <c:pt idx="556">
                  <c:v>4.060441577765723E-3</c:v>
                </c:pt>
                <c:pt idx="557">
                  <c:v>4.0725236674044856E-3</c:v>
                </c:pt>
                <c:pt idx="558">
                  <c:v>4.0602631745551027E-3</c:v>
                </c:pt>
                <c:pt idx="559">
                  <c:v>4.034947341168992E-3</c:v>
                </c:pt>
                <c:pt idx="560">
                  <c:v>3.9806877874128815E-3</c:v>
                </c:pt>
                <c:pt idx="561">
                  <c:v>3.8977850100053858E-3</c:v>
                </c:pt>
                <c:pt idx="562">
                  <c:v>3.7908626601444364E-3</c:v>
                </c:pt>
                <c:pt idx="563">
                  <c:v>3.6923141313715655E-3</c:v>
                </c:pt>
                <c:pt idx="564">
                  <c:v>3.5940892330006131E-3</c:v>
                </c:pt>
                <c:pt idx="565">
                  <c:v>3.4809064285485215E-3</c:v>
                </c:pt>
                <c:pt idx="566">
                  <c:v>3.4268076592162281E-3</c:v>
                </c:pt>
                <c:pt idx="567">
                  <c:v>3.4187114825328432E-3</c:v>
                </c:pt>
                <c:pt idx="568">
                  <c:v>3.3620334815014246E-3</c:v>
                </c:pt>
                <c:pt idx="569">
                  <c:v>3.3190166599778681E-3</c:v>
                </c:pt>
                <c:pt idx="570">
                  <c:v>3.5235695323332281E-3</c:v>
                </c:pt>
                <c:pt idx="571">
                  <c:v>3.6881786564302659E-3</c:v>
                </c:pt>
                <c:pt idx="572">
                  <c:v>3.8012915242005528E-3</c:v>
                </c:pt>
                <c:pt idx="573">
                  <c:v>3.927020397488692E-3</c:v>
                </c:pt>
                <c:pt idx="574">
                  <c:v>4.0060290069395951E-3</c:v>
                </c:pt>
                <c:pt idx="575">
                  <c:v>4.0545348208763533E-3</c:v>
                </c:pt>
                <c:pt idx="576">
                  <c:v>4.0959463843123611E-3</c:v>
                </c:pt>
                <c:pt idx="577">
                  <c:v>4.0967041819829865E-3</c:v>
                </c:pt>
                <c:pt idx="578">
                  <c:v>4.1059533787420385E-3</c:v>
                </c:pt>
                <c:pt idx="579">
                  <c:v>4.1485206362564322E-3</c:v>
                </c:pt>
                <c:pt idx="580">
                  <c:v>4.1737078626945786E-3</c:v>
                </c:pt>
                <c:pt idx="581">
                  <c:v>4.1960153863825692E-3</c:v>
                </c:pt>
                <c:pt idx="582">
                  <c:v>4.4893993237969153E-3</c:v>
                </c:pt>
                <c:pt idx="583">
                  <c:v>4.8041504712892291E-3</c:v>
                </c:pt>
                <c:pt idx="584">
                  <c:v>5.0445455051228534E-3</c:v>
                </c:pt>
                <c:pt idx="585">
                  <c:v>5.3743536400089314E-3</c:v>
                </c:pt>
                <c:pt idx="586">
                  <c:v>5.6346823668480357E-3</c:v>
                </c:pt>
                <c:pt idx="587">
                  <c:v>5.9067268631690746E-3</c:v>
                </c:pt>
                <c:pt idx="588">
                  <c:v>6.1095565602956982E-3</c:v>
                </c:pt>
                <c:pt idx="589">
                  <c:v>6.2372072463570379E-3</c:v>
                </c:pt>
                <c:pt idx="590">
                  <c:v>6.2989253996168807E-3</c:v>
                </c:pt>
                <c:pt idx="591">
                  <c:v>6.3011814284261022E-3</c:v>
                </c:pt>
                <c:pt idx="592">
                  <c:v>6.248583575921147E-3</c:v>
                </c:pt>
                <c:pt idx="593">
                  <c:v>6.2873058517451249E-3</c:v>
                </c:pt>
                <c:pt idx="594">
                  <c:v>6.3010260586513628E-3</c:v>
                </c:pt>
                <c:pt idx="595">
                  <c:v>6.2445504140797919E-3</c:v>
                </c:pt>
                <c:pt idx="596">
                  <c:v>6.2416056521692976E-3</c:v>
                </c:pt>
                <c:pt idx="597">
                  <c:v>6.2403771798421491E-3</c:v>
                </c:pt>
                <c:pt idx="598">
                  <c:v>6.1852772190674997E-3</c:v>
                </c:pt>
                <c:pt idx="599">
                  <c:v>6.1374007942558628E-3</c:v>
                </c:pt>
                <c:pt idx="600">
                  <c:v>6.1037205697386434E-3</c:v>
                </c:pt>
                <c:pt idx="601">
                  <c:v>6.0269805212609913E-3</c:v>
                </c:pt>
                <c:pt idx="602">
                  <c:v>5.9073803291963137E-3</c:v>
                </c:pt>
                <c:pt idx="603">
                  <c:v>5.7640578105467967E-3</c:v>
                </c:pt>
                <c:pt idx="604">
                  <c:v>5.5946356828944213E-3</c:v>
                </c:pt>
                <c:pt idx="605">
                  <c:v>5.3778462296081167E-3</c:v>
                </c:pt>
                <c:pt idx="606">
                  <c:v>5.1288153598700427E-3</c:v>
                </c:pt>
                <c:pt idx="607">
                  <c:v>4.817143015260184E-3</c:v>
                </c:pt>
                <c:pt idx="608">
                  <c:v>4.4844611630100945E-3</c:v>
                </c:pt>
                <c:pt idx="609">
                  <c:v>4.0843402432980064E-3</c:v>
                </c:pt>
                <c:pt idx="610">
                  <c:v>3.5813209017746973E-3</c:v>
                </c:pt>
                <c:pt idx="611">
                  <c:v>3.0070667747659607E-3</c:v>
                </c:pt>
                <c:pt idx="612">
                  <c:v>2.7652708153226243E-3</c:v>
                </c:pt>
                <c:pt idx="613">
                  <c:v>2.5828073754931248E-3</c:v>
                </c:pt>
                <c:pt idx="614">
                  <c:v>2.3446706896407474E-3</c:v>
                </c:pt>
                <c:pt idx="615">
                  <c:v>2.2490580023688542E-3</c:v>
                </c:pt>
                <c:pt idx="616">
                  <c:v>2.1207639564931472E-3</c:v>
                </c:pt>
                <c:pt idx="617">
                  <c:v>2.1617588639433155E-3</c:v>
                </c:pt>
                <c:pt idx="618">
                  <c:v>2.2069209584243302E-3</c:v>
                </c:pt>
                <c:pt idx="619">
                  <c:v>2.2196665535907578E-3</c:v>
                </c:pt>
                <c:pt idx="620">
                  <c:v>2.2168650338512228E-3</c:v>
                </c:pt>
                <c:pt idx="621">
                  <c:v>2.2081593423331309E-3</c:v>
                </c:pt>
                <c:pt idx="622">
                  <c:v>2.486695492583462E-3</c:v>
                </c:pt>
                <c:pt idx="623">
                  <c:v>2.8444519007769713E-3</c:v>
                </c:pt>
                <c:pt idx="624">
                  <c:v>3.1232500553708452E-3</c:v>
                </c:pt>
                <c:pt idx="625">
                  <c:v>3.3725830983458815E-3</c:v>
                </c:pt>
                <c:pt idx="626">
                  <c:v>3.5850578309796735E-3</c:v>
                </c:pt>
                <c:pt idx="627">
                  <c:v>3.7669865324208782E-3</c:v>
                </c:pt>
                <c:pt idx="628">
                  <c:v>4.1072072074756971E-3</c:v>
                </c:pt>
                <c:pt idx="629">
                  <c:v>4.4252030775117409E-3</c:v>
                </c:pt>
                <c:pt idx="630">
                  <c:v>4.7047303919859522E-3</c:v>
                </c:pt>
                <c:pt idx="631">
                  <c:v>4.9210980145719015E-3</c:v>
                </c:pt>
                <c:pt idx="632">
                  <c:v>5.1168073903779324E-3</c:v>
                </c:pt>
                <c:pt idx="633">
                  <c:v>5.26206588533892E-3</c:v>
                </c:pt>
                <c:pt idx="634">
                  <c:v>5.4193042787238112E-3</c:v>
                </c:pt>
                <c:pt idx="635">
                  <c:v>5.5423157782938035E-3</c:v>
                </c:pt>
                <c:pt idx="636">
                  <c:v>5.6287600711058027E-3</c:v>
                </c:pt>
                <c:pt idx="637">
                  <c:v>5.6924805579344024E-3</c:v>
                </c:pt>
                <c:pt idx="638">
                  <c:v>5.7215800086496734E-3</c:v>
                </c:pt>
                <c:pt idx="639">
                  <c:v>5.7115270659062597E-3</c:v>
                </c:pt>
                <c:pt idx="640">
                  <c:v>5.6687005281184383E-3</c:v>
                </c:pt>
                <c:pt idx="641">
                  <c:v>5.6293714954697011E-3</c:v>
                </c:pt>
                <c:pt idx="642">
                  <c:v>5.5614544124568243E-3</c:v>
                </c:pt>
                <c:pt idx="643">
                  <c:v>5.4603507016063599E-3</c:v>
                </c:pt>
                <c:pt idx="644">
                  <c:v>5.4088513762923984E-3</c:v>
                </c:pt>
                <c:pt idx="645">
                  <c:v>5.288674418151746E-3</c:v>
                </c:pt>
                <c:pt idx="646">
                  <c:v>5.0950831562684082E-3</c:v>
                </c:pt>
                <c:pt idx="647">
                  <c:v>4.9736278047503215E-3</c:v>
                </c:pt>
                <c:pt idx="648">
                  <c:v>4.8203370220019377E-3</c:v>
                </c:pt>
                <c:pt idx="649">
                  <c:v>4.6062268413480873E-3</c:v>
                </c:pt>
                <c:pt idx="650">
                  <c:v>4.3410663136017238E-3</c:v>
                </c:pt>
                <c:pt idx="651">
                  <c:v>4.0578205156654211E-3</c:v>
                </c:pt>
                <c:pt idx="652">
                  <c:v>3.9882174320315872E-3</c:v>
                </c:pt>
                <c:pt idx="653">
                  <c:v>3.9073449741983783E-3</c:v>
                </c:pt>
                <c:pt idx="654">
                  <c:v>3.7812781446449782E-3</c:v>
                </c:pt>
                <c:pt idx="655">
                  <c:v>3.6353490848032742E-3</c:v>
                </c:pt>
                <c:pt idx="656">
                  <c:v>3.4607697746964127E-3</c:v>
                </c:pt>
                <c:pt idx="657">
                  <c:v>3.2526166528732956E-3</c:v>
                </c:pt>
                <c:pt idx="658">
                  <c:v>3.2239200017162672E-3</c:v>
                </c:pt>
                <c:pt idx="659">
                  <c:v>3.2049907049055619E-3</c:v>
                </c:pt>
                <c:pt idx="660">
                  <c:v>3.1790329363541887E-3</c:v>
                </c:pt>
                <c:pt idx="661">
                  <c:v>3.1496921781392984E-3</c:v>
                </c:pt>
                <c:pt idx="662">
                  <c:v>3.1196450857159884E-3</c:v>
                </c:pt>
                <c:pt idx="663">
                  <c:v>3.0648344103456184E-3</c:v>
                </c:pt>
                <c:pt idx="664">
                  <c:v>3.0150408877672391E-3</c:v>
                </c:pt>
                <c:pt idx="665">
                  <c:v>2.9551795766010278E-3</c:v>
                </c:pt>
                <c:pt idx="666">
                  <c:v>2.8715638207877617E-3</c:v>
                </c:pt>
                <c:pt idx="667">
                  <c:v>2.7775176948970381E-3</c:v>
                </c:pt>
                <c:pt idx="668">
                  <c:v>2.6673168961666165E-3</c:v>
                </c:pt>
                <c:pt idx="669">
                  <c:v>2.5370539846215163E-3</c:v>
                </c:pt>
                <c:pt idx="670">
                  <c:v>2.372867958396438E-3</c:v>
                </c:pt>
                <c:pt idx="671">
                  <c:v>2.2413164273677169E-3</c:v>
                </c:pt>
                <c:pt idx="672">
                  <c:v>2.0906971601944687E-3</c:v>
                </c:pt>
                <c:pt idx="673">
                  <c:v>1.912560683439939E-3</c:v>
                </c:pt>
                <c:pt idx="674">
                  <c:v>1.8723717464623995E-3</c:v>
                </c:pt>
                <c:pt idx="675">
                  <c:v>1.8208623584283672E-3</c:v>
                </c:pt>
                <c:pt idx="676">
                  <c:v>1.756240673851007E-3</c:v>
                </c:pt>
                <c:pt idx="677">
                  <c:v>1.697507526111326E-3</c:v>
                </c:pt>
                <c:pt idx="678">
                  <c:v>1.6322948548462258E-3</c:v>
                </c:pt>
                <c:pt idx="679">
                  <c:v>1.5563956189996704E-3</c:v>
                </c:pt>
                <c:pt idx="680">
                  <c:v>1.4670445523418416E-3</c:v>
                </c:pt>
                <c:pt idx="681">
                  <c:v>1.4383175059328476E-3</c:v>
                </c:pt>
                <c:pt idx="682">
                  <c:v>1.4227009077673214E-3</c:v>
                </c:pt>
                <c:pt idx="683">
                  <c:v>1.3940673006919133E-3</c:v>
                </c:pt>
                <c:pt idx="684">
                  <c:v>1.3616416124488282E-3</c:v>
                </c:pt>
                <c:pt idx="685">
                  <c:v>1.3184962820932012E-3</c:v>
                </c:pt>
                <c:pt idx="686">
                  <c:v>1.2986622467872819E-3</c:v>
                </c:pt>
                <c:pt idx="687">
                  <c:v>1.3694506599206001E-3</c:v>
                </c:pt>
                <c:pt idx="688">
                  <c:v>1.4577227698154265E-3</c:v>
                </c:pt>
                <c:pt idx="689">
                  <c:v>1.5369752897467805E-3</c:v>
                </c:pt>
                <c:pt idx="690">
                  <c:v>1.7062544441058445E-3</c:v>
                </c:pt>
                <c:pt idx="691">
                  <c:v>1.8604271270216354E-3</c:v>
                </c:pt>
                <c:pt idx="692">
                  <c:v>1.9843532380146071E-3</c:v>
                </c:pt>
                <c:pt idx="693">
                  <c:v>2.1243122938274231E-3</c:v>
                </c:pt>
                <c:pt idx="694">
                  <c:v>2.2354053295313447E-3</c:v>
                </c:pt>
                <c:pt idx="695">
                  <c:v>2.3267811486968205E-3</c:v>
                </c:pt>
                <c:pt idx="696">
                  <c:v>2.4185676716110007E-3</c:v>
                </c:pt>
                <c:pt idx="697">
                  <c:v>2.4894610641079417E-3</c:v>
                </c:pt>
                <c:pt idx="698">
                  <c:v>2.5523257998677413E-3</c:v>
                </c:pt>
                <c:pt idx="699">
                  <c:v>2.6513253600714808E-3</c:v>
                </c:pt>
                <c:pt idx="700">
                  <c:v>2.7371547348572743E-3</c:v>
                </c:pt>
                <c:pt idx="701">
                  <c:v>2.8032463594248502E-3</c:v>
                </c:pt>
                <c:pt idx="702">
                  <c:v>2.8476663887761285E-3</c:v>
                </c:pt>
                <c:pt idx="703">
                  <c:v>2.8684678901812408E-3</c:v>
                </c:pt>
                <c:pt idx="704">
                  <c:v>2.8771929644311306E-3</c:v>
                </c:pt>
                <c:pt idx="705">
                  <c:v>2.8740012582401785E-3</c:v>
                </c:pt>
                <c:pt idx="706">
                  <c:v>2.8551695948291311E-3</c:v>
                </c:pt>
                <c:pt idx="707">
                  <c:v>2.8140442014328152E-3</c:v>
                </c:pt>
                <c:pt idx="708">
                  <c:v>2.7615779286704095E-3</c:v>
                </c:pt>
                <c:pt idx="709">
                  <c:v>2.7465351245645584E-3</c:v>
                </c:pt>
                <c:pt idx="710">
                  <c:v>2.7287312779442053E-3</c:v>
                </c:pt>
                <c:pt idx="711">
                  <c:v>2.7078221818527524E-3</c:v>
                </c:pt>
                <c:pt idx="712">
                  <c:v>2.6732158246022359E-3</c:v>
                </c:pt>
                <c:pt idx="713">
                  <c:v>2.6181746319271994E-3</c:v>
                </c:pt>
                <c:pt idx="714">
                  <c:v>2.5524731295321085E-3</c:v>
                </c:pt>
                <c:pt idx="715">
                  <c:v>2.4917875095144554E-3</c:v>
                </c:pt>
                <c:pt idx="716">
                  <c:v>2.4166496942815735E-3</c:v>
                </c:pt>
                <c:pt idx="717">
                  <c:v>2.3809113601000039E-3</c:v>
                </c:pt>
                <c:pt idx="718">
                  <c:v>2.3334671217524411E-3</c:v>
                </c:pt>
                <c:pt idx="719">
                  <c:v>2.2661646159698977E-3</c:v>
                </c:pt>
                <c:pt idx="720">
                  <c:v>2.2728263260379518E-3</c:v>
                </c:pt>
                <c:pt idx="721">
                  <c:v>2.2577873173393334E-3</c:v>
                </c:pt>
                <c:pt idx="722">
                  <c:v>2.2209305294927958E-3</c:v>
                </c:pt>
                <c:pt idx="723">
                  <c:v>2.2725403346473419E-3</c:v>
                </c:pt>
                <c:pt idx="724">
                  <c:v>2.3031572808831727E-3</c:v>
                </c:pt>
                <c:pt idx="725">
                  <c:v>2.308042261969223E-3</c:v>
                </c:pt>
                <c:pt idx="726">
                  <c:v>2.3244873357065972E-3</c:v>
                </c:pt>
                <c:pt idx="727">
                  <c:v>2.3252458474760443E-3</c:v>
                </c:pt>
                <c:pt idx="728">
                  <c:v>2.3108269940623235E-3</c:v>
                </c:pt>
                <c:pt idx="729">
                  <c:v>2.3255514778303277E-3</c:v>
                </c:pt>
                <c:pt idx="730">
                  <c:v>2.3321979496435685E-3</c:v>
                </c:pt>
                <c:pt idx="731">
                  <c:v>2.3277652266053832E-3</c:v>
                </c:pt>
                <c:pt idx="732">
                  <c:v>2.3081861100923899E-3</c:v>
                </c:pt>
                <c:pt idx="733">
                  <c:v>2.2688338730180798E-3</c:v>
                </c:pt>
                <c:pt idx="734">
                  <c:v>2.3001785642497194E-3</c:v>
                </c:pt>
                <c:pt idx="735">
                  <c:v>2.3119270283114522E-3</c:v>
                </c:pt>
                <c:pt idx="736">
                  <c:v>2.3093482613786081E-3</c:v>
                </c:pt>
                <c:pt idx="737">
                  <c:v>2.2790124903532783E-3</c:v>
                </c:pt>
                <c:pt idx="738">
                  <c:v>2.234261589752162E-3</c:v>
                </c:pt>
                <c:pt idx="739">
                  <c:v>2.2797654526217066E-3</c:v>
                </c:pt>
                <c:pt idx="740">
                  <c:v>2.3267096178357207E-3</c:v>
                </c:pt>
                <c:pt idx="741">
                  <c:v>2.4026455719499944E-3</c:v>
                </c:pt>
                <c:pt idx="742">
                  <c:v>2.5280575012429892E-3</c:v>
                </c:pt>
                <c:pt idx="743">
                  <c:v>2.6242356742011298E-3</c:v>
                </c:pt>
                <c:pt idx="744">
                  <c:v>2.7318633896493533E-3</c:v>
                </c:pt>
                <c:pt idx="745">
                  <c:v>2.8524803306161691E-3</c:v>
                </c:pt>
                <c:pt idx="746">
                  <c:v>2.9437299383489341E-3</c:v>
                </c:pt>
                <c:pt idx="747">
                  <c:v>3.0053307197751766E-3</c:v>
                </c:pt>
                <c:pt idx="748">
                  <c:v>3.042109006243519E-3</c:v>
                </c:pt>
                <c:pt idx="749">
                  <c:v>3.1286305102997767E-3</c:v>
                </c:pt>
                <c:pt idx="750">
                  <c:v>3.2386545944094822E-3</c:v>
                </c:pt>
                <c:pt idx="751">
                  <c:v>3.3134610762062446E-3</c:v>
                </c:pt>
                <c:pt idx="752">
                  <c:v>3.3520090222303018E-3</c:v>
                </c:pt>
                <c:pt idx="753">
                  <c:v>3.4385644064652957E-3</c:v>
                </c:pt>
                <c:pt idx="754">
                  <c:v>3.4999075268989494E-3</c:v>
                </c:pt>
                <c:pt idx="755">
                  <c:v>3.5386138142713391E-3</c:v>
                </c:pt>
                <c:pt idx="756">
                  <c:v>3.5948471156966462E-3</c:v>
                </c:pt>
                <c:pt idx="757">
                  <c:v>3.6394308702737241E-3</c:v>
                </c:pt>
                <c:pt idx="758">
                  <c:v>3.6859795822360908E-3</c:v>
                </c:pt>
                <c:pt idx="759">
                  <c:v>3.7133527147802316E-3</c:v>
                </c:pt>
                <c:pt idx="760">
                  <c:v>3.7047753337429001E-3</c:v>
                </c:pt>
                <c:pt idx="761">
                  <c:v>3.6795117024301573E-3</c:v>
                </c:pt>
                <c:pt idx="762">
                  <c:v>3.6132552320071922E-3</c:v>
                </c:pt>
                <c:pt idx="763">
                  <c:v>3.5036386856195801E-3</c:v>
                </c:pt>
                <c:pt idx="764">
                  <c:v>3.4680523525458841E-3</c:v>
                </c:pt>
                <c:pt idx="765">
                  <c:v>3.4145666944191259E-3</c:v>
                </c:pt>
                <c:pt idx="766">
                  <c:v>3.3739941518548108E-3</c:v>
                </c:pt>
                <c:pt idx="767">
                  <c:v>3.3344382072268679E-3</c:v>
                </c:pt>
                <c:pt idx="768">
                  <c:v>3.2767563028358333E-3</c:v>
                </c:pt>
                <c:pt idx="769">
                  <c:v>3.2298538960208014E-3</c:v>
                </c:pt>
                <c:pt idx="770">
                  <c:v>3.1403362411975251E-3</c:v>
                </c:pt>
                <c:pt idx="771">
                  <c:v>3.0711063403485832E-3</c:v>
                </c:pt>
                <c:pt idx="772">
                  <c:v>3.055075666813433E-3</c:v>
                </c:pt>
                <c:pt idx="773">
                  <c:v>3.0205482107366045E-3</c:v>
                </c:pt>
                <c:pt idx="774">
                  <c:v>2.9996305034991218E-3</c:v>
                </c:pt>
                <c:pt idx="775">
                  <c:v>2.9699813761653233E-3</c:v>
                </c:pt>
                <c:pt idx="776">
                  <c:v>2.9189141167822404E-3</c:v>
                </c:pt>
                <c:pt idx="777">
                  <c:v>2.8331591018856701E-3</c:v>
                </c:pt>
                <c:pt idx="778">
                  <c:v>2.7397621644541141E-3</c:v>
                </c:pt>
                <c:pt idx="779">
                  <c:v>2.7395749060468481E-3</c:v>
                </c:pt>
                <c:pt idx="780">
                  <c:v>2.7530650503883964E-3</c:v>
                </c:pt>
                <c:pt idx="781">
                  <c:v>2.7624936693806052E-3</c:v>
                </c:pt>
                <c:pt idx="782">
                  <c:v>2.7463636694458793E-3</c:v>
                </c:pt>
                <c:pt idx="783">
                  <c:v>2.7217619898365878E-3</c:v>
                </c:pt>
                <c:pt idx="784">
                  <c:v>2.680140018871529E-3</c:v>
                </c:pt>
                <c:pt idx="785">
                  <c:v>2.623016980425337E-3</c:v>
                </c:pt>
                <c:pt idx="786">
                  <c:v>2.6078931933733521E-3</c:v>
                </c:pt>
                <c:pt idx="787">
                  <c:v>2.577237398918976E-3</c:v>
                </c:pt>
                <c:pt idx="788">
                  <c:v>2.6165968943821973E-3</c:v>
                </c:pt>
                <c:pt idx="789">
                  <c:v>2.7429470071600624E-3</c:v>
                </c:pt>
                <c:pt idx="790">
                  <c:v>2.8537025834145589E-3</c:v>
                </c:pt>
                <c:pt idx="791">
                  <c:v>2.9521269650899318E-3</c:v>
                </c:pt>
                <c:pt idx="792">
                  <c:v>3.0145300626324787E-3</c:v>
                </c:pt>
                <c:pt idx="793">
                  <c:v>3.0657330555155858E-3</c:v>
                </c:pt>
                <c:pt idx="794">
                  <c:v>3.0921690660500891E-3</c:v>
                </c:pt>
                <c:pt idx="795">
                  <c:v>3.1117996714970725E-3</c:v>
                </c:pt>
                <c:pt idx="796">
                  <c:v>3.1437107339090612E-3</c:v>
                </c:pt>
                <c:pt idx="797">
                  <c:v>3.1856097069412927E-3</c:v>
                </c:pt>
                <c:pt idx="798">
                  <c:v>3.209075291395119E-3</c:v>
                </c:pt>
                <c:pt idx="799">
                  <c:v>3.2138378602869972E-3</c:v>
                </c:pt>
                <c:pt idx="800">
                  <c:v>3.1966382151476769E-3</c:v>
                </c:pt>
                <c:pt idx="801">
                  <c:v>3.1613443732410266E-3</c:v>
                </c:pt>
                <c:pt idx="802">
                  <c:v>3.1338805994688716E-3</c:v>
                </c:pt>
                <c:pt idx="803">
                  <c:v>3.1323795808110284E-3</c:v>
                </c:pt>
                <c:pt idx="804">
                  <c:v>3.1443339125151824E-3</c:v>
                </c:pt>
                <c:pt idx="805">
                  <c:v>3.1527019164546469E-3</c:v>
                </c:pt>
                <c:pt idx="806">
                  <c:v>3.1489234659914178E-3</c:v>
                </c:pt>
                <c:pt idx="807">
                  <c:v>3.1080953662693134E-3</c:v>
                </c:pt>
                <c:pt idx="808">
                  <c:v>3.1049273933718281E-3</c:v>
                </c:pt>
                <c:pt idx="809">
                  <c:v>3.1086266698290401E-3</c:v>
                </c:pt>
                <c:pt idx="810">
                  <c:v>3.0839604983146744E-3</c:v>
                </c:pt>
                <c:pt idx="811">
                  <c:v>3.1543213854631361E-3</c:v>
                </c:pt>
                <c:pt idx="812">
                  <c:v>3.2175795077629644E-3</c:v>
                </c:pt>
                <c:pt idx="813">
                  <c:v>3.2401964544196407E-3</c:v>
                </c:pt>
                <c:pt idx="814">
                  <c:v>3.2302529522975289E-3</c:v>
                </c:pt>
                <c:pt idx="815">
                  <c:v>3.1959417970503293E-3</c:v>
                </c:pt>
                <c:pt idx="816">
                  <c:v>3.162876374122099E-3</c:v>
                </c:pt>
                <c:pt idx="817">
                  <c:v>3.086477114287522E-3</c:v>
                </c:pt>
                <c:pt idx="818">
                  <c:v>3.069547718820237E-3</c:v>
                </c:pt>
                <c:pt idx="819">
                  <c:v>3.1464468980589074E-3</c:v>
                </c:pt>
                <c:pt idx="820">
                  <c:v>3.2188771838217471E-3</c:v>
                </c:pt>
                <c:pt idx="821">
                  <c:v>3.290848767844612E-3</c:v>
                </c:pt>
                <c:pt idx="822">
                  <c:v>3.3846039119959682E-3</c:v>
                </c:pt>
                <c:pt idx="823">
                  <c:v>3.4770235179863865E-3</c:v>
                </c:pt>
                <c:pt idx="824">
                  <c:v>3.5361894368914743E-3</c:v>
                </c:pt>
                <c:pt idx="825">
                  <c:v>3.6222275612611981E-3</c:v>
                </c:pt>
                <c:pt idx="826">
                  <c:v>3.6809038078855693E-3</c:v>
                </c:pt>
                <c:pt idx="827">
                  <c:v>3.7073494249526369E-3</c:v>
                </c:pt>
                <c:pt idx="828">
                  <c:v>3.7421320539401826E-3</c:v>
                </c:pt>
                <c:pt idx="829">
                  <c:v>3.8053579195942043E-3</c:v>
                </c:pt>
                <c:pt idx="830">
                  <c:v>3.8216910430487138E-3</c:v>
                </c:pt>
                <c:pt idx="831">
                  <c:v>3.7967667654034312E-3</c:v>
                </c:pt>
                <c:pt idx="832">
                  <c:v>3.7496333621634269E-3</c:v>
                </c:pt>
                <c:pt idx="833">
                  <c:v>3.7170126013613856E-3</c:v>
                </c:pt>
                <c:pt idx="834">
                  <c:v>3.6798581487014633E-3</c:v>
                </c:pt>
                <c:pt idx="835">
                  <c:v>3.6310622883252829E-3</c:v>
                </c:pt>
                <c:pt idx="836">
                  <c:v>3.6139932722667758E-3</c:v>
                </c:pt>
                <c:pt idx="837">
                  <c:v>3.5810021397448088E-3</c:v>
                </c:pt>
                <c:pt idx="838">
                  <c:v>3.5503813599114756E-3</c:v>
                </c:pt>
                <c:pt idx="839">
                  <c:v>3.4782298185939051E-3</c:v>
                </c:pt>
                <c:pt idx="840">
                  <c:v>3.4467563047540168E-3</c:v>
                </c:pt>
                <c:pt idx="841">
                  <c:v>3.4921636872675553E-3</c:v>
                </c:pt>
                <c:pt idx="842">
                  <c:v>3.5296259871221078E-3</c:v>
                </c:pt>
                <c:pt idx="843">
                  <c:v>3.5538902227128257E-3</c:v>
                </c:pt>
                <c:pt idx="844">
                  <c:v>3.5405878524767749E-3</c:v>
                </c:pt>
                <c:pt idx="845">
                  <c:v>3.5455437629246991E-3</c:v>
                </c:pt>
                <c:pt idx="846">
                  <c:v>3.526784378172468E-3</c:v>
                </c:pt>
                <c:pt idx="847">
                  <c:v>3.4638803845138803E-3</c:v>
                </c:pt>
                <c:pt idx="848">
                  <c:v>3.403296415497544E-3</c:v>
                </c:pt>
                <c:pt idx="849">
                  <c:v>3.3768979047842413E-3</c:v>
                </c:pt>
                <c:pt idx="850">
                  <c:v>3.3243166912580433E-3</c:v>
                </c:pt>
                <c:pt idx="851">
                  <c:v>3.2574917899202255E-3</c:v>
                </c:pt>
                <c:pt idx="852">
                  <c:v>3.2197943057454834E-3</c:v>
                </c:pt>
                <c:pt idx="853">
                  <c:v>3.1724502923918788E-3</c:v>
                </c:pt>
                <c:pt idx="854">
                  <c:v>3.1145691003473508E-3</c:v>
                </c:pt>
                <c:pt idx="855">
                  <c:v>3.0785086229240728E-3</c:v>
                </c:pt>
                <c:pt idx="856">
                  <c:v>3.0157164276665826E-3</c:v>
                </c:pt>
                <c:pt idx="857">
                  <c:v>2.9277723486503988E-3</c:v>
                </c:pt>
                <c:pt idx="858">
                  <c:v>2.8647436748295064E-3</c:v>
                </c:pt>
                <c:pt idx="859">
                  <c:v>2.8688536699714518E-3</c:v>
                </c:pt>
                <c:pt idx="860">
                  <c:v>2.8483988342139473E-3</c:v>
                </c:pt>
                <c:pt idx="861">
                  <c:v>2.8028026399279644E-3</c:v>
                </c:pt>
                <c:pt idx="862">
                  <c:v>2.7390298972736443E-3</c:v>
                </c:pt>
                <c:pt idx="863">
                  <c:v>2.6555943982898718E-3</c:v>
                </c:pt>
                <c:pt idx="864">
                  <c:v>2.5579978750639091E-3</c:v>
                </c:pt>
                <c:pt idx="865">
                  <c:v>2.4233249173648413E-3</c:v>
                </c:pt>
                <c:pt idx="866">
                  <c:v>2.4054828771548986E-3</c:v>
                </c:pt>
                <c:pt idx="867">
                  <c:v>2.4785792214115929E-3</c:v>
                </c:pt>
                <c:pt idx="868">
                  <c:v>2.519363803147543E-3</c:v>
                </c:pt>
                <c:pt idx="869">
                  <c:v>2.5275222542873732E-3</c:v>
                </c:pt>
                <c:pt idx="870">
                  <c:v>2.5899064057359118E-3</c:v>
                </c:pt>
                <c:pt idx="871">
                  <c:v>2.6365447094210195E-3</c:v>
                </c:pt>
                <c:pt idx="872">
                  <c:v>2.6846195097654426E-3</c:v>
                </c:pt>
                <c:pt idx="873">
                  <c:v>2.7639958988979864E-3</c:v>
                </c:pt>
                <c:pt idx="874">
                  <c:v>2.8196963765833023E-3</c:v>
                </c:pt>
                <c:pt idx="875">
                  <c:v>2.9040837409400957E-3</c:v>
                </c:pt>
                <c:pt idx="876">
                  <c:v>2.966153238584564E-3</c:v>
                </c:pt>
                <c:pt idx="877">
                  <c:v>2.9984716393128001E-3</c:v>
                </c:pt>
                <c:pt idx="878">
                  <c:v>3.095348745109298E-3</c:v>
                </c:pt>
                <c:pt idx="879">
                  <c:v>3.1809389767800881E-3</c:v>
                </c:pt>
                <c:pt idx="880">
                  <c:v>3.2395482610174608E-3</c:v>
                </c:pt>
                <c:pt idx="881">
                  <c:v>3.2868790021248658E-3</c:v>
                </c:pt>
                <c:pt idx="882">
                  <c:v>3.3321048834184302E-3</c:v>
                </c:pt>
                <c:pt idx="883">
                  <c:v>3.3592381736634144E-3</c:v>
                </c:pt>
                <c:pt idx="884">
                  <c:v>3.4201736399394403E-3</c:v>
                </c:pt>
                <c:pt idx="885">
                  <c:v>3.4511348528900865E-3</c:v>
                </c:pt>
                <c:pt idx="886">
                  <c:v>3.4513321269822169E-3</c:v>
                </c:pt>
                <c:pt idx="887">
                  <c:v>3.4303260673188363E-3</c:v>
                </c:pt>
                <c:pt idx="888">
                  <c:v>3.4897998893443612E-3</c:v>
                </c:pt>
                <c:pt idx="889">
                  <c:v>3.5786871244990262E-3</c:v>
                </c:pt>
                <c:pt idx="890">
                  <c:v>3.6369324812950778E-3</c:v>
                </c:pt>
                <c:pt idx="891">
                  <c:v>3.6548159637852773E-3</c:v>
                </c:pt>
                <c:pt idx="892">
                  <c:v>3.6590051434132634E-3</c:v>
                </c:pt>
                <c:pt idx="893">
                  <c:v>3.6447579757620426E-3</c:v>
                </c:pt>
                <c:pt idx="894">
                  <c:v>3.6020474603794695E-3</c:v>
                </c:pt>
                <c:pt idx="895">
                  <c:v>3.5160195631763836E-3</c:v>
                </c:pt>
                <c:pt idx="896">
                  <c:v>3.475216062631117E-3</c:v>
                </c:pt>
                <c:pt idx="897">
                  <c:v>3.5027147386656092E-3</c:v>
                </c:pt>
                <c:pt idx="898">
                  <c:v>3.5090615493870081E-3</c:v>
                </c:pt>
                <c:pt idx="899">
                  <c:v>3.4928192856529291E-3</c:v>
                </c:pt>
                <c:pt idx="900">
                  <c:v>3.4488668913541564E-3</c:v>
                </c:pt>
                <c:pt idx="901">
                  <c:v>3.3828823023504067E-3</c:v>
                </c:pt>
                <c:pt idx="902">
                  <c:v>3.3180530597992433E-3</c:v>
                </c:pt>
                <c:pt idx="903">
                  <c:v>3.2652426120538848E-3</c:v>
                </c:pt>
                <c:pt idx="904">
                  <c:v>3.2048915139796081E-3</c:v>
                </c:pt>
                <c:pt idx="905">
                  <c:v>3.1305949107069994E-3</c:v>
                </c:pt>
                <c:pt idx="906">
                  <c:v>3.0348485524405895E-3</c:v>
                </c:pt>
                <c:pt idx="907">
                  <c:v>2.9192964046077224E-3</c:v>
                </c:pt>
                <c:pt idx="908">
                  <c:v>2.8688652193550016E-3</c:v>
                </c:pt>
                <c:pt idx="909">
                  <c:v>2.7898937333536533E-3</c:v>
                </c:pt>
                <c:pt idx="910">
                  <c:v>2.7010561670416807E-3</c:v>
                </c:pt>
                <c:pt idx="911">
                  <c:v>2.6078207216731495E-3</c:v>
                </c:pt>
                <c:pt idx="912">
                  <c:v>2.5043793719546252E-3</c:v>
                </c:pt>
                <c:pt idx="913">
                  <c:v>2.3836166544669996E-3</c:v>
                </c:pt>
                <c:pt idx="914">
                  <c:v>2.319399235578651E-3</c:v>
                </c:pt>
                <c:pt idx="915">
                  <c:v>2.2202652251209834E-3</c:v>
                </c:pt>
                <c:pt idx="916">
                  <c:v>2.0810733301973847E-3</c:v>
                </c:pt>
                <c:pt idx="917">
                  <c:v>1.9043018917657823E-3</c:v>
                </c:pt>
                <c:pt idx="918">
                  <c:v>1.8560055960991466E-3</c:v>
                </c:pt>
                <c:pt idx="919">
                  <c:v>1.8570248929830903E-3</c:v>
                </c:pt>
                <c:pt idx="920">
                  <c:v>1.8514246137502348E-3</c:v>
                </c:pt>
                <c:pt idx="921">
                  <c:v>1.84155991713589E-3</c:v>
                </c:pt>
                <c:pt idx="922">
                  <c:v>1.8358659017914073E-3</c:v>
                </c:pt>
                <c:pt idx="923">
                  <c:v>1.9029794732350581E-3</c:v>
                </c:pt>
                <c:pt idx="924">
                  <c:v>1.9535093049566385E-3</c:v>
                </c:pt>
                <c:pt idx="925">
                  <c:v>1.9895426310531325E-3</c:v>
                </c:pt>
                <c:pt idx="926">
                  <c:v>2.0103033399440804E-3</c:v>
                </c:pt>
                <c:pt idx="927">
                  <c:v>2.0407362755840682E-3</c:v>
                </c:pt>
                <c:pt idx="928">
                  <c:v>2.0847724453439535E-3</c:v>
                </c:pt>
                <c:pt idx="929">
                  <c:v>2.1286378277865425E-3</c:v>
                </c:pt>
                <c:pt idx="930">
                  <c:v>2.1557127762984033E-3</c:v>
                </c:pt>
                <c:pt idx="931">
                  <c:v>2.2256874628903993E-3</c:v>
                </c:pt>
                <c:pt idx="932">
                  <c:v>2.282221692966394E-3</c:v>
                </c:pt>
                <c:pt idx="933">
                  <c:v>2.3203654886693051E-3</c:v>
                </c:pt>
                <c:pt idx="934">
                  <c:v>2.3533599153298308E-3</c:v>
                </c:pt>
                <c:pt idx="935">
                  <c:v>2.4542864242137448E-3</c:v>
                </c:pt>
                <c:pt idx="936">
                  <c:v>2.5847706608947323E-3</c:v>
                </c:pt>
                <c:pt idx="937">
                  <c:v>2.7197563866167567E-3</c:v>
                </c:pt>
                <c:pt idx="938">
                  <c:v>3.0044233766956157E-3</c:v>
                </c:pt>
                <c:pt idx="939">
                  <c:v>3.3525266473099077E-3</c:v>
                </c:pt>
                <c:pt idx="940">
                  <c:v>3.6680752624845018E-3</c:v>
                </c:pt>
                <c:pt idx="941">
                  <c:v>3.9452871305663854E-3</c:v>
                </c:pt>
                <c:pt idx="942">
                  <c:v>4.1566369531855054E-3</c:v>
                </c:pt>
                <c:pt idx="943">
                  <c:v>4.3498115383296806E-3</c:v>
                </c:pt>
                <c:pt idx="944">
                  <c:v>4.5486493918420216E-3</c:v>
                </c:pt>
                <c:pt idx="945">
                  <c:v>4.7270289600785742E-3</c:v>
                </c:pt>
                <c:pt idx="946">
                  <c:v>4.8573366179949281E-3</c:v>
                </c:pt>
                <c:pt idx="947">
                  <c:v>4.9485745017327698E-3</c:v>
                </c:pt>
                <c:pt idx="948">
                  <c:v>4.9995740766183225E-3</c:v>
                </c:pt>
                <c:pt idx="949">
                  <c:v>5.0398008660973359E-3</c:v>
                </c:pt>
                <c:pt idx="950">
                  <c:v>5.0964053665255972E-3</c:v>
                </c:pt>
                <c:pt idx="951">
                  <c:v>5.116617813295663E-3</c:v>
                </c:pt>
                <c:pt idx="952">
                  <c:v>5.0977671754470046E-3</c:v>
                </c:pt>
                <c:pt idx="953">
                  <c:v>5.1219224433136376E-3</c:v>
                </c:pt>
                <c:pt idx="954">
                  <c:v>5.142609616295187E-3</c:v>
                </c:pt>
                <c:pt idx="955">
                  <c:v>5.1468378119630806E-3</c:v>
                </c:pt>
                <c:pt idx="956">
                  <c:v>5.113528900090366E-3</c:v>
                </c:pt>
                <c:pt idx="957">
                  <c:v>5.1972020921709286E-3</c:v>
                </c:pt>
                <c:pt idx="958">
                  <c:v>5.2639412414548364E-3</c:v>
                </c:pt>
                <c:pt idx="959">
                  <c:v>5.2806263093509598E-3</c:v>
                </c:pt>
                <c:pt idx="960">
                  <c:v>5.2413512468978563E-3</c:v>
                </c:pt>
                <c:pt idx="961">
                  <c:v>5.2469760509969675E-3</c:v>
                </c:pt>
                <c:pt idx="962">
                  <c:v>5.2464650455580041E-3</c:v>
                </c:pt>
                <c:pt idx="963">
                  <c:v>5.1732211722902467E-3</c:v>
                </c:pt>
                <c:pt idx="964">
                  <c:v>5.0376056506638818E-3</c:v>
                </c:pt>
                <c:pt idx="965">
                  <c:v>4.9336963772296984E-3</c:v>
                </c:pt>
                <c:pt idx="966">
                  <c:v>4.8113302920762199E-3</c:v>
                </c:pt>
                <c:pt idx="967">
                  <c:v>4.687973733856059E-3</c:v>
                </c:pt>
                <c:pt idx="968">
                  <c:v>4.7034109846622362E-3</c:v>
                </c:pt>
                <c:pt idx="969">
                  <c:v>4.7547527193087065E-3</c:v>
                </c:pt>
                <c:pt idx="970">
                  <c:v>4.8021464166854702E-3</c:v>
                </c:pt>
                <c:pt idx="971">
                  <c:v>4.8370379798606646E-3</c:v>
                </c:pt>
                <c:pt idx="972">
                  <c:v>4.82694042812649E-3</c:v>
                </c:pt>
                <c:pt idx="973">
                  <c:v>4.8080582416072789E-3</c:v>
                </c:pt>
                <c:pt idx="974">
                  <c:v>4.8506185135530448E-3</c:v>
                </c:pt>
                <c:pt idx="975">
                  <c:v>4.8754484572865187E-3</c:v>
                </c:pt>
                <c:pt idx="976">
                  <c:v>4.8541079842448218E-3</c:v>
                </c:pt>
                <c:pt idx="977">
                  <c:v>4.891780332019151E-3</c:v>
                </c:pt>
                <c:pt idx="978">
                  <c:v>4.8863069758205554E-3</c:v>
                </c:pt>
                <c:pt idx="979">
                  <c:v>4.8319974883145878E-3</c:v>
                </c:pt>
                <c:pt idx="980">
                  <c:v>4.810424331332306E-3</c:v>
                </c:pt>
                <c:pt idx="981">
                  <c:v>4.7697041990966615E-3</c:v>
                </c:pt>
                <c:pt idx="982">
                  <c:v>4.6818645949488263E-3</c:v>
                </c:pt>
                <c:pt idx="983">
                  <c:v>4.5818434252808109E-3</c:v>
                </c:pt>
                <c:pt idx="984">
                  <c:v>4.4762188351918277E-3</c:v>
                </c:pt>
                <c:pt idx="985">
                  <c:v>4.3603456132700943E-3</c:v>
                </c:pt>
                <c:pt idx="986">
                  <c:v>4.1947843519931274E-3</c:v>
                </c:pt>
                <c:pt idx="987">
                  <c:v>4.1882968832673449E-3</c:v>
                </c:pt>
                <c:pt idx="988">
                  <c:v>4.1625290095474391E-3</c:v>
                </c:pt>
                <c:pt idx="989">
                  <c:v>4.0957511362416229E-3</c:v>
                </c:pt>
                <c:pt idx="990">
                  <c:v>4.040328943811144E-3</c:v>
                </c:pt>
                <c:pt idx="991">
                  <c:v>3.9990111551471644E-3</c:v>
                </c:pt>
                <c:pt idx="992">
                  <c:v>3.9714459817303425E-3</c:v>
                </c:pt>
                <c:pt idx="993">
                  <c:v>3.9119865962585704E-3</c:v>
                </c:pt>
                <c:pt idx="994">
                  <c:v>3.835182696775036E-3</c:v>
                </c:pt>
                <c:pt idx="995">
                  <c:v>3.7333598342534978E-3</c:v>
                </c:pt>
                <c:pt idx="996">
                  <c:v>3.5971731775316686E-3</c:v>
                </c:pt>
                <c:pt idx="997">
                  <c:v>3.4694704415451395E-3</c:v>
                </c:pt>
                <c:pt idx="998">
                  <c:v>3.4171000068532408E-3</c:v>
                </c:pt>
                <c:pt idx="999">
                  <c:v>3.3303668432414341E-3</c:v>
                </c:pt>
                <c:pt idx="1000">
                  <c:v>3.2367044541243405E-3</c:v>
                </c:pt>
                <c:pt idx="1001">
                  <c:v>3.1482910856112933E-3</c:v>
                </c:pt>
                <c:pt idx="1002">
                  <c:v>3.0915501460040788E-3</c:v>
                </c:pt>
                <c:pt idx="1003">
                  <c:v>3.0431059470423585E-3</c:v>
                </c:pt>
                <c:pt idx="1004">
                  <c:v>3.053637962465678E-3</c:v>
                </c:pt>
                <c:pt idx="1005">
                  <c:v>3.0357556718547773E-3</c:v>
                </c:pt>
                <c:pt idx="1006">
                  <c:v>3.0310445347358442E-3</c:v>
                </c:pt>
                <c:pt idx="1007">
                  <c:v>3.1490416008383058E-3</c:v>
                </c:pt>
                <c:pt idx="1008">
                  <c:v>3.2839011593408006E-3</c:v>
                </c:pt>
                <c:pt idx="1009">
                  <c:v>3.3756566835557119E-3</c:v>
                </c:pt>
                <c:pt idx="1010">
                  <c:v>3.4818275317097117E-3</c:v>
                </c:pt>
                <c:pt idx="1011">
                  <c:v>3.6095741809344371E-3</c:v>
                </c:pt>
                <c:pt idx="1012">
                  <c:v>3.7220309975925072E-3</c:v>
                </c:pt>
                <c:pt idx="1013">
                  <c:v>3.8056431106049827E-3</c:v>
                </c:pt>
                <c:pt idx="1014">
                  <c:v>3.8656555601612494E-3</c:v>
                </c:pt>
                <c:pt idx="1015">
                  <c:v>3.910307799647632E-3</c:v>
                </c:pt>
                <c:pt idx="1016">
                  <c:v>3.9302769209212151E-3</c:v>
                </c:pt>
                <c:pt idx="1017">
                  <c:v>3.9448712657997502E-3</c:v>
                </c:pt>
                <c:pt idx="1018">
                  <c:v>3.9480104316558353E-3</c:v>
                </c:pt>
                <c:pt idx="1019">
                  <c:v>3.9415037341155217E-3</c:v>
                </c:pt>
                <c:pt idx="1020">
                  <c:v>3.9787042296484856E-3</c:v>
                </c:pt>
                <c:pt idx="1021">
                  <c:v>3.9820188170019725E-3</c:v>
                </c:pt>
                <c:pt idx="1022">
                  <c:v>3.9494830750774817E-3</c:v>
                </c:pt>
                <c:pt idx="1023">
                  <c:v>3.8869183615978195E-3</c:v>
                </c:pt>
                <c:pt idx="1024">
                  <c:v>3.8115067284181592E-3</c:v>
                </c:pt>
                <c:pt idx="1025">
                  <c:v>3.7149015654460555E-3</c:v>
                </c:pt>
                <c:pt idx="1026">
                  <c:v>3.5998298815044742E-3</c:v>
                </c:pt>
                <c:pt idx="1027">
                  <c:v>3.4394540519792384E-3</c:v>
                </c:pt>
                <c:pt idx="1028">
                  <c:v>3.3167329092007778E-3</c:v>
                </c:pt>
                <c:pt idx="1029">
                  <c:v>3.1595231665078514E-3</c:v>
                </c:pt>
                <c:pt idx="1030">
                  <c:v>2.9663503558549271E-3</c:v>
                </c:pt>
                <c:pt idx="1031">
                  <c:v>2.7730791980018535E-3</c:v>
                </c:pt>
                <c:pt idx="1032">
                  <c:v>2.6548059520252465E-3</c:v>
                </c:pt>
                <c:pt idx="1033">
                  <c:v>2.5672492430553174E-3</c:v>
                </c:pt>
                <c:pt idx="1034">
                  <c:v>2.4440170238901426E-3</c:v>
                </c:pt>
                <c:pt idx="1035">
                  <c:v>2.305724605089157E-3</c:v>
                </c:pt>
                <c:pt idx="1036">
                  <c:v>2.2032807785388455E-3</c:v>
                </c:pt>
                <c:pt idx="1037">
                  <c:v>2.2411485167711455E-3</c:v>
                </c:pt>
                <c:pt idx="1038">
                  <c:v>2.2990076948156382E-3</c:v>
                </c:pt>
                <c:pt idx="1039">
                  <c:v>2.3346575734067196E-3</c:v>
                </c:pt>
                <c:pt idx="1040">
                  <c:v>2.4054634640146423E-3</c:v>
                </c:pt>
                <c:pt idx="1041">
                  <c:v>2.5503978330125867E-3</c:v>
                </c:pt>
                <c:pt idx="1042">
                  <c:v>2.6853939480110246E-3</c:v>
                </c:pt>
                <c:pt idx="1043">
                  <c:v>2.7882580683559798E-3</c:v>
                </c:pt>
                <c:pt idx="1044">
                  <c:v>2.9379914773897749E-3</c:v>
                </c:pt>
                <c:pt idx="1045">
                  <c:v>3.052545202707349E-3</c:v>
                </c:pt>
                <c:pt idx="1046">
                  <c:v>3.1682475091780013E-3</c:v>
                </c:pt>
                <c:pt idx="1047">
                  <c:v>3.2727127671267147E-3</c:v>
                </c:pt>
                <c:pt idx="1048">
                  <c:v>3.3584874113404832E-3</c:v>
                </c:pt>
                <c:pt idx="1049">
                  <c:v>3.4331192030104258E-3</c:v>
                </c:pt>
                <c:pt idx="1050">
                  <c:v>3.5108995438122084E-3</c:v>
                </c:pt>
                <c:pt idx="1051">
                  <c:v>3.5682771721796953E-3</c:v>
                </c:pt>
                <c:pt idx="1052">
                  <c:v>3.5996994838988889E-3</c:v>
                </c:pt>
                <c:pt idx="1053">
                  <c:v>3.7304237507219985E-3</c:v>
                </c:pt>
                <c:pt idx="1054">
                  <c:v>3.8376130719448968E-3</c:v>
                </c:pt>
                <c:pt idx="1055">
                  <c:v>3.9305613744648948E-3</c:v>
                </c:pt>
                <c:pt idx="1056">
                  <c:v>4.0071344029239848E-3</c:v>
                </c:pt>
                <c:pt idx="1057">
                  <c:v>4.0563614131542787E-3</c:v>
                </c:pt>
                <c:pt idx="1058">
                  <c:v>4.0676579502908405E-3</c:v>
                </c:pt>
                <c:pt idx="1059">
                  <c:v>4.0500597277879913E-3</c:v>
                </c:pt>
                <c:pt idx="1060">
                  <c:v>3.9951030876722313E-3</c:v>
                </c:pt>
                <c:pt idx="1061">
                  <c:v>3.9144171304737246E-3</c:v>
                </c:pt>
                <c:pt idx="1062">
                  <c:v>3.8355496382854511E-3</c:v>
                </c:pt>
                <c:pt idx="1063">
                  <c:v>3.7435416379659079E-3</c:v>
                </c:pt>
                <c:pt idx="1064">
                  <c:v>3.6166663351906718E-3</c:v>
                </c:pt>
                <c:pt idx="1065">
                  <c:v>3.4646112399159051E-3</c:v>
                </c:pt>
                <c:pt idx="1066">
                  <c:v>3.2603670494643143E-3</c:v>
                </c:pt>
                <c:pt idx="1067">
                  <c:v>3.1627686597919765E-3</c:v>
                </c:pt>
                <c:pt idx="1068">
                  <c:v>3.0484356529853467E-3</c:v>
                </c:pt>
                <c:pt idx="1069">
                  <c:v>2.9087820547836567E-3</c:v>
                </c:pt>
                <c:pt idx="1070">
                  <c:v>2.7877295150436428E-3</c:v>
                </c:pt>
                <c:pt idx="1071">
                  <c:v>2.734416500788922E-3</c:v>
                </c:pt>
                <c:pt idx="1072">
                  <c:v>2.6665113703345784E-3</c:v>
                </c:pt>
                <c:pt idx="1073">
                  <c:v>2.5774127089595168E-3</c:v>
                </c:pt>
                <c:pt idx="1074">
                  <c:v>2.5560510786435805E-3</c:v>
                </c:pt>
                <c:pt idx="1075">
                  <c:v>2.5118395240894E-3</c:v>
                </c:pt>
                <c:pt idx="1076">
                  <c:v>2.477364448307714E-3</c:v>
                </c:pt>
                <c:pt idx="1077">
                  <c:v>2.4408855356926468E-3</c:v>
                </c:pt>
                <c:pt idx="1078">
                  <c:v>2.3881762547502032E-3</c:v>
                </c:pt>
                <c:pt idx="1079">
                  <c:v>2.3630928100460812E-3</c:v>
                </c:pt>
                <c:pt idx="1080">
                  <c:v>2.320377236021031E-3</c:v>
                </c:pt>
                <c:pt idx="1081">
                  <c:v>2.2611333197469089E-3</c:v>
                </c:pt>
                <c:pt idx="1082">
                  <c:v>2.1660108644509114E-3</c:v>
                </c:pt>
                <c:pt idx="1083">
                  <c:v>2.2036079646350309E-3</c:v>
                </c:pt>
                <c:pt idx="1084">
                  <c:v>2.236009274968519E-3</c:v>
                </c:pt>
                <c:pt idx="1085">
                  <c:v>2.2605207225166986E-3</c:v>
                </c:pt>
                <c:pt idx="1086">
                  <c:v>2.2768437788909055E-3</c:v>
                </c:pt>
                <c:pt idx="1087">
                  <c:v>2.2819226090558605E-3</c:v>
                </c:pt>
                <c:pt idx="1088">
                  <c:v>2.2680973262748242E-3</c:v>
                </c:pt>
                <c:pt idx="1089">
                  <c:v>2.2451320094980126E-3</c:v>
                </c:pt>
                <c:pt idx="1090">
                  <c:v>2.2015193934900846E-3</c:v>
                </c:pt>
                <c:pt idx="1091">
                  <c:v>2.1520197509281727E-3</c:v>
                </c:pt>
                <c:pt idx="1092">
                  <c:v>2.1253424727963243E-3</c:v>
                </c:pt>
                <c:pt idx="1093">
                  <c:v>2.094486369993858E-3</c:v>
                </c:pt>
                <c:pt idx="1094">
                  <c:v>2.0700854963041811E-3</c:v>
                </c:pt>
                <c:pt idx="1095">
                  <c:v>2.0493901476618171E-3</c:v>
                </c:pt>
                <c:pt idx="1096">
                  <c:v>2.0481981231253426E-3</c:v>
                </c:pt>
                <c:pt idx="1097">
                  <c:v>2.0729879105306245E-3</c:v>
                </c:pt>
                <c:pt idx="1098">
                  <c:v>2.0787777789451336E-3</c:v>
                </c:pt>
                <c:pt idx="1099">
                  <c:v>2.0848516682986469E-3</c:v>
                </c:pt>
                <c:pt idx="1100">
                  <c:v>2.0908427623347833E-3</c:v>
                </c:pt>
                <c:pt idx="1101">
                  <c:v>2.1083772992169523E-3</c:v>
                </c:pt>
                <c:pt idx="1102">
                  <c:v>2.1704024366950366E-3</c:v>
                </c:pt>
                <c:pt idx="1103">
                  <c:v>2.2125091126491982E-3</c:v>
                </c:pt>
                <c:pt idx="1104">
                  <c:v>2.2569137034836092E-3</c:v>
                </c:pt>
                <c:pt idx="1105">
                  <c:v>2.3102604740105805E-3</c:v>
                </c:pt>
                <c:pt idx="1106">
                  <c:v>2.3394415746299702E-3</c:v>
                </c:pt>
                <c:pt idx="1107">
                  <c:v>2.3503459242631471E-3</c:v>
                </c:pt>
                <c:pt idx="1108">
                  <c:v>2.364987690713491E-3</c:v>
                </c:pt>
                <c:pt idx="1109">
                  <c:v>2.4088860216721045E-3</c:v>
                </c:pt>
                <c:pt idx="1110">
                  <c:v>2.4567599149022228E-3</c:v>
                </c:pt>
                <c:pt idx="1111">
                  <c:v>2.520121144957992E-3</c:v>
                </c:pt>
                <c:pt idx="1112">
                  <c:v>2.597956566105751E-3</c:v>
                </c:pt>
                <c:pt idx="1113">
                  <c:v>2.7649485339438602E-3</c:v>
                </c:pt>
                <c:pt idx="1114">
                  <c:v>2.9121841010868559E-3</c:v>
                </c:pt>
                <c:pt idx="1115">
                  <c:v>3.0540080023074281E-3</c:v>
                </c:pt>
                <c:pt idx="1116">
                  <c:v>3.161090044114787E-3</c:v>
                </c:pt>
                <c:pt idx="1117">
                  <c:v>3.2324400910428747E-3</c:v>
                </c:pt>
                <c:pt idx="1118">
                  <c:v>3.319057047214316E-3</c:v>
                </c:pt>
                <c:pt idx="1119">
                  <c:v>3.3856145083209443E-3</c:v>
                </c:pt>
                <c:pt idx="1120">
                  <c:v>3.43147743983161E-3</c:v>
                </c:pt>
                <c:pt idx="1121">
                  <c:v>3.492300888048111E-3</c:v>
                </c:pt>
                <c:pt idx="1122">
                  <c:v>3.5556652284594648E-3</c:v>
                </c:pt>
                <c:pt idx="1123">
                  <c:v>3.6185313937069459E-3</c:v>
                </c:pt>
                <c:pt idx="1124">
                  <c:v>3.71972093049404E-3</c:v>
                </c:pt>
                <c:pt idx="1125">
                  <c:v>3.7870086864410907E-3</c:v>
                </c:pt>
                <c:pt idx="1126">
                  <c:v>3.8936307973871948E-3</c:v>
                </c:pt>
                <c:pt idx="1127">
                  <c:v>3.9882116315379671E-3</c:v>
                </c:pt>
                <c:pt idx="1128">
                  <c:v>4.0445141241181913E-3</c:v>
                </c:pt>
                <c:pt idx="1129">
                  <c:v>4.0826313167208021E-3</c:v>
                </c:pt>
                <c:pt idx="1130">
                  <c:v>4.1004326836514777E-3</c:v>
                </c:pt>
                <c:pt idx="1131">
                  <c:v>4.0836432048610757E-3</c:v>
                </c:pt>
                <c:pt idx="1132">
                  <c:v>4.0887783750843485E-3</c:v>
                </c:pt>
                <c:pt idx="1133">
                  <c:v>4.1258399990290514E-3</c:v>
                </c:pt>
                <c:pt idx="1134">
                  <c:v>4.1465727327921389E-3</c:v>
                </c:pt>
                <c:pt idx="1135">
                  <c:v>4.2077854170923957E-3</c:v>
                </c:pt>
                <c:pt idx="1136">
                  <c:v>4.2943058610775157E-3</c:v>
                </c:pt>
                <c:pt idx="1137">
                  <c:v>4.7463630891208175E-3</c:v>
                </c:pt>
                <c:pt idx="1138">
                  <c:v>5.0928091465248567E-3</c:v>
                </c:pt>
                <c:pt idx="1139">
                  <c:v>5.3396916007730456E-3</c:v>
                </c:pt>
                <c:pt idx="1140">
                  <c:v>5.62914463542326E-3</c:v>
                </c:pt>
                <c:pt idx="1141">
                  <c:v>5.9521043761500379E-3</c:v>
                </c:pt>
                <c:pt idx="1142">
                  <c:v>6.2063215004409117E-3</c:v>
                </c:pt>
                <c:pt idx="1143">
                  <c:v>6.5418192574528888E-3</c:v>
                </c:pt>
                <c:pt idx="1144">
                  <c:v>6.7962138186536541E-3</c:v>
                </c:pt>
                <c:pt idx="1145">
                  <c:v>6.9952889812300752E-3</c:v>
                </c:pt>
                <c:pt idx="1146">
                  <c:v>7.1358820972946381E-3</c:v>
                </c:pt>
                <c:pt idx="1147">
                  <c:v>7.2072846024407288E-3</c:v>
                </c:pt>
                <c:pt idx="1148">
                  <c:v>7.2663924322113422E-3</c:v>
                </c:pt>
                <c:pt idx="1149">
                  <c:v>7.3212036879569146E-3</c:v>
                </c:pt>
                <c:pt idx="1150">
                  <c:v>7.3287964425266337E-3</c:v>
                </c:pt>
                <c:pt idx="1151">
                  <c:v>7.3166009038293216E-3</c:v>
                </c:pt>
                <c:pt idx="1152">
                  <c:v>7.2776421415063934E-3</c:v>
                </c:pt>
                <c:pt idx="1153">
                  <c:v>7.2152094265054197E-3</c:v>
                </c:pt>
                <c:pt idx="1154">
                  <c:v>7.1515551010909355E-3</c:v>
                </c:pt>
                <c:pt idx="1155">
                  <c:v>7.1081592321874682E-3</c:v>
                </c:pt>
                <c:pt idx="1156">
                  <c:v>7.0725467384939577E-3</c:v>
                </c:pt>
                <c:pt idx="1157">
                  <c:v>7.1144650409725799E-3</c:v>
                </c:pt>
                <c:pt idx="1158">
                  <c:v>7.1405498751487819E-3</c:v>
                </c:pt>
                <c:pt idx="1159">
                  <c:v>7.0888611344640017E-3</c:v>
                </c:pt>
                <c:pt idx="1160">
                  <c:v>6.9789801398993023E-3</c:v>
                </c:pt>
                <c:pt idx="1161">
                  <c:v>6.9358115566085345E-3</c:v>
                </c:pt>
                <c:pt idx="1162">
                  <c:v>6.7858310647689471E-3</c:v>
                </c:pt>
                <c:pt idx="1163">
                  <c:v>6.6198925889742154E-3</c:v>
                </c:pt>
                <c:pt idx="1164">
                  <c:v>6.3878006502010943E-3</c:v>
                </c:pt>
                <c:pt idx="1165">
                  <c:v>6.1240944150685863E-3</c:v>
                </c:pt>
                <c:pt idx="1166">
                  <c:v>5.8406038228923252E-3</c:v>
                </c:pt>
                <c:pt idx="1167">
                  <c:v>5.8479101647735936E-3</c:v>
                </c:pt>
                <c:pt idx="1168">
                  <c:v>5.8076844839147941E-3</c:v>
                </c:pt>
                <c:pt idx="1169">
                  <c:v>5.7196642584727547E-3</c:v>
                </c:pt>
                <c:pt idx="1170">
                  <c:v>5.7428993092681268E-3</c:v>
                </c:pt>
                <c:pt idx="1171">
                  <c:v>5.7942461903835547E-3</c:v>
                </c:pt>
                <c:pt idx="1172">
                  <c:v>5.8094106773067949E-3</c:v>
                </c:pt>
                <c:pt idx="1173">
                  <c:v>5.8880138392263795E-3</c:v>
                </c:pt>
                <c:pt idx="1174">
                  <c:v>5.9215618103415166E-3</c:v>
                </c:pt>
                <c:pt idx="1175">
                  <c:v>5.9038144226675107E-3</c:v>
                </c:pt>
                <c:pt idx="1176">
                  <c:v>5.8844625812908939E-3</c:v>
                </c:pt>
                <c:pt idx="1177">
                  <c:v>5.8089314856168105E-3</c:v>
                </c:pt>
                <c:pt idx="1178">
                  <c:v>5.6960243736474403E-3</c:v>
                </c:pt>
                <c:pt idx="1179">
                  <c:v>5.6705753877820831E-3</c:v>
                </c:pt>
                <c:pt idx="1180">
                  <c:v>5.6819932957234455E-3</c:v>
                </c:pt>
                <c:pt idx="1181">
                  <c:v>5.6214233354084358E-3</c:v>
                </c:pt>
                <c:pt idx="1182">
                  <c:v>5.5186005683987936E-3</c:v>
                </c:pt>
                <c:pt idx="1183">
                  <c:v>5.3691527318496463E-3</c:v>
                </c:pt>
                <c:pt idx="1184">
                  <c:v>5.1655572807994474E-3</c:v>
                </c:pt>
                <c:pt idx="1185">
                  <c:v>5.0359636239919441E-3</c:v>
                </c:pt>
                <c:pt idx="1186">
                  <c:v>4.871510951925815E-3</c:v>
                </c:pt>
                <c:pt idx="1187">
                  <c:v>4.8513063625580076E-3</c:v>
                </c:pt>
                <c:pt idx="1188">
                  <c:v>4.8403467346211588E-3</c:v>
                </c:pt>
                <c:pt idx="1189">
                  <c:v>4.7834989198267397E-3</c:v>
                </c:pt>
                <c:pt idx="1190">
                  <c:v>4.7081686660698403E-3</c:v>
                </c:pt>
                <c:pt idx="1191">
                  <c:v>4.7395498789393588E-3</c:v>
                </c:pt>
                <c:pt idx="1192">
                  <c:v>4.7434764046406343E-3</c:v>
                </c:pt>
                <c:pt idx="1193">
                  <c:v>4.7446903992911993E-3</c:v>
                </c:pt>
                <c:pt idx="1194">
                  <c:v>4.7172975007330554E-3</c:v>
                </c:pt>
                <c:pt idx="1195">
                  <c:v>4.6643829121676295E-3</c:v>
                </c:pt>
                <c:pt idx="1196">
                  <c:v>4.60625917926674E-3</c:v>
                </c:pt>
                <c:pt idx="1197">
                  <c:v>4.5316911954716684E-3</c:v>
                </c:pt>
                <c:pt idx="1198">
                  <c:v>4.4155936386149125E-3</c:v>
                </c:pt>
                <c:pt idx="1199">
                  <c:v>4.2651807902669547E-3</c:v>
                </c:pt>
                <c:pt idx="1200">
                  <c:v>4.1803721169188304E-3</c:v>
                </c:pt>
                <c:pt idx="1201">
                  <c:v>4.0673008015042729E-3</c:v>
                </c:pt>
                <c:pt idx="1202">
                  <c:v>3.9419060380915692E-3</c:v>
                </c:pt>
                <c:pt idx="1203">
                  <c:v>3.904155195774606E-3</c:v>
                </c:pt>
                <c:pt idx="1204">
                  <c:v>3.8501415353148984E-3</c:v>
                </c:pt>
                <c:pt idx="1205">
                  <c:v>3.7487430176807333E-3</c:v>
                </c:pt>
                <c:pt idx="1206">
                  <c:v>3.6845012566853533E-3</c:v>
                </c:pt>
                <c:pt idx="1207">
                  <c:v>3.5717265995505059E-3</c:v>
                </c:pt>
                <c:pt idx="1208">
                  <c:v>3.4189249118220977E-3</c:v>
                </c:pt>
                <c:pt idx="1209">
                  <c:v>3.4808675543165934E-3</c:v>
                </c:pt>
                <c:pt idx="1210">
                  <c:v>3.6516657319515954E-3</c:v>
                </c:pt>
                <c:pt idx="1211">
                  <c:v>3.9730126641485857E-3</c:v>
                </c:pt>
                <c:pt idx="1212">
                  <c:v>4.2354954878202839E-3</c:v>
                </c:pt>
                <c:pt idx="1213">
                  <c:v>4.4515039910260909E-3</c:v>
                </c:pt>
                <c:pt idx="1214">
                  <c:v>4.6310637719474794E-3</c:v>
                </c:pt>
                <c:pt idx="1215">
                  <c:v>4.785711068276825E-3</c:v>
                </c:pt>
                <c:pt idx="1216">
                  <c:v>4.8912402932357124E-3</c:v>
                </c:pt>
                <c:pt idx="1217">
                  <c:v>4.9724127620963867E-3</c:v>
                </c:pt>
                <c:pt idx="1218">
                  <c:v>5.0286340249264651E-3</c:v>
                </c:pt>
                <c:pt idx="1219">
                  <c:v>5.0778840449140156E-3</c:v>
                </c:pt>
                <c:pt idx="1220">
                  <c:v>5.2287684979017415E-3</c:v>
                </c:pt>
                <c:pt idx="1221">
                  <c:v>5.3507697071964143E-3</c:v>
                </c:pt>
                <c:pt idx="1222">
                  <c:v>5.438171655833564E-3</c:v>
                </c:pt>
                <c:pt idx="1223">
                  <c:v>5.52449265499239E-3</c:v>
                </c:pt>
                <c:pt idx="1224">
                  <c:v>5.5560330440988879E-3</c:v>
                </c:pt>
                <c:pt idx="1225">
                  <c:v>5.5490603956648583E-3</c:v>
                </c:pt>
                <c:pt idx="1226">
                  <c:v>5.5387927165259391E-3</c:v>
                </c:pt>
                <c:pt idx="1227">
                  <c:v>5.5180309894710608E-3</c:v>
                </c:pt>
                <c:pt idx="1228">
                  <c:v>5.4491898805135155E-3</c:v>
                </c:pt>
                <c:pt idx="1229">
                  <c:v>5.3354696261882981E-3</c:v>
                </c:pt>
                <c:pt idx="1230">
                  <c:v>5.2021958726945127E-3</c:v>
                </c:pt>
                <c:pt idx="1231">
                  <c:v>5.0258884130199057E-3</c:v>
                </c:pt>
                <c:pt idx="1232">
                  <c:v>4.8203196129681606E-3</c:v>
                </c:pt>
                <c:pt idx="1233">
                  <c:v>4.6624027494988948E-3</c:v>
                </c:pt>
                <c:pt idx="1234">
                  <c:v>4.4799071194002475E-3</c:v>
                </c:pt>
                <c:pt idx="1235">
                  <c:v>4.2531284342799229E-3</c:v>
                </c:pt>
                <c:pt idx="1236">
                  <c:v>4.0121269944506594E-3</c:v>
                </c:pt>
                <c:pt idx="1237">
                  <c:v>3.7162698700641951E-3</c:v>
                </c:pt>
                <c:pt idx="1238">
                  <c:v>3.3691155700017556E-3</c:v>
                </c:pt>
                <c:pt idx="1239">
                  <c:v>3.1830630316682495E-3</c:v>
                </c:pt>
                <c:pt idx="1240">
                  <c:v>3.0143385829546625E-3</c:v>
                </c:pt>
                <c:pt idx="1241">
                  <c:v>2.9954849292546304E-3</c:v>
                </c:pt>
                <c:pt idx="1242">
                  <c:v>2.9539849227794381E-3</c:v>
                </c:pt>
                <c:pt idx="1243">
                  <c:v>2.9159173597604017E-3</c:v>
                </c:pt>
                <c:pt idx="1244">
                  <c:v>2.9183369828043992E-3</c:v>
                </c:pt>
                <c:pt idx="1245">
                  <c:v>2.9012681131614783E-3</c:v>
                </c:pt>
                <c:pt idx="1246">
                  <c:v>2.8393438246284829E-3</c:v>
                </c:pt>
                <c:pt idx="1247">
                  <c:v>2.7523210573180312E-3</c:v>
                </c:pt>
                <c:pt idx="1248">
                  <c:v>2.6499198643513198E-3</c:v>
                </c:pt>
                <c:pt idx="1249">
                  <c:v>2.5561464628939949E-3</c:v>
                </c:pt>
                <c:pt idx="1250">
                  <c:v>2.5874058107353761E-3</c:v>
                </c:pt>
                <c:pt idx="1251">
                  <c:v>2.6285268538252323E-3</c:v>
                </c:pt>
                <c:pt idx="1252">
                  <c:v>2.6582662086806603E-3</c:v>
                </c:pt>
                <c:pt idx="1253">
                  <c:v>2.6977535295016493E-3</c:v>
                </c:pt>
                <c:pt idx="1254">
                  <c:v>2.7221237719724403E-3</c:v>
                </c:pt>
                <c:pt idx="1255">
                  <c:v>2.735442999759898E-3</c:v>
                </c:pt>
                <c:pt idx="1256">
                  <c:v>2.7589148333031391E-3</c:v>
                </c:pt>
                <c:pt idx="1257">
                  <c:v>2.779586250046246E-3</c:v>
                </c:pt>
                <c:pt idx="1258">
                  <c:v>2.7875764702258712E-3</c:v>
                </c:pt>
                <c:pt idx="1259">
                  <c:v>2.7797914797145322E-3</c:v>
                </c:pt>
                <c:pt idx="1260">
                  <c:v>2.7759395052872325E-3</c:v>
                </c:pt>
                <c:pt idx="1261">
                  <c:v>2.7608708830038848E-3</c:v>
                </c:pt>
                <c:pt idx="1262">
                  <c:v>2.7629242269278042E-3</c:v>
                </c:pt>
                <c:pt idx="1263">
                  <c:v>2.7527777288931725E-3</c:v>
                </c:pt>
                <c:pt idx="1264">
                  <c:v>2.7232919356588239E-3</c:v>
                </c:pt>
                <c:pt idx="1265">
                  <c:v>2.6708871132228341E-3</c:v>
                </c:pt>
                <c:pt idx="1266">
                  <c:v>2.6013283268016096E-3</c:v>
                </c:pt>
                <c:pt idx="1267">
                  <c:v>2.5085029575776839E-3</c:v>
                </c:pt>
                <c:pt idx="1268">
                  <c:v>2.4413400350071419E-3</c:v>
                </c:pt>
                <c:pt idx="1269">
                  <c:v>2.4399271388293084E-3</c:v>
                </c:pt>
                <c:pt idx="1270">
                  <c:v>2.4163519877871543E-3</c:v>
                </c:pt>
                <c:pt idx="1271">
                  <c:v>2.6027230285437086E-3</c:v>
                </c:pt>
                <c:pt idx="1272">
                  <c:v>2.7453631235456848E-3</c:v>
                </c:pt>
                <c:pt idx="1273">
                  <c:v>2.9761964478813639E-3</c:v>
                </c:pt>
                <c:pt idx="1274">
                  <c:v>3.2087609227501872E-3</c:v>
                </c:pt>
                <c:pt idx="1275">
                  <c:v>3.4050501466787774E-3</c:v>
                </c:pt>
                <c:pt idx="1276">
                  <c:v>3.5529458582019471E-3</c:v>
                </c:pt>
                <c:pt idx="1277">
                  <c:v>3.6756224215967557E-3</c:v>
                </c:pt>
                <c:pt idx="1278">
                  <c:v>3.8224486904962565E-3</c:v>
                </c:pt>
                <c:pt idx="1279">
                  <c:v>3.9287449663494688E-3</c:v>
                </c:pt>
                <c:pt idx="1280">
                  <c:v>4.0166023388174456E-3</c:v>
                </c:pt>
                <c:pt idx="1281">
                  <c:v>4.116091868482121E-3</c:v>
                </c:pt>
                <c:pt idx="1282">
                  <c:v>4.1891229775657948E-3</c:v>
                </c:pt>
                <c:pt idx="1283">
                  <c:v>4.2383589027012074E-3</c:v>
                </c:pt>
                <c:pt idx="1284">
                  <c:v>4.2726978661529894E-3</c:v>
                </c:pt>
                <c:pt idx="1285">
                  <c:v>4.2792384698854191E-3</c:v>
                </c:pt>
                <c:pt idx="1286">
                  <c:v>4.3900508614308159E-3</c:v>
                </c:pt>
                <c:pt idx="1287">
                  <c:v>4.4596450788008469E-3</c:v>
                </c:pt>
                <c:pt idx="1288">
                  <c:v>4.5075901007857163E-3</c:v>
                </c:pt>
                <c:pt idx="1289">
                  <c:v>4.5237896778417526E-3</c:v>
                </c:pt>
                <c:pt idx="1290">
                  <c:v>4.5222242563444977E-3</c:v>
                </c:pt>
                <c:pt idx="1291">
                  <c:v>4.4836173228083569E-3</c:v>
                </c:pt>
                <c:pt idx="1292">
                  <c:v>4.4380927884549301E-3</c:v>
                </c:pt>
                <c:pt idx="1293">
                  <c:v>4.3935977747469697E-3</c:v>
                </c:pt>
                <c:pt idx="1294">
                  <c:v>4.3116300980949119E-3</c:v>
                </c:pt>
                <c:pt idx="1295">
                  <c:v>4.1916456660073074E-3</c:v>
                </c:pt>
                <c:pt idx="1296">
                  <c:v>4.0290088231600806E-3</c:v>
                </c:pt>
                <c:pt idx="1297">
                  <c:v>3.8811389529307396E-3</c:v>
                </c:pt>
                <c:pt idx="1298">
                  <c:v>3.7342978253300202E-3</c:v>
                </c:pt>
                <c:pt idx="1299">
                  <c:v>3.5818089916208949E-3</c:v>
                </c:pt>
                <c:pt idx="1300">
                  <c:v>3.3709048049554956E-3</c:v>
                </c:pt>
                <c:pt idx="1301">
                  <c:v>3.3455624684557228E-3</c:v>
                </c:pt>
                <c:pt idx="1302">
                  <c:v>3.3249448239977722E-3</c:v>
                </c:pt>
                <c:pt idx="1303">
                  <c:v>3.381320182721333E-3</c:v>
                </c:pt>
                <c:pt idx="1304">
                  <c:v>3.4192487144831343E-3</c:v>
                </c:pt>
                <c:pt idx="1305">
                  <c:v>3.4262362595584893E-3</c:v>
                </c:pt>
                <c:pt idx="1306">
                  <c:v>3.5097353022592293E-3</c:v>
                </c:pt>
                <c:pt idx="1307">
                  <c:v>3.5685443402559192E-3</c:v>
                </c:pt>
                <c:pt idx="1308">
                  <c:v>3.6325130535946322E-3</c:v>
                </c:pt>
                <c:pt idx="1309">
                  <c:v>3.6538365915720302E-3</c:v>
                </c:pt>
                <c:pt idx="1310">
                  <c:v>3.6547346148673061E-3</c:v>
                </c:pt>
                <c:pt idx="1311">
                  <c:v>3.6603547105674358E-3</c:v>
                </c:pt>
                <c:pt idx="1312">
                  <c:v>3.6425974799680141E-3</c:v>
                </c:pt>
                <c:pt idx="1313">
                  <c:v>3.5920980826092868E-3</c:v>
                </c:pt>
                <c:pt idx="1314">
                  <c:v>3.5239378770342412E-3</c:v>
                </c:pt>
                <c:pt idx="1315">
                  <c:v>3.4246868469961218E-3</c:v>
                </c:pt>
                <c:pt idx="1316">
                  <c:v>3.432417362336094E-3</c:v>
                </c:pt>
                <c:pt idx="1317">
                  <c:v>3.456469587423626E-3</c:v>
                </c:pt>
                <c:pt idx="1318">
                  <c:v>3.468040729269214E-3</c:v>
                </c:pt>
                <c:pt idx="1319">
                  <c:v>3.4583793351495437E-3</c:v>
                </c:pt>
                <c:pt idx="1320">
                  <c:v>3.4598425487885154E-3</c:v>
                </c:pt>
                <c:pt idx="1321">
                  <c:v>3.4280535692418736E-3</c:v>
                </c:pt>
                <c:pt idx="1322">
                  <c:v>3.3668103093043933E-3</c:v>
                </c:pt>
                <c:pt idx="1323">
                  <c:v>3.3271746800420323E-3</c:v>
                </c:pt>
                <c:pt idx="1324">
                  <c:v>3.2643263663303633E-3</c:v>
                </c:pt>
                <c:pt idx="1325">
                  <c:v>3.17542170629235E-3</c:v>
                </c:pt>
                <c:pt idx="1326">
                  <c:v>3.0524544782695642E-3</c:v>
                </c:pt>
                <c:pt idx="1327">
                  <c:v>2.9844748839245659E-3</c:v>
                </c:pt>
                <c:pt idx="1328">
                  <c:v>2.883875297300218E-3</c:v>
                </c:pt>
                <c:pt idx="1329">
                  <c:v>2.8401871447699188E-3</c:v>
                </c:pt>
                <c:pt idx="1330">
                  <c:v>2.7704068219487699E-3</c:v>
                </c:pt>
                <c:pt idx="1331">
                  <c:v>2.693754976297682E-3</c:v>
                </c:pt>
                <c:pt idx="1332">
                  <c:v>2.6175748642722663E-3</c:v>
                </c:pt>
                <c:pt idx="1333">
                  <c:v>2.5831735248615061E-3</c:v>
                </c:pt>
                <c:pt idx="1334">
                  <c:v>2.5664753122698288E-3</c:v>
                </c:pt>
                <c:pt idx="1335">
                  <c:v>2.584085020362884E-3</c:v>
                </c:pt>
                <c:pt idx="1336">
                  <c:v>2.742126448178474E-3</c:v>
                </c:pt>
                <c:pt idx="1337">
                  <c:v>2.8736519820947133E-3</c:v>
                </c:pt>
                <c:pt idx="1338">
                  <c:v>3.1488459070783017E-3</c:v>
                </c:pt>
                <c:pt idx="1339">
                  <c:v>3.4109175849879026E-3</c:v>
                </c:pt>
                <c:pt idx="1340">
                  <c:v>3.6221682909696332E-3</c:v>
                </c:pt>
                <c:pt idx="1341">
                  <c:v>3.8051274380240729E-3</c:v>
                </c:pt>
                <c:pt idx="1342">
                  <c:v>3.9412462985058475E-3</c:v>
                </c:pt>
                <c:pt idx="1343">
                  <c:v>4.0548129287057465E-3</c:v>
                </c:pt>
                <c:pt idx="1344">
                  <c:v>4.1317462498653796E-3</c:v>
                </c:pt>
                <c:pt idx="1345">
                  <c:v>4.1797122853697629E-3</c:v>
                </c:pt>
                <c:pt idx="1346">
                  <c:v>4.2070165164952069E-3</c:v>
                </c:pt>
                <c:pt idx="1347">
                  <c:v>4.2386299736827992E-3</c:v>
                </c:pt>
                <c:pt idx="1348">
                  <c:v>4.3346914831407625E-3</c:v>
                </c:pt>
                <c:pt idx="1349">
                  <c:v>4.4899736027413234E-3</c:v>
                </c:pt>
                <c:pt idx="1350">
                  <c:v>4.6327259517955346E-3</c:v>
                </c:pt>
                <c:pt idx="1351">
                  <c:v>4.7305801147241276E-3</c:v>
                </c:pt>
                <c:pt idx="1352">
                  <c:v>4.806267350795812E-3</c:v>
                </c:pt>
                <c:pt idx="1353">
                  <c:v>4.8521241297662934E-3</c:v>
                </c:pt>
                <c:pt idx="1354">
                  <c:v>5.0011690028742171E-3</c:v>
                </c:pt>
                <c:pt idx="1355">
                  <c:v>5.1247078421890538E-3</c:v>
                </c:pt>
                <c:pt idx="1356">
                  <c:v>5.2499754649229001E-3</c:v>
                </c:pt>
                <c:pt idx="1357">
                  <c:v>5.3340105035835656E-3</c:v>
                </c:pt>
                <c:pt idx="1358">
                  <c:v>5.348704068482606E-3</c:v>
                </c:pt>
                <c:pt idx="1359">
                  <c:v>5.3737365150785645E-3</c:v>
                </c:pt>
                <c:pt idx="1360">
                  <c:v>5.3706357540254509E-3</c:v>
                </c:pt>
                <c:pt idx="1361">
                  <c:v>5.3250130996007391E-3</c:v>
                </c:pt>
                <c:pt idx="1362">
                  <c:v>5.2261324198890945E-3</c:v>
                </c:pt>
                <c:pt idx="1363">
                  <c:v>5.106683787400714E-3</c:v>
                </c:pt>
                <c:pt idx="1364">
                  <c:v>4.9610193669753265E-3</c:v>
                </c:pt>
                <c:pt idx="1365">
                  <c:v>1.9204366853538029E-2</c:v>
                </c:pt>
                <c:pt idx="1366">
                  <c:v>2.9085116982083017E-2</c:v>
                </c:pt>
                <c:pt idx="1367">
                  <c:v>3.9158001963202446E-2</c:v>
                </c:pt>
                <c:pt idx="1368">
                  <c:v>4.6607904314092001E-2</c:v>
                </c:pt>
                <c:pt idx="1369">
                  <c:v>5.2565485498007984E-2</c:v>
                </c:pt>
                <c:pt idx="1370">
                  <c:v>5.74903193795233E-2</c:v>
                </c:pt>
                <c:pt idx="1371">
                  <c:v>6.1641888191829419E-2</c:v>
                </c:pt>
                <c:pt idx="1372">
                  <c:v>6.5183112712680708E-2</c:v>
                </c:pt>
                <c:pt idx="1373">
                  <c:v>6.8169798670257742E-2</c:v>
                </c:pt>
                <c:pt idx="1374">
                  <c:v>7.0698378856302757E-2</c:v>
                </c:pt>
                <c:pt idx="1375">
                  <c:v>7.2819518693756816E-2</c:v>
                </c:pt>
                <c:pt idx="1376">
                  <c:v>7.4549556022359437E-2</c:v>
                </c:pt>
                <c:pt idx="1377">
                  <c:v>7.5903444467449482E-2</c:v>
                </c:pt>
                <c:pt idx="1378">
                  <c:v>7.684931698551288E-2</c:v>
                </c:pt>
                <c:pt idx="1379">
                  <c:v>7.7402218880022161E-2</c:v>
                </c:pt>
                <c:pt idx="1380">
                  <c:v>7.7597895829973826E-2</c:v>
                </c:pt>
                <c:pt idx="1381">
                  <c:v>7.7458128442503951E-2</c:v>
                </c:pt>
                <c:pt idx="1382">
                  <c:v>7.6947948077759343E-2</c:v>
                </c:pt>
                <c:pt idx="1383">
                  <c:v>7.606616330960933E-2</c:v>
                </c:pt>
                <c:pt idx="1384">
                  <c:v>7.4694679782736334E-2</c:v>
                </c:pt>
                <c:pt idx="1385">
                  <c:v>7.2880716560441636E-2</c:v>
                </c:pt>
                <c:pt idx="1386">
                  <c:v>7.0561268809743616E-2</c:v>
                </c:pt>
                <c:pt idx="1387">
                  <c:v>6.771299108011597E-2</c:v>
                </c:pt>
                <c:pt idx="1388">
                  <c:v>6.4318846681017394E-2</c:v>
                </c:pt>
                <c:pt idx="1389">
                  <c:v>6.0226881953209771E-2</c:v>
                </c:pt>
                <c:pt idx="1390">
                  <c:v>5.5243557462629524E-2</c:v>
                </c:pt>
                <c:pt idx="1391">
                  <c:v>4.9136883231016053E-2</c:v>
                </c:pt>
                <c:pt idx="1392">
                  <c:v>4.1399816887398001E-2</c:v>
                </c:pt>
                <c:pt idx="1393">
                  <c:v>3.0839046065422419E-2</c:v>
                </c:pt>
                <c:pt idx="1394">
                  <c:v>1.1200445642028066E-2</c:v>
                </c:pt>
                <c:pt idx="1395">
                  <c:v>6.2666268450107315E-3</c:v>
                </c:pt>
                <c:pt idx="1396">
                  <c:v>2.6655237702148775E-3</c:v>
                </c:pt>
                <c:pt idx="1397">
                  <c:v>2.7296075844061973E-3</c:v>
                </c:pt>
                <c:pt idx="1398">
                  <c:v>2.9526220637752878E-3</c:v>
                </c:pt>
                <c:pt idx="1399">
                  <c:v>3.2247533068071703E-3</c:v>
                </c:pt>
                <c:pt idx="1400">
                  <c:v>3.4576924942495866E-3</c:v>
                </c:pt>
                <c:pt idx="1401">
                  <c:v>3.646409818997744E-3</c:v>
                </c:pt>
                <c:pt idx="1402">
                  <c:v>3.8310443361089979E-3</c:v>
                </c:pt>
                <c:pt idx="1403">
                  <c:v>4.002630938703778E-3</c:v>
                </c:pt>
                <c:pt idx="1404">
                  <c:v>4.1990440157696363E-3</c:v>
                </c:pt>
                <c:pt idx="1405">
                  <c:v>4.411850344500816E-3</c:v>
                </c:pt>
                <c:pt idx="1406">
                  <c:v>4.5812600722389893E-3</c:v>
                </c:pt>
                <c:pt idx="1407">
                  <c:v>4.720215112637322E-3</c:v>
                </c:pt>
                <c:pt idx="1408">
                  <c:v>4.8210752841506962E-3</c:v>
                </c:pt>
                <c:pt idx="1409">
                  <c:v>4.8869334738229535E-3</c:v>
                </c:pt>
                <c:pt idx="1410">
                  <c:v>4.9692755339945851E-3</c:v>
                </c:pt>
                <c:pt idx="1411">
                  <c:v>5.0293001774700799E-3</c:v>
                </c:pt>
                <c:pt idx="1412">
                  <c:v>5.046770071993275E-3</c:v>
                </c:pt>
                <c:pt idx="1413">
                  <c:v>5.026734756828989E-3</c:v>
                </c:pt>
                <c:pt idx="1414">
                  <c:v>4.9642059912301251E-3</c:v>
                </c:pt>
                <c:pt idx="1415">
                  <c:v>4.8745910283461182E-3</c:v>
                </c:pt>
                <c:pt idx="1416">
                  <c:v>4.7513812182639866E-3</c:v>
                </c:pt>
                <c:pt idx="1417">
                  <c:v>4.6002469351173999E-3</c:v>
                </c:pt>
                <c:pt idx="1418">
                  <c:v>4.534053769767515E-3</c:v>
                </c:pt>
                <c:pt idx="1419">
                  <c:v>4.4341361937416971E-3</c:v>
                </c:pt>
                <c:pt idx="1420">
                  <c:v>4.2966753719989757E-3</c:v>
                </c:pt>
                <c:pt idx="1421">
                  <c:v>4.1247256119194987E-3</c:v>
                </c:pt>
                <c:pt idx="1422">
                  <c:v>3.9162437293893343E-3</c:v>
                </c:pt>
                <c:pt idx="1423">
                  <c:v>3.742165336728713E-3</c:v>
                </c:pt>
                <c:pt idx="1424">
                  <c:v>3.5181203858903006E-3</c:v>
                </c:pt>
                <c:pt idx="1425">
                  <c:v>3.2286567405842882E-3</c:v>
                </c:pt>
                <c:pt idx="1426">
                  <c:v>2.9499246427213306E-3</c:v>
                </c:pt>
                <c:pt idx="1427">
                  <c:v>2.661438266709506E-3</c:v>
                </c:pt>
                <c:pt idx="1428">
                  <c:v>2.6231391717833779E-3</c:v>
                </c:pt>
                <c:pt idx="1429">
                  <c:v>2.6303349006054052E-3</c:v>
                </c:pt>
                <c:pt idx="1430">
                  <c:v>2.6253959422748783E-3</c:v>
                </c:pt>
                <c:pt idx="1431">
                  <c:v>2.6247490384570813E-3</c:v>
                </c:pt>
                <c:pt idx="1432">
                  <c:v>2.610090410520152E-3</c:v>
                </c:pt>
                <c:pt idx="1433">
                  <c:v>2.6620289433223754E-3</c:v>
                </c:pt>
                <c:pt idx="1434">
                  <c:v>2.7309596065325597E-3</c:v>
                </c:pt>
                <c:pt idx="1435">
                  <c:v>2.8003074352703247E-3</c:v>
                </c:pt>
                <c:pt idx="1436">
                  <c:v>2.8464776956097946E-3</c:v>
                </c:pt>
                <c:pt idx="1437">
                  <c:v>2.8766427471037847E-3</c:v>
                </c:pt>
                <c:pt idx="1438">
                  <c:v>2.9170214554793674E-3</c:v>
                </c:pt>
                <c:pt idx="1439">
                  <c:v>2.9566724703988332E-3</c:v>
                </c:pt>
                <c:pt idx="1440">
                  <c:v>3.0175396543764585E-3</c:v>
                </c:pt>
                <c:pt idx="1441">
                  <c:v>3.0570697466404278E-3</c:v>
                </c:pt>
                <c:pt idx="1442">
                  <c:v>3.0966705728647198E-3</c:v>
                </c:pt>
                <c:pt idx="1443">
                  <c:v>3.1106847099062734E-3</c:v>
                </c:pt>
                <c:pt idx="1444">
                  <c:v>3.1188663889210357E-3</c:v>
                </c:pt>
                <c:pt idx="1445">
                  <c:v>3.1136648588339817E-3</c:v>
                </c:pt>
                <c:pt idx="1446">
                  <c:v>3.0892157459359152E-3</c:v>
                </c:pt>
                <c:pt idx="1447">
                  <c:v>3.1053531182114445E-3</c:v>
                </c:pt>
                <c:pt idx="1448">
                  <c:v>3.2391563898850175E-3</c:v>
                </c:pt>
                <c:pt idx="1449">
                  <c:v>3.388593672559398E-3</c:v>
                </c:pt>
                <c:pt idx="1450">
                  <c:v>3.6010610067726575E-3</c:v>
                </c:pt>
                <c:pt idx="1451">
                  <c:v>3.828568688515411E-3</c:v>
                </c:pt>
                <c:pt idx="1452">
                  <c:v>4.0031398031891794E-3</c:v>
                </c:pt>
                <c:pt idx="1453">
                  <c:v>4.1362536628106808E-3</c:v>
                </c:pt>
                <c:pt idx="1454">
                  <c:v>4.2231581689634095E-3</c:v>
                </c:pt>
                <c:pt idx="1455">
                  <c:v>4.2541728063677136E-3</c:v>
                </c:pt>
                <c:pt idx="1456">
                  <c:v>4.3312003458718168E-3</c:v>
                </c:pt>
                <c:pt idx="1457">
                  <c:v>4.4371311601469586E-3</c:v>
                </c:pt>
                <c:pt idx="1458">
                  <c:v>4.5507114844921528E-3</c:v>
                </c:pt>
                <c:pt idx="1459">
                  <c:v>4.6238251314064966E-3</c:v>
                </c:pt>
                <c:pt idx="1460">
                  <c:v>4.6575008055743418E-3</c:v>
                </c:pt>
                <c:pt idx="1461">
                  <c:v>4.7542523185640463E-3</c:v>
                </c:pt>
                <c:pt idx="1462">
                  <c:v>4.8055083311394544E-3</c:v>
                </c:pt>
                <c:pt idx="1463">
                  <c:v>4.8641067626008783E-3</c:v>
                </c:pt>
                <c:pt idx="1464">
                  <c:v>4.8876168581100925E-3</c:v>
                </c:pt>
                <c:pt idx="1465">
                  <c:v>4.8873335252675098E-3</c:v>
                </c:pt>
                <c:pt idx="1466">
                  <c:v>4.851447803602759E-3</c:v>
                </c:pt>
                <c:pt idx="1467">
                  <c:v>4.8283220376767709E-3</c:v>
                </c:pt>
                <c:pt idx="1468">
                  <c:v>4.7902322520597647E-3</c:v>
                </c:pt>
                <c:pt idx="1469">
                  <c:v>4.7342450181216507E-3</c:v>
                </c:pt>
                <c:pt idx="1470">
                  <c:v>4.6410126836314014E-3</c:v>
                </c:pt>
                <c:pt idx="1471">
                  <c:v>4.5055492252726792E-3</c:v>
                </c:pt>
                <c:pt idx="1472">
                  <c:v>4.3520291658454826E-3</c:v>
                </c:pt>
                <c:pt idx="1473">
                  <c:v>4.1836171790750861E-3</c:v>
                </c:pt>
                <c:pt idx="1474">
                  <c:v>3.9878913644463658E-3</c:v>
                </c:pt>
                <c:pt idx="1475">
                  <c:v>3.726007498023918E-3</c:v>
                </c:pt>
                <c:pt idx="1476">
                  <c:v>3.3904562325037888E-3</c:v>
                </c:pt>
                <c:pt idx="1477">
                  <c:v>3.0915213309557162E-3</c:v>
                </c:pt>
                <c:pt idx="1478">
                  <c:v>2.9257578362803511E-3</c:v>
                </c:pt>
                <c:pt idx="1479">
                  <c:v>2.7793694354538642E-3</c:v>
                </c:pt>
                <c:pt idx="1480">
                  <c:v>2.7204161383277249E-3</c:v>
                </c:pt>
                <c:pt idx="1481">
                  <c:v>2.7972271906098445E-3</c:v>
                </c:pt>
                <c:pt idx="1482">
                  <c:v>2.8706527912008574E-3</c:v>
                </c:pt>
                <c:pt idx="1483">
                  <c:v>2.9175472544731109E-3</c:v>
                </c:pt>
                <c:pt idx="1484">
                  <c:v>2.935037393292783E-3</c:v>
                </c:pt>
                <c:pt idx="1485">
                  <c:v>2.9267251499136902E-3</c:v>
                </c:pt>
                <c:pt idx="1486">
                  <c:v>3.042790024897712E-3</c:v>
                </c:pt>
                <c:pt idx="1487">
                  <c:v>3.165716593847347E-3</c:v>
                </c:pt>
                <c:pt idx="1488">
                  <c:v>3.2454502809737512E-3</c:v>
                </c:pt>
                <c:pt idx="1489">
                  <c:v>3.3207089034841385E-3</c:v>
                </c:pt>
                <c:pt idx="1490">
                  <c:v>3.3734072825986252E-3</c:v>
                </c:pt>
                <c:pt idx="1491">
                  <c:v>3.4768546106538427E-3</c:v>
                </c:pt>
                <c:pt idx="1492">
                  <c:v>3.5470033552608489E-3</c:v>
                </c:pt>
                <c:pt idx="1493">
                  <c:v>3.6229308026816997E-3</c:v>
                </c:pt>
                <c:pt idx="1494">
                  <c:v>3.6593194363773451E-3</c:v>
                </c:pt>
                <c:pt idx="1495">
                  <c:v>3.6761090697063009E-3</c:v>
                </c:pt>
                <c:pt idx="1496">
                  <c:v>3.6758912067593377E-3</c:v>
                </c:pt>
                <c:pt idx="1497">
                  <c:v>3.7046069344487272E-3</c:v>
                </c:pt>
                <c:pt idx="1498">
                  <c:v>3.7386341868477584E-3</c:v>
                </c:pt>
                <c:pt idx="1499">
                  <c:v>3.7596839355164154E-3</c:v>
                </c:pt>
                <c:pt idx="1500">
                  <c:v>3.7544318027144157E-3</c:v>
                </c:pt>
                <c:pt idx="1501">
                  <c:v>3.7165566010573347E-3</c:v>
                </c:pt>
                <c:pt idx="1502">
                  <c:v>3.6465429319176416E-3</c:v>
                </c:pt>
                <c:pt idx="1503">
                  <c:v>3.6430958222034384E-3</c:v>
                </c:pt>
                <c:pt idx="1504">
                  <c:v>3.6091170783577853E-3</c:v>
                </c:pt>
                <c:pt idx="1505">
                  <c:v>3.5685373820335655E-3</c:v>
                </c:pt>
                <c:pt idx="1506">
                  <c:v>3.5247160465255237E-3</c:v>
                </c:pt>
                <c:pt idx="1507">
                  <c:v>3.4422827644901041E-3</c:v>
                </c:pt>
                <c:pt idx="1508">
                  <c:v>3.3648217004559697E-3</c:v>
                </c:pt>
                <c:pt idx="1509">
                  <c:v>3.2487512376942122E-3</c:v>
                </c:pt>
                <c:pt idx="1510">
                  <c:v>3.1146970691903384E-3</c:v>
                </c:pt>
                <c:pt idx="1511">
                  <c:v>3.0646797933776434E-3</c:v>
                </c:pt>
                <c:pt idx="1512">
                  <c:v>3.0130889396510502E-3</c:v>
                </c:pt>
                <c:pt idx="1513">
                  <c:v>2.9372203714013363E-3</c:v>
                </c:pt>
                <c:pt idx="1514">
                  <c:v>2.8248475735520345E-3</c:v>
                </c:pt>
                <c:pt idx="1515">
                  <c:v>2.7882571761388719E-3</c:v>
                </c:pt>
                <c:pt idx="1516">
                  <c:v>2.846920045055192E-3</c:v>
                </c:pt>
                <c:pt idx="1517">
                  <c:v>2.8881869053137511E-3</c:v>
                </c:pt>
                <c:pt idx="1518">
                  <c:v>2.892995028115769E-3</c:v>
                </c:pt>
                <c:pt idx="1519">
                  <c:v>2.8997077008535961E-3</c:v>
                </c:pt>
                <c:pt idx="1520">
                  <c:v>2.9939768202980137E-3</c:v>
                </c:pt>
                <c:pt idx="1521">
                  <c:v>3.0686104113433169E-3</c:v>
                </c:pt>
                <c:pt idx="1522">
                  <c:v>3.1381348504814248E-3</c:v>
                </c:pt>
                <c:pt idx="1523">
                  <c:v>3.2018524315777642E-3</c:v>
                </c:pt>
                <c:pt idx="1524">
                  <c:v>3.2302444690153623E-3</c:v>
                </c:pt>
                <c:pt idx="1525">
                  <c:v>3.2363644263160118E-3</c:v>
                </c:pt>
                <c:pt idx="1526">
                  <c:v>3.2630295016749279E-3</c:v>
                </c:pt>
                <c:pt idx="1527">
                  <c:v>3.2660859939186637E-3</c:v>
                </c:pt>
                <c:pt idx="1528">
                  <c:v>3.2722809919881577E-3</c:v>
                </c:pt>
                <c:pt idx="1529">
                  <c:v>3.2699576932173247E-3</c:v>
                </c:pt>
                <c:pt idx="1530">
                  <c:v>3.2367285752002181E-3</c:v>
                </c:pt>
                <c:pt idx="1531">
                  <c:v>3.1960543206523838E-3</c:v>
                </c:pt>
                <c:pt idx="1532">
                  <c:v>3.1225288269370556E-3</c:v>
                </c:pt>
                <c:pt idx="1533">
                  <c:v>3.0801041295594007E-3</c:v>
                </c:pt>
                <c:pt idx="1534">
                  <c:v>3.0211750799774262E-3</c:v>
                </c:pt>
                <c:pt idx="1535">
                  <c:v>2.9666157297407697E-3</c:v>
                </c:pt>
                <c:pt idx="1536">
                  <c:v>2.9151055443947813E-3</c:v>
                </c:pt>
                <c:pt idx="1537">
                  <c:v>2.8450577887692329E-3</c:v>
                </c:pt>
                <c:pt idx="1538">
                  <c:v>2.8315388130995228E-3</c:v>
                </c:pt>
                <c:pt idx="1539">
                  <c:v>2.7972364346216055E-3</c:v>
                </c:pt>
                <c:pt idx="1540">
                  <c:v>2.7565331402125445E-3</c:v>
                </c:pt>
                <c:pt idx="1541">
                  <c:v>2.7099012136251608E-3</c:v>
                </c:pt>
                <c:pt idx="1542">
                  <c:v>2.6362318284134075E-3</c:v>
                </c:pt>
                <c:pt idx="1543">
                  <c:v>2.5371149209819123E-3</c:v>
                </c:pt>
                <c:pt idx="1544">
                  <c:v>2.3961005288590169E-3</c:v>
                </c:pt>
                <c:pt idx="1545">
                  <c:v>2.3489591345111673E-3</c:v>
                </c:pt>
                <c:pt idx="1546">
                  <c:v>2.281521983689686E-3</c:v>
                </c:pt>
                <c:pt idx="1547">
                  <c:v>2.2011827888777477E-3</c:v>
                </c:pt>
                <c:pt idx="1548">
                  <c:v>2.1661597421802005E-3</c:v>
                </c:pt>
                <c:pt idx="1549">
                  <c:v>2.1814156816678367E-3</c:v>
                </c:pt>
                <c:pt idx="1550">
                  <c:v>2.298924180217799E-3</c:v>
                </c:pt>
                <c:pt idx="1551">
                  <c:v>2.3872816136433629E-3</c:v>
                </c:pt>
                <c:pt idx="1552">
                  <c:v>2.4769966245236572E-3</c:v>
                </c:pt>
                <c:pt idx="1553">
                  <c:v>2.5697225760832475E-3</c:v>
                </c:pt>
                <c:pt idx="1554">
                  <c:v>2.6918153457782465E-3</c:v>
                </c:pt>
                <c:pt idx="1555">
                  <c:v>2.7861542686616618E-3</c:v>
                </c:pt>
                <c:pt idx="1556">
                  <c:v>2.880321360033074E-3</c:v>
                </c:pt>
                <c:pt idx="1557">
                  <c:v>2.9859685951829254E-3</c:v>
                </c:pt>
                <c:pt idx="1558">
                  <c:v>3.0599305025117282E-3</c:v>
                </c:pt>
                <c:pt idx="1559">
                  <c:v>3.1567111578481655E-3</c:v>
                </c:pt>
                <c:pt idx="1560">
                  <c:v>3.2343533961232745E-3</c:v>
                </c:pt>
                <c:pt idx="1561">
                  <c:v>3.31912744125733E-3</c:v>
                </c:pt>
                <c:pt idx="1562">
                  <c:v>3.379056198816067E-3</c:v>
                </c:pt>
                <c:pt idx="1563">
                  <c:v>3.4270731296799067E-3</c:v>
                </c:pt>
                <c:pt idx="1564">
                  <c:v>3.4626621955765012E-3</c:v>
                </c:pt>
                <c:pt idx="1565">
                  <c:v>3.4672430070135673E-3</c:v>
                </c:pt>
                <c:pt idx="1566">
                  <c:v>3.5021000074553091E-3</c:v>
                </c:pt>
                <c:pt idx="1567">
                  <c:v>3.5286098941946257E-3</c:v>
                </c:pt>
                <c:pt idx="1568">
                  <c:v>3.5757191296507955E-3</c:v>
                </c:pt>
                <c:pt idx="1569">
                  <c:v>3.586147883286964E-3</c:v>
                </c:pt>
                <c:pt idx="1570">
                  <c:v>3.6103867459292066E-3</c:v>
                </c:pt>
                <c:pt idx="1571">
                  <c:v>3.6858230741882193E-3</c:v>
                </c:pt>
                <c:pt idx="1572">
                  <c:v>3.7302513436853731E-3</c:v>
                </c:pt>
                <c:pt idx="1573">
                  <c:v>3.7699352356948129E-3</c:v>
                </c:pt>
                <c:pt idx="1574">
                  <c:v>3.7698442495954988E-3</c:v>
                </c:pt>
                <c:pt idx="1575">
                  <c:v>3.7431475086350378E-3</c:v>
                </c:pt>
                <c:pt idx="1576">
                  <c:v>0.67524542046053493</c:v>
                </c:pt>
                <c:pt idx="1577">
                  <c:v>2.2167007608874942</c:v>
                </c:pt>
                <c:pt idx="1578">
                  <c:v>3.1612398355881726</c:v>
                </c:pt>
                <c:pt idx="1579">
                  <c:v>3.9046288917827026</c:v>
                </c:pt>
                <c:pt idx="1580">
                  <c:v>4.625113968936696</c:v>
                </c:pt>
                <c:pt idx="1581">
                  <c:v>5.8177673189479622</c:v>
                </c:pt>
                <c:pt idx="1582">
                  <c:v>7.1884950281004087</c:v>
                </c:pt>
                <c:pt idx="1583">
                  <c:v>8.2598012650153763</c:v>
                </c:pt>
                <c:pt idx="1584">
                  <c:v>9.6578958988045471</c:v>
                </c:pt>
                <c:pt idx="1585">
                  <c:v>10.941111597118789</c:v>
                </c:pt>
                <c:pt idx="1586">
                  <c:v>12.307750449749655</c:v>
                </c:pt>
                <c:pt idx="1587">
                  <c:v>13.63725504910772</c:v>
                </c:pt>
                <c:pt idx="1588">
                  <c:v>14.72874714177914</c:v>
                </c:pt>
                <c:pt idx="1589">
                  <c:v>15.652140211041898</c:v>
                </c:pt>
                <c:pt idx="1590">
                  <c:v>16.790231285352021</c:v>
                </c:pt>
                <c:pt idx="1591">
                  <c:v>17.968631117582596</c:v>
                </c:pt>
                <c:pt idx="1592">
                  <c:v>19.033137582217979</c:v>
                </c:pt>
                <c:pt idx="1593">
                  <c:v>19.927441765197617</c:v>
                </c:pt>
                <c:pt idx="1594">
                  <c:v>20.646871738453139</c:v>
                </c:pt>
                <c:pt idx="1595">
                  <c:v>21.307992977054898</c:v>
                </c:pt>
                <c:pt idx="1596">
                  <c:v>21.856336339879363</c:v>
                </c:pt>
                <c:pt idx="1597">
                  <c:v>22.237662326976185</c:v>
                </c:pt>
                <c:pt idx="1598">
                  <c:v>22.448614510256718</c:v>
                </c:pt>
                <c:pt idx="1599">
                  <c:v>22.498126295442287</c:v>
                </c:pt>
                <c:pt idx="1600">
                  <c:v>22.383019020178715</c:v>
                </c:pt>
                <c:pt idx="1601">
                  <c:v>22.082191464204016</c:v>
                </c:pt>
                <c:pt idx="1602">
                  <c:v>21.852951448769591</c:v>
                </c:pt>
                <c:pt idx="1603">
                  <c:v>21.394354083492725</c:v>
                </c:pt>
                <c:pt idx="1604">
                  <c:v>20.821793543050891</c:v>
                </c:pt>
                <c:pt idx="1605">
                  <c:v>19.985097498440442</c:v>
                </c:pt>
                <c:pt idx="1606">
                  <c:v>19.300445892738406</c:v>
                </c:pt>
                <c:pt idx="1607">
                  <c:v>18.916440814586128</c:v>
                </c:pt>
                <c:pt idx="1608">
                  <c:v>18.355686617294985</c:v>
                </c:pt>
                <c:pt idx="1609">
                  <c:v>17.595981565861898</c:v>
                </c:pt>
                <c:pt idx="1610">
                  <c:v>16.705470233881517</c:v>
                </c:pt>
                <c:pt idx="1611">
                  <c:v>16.083708442631504</c:v>
                </c:pt>
                <c:pt idx="1612">
                  <c:v>16.524210381135461</c:v>
                </c:pt>
                <c:pt idx="1613">
                  <c:v>16.703236166501252</c:v>
                </c:pt>
                <c:pt idx="1614">
                  <c:v>16.982244941896596</c:v>
                </c:pt>
                <c:pt idx="1615">
                  <c:v>17.150905556582099</c:v>
                </c:pt>
                <c:pt idx="1616">
                  <c:v>18.177868228134823</c:v>
                </c:pt>
                <c:pt idx="1617">
                  <c:v>19.721667270712757</c:v>
                </c:pt>
                <c:pt idx="1618">
                  <c:v>20.879343109742194</c:v>
                </c:pt>
                <c:pt idx="1619">
                  <c:v>22.000313498205578</c:v>
                </c:pt>
                <c:pt idx="1620">
                  <c:v>23.052630953247338</c:v>
                </c:pt>
                <c:pt idx="1621">
                  <c:v>25.44861248342918</c:v>
                </c:pt>
                <c:pt idx="1622">
                  <c:v>28.116273955925347</c:v>
                </c:pt>
                <c:pt idx="1623">
                  <c:v>30.651225581049228</c:v>
                </c:pt>
                <c:pt idx="1624">
                  <c:v>32.681831363165962</c:v>
                </c:pt>
                <c:pt idx="1625">
                  <c:v>34.345440236578128</c:v>
                </c:pt>
                <c:pt idx="1626">
                  <c:v>35.652552995318565</c:v>
                </c:pt>
                <c:pt idx="1627">
                  <c:v>36.631073806486754</c:v>
                </c:pt>
                <c:pt idx="1628">
                  <c:v>37.291590271757201</c:v>
                </c:pt>
                <c:pt idx="1629">
                  <c:v>37.649542434953766</c:v>
                </c:pt>
                <c:pt idx="1630">
                  <c:v>37.716654053541049</c:v>
                </c:pt>
                <c:pt idx="1631">
                  <c:v>37.483088702251948</c:v>
                </c:pt>
                <c:pt idx="1632">
                  <c:v>37.252497995669984</c:v>
                </c:pt>
                <c:pt idx="1633">
                  <c:v>36.756509078052851</c:v>
                </c:pt>
                <c:pt idx="1634">
                  <c:v>36.137919323244276</c:v>
                </c:pt>
                <c:pt idx="1635">
                  <c:v>35.278203340360882</c:v>
                </c:pt>
                <c:pt idx="1636">
                  <c:v>34.356578282498248</c:v>
                </c:pt>
                <c:pt idx="1637">
                  <c:v>33.194763896273848</c:v>
                </c:pt>
                <c:pt idx="1638">
                  <c:v>31.73140129004117</c:v>
                </c:pt>
                <c:pt idx="1639">
                  <c:v>29.957874724902176</c:v>
                </c:pt>
                <c:pt idx="1640">
                  <c:v>27.861341873514469</c:v>
                </c:pt>
                <c:pt idx="1641">
                  <c:v>25.419429682779295</c:v>
                </c:pt>
                <c:pt idx="1642">
                  <c:v>23.776790764655217</c:v>
                </c:pt>
                <c:pt idx="1643">
                  <c:v>21.855599106726505</c:v>
                </c:pt>
                <c:pt idx="1644">
                  <c:v>19.502594710940485</c:v>
                </c:pt>
                <c:pt idx="1645">
                  <c:v>16.595017406107299</c:v>
                </c:pt>
                <c:pt idx="1646">
                  <c:v>14.345798044010314</c:v>
                </c:pt>
                <c:pt idx="1647">
                  <c:v>12.535569773393359</c:v>
                </c:pt>
                <c:pt idx="1648">
                  <c:v>10.282538350132567</c:v>
                </c:pt>
                <c:pt idx="1649">
                  <c:v>7.85299581777406</c:v>
                </c:pt>
                <c:pt idx="1650">
                  <c:v>3.8496858667469906</c:v>
                </c:pt>
                <c:pt idx="1651">
                  <c:v>1.978258199977557</c:v>
                </c:pt>
                <c:pt idx="1652">
                  <c:v>1.1309860717233096</c:v>
                </c:pt>
                <c:pt idx="1653">
                  <c:v>0.97821996948018741</c:v>
                </c:pt>
                <c:pt idx="1654">
                  <c:v>0.88269065862414675</c:v>
                </c:pt>
                <c:pt idx="1655">
                  <c:v>0.81273875362546399</c:v>
                </c:pt>
                <c:pt idx="1656">
                  <c:v>0.73818453058703482</c:v>
                </c:pt>
                <c:pt idx="1657">
                  <c:v>0.70984840140831529</c:v>
                </c:pt>
                <c:pt idx="1658">
                  <c:v>0.70114893294126701</c:v>
                </c:pt>
                <c:pt idx="1659">
                  <c:v>0.69899492309250177</c:v>
                </c:pt>
                <c:pt idx="1660">
                  <c:v>0.70752989054995163</c:v>
                </c:pt>
                <c:pt idx="1661">
                  <c:v>0.72246750594114695</c:v>
                </c:pt>
                <c:pt idx="1662">
                  <c:v>0.739316991567186</c:v>
                </c:pt>
                <c:pt idx="1663">
                  <c:v>0.76177949556490587</c:v>
                </c:pt>
                <c:pt idx="1664">
                  <c:v>0.77996442665909127</c:v>
                </c:pt>
                <c:pt idx="1665">
                  <c:v>0.79420009248590528</c:v>
                </c:pt>
                <c:pt idx="1666">
                  <c:v>0.81134988557602405</c:v>
                </c:pt>
                <c:pt idx="1667">
                  <c:v>0.82467063190722023</c:v>
                </c:pt>
                <c:pt idx="1668">
                  <c:v>0.84910879993990973</c:v>
                </c:pt>
                <c:pt idx="1669">
                  <c:v>0.88672381651828802</c:v>
                </c:pt>
                <c:pt idx="1670">
                  <c:v>0.95374173130580919</c:v>
                </c:pt>
                <c:pt idx="1671">
                  <c:v>1.0991436250081728</c:v>
                </c:pt>
                <c:pt idx="1672">
                  <c:v>1.3171866627929147</c:v>
                </c:pt>
                <c:pt idx="1673">
                  <c:v>1.5335381751961568</c:v>
                </c:pt>
                <c:pt idx="1674">
                  <c:v>1.8035156655936571</c:v>
                </c:pt>
                <c:pt idx="1675">
                  <c:v>2.0603118608389694</c:v>
                </c:pt>
                <c:pt idx="1676">
                  <c:v>2.3091333447675253</c:v>
                </c:pt>
                <c:pt idx="1677">
                  <c:v>2.5491974335344754</c:v>
                </c:pt>
                <c:pt idx="1678">
                  <c:v>2.828958562341497</c:v>
                </c:pt>
                <c:pt idx="1679">
                  <c:v>3.0925501771864021</c:v>
                </c:pt>
                <c:pt idx="1680">
                  <c:v>3.3166247018947064</c:v>
                </c:pt>
                <c:pt idx="1681">
                  <c:v>3.5180902737576059</c:v>
                </c:pt>
                <c:pt idx="1682">
                  <c:v>3.7559948981932227</c:v>
                </c:pt>
                <c:pt idx="1683">
                  <c:v>4.0271563641887287</c:v>
                </c:pt>
                <c:pt idx="1684">
                  <c:v>4.2825221305082755</c:v>
                </c:pt>
                <c:pt idx="1685">
                  <c:v>4.6064727378063051</c:v>
                </c:pt>
                <c:pt idx="1686">
                  <c:v>4.8996944207498325</c:v>
                </c:pt>
                <c:pt idx="1687">
                  <c:v>5.2170593919767754</c:v>
                </c:pt>
                <c:pt idx="1688">
                  <c:v>5.5040318079808124</c:v>
                </c:pt>
                <c:pt idx="1689">
                  <c:v>5.8021311584622532</c:v>
                </c:pt>
                <c:pt idx="1690">
                  <c:v>6.0420647489105166</c:v>
                </c:pt>
                <c:pt idx="1691">
                  <c:v>6.2304673222526716</c:v>
                </c:pt>
                <c:pt idx="1692">
                  <c:v>6.4001247373977215</c:v>
                </c:pt>
                <c:pt idx="1693">
                  <c:v>6.5279389724150922</c:v>
                </c:pt>
                <c:pt idx="1694">
                  <c:v>6.6120052932768445</c:v>
                </c:pt>
                <c:pt idx="1695">
                  <c:v>6.6911599184548622</c:v>
                </c:pt>
                <c:pt idx="1696">
                  <c:v>7.426143257657376</c:v>
                </c:pt>
                <c:pt idx="1697">
                  <c:v>8.0886393487826549</c:v>
                </c:pt>
                <c:pt idx="1698">
                  <c:v>8.6076584252909587</c:v>
                </c:pt>
                <c:pt idx="1699">
                  <c:v>9.0105942634008631</c:v>
                </c:pt>
                <c:pt idx="1700">
                  <c:v>9.3236634929279347</c:v>
                </c:pt>
                <c:pt idx="1701">
                  <c:v>9.5850248823032107</c:v>
                </c:pt>
                <c:pt idx="1702">
                  <c:v>9.8034084528425716</c:v>
                </c:pt>
                <c:pt idx="1703">
                  <c:v>9.958401040575005</c:v>
                </c:pt>
                <c:pt idx="1704">
                  <c:v>10.068377707649608</c:v>
                </c:pt>
                <c:pt idx="1705">
                  <c:v>10.109408183045478</c:v>
                </c:pt>
                <c:pt idx="1706">
                  <c:v>10.086884160542969</c:v>
                </c:pt>
                <c:pt idx="1707">
                  <c:v>10.012589714371884</c:v>
                </c:pt>
                <c:pt idx="1708">
                  <c:v>9.9092503765539703</c:v>
                </c:pt>
                <c:pt idx="1709">
                  <c:v>9.7518747324181181</c:v>
                </c:pt>
                <c:pt idx="1710">
                  <c:v>9.5237214744379575</c:v>
                </c:pt>
                <c:pt idx="1711">
                  <c:v>9.2294635337116926</c:v>
                </c:pt>
                <c:pt idx="1712">
                  <c:v>8.9184425878306435</c:v>
                </c:pt>
                <c:pt idx="1713">
                  <c:v>8.5948900406658062</c:v>
                </c:pt>
                <c:pt idx="1714">
                  <c:v>8.2242502009540317</c:v>
                </c:pt>
                <c:pt idx="1715">
                  <c:v>7.8846996880994258</c:v>
                </c:pt>
                <c:pt idx="1716">
                  <c:v>7.5046724104693547</c:v>
                </c:pt>
                <c:pt idx="1717">
                  <c:v>7.1236343339721913</c:v>
                </c:pt>
                <c:pt idx="1718">
                  <c:v>6.7032635792807493</c:v>
                </c:pt>
                <c:pt idx="1719">
                  <c:v>6.2852629650665701</c:v>
                </c:pt>
                <c:pt idx="1720">
                  <c:v>5.7922843034548972</c:v>
                </c:pt>
                <c:pt idx="1721">
                  <c:v>5.2122771147846425</c:v>
                </c:pt>
                <c:pt idx="1722">
                  <c:v>4.5663522587606504</c:v>
                </c:pt>
                <c:pt idx="1723">
                  <c:v>3.7790106994236132</c:v>
                </c:pt>
                <c:pt idx="1724">
                  <c:v>2.7366432121744322</c:v>
                </c:pt>
                <c:pt idx="1725">
                  <c:v>1.1094421593877355</c:v>
                </c:pt>
                <c:pt idx="1726">
                  <c:v>0.86394582331529801</c:v>
                </c:pt>
                <c:pt idx="1727">
                  <c:v>0.74254142760257469</c:v>
                </c:pt>
                <c:pt idx="1728">
                  <c:v>0.62946394718040832</c:v>
                </c:pt>
                <c:pt idx="1729">
                  <c:v>0.52858059147930014</c:v>
                </c:pt>
                <c:pt idx="1730">
                  <c:v>0.44313968599566689</c:v>
                </c:pt>
                <c:pt idx="1731">
                  <c:v>0.38069728139082398</c:v>
                </c:pt>
                <c:pt idx="1732">
                  <c:v>0.34411286142158776</c:v>
                </c:pt>
                <c:pt idx="1733">
                  <c:v>0.3348014910941301</c:v>
                </c:pt>
                <c:pt idx="1734">
                  <c:v>0.32971762969326635</c:v>
                </c:pt>
                <c:pt idx="1735">
                  <c:v>0.32251491085836681</c:v>
                </c:pt>
                <c:pt idx="1736">
                  <c:v>0.31582298393995795</c:v>
                </c:pt>
                <c:pt idx="1737">
                  <c:v>0.32291599455615022</c:v>
                </c:pt>
                <c:pt idx="1738">
                  <c:v>0.32924315452471786</c:v>
                </c:pt>
                <c:pt idx="1739">
                  <c:v>0.33686204504493805</c:v>
                </c:pt>
                <c:pt idx="1740">
                  <c:v>0.34556088602363655</c:v>
                </c:pt>
                <c:pt idx="1741">
                  <c:v>0.3532124446195441</c:v>
                </c:pt>
                <c:pt idx="1742">
                  <c:v>0.36180577839632261</c:v>
                </c:pt>
                <c:pt idx="1743">
                  <c:v>0.36926814405003089</c:v>
                </c:pt>
                <c:pt idx="1744">
                  <c:v>0.37556729126957461</c:v>
                </c:pt>
                <c:pt idx="1745">
                  <c:v>0.38900887476525209</c:v>
                </c:pt>
                <c:pt idx="1746">
                  <c:v>0.40052368934077537</c:v>
                </c:pt>
                <c:pt idx="1747">
                  <c:v>0.41228592511196438</c:v>
                </c:pt>
                <c:pt idx="1748">
                  <c:v>0.42211264012961836</c:v>
                </c:pt>
                <c:pt idx="1749">
                  <c:v>0.43012295857943633</c:v>
                </c:pt>
                <c:pt idx="1750">
                  <c:v>0.4364149270072758</c:v>
                </c:pt>
                <c:pt idx="1751">
                  <c:v>0.44113216344216999</c:v>
                </c:pt>
                <c:pt idx="1752">
                  <c:v>0.44424317092194721</c:v>
                </c:pt>
                <c:pt idx="1753">
                  <c:v>0.44757189630517902</c:v>
                </c:pt>
                <c:pt idx="1754">
                  <c:v>0.44924003140907376</c:v>
                </c:pt>
                <c:pt idx="1755">
                  <c:v>0.45102055511291655</c:v>
                </c:pt>
                <c:pt idx="1756">
                  <c:v>0.45097693642384828</c:v>
                </c:pt>
                <c:pt idx="1757">
                  <c:v>0.44908199704926388</c:v>
                </c:pt>
                <c:pt idx="1758">
                  <c:v>0.44588598524115985</c:v>
                </c:pt>
                <c:pt idx="1759">
                  <c:v>0.46780117786290087</c:v>
                </c:pt>
                <c:pt idx="1760">
                  <c:v>0.53318073355553719</c:v>
                </c:pt>
                <c:pt idx="1761">
                  <c:v>0.71410445207651074</c:v>
                </c:pt>
                <c:pt idx="1762">
                  <c:v>0.90863744360790089</c:v>
                </c:pt>
                <c:pt idx="1763">
                  <c:v>1.183258350666361</c:v>
                </c:pt>
                <c:pt idx="1764">
                  <c:v>1.4453428165357096</c:v>
                </c:pt>
                <c:pt idx="1765">
                  <c:v>1.7003355145076089</c:v>
                </c:pt>
                <c:pt idx="1766">
                  <c:v>1.9535620244306844</c:v>
                </c:pt>
                <c:pt idx="1767">
                  <c:v>2.2050657010100982</c:v>
                </c:pt>
                <c:pt idx="1768">
                  <c:v>2.4527394956799839</c:v>
                </c:pt>
                <c:pt idx="1769">
                  <c:v>2.7475288129710309</c:v>
                </c:pt>
                <c:pt idx="1770">
                  <c:v>3.0316172945897133</c:v>
                </c:pt>
                <c:pt idx="1771">
                  <c:v>3.2725524588933905</c:v>
                </c:pt>
                <c:pt idx="1772">
                  <c:v>3.4922187810442145</c:v>
                </c:pt>
                <c:pt idx="1773">
                  <c:v>3.7015325602338551</c:v>
                </c:pt>
                <c:pt idx="1774">
                  <c:v>3.9010113394223209</c:v>
                </c:pt>
                <c:pt idx="1775">
                  <c:v>4.0931999732321609</c:v>
                </c:pt>
                <c:pt idx="1776">
                  <c:v>4.2743334470932561</c:v>
                </c:pt>
                <c:pt idx="1777">
                  <c:v>4.443769179145173</c:v>
                </c:pt>
                <c:pt idx="1778">
                  <c:v>4.6000573348835392</c:v>
                </c:pt>
                <c:pt idx="1779">
                  <c:v>4.7409447927943802</c:v>
                </c:pt>
                <c:pt idx="1780">
                  <c:v>4.8960299228483999</c:v>
                </c:pt>
                <c:pt idx="1781">
                  <c:v>5.030141282910523</c:v>
                </c:pt>
                <c:pt idx="1782">
                  <c:v>5.1423045466866526</c:v>
                </c:pt>
                <c:pt idx="1783">
                  <c:v>5.2313722629369384</c:v>
                </c:pt>
                <c:pt idx="1784">
                  <c:v>5.2948697455343243</c:v>
                </c:pt>
                <c:pt idx="1785">
                  <c:v>5.3313545230540527</c:v>
                </c:pt>
                <c:pt idx="1786">
                  <c:v>5.3176299191941609</c:v>
                </c:pt>
                <c:pt idx="1787">
                  <c:v>5.6291963609652829</c:v>
                </c:pt>
                <c:pt idx="1788">
                  <c:v>6.1048606591658618</c:v>
                </c:pt>
                <c:pt idx="1789">
                  <c:v>6.7485365560565276</c:v>
                </c:pt>
                <c:pt idx="1790">
                  <c:v>7.5370868770488695</c:v>
                </c:pt>
                <c:pt idx="1791">
                  <c:v>8.4709996367916531</c:v>
                </c:pt>
                <c:pt idx="1792">
                  <c:v>9.4971326743572089</c:v>
                </c:pt>
                <c:pt idx="1793">
                  <c:v>10.606913827834674</c:v>
                </c:pt>
                <c:pt idx="1794">
                  <c:v>11.768088816143212</c:v>
                </c:pt>
                <c:pt idx="1795">
                  <c:v>12.958925303547328</c:v>
                </c:pt>
                <c:pt idx="1796">
                  <c:v>14.177701556710014</c:v>
                </c:pt>
                <c:pt idx="1797">
                  <c:v>15.681188149707507</c:v>
                </c:pt>
                <c:pt idx="1798">
                  <c:v>17.143119695138498</c:v>
                </c:pt>
                <c:pt idx="1799">
                  <c:v>18.587235447448457</c:v>
                </c:pt>
                <c:pt idx="1800">
                  <c:v>19.821576099842492</c:v>
                </c:pt>
                <c:pt idx="1801">
                  <c:v>20.791556066401121</c:v>
                </c:pt>
                <c:pt idx="1802">
                  <c:v>21.541736915614234</c:v>
                </c:pt>
                <c:pt idx="1803">
                  <c:v>22.103291877235641</c:v>
                </c:pt>
                <c:pt idx="1804">
                  <c:v>22.495165320085203</c:v>
                </c:pt>
                <c:pt idx="1805">
                  <c:v>22.72968887337495</c:v>
                </c:pt>
                <c:pt idx="1806">
                  <c:v>22.816464449670605</c:v>
                </c:pt>
                <c:pt idx="1807">
                  <c:v>22.76074988936135</c:v>
                </c:pt>
                <c:pt idx="1808">
                  <c:v>22.566110661938197</c:v>
                </c:pt>
                <c:pt idx="1809">
                  <c:v>22.232498531076978</c:v>
                </c:pt>
                <c:pt idx="1810">
                  <c:v>21.785916995387794</c:v>
                </c:pt>
                <c:pt idx="1811">
                  <c:v>21.196883259258087</c:v>
                </c:pt>
                <c:pt idx="1812">
                  <c:v>20.458146789162154</c:v>
                </c:pt>
                <c:pt idx="1813">
                  <c:v>19.556151998254833</c:v>
                </c:pt>
                <c:pt idx="1814">
                  <c:v>18.472716436293428</c:v>
                </c:pt>
                <c:pt idx="1815">
                  <c:v>17.177749937702199</c:v>
                </c:pt>
                <c:pt idx="1816">
                  <c:v>15.591734222389581</c:v>
                </c:pt>
                <c:pt idx="1817">
                  <c:v>14.183707462707975</c:v>
                </c:pt>
                <c:pt idx="1818">
                  <c:v>12.768865453578236</c:v>
                </c:pt>
                <c:pt idx="1819">
                  <c:v>11.355901614948838</c:v>
                </c:pt>
                <c:pt idx="1820">
                  <c:v>9.9489091253262227</c:v>
                </c:pt>
                <c:pt idx="1821">
                  <c:v>8.555782761881213</c:v>
                </c:pt>
                <c:pt idx="1822">
                  <c:v>7.1877610610414564</c:v>
                </c:pt>
                <c:pt idx="1823">
                  <c:v>5.8349972624347899</c:v>
                </c:pt>
                <c:pt idx="1824">
                  <c:v>4.5061962862760394</c:v>
                </c:pt>
                <c:pt idx="1825">
                  <c:v>3.1667709369098724</c:v>
                </c:pt>
                <c:pt idx="1826">
                  <c:v>1.7183234131272693</c:v>
                </c:pt>
                <c:pt idx="1827">
                  <c:v>0.8958919860061586</c:v>
                </c:pt>
                <c:pt idx="1828">
                  <c:v>0.24550335973822235</c:v>
                </c:pt>
                <c:pt idx="1829">
                  <c:v>9.0006859411797313E-2</c:v>
                </c:pt>
                <c:pt idx="1830">
                  <c:v>9.0858715578774021E-2</c:v>
                </c:pt>
                <c:pt idx="1831">
                  <c:v>9.1358191942994035E-2</c:v>
                </c:pt>
                <c:pt idx="1832">
                  <c:v>9.1659694198600317E-2</c:v>
                </c:pt>
                <c:pt idx="1833">
                  <c:v>9.2189360173979676E-2</c:v>
                </c:pt>
                <c:pt idx="1834">
                  <c:v>9.2481814726348546E-2</c:v>
                </c:pt>
                <c:pt idx="1835">
                  <c:v>9.2538595196129614E-2</c:v>
                </c:pt>
                <c:pt idx="1836">
                  <c:v>9.2367580563419441E-2</c:v>
                </c:pt>
                <c:pt idx="1837">
                  <c:v>9.2384413812812372E-2</c:v>
                </c:pt>
                <c:pt idx="1838">
                  <c:v>9.2122240923546359E-2</c:v>
                </c:pt>
                <c:pt idx="1839">
                  <c:v>9.206496768993401E-2</c:v>
                </c:pt>
                <c:pt idx="1840">
                  <c:v>9.2199487155939092E-2</c:v>
                </c:pt>
                <c:pt idx="1841">
                  <c:v>9.1583915886717146E-2</c:v>
                </c:pt>
                <c:pt idx="1842">
                  <c:v>9.0649358637118066E-2</c:v>
                </c:pt>
                <c:pt idx="1843">
                  <c:v>8.9378942638125305E-2</c:v>
                </c:pt>
                <c:pt idx="1844">
                  <c:v>8.8212166943874848E-2</c:v>
                </c:pt>
                <c:pt idx="1845">
                  <c:v>8.7221752138680234E-2</c:v>
                </c:pt>
                <c:pt idx="1846">
                  <c:v>8.5875786688843714E-2</c:v>
                </c:pt>
                <c:pt idx="1847">
                  <c:v>8.573102182185928E-2</c:v>
                </c:pt>
                <c:pt idx="1848">
                  <c:v>8.678885288546527E-2</c:v>
                </c:pt>
                <c:pt idx="1849">
                  <c:v>8.7503639750157958E-2</c:v>
                </c:pt>
                <c:pt idx="1850">
                  <c:v>8.8365132850025577E-2</c:v>
                </c:pt>
                <c:pt idx="1851">
                  <c:v>8.8955030581720065E-2</c:v>
                </c:pt>
                <c:pt idx="1852">
                  <c:v>8.9250222425032569E-2</c:v>
                </c:pt>
                <c:pt idx="1853">
                  <c:v>9.0188786760087736E-2</c:v>
                </c:pt>
                <c:pt idx="1854">
                  <c:v>9.084314049956628E-2</c:v>
                </c:pt>
                <c:pt idx="1855">
                  <c:v>9.1225316032769066E-2</c:v>
                </c:pt>
                <c:pt idx="1856">
                  <c:v>9.1784813597514239E-2</c:v>
                </c:pt>
                <c:pt idx="1857">
                  <c:v>9.2552196836082817E-2</c:v>
                </c:pt>
                <c:pt idx="1858">
                  <c:v>9.3040783390499843E-2</c:v>
                </c:pt>
                <c:pt idx="1859">
                  <c:v>9.3265092582882736E-2</c:v>
                </c:pt>
                <c:pt idx="1860">
                  <c:v>9.3659201944751899E-2</c:v>
                </c:pt>
                <c:pt idx="1861">
                  <c:v>9.3744471766895099E-2</c:v>
                </c:pt>
                <c:pt idx="1862">
                  <c:v>9.3538912669861557E-2</c:v>
                </c:pt>
                <c:pt idx="1863">
                  <c:v>9.3933066541204105E-2</c:v>
                </c:pt>
                <c:pt idx="1864">
                  <c:v>9.4022419016306022E-2</c:v>
                </c:pt>
                <c:pt idx="1865">
                  <c:v>9.3811562995690725E-2</c:v>
                </c:pt>
                <c:pt idx="1866">
                  <c:v>9.3728945998278523E-2</c:v>
                </c:pt>
                <c:pt idx="1867">
                  <c:v>9.3800257951250313E-2</c:v>
                </c:pt>
                <c:pt idx="1868">
                  <c:v>9.3555699902746439E-2</c:v>
                </c:pt>
                <c:pt idx="1869">
                  <c:v>9.344969493732444E-2</c:v>
                </c:pt>
                <c:pt idx="1870">
                  <c:v>9.3473895289484701E-2</c:v>
                </c:pt>
                <c:pt idx="1871">
                  <c:v>9.3199170294574127E-2</c:v>
                </c:pt>
                <c:pt idx="1872">
                  <c:v>9.2616430522528187E-2</c:v>
                </c:pt>
                <c:pt idx="1873">
                  <c:v>9.3083347299740216E-2</c:v>
                </c:pt>
                <c:pt idx="1874">
                  <c:v>9.3618441185687684E-2</c:v>
                </c:pt>
                <c:pt idx="1875">
                  <c:v>9.378676591048464E-2</c:v>
                </c:pt>
                <c:pt idx="1876">
                  <c:v>9.403036489745735E-2</c:v>
                </c:pt>
                <c:pt idx="1877">
                  <c:v>9.384977257624677E-2</c:v>
                </c:pt>
                <c:pt idx="1878">
                  <c:v>9.4694968786839889E-2</c:v>
                </c:pt>
                <c:pt idx="1879">
                  <c:v>9.5234413944986218E-2</c:v>
                </c:pt>
                <c:pt idx="1880">
                  <c:v>9.5472585254704034E-2</c:v>
                </c:pt>
                <c:pt idx="1881">
                  <c:v>9.5415055864793652E-2</c:v>
                </c:pt>
                <c:pt idx="1882">
                  <c:v>9.5057436378691504E-2</c:v>
                </c:pt>
                <c:pt idx="1883">
                  <c:v>9.5293534128801413E-2</c:v>
                </c:pt>
                <c:pt idx="1884">
                  <c:v>9.5229601611304004E-2</c:v>
                </c:pt>
                <c:pt idx="1885">
                  <c:v>9.4879501111303277E-2</c:v>
                </c:pt>
                <c:pt idx="1886">
                  <c:v>9.4211318596667093E-2</c:v>
                </c:pt>
                <c:pt idx="1887">
                  <c:v>9.3723170241820142E-2</c:v>
                </c:pt>
                <c:pt idx="1888">
                  <c:v>9.2963606449713257E-2</c:v>
                </c:pt>
                <c:pt idx="1889">
                  <c:v>9.1933090392899972E-2</c:v>
                </c:pt>
                <c:pt idx="1890">
                  <c:v>9.1101089808595354E-2</c:v>
                </c:pt>
                <c:pt idx="1891">
                  <c:v>9.0446938306760663E-2</c:v>
                </c:pt>
                <c:pt idx="1892">
                  <c:v>8.9509492805404031E-2</c:v>
                </c:pt>
                <c:pt idx="1893">
                  <c:v>8.8792684564648963E-2</c:v>
                </c:pt>
                <c:pt idx="1894">
                  <c:v>8.7943706371291619E-2</c:v>
                </c:pt>
                <c:pt idx="1895">
                  <c:v>8.7202226796814789E-2</c:v>
                </c:pt>
                <c:pt idx="1896">
                  <c:v>8.740647465338916E-2</c:v>
                </c:pt>
                <c:pt idx="1897">
                  <c:v>8.8129613278574506E-2</c:v>
                </c:pt>
                <c:pt idx="1898">
                  <c:v>9.4098417175726923E-2</c:v>
                </c:pt>
                <c:pt idx="1899">
                  <c:v>0.1151323447685981</c:v>
                </c:pt>
                <c:pt idx="1900">
                  <c:v>0.13261425354924672</c:v>
                </c:pt>
                <c:pt idx="1901">
                  <c:v>0.14771900378090103</c:v>
                </c:pt>
                <c:pt idx="1902">
                  <c:v>0.162836621698946</c:v>
                </c:pt>
                <c:pt idx="1903">
                  <c:v>0.17715683760489009</c:v>
                </c:pt>
                <c:pt idx="1904">
                  <c:v>0.18998942720070411</c:v>
                </c:pt>
                <c:pt idx="1905">
                  <c:v>0.20157352737052683</c:v>
                </c:pt>
                <c:pt idx="1906">
                  <c:v>0.213757080462189</c:v>
                </c:pt>
                <c:pt idx="1907">
                  <c:v>0.22472234697163249</c:v>
                </c:pt>
                <c:pt idx="1908">
                  <c:v>0.23458887824671493</c:v>
                </c:pt>
                <c:pt idx="1909">
                  <c:v>0.24465519035352443</c:v>
                </c:pt>
                <c:pt idx="1910">
                  <c:v>0.25355774253944663</c:v>
                </c:pt>
                <c:pt idx="1911">
                  <c:v>0.26129606344224093</c:v>
                </c:pt>
                <c:pt idx="1912">
                  <c:v>0.26913770695837574</c:v>
                </c:pt>
                <c:pt idx="1913">
                  <c:v>0.2760420952123317</c:v>
                </c:pt>
                <c:pt idx="1914">
                  <c:v>0.28175086164009616</c:v>
                </c:pt>
                <c:pt idx="1915">
                  <c:v>0.28736725959344206</c:v>
                </c:pt>
                <c:pt idx="1916">
                  <c:v>0.29160210554193028</c:v>
                </c:pt>
                <c:pt idx="1917">
                  <c:v>0.2944704830662882</c:v>
                </c:pt>
                <c:pt idx="1918">
                  <c:v>0.29698207815362321</c:v>
                </c:pt>
                <c:pt idx="1919">
                  <c:v>0.29791585560434908</c:v>
                </c:pt>
                <c:pt idx="1920">
                  <c:v>0.29715906165542288</c:v>
                </c:pt>
                <c:pt idx="1921">
                  <c:v>0.29617328904161094</c:v>
                </c:pt>
                <c:pt idx="1922">
                  <c:v>0.29322032836061318</c:v>
                </c:pt>
                <c:pt idx="1923">
                  <c:v>0.28817280151387009</c:v>
                </c:pt>
                <c:pt idx="1924">
                  <c:v>0.28205360076578301</c:v>
                </c:pt>
                <c:pt idx="1925">
                  <c:v>0.2737976175118918</c:v>
                </c:pt>
                <c:pt idx="1926">
                  <c:v>0.26474645699873722</c:v>
                </c:pt>
                <c:pt idx="1927">
                  <c:v>0.25353033944077968</c:v>
                </c:pt>
                <c:pt idx="1928">
                  <c:v>0.24635742469422961</c:v>
                </c:pt>
                <c:pt idx="1929">
                  <c:v>0.24767630846743985</c:v>
                </c:pt>
                <c:pt idx="1930">
                  <c:v>0.24819259327978477</c:v>
                </c:pt>
                <c:pt idx="1931">
                  <c:v>0.24905911167845385</c:v>
                </c:pt>
                <c:pt idx="1932">
                  <c:v>0.25151078477028777</c:v>
                </c:pt>
                <c:pt idx="1933">
                  <c:v>0.25302567887862654</c:v>
                </c:pt>
                <c:pt idx="1934">
                  <c:v>0.25363344260379078</c:v>
                </c:pt>
                <c:pt idx="1935">
                  <c:v>0.254529623872914</c:v>
                </c:pt>
                <c:pt idx="1936">
                  <c:v>0.25570682162212399</c:v>
                </c:pt>
                <c:pt idx="1937">
                  <c:v>0.25596809848006574</c:v>
                </c:pt>
                <c:pt idx="1938">
                  <c:v>0.25655760207542905</c:v>
                </c:pt>
                <c:pt idx="1939">
                  <c:v>0.25739015891265554</c:v>
                </c:pt>
                <c:pt idx="1940">
                  <c:v>0.25735332435745767</c:v>
                </c:pt>
                <c:pt idx="1941">
                  <c:v>0.2575798300636819</c:v>
                </c:pt>
                <c:pt idx="1942">
                  <c:v>0.25812274904603572</c:v>
                </c:pt>
                <c:pt idx="1943">
                  <c:v>0.25775213870512098</c:v>
                </c:pt>
                <c:pt idx="1944">
                  <c:v>0.25769286506801092</c:v>
                </c:pt>
                <c:pt idx="1945">
                  <c:v>0.25790070454405223</c:v>
                </c:pt>
                <c:pt idx="1946">
                  <c:v>0.25720315055590126</c:v>
                </c:pt>
                <c:pt idx="1947">
                  <c:v>0.2567896755550777</c:v>
                </c:pt>
                <c:pt idx="1948">
                  <c:v>0.25665237048440248</c:v>
                </c:pt>
                <c:pt idx="1949">
                  <c:v>0.25565205859199031</c:v>
                </c:pt>
                <c:pt idx="1950">
                  <c:v>0.25374738360807358</c:v>
                </c:pt>
                <c:pt idx="1951">
                  <c:v>0.25585465362262638</c:v>
                </c:pt>
                <c:pt idx="1952">
                  <c:v>0.2568358912657171</c:v>
                </c:pt>
                <c:pt idx="1953">
                  <c:v>0.25796745839140861</c:v>
                </c:pt>
                <c:pt idx="1954">
                  <c:v>0.25836458900476811</c:v>
                </c:pt>
                <c:pt idx="1955">
                  <c:v>0.2566161460577483</c:v>
                </c:pt>
                <c:pt idx="1956">
                  <c:v>0.25415781448096791</c:v>
                </c:pt>
                <c:pt idx="1957">
                  <c:v>0.24992415564501796</c:v>
                </c:pt>
                <c:pt idx="1958">
                  <c:v>0.24531711348027876</c:v>
                </c:pt>
                <c:pt idx="1959">
                  <c:v>0.23921070689876375</c:v>
                </c:pt>
                <c:pt idx="1960">
                  <c:v>0.23167826396531868</c:v>
                </c:pt>
                <c:pt idx="1961">
                  <c:v>0.22412262267668473</c:v>
                </c:pt>
                <c:pt idx="1962">
                  <c:v>0.21671847161128591</c:v>
                </c:pt>
                <c:pt idx="1963">
                  <c:v>0.20821484116136599</c:v>
                </c:pt>
                <c:pt idx="1964">
                  <c:v>0.19868811913250328</c:v>
                </c:pt>
                <c:pt idx="1965">
                  <c:v>0.18956499956011444</c:v>
                </c:pt>
                <c:pt idx="1966">
                  <c:v>0.17958028124670683</c:v>
                </c:pt>
                <c:pt idx="1967">
                  <c:v>0.16868304869277675</c:v>
                </c:pt>
                <c:pt idx="1968">
                  <c:v>0.15847901743873108</c:v>
                </c:pt>
                <c:pt idx="1969">
                  <c:v>0.14753702205403693</c:v>
                </c:pt>
                <c:pt idx="1970">
                  <c:v>0.13581735178993595</c:v>
                </c:pt>
                <c:pt idx="1971">
                  <c:v>0.12505483222900293</c:v>
                </c:pt>
                <c:pt idx="1972">
                  <c:v>0.11369854814967083</c:v>
                </c:pt>
                <c:pt idx="1973">
                  <c:v>0.10162338422052185</c:v>
                </c:pt>
                <c:pt idx="1974">
                  <c:v>9.0843523030334258E-2</c:v>
                </c:pt>
                <c:pt idx="1975">
                  <c:v>7.9511412206335549E-2</c:v>
                </c:pt>
                <c:pt idx="1976">
                  <c:v>6.7452963225596949E-2</c:v>
                </c:pt>
                <c:pt idx="1977">
                  <c:v>5.7017899419491598E-2</c:v>
                </c:pt>
                <c:pt idx="1978">
                  <c:v>4.5984983830945333E-2</c:v>
                </c:pt>
                <c:pt idx="1979">
                  <c:v>3.3809765090139325E-2</c:v>
                </c:pt>
                <c:pt idx="1980">
                  <c:v>1.8373671976694796E-2</c:v>
                </c:pt>
                <c:pt idx="1981">
                  <c:v>1.2378765067211108E-2</c:v>
                </c:pt>
                <c:pt idx="1982">
                  <c:v>7.0648569007360556E-3</c:v>
                </c:pt>
                <c:pt idx="1983">
                  <c:v>6.8788103567340641E-3</c:v>
                </c:pt>
                <c:pt idx="1984">
                  <c:v>7.0527099745753188E-3</c:v>
                </c:pt>
                <c:pt idx="1985">
                  <c:v>7.1810123988954432E-3</c:v>
                </c:pt>
                <c:pt idx="1986">
                  <c:v>7.2752842164792346E-3</c:v>
                </c:pt>
                <c:pt idx="1987">
                  <c:v>7.3652555184230608E-3</c:v>
                </c:pt>
                <c:pt idx="1988">
                  <c:v>7.4254116287330784E-3</c:v>
                </c:pt>
                <c:pt idx="1989">
                  <c:v>7.4571522613837054E-3</c:v>
                </c:pt>
                <c:pt idx="1990">
                  <c:v>7.4601517180027926E-3</c:v>
                </c:pt>
                <c:pt idx="1991">
                  <c:v>7.4636559675420478E-3</c:v>
                </c:pt>
                <c:pt idx="1992">
                  <c:v>7.4418525274531468E-3</c:v>
                </c:pt>
                <c:pt idx="1993">
                  <c:v>7.3927646600932444E-3</c:v>
                </c:pt>
                <c:pt idx="1994">
                  <c:v>7.3738136259065999E-3</c:v>
                </c:pt>
                <c:pt idx="1995">
                  <c:v>7.3287057941192934E-3</c:v>
                </c:pt>
                <c:pt idx="1996">
                  <c:v>7.2560336907704689E-3</c:v>
                </c:pt>
                <c:pt idx="1997">
                  <c:v>7.213975160339013E-3</c:v>
                </c:pt>
                <c:pt idx="1998">
                  <c:v>7.1441820357487197E-3</c:v>
                </c:pt>
                <c:pt idx="1999">
                  <c:v>7.0465746531477892E-3</c:v>
                </c:pt>
                <c:pt idx="2000">
                  <c:v>6.9793183821771155E-3</c:v>
                </c:pt>
                <c:pt idx="2001">
                  <c:v>6.8829097787617578E-3</c:v>
                </c:pt>
                <c:pt idx="2002">
                  <c:v>6.7567424143947907E-3</c:v>
                </c:pt>
                <c:pt idx="2003">
                  <c:v>6.6338264593312005E-3</c:v>
                </c:pt>
                <c:pt idx="2004">
                  <c:v>6.4821507766222091E-3</c:v>
                </c:pt>
                <c:pt idx="2005">
                  <c:v>6.298656940006594E-3</c:v>
                </c:pt>
                <c:pt idx="2006">
                  <c:v>6.0809809207312722E-3</c:v>
                </c:pt>
                <c:pt idx="2007">
                  <c:v>5.9543318099154656E-3</c:v>
                </c:pt>
                <c:pt idx="2008">
                  <c:v>5.7881194035881867E-3</c:v>
                </c:pt>
                <c:pt idx="2009">
                  <c:v>5.7252862857728815E-3</c:v>
                </c:pt>
                <c:pt idx="2010">
                  <c:v>5.8710278406825895E-3</c:v>
                </c:pt>
                <c:pt idx="2011">
                  <c:v>5.9930681364362371E-3</c:v>
                </c:pt>
                <c:pt idx="2012">
                  <c:v>6.1247631489080292E-3</c:v>
                </c:pt>
                <c:pt idx="2013">
                  <c:v>6.2589684554427271E-3</c:v>
                </c:pt>
                <c:pt idx="2014">
                  <c:v>6.371160158262083E-3</c:v>
                </c:pt>
                <c:pt idx="2015">
                  <c:v>6.5588449137270449E-3</c:v>
                </c:pt>
                <c:pt idx="2016">
                  <c:v>6.7486910140121597E-3</c:v>
                </c:pt>
                <c:pt idx="2017">
                  <c:v>6.9056508290273131E-3</c:v>
                </c:pt>
                <c:pt idx="2018">
                  <c:v>7.0308991259248289E-3</c:v>
                </c:pt>
                <c:pt idx="2019">
                  <c:v>7.1578046913149083E-3</c:v>
                </c:pt>
                <c:pt idx="2020">
                  <c:v>7.2535485909494737E-3</c:v>
                </c:pt>
                <c:pt idx="2021">
                  <c:v>7.3191540977121427E-3</c:v>
                </c:pt>
                <c:pt idx="2022">
                  <c:v>7.3849223901975795E-3</c:v>
                </c:pt>
                <c:pt idx="2023">
                  <c:v>7.4180756024080216E-3</c:v>
                </c:pt>
                <c:pt idx="2024">
                  <c:v>7.4494919497391475E-3</c:v>
                </c:pt>
                <c:pt idx="2025">
                  <c:v>7.4521502127174438E-3</c:v>
                </c:pt>
                <c:pt idx="2026">
                  <c:v>7.4265011726065778E-3</c:v>
                </c:pt>
                <c:pt idx="2027">
                  <c:v>7.4021532973213905E-3</c:v>
                </c:pt>
                <c:pt idx="2028">
                  <c:v>7.3514367627622928E-3</c:v>
                </c:pt>
                <c:pt idx="2029">
                  <c:v>7.3002486957491827E-3</c:v>
                </c:pt>
                <c:pt idx="2030">
                  <c:v>7.250200327768244E-3</c:v>
                </c:pt>
                <c:pt idx="2031">
                  <c:v>7.1730635494941606E-3</c:v>
                </c:pt>
                <c:pt idx="2032">
                  <c:v>7.0678083568618977E-3</c:v>
                </c:pt>
                <c:pt idx="2033">
                  <c:v>6.9326237157649427E-3</c:v>
                </c:pt>
                <c:pt idx="2034">
                  <c:v>6.9777965168065156E-3</c:v>
                </c:pt>
                <c:pt idx="2035">
                  <c:v>6.9750192055407596E-3</c:v>
                </c:pt>
                <c:pt idx="2036">
                  <c:v>6.9226704562112247E-3</c:v>
                </c:pt>
                <c:pt idx="2037">
                  <c:v>6.9292699019253166E-3</c:v>
                </c:pt>
                <c:pt idx="2038">
                  <c:v>6.8957693900491704E-3</c:v>
                </c:pt>
                <c:pt idx="2039">
                  <c:v>6.9239044300793912E-3</c:v>
                </c:pt>
                <c:pt idx="2040">
                  <c:v>6.9208584919815009E-3</c:v>
                </c:pt>
                <c:pt idx="2041">
                  <c:v>6.8871137841257021E-3</c:v>
                </c:pt>
                <c:pt idx="2042">
                  <c:v>6.8548477502898518E-3</c:v>
                </c:pt>
                <c:pt idx="2043">
                  <c:v>6.7932869983444904E-3</c:v>
                </c:pt>
                <c:pt idx="2044">
                  <c:v>6.7028186033643352E-3</c:v>
                </c:pt>
                <c:pt idx="2045">
                  <c:v>6.7083433210946859E-3</c:v>
                </c:pt>
                <c:pt idx="2046">
                  <c:v>6.7205639680864241E-3</c:v>
                </c:pt>
                <c:pt idx="2047">
                  <c:v>6.7119643739856636E-3</c:v>
                </c:pt>
                <c:pt idx="2048">
                  <c:v>6.7097073516351868E-3</c:v>
                </c:pt>
                <c:pt idx="2049">
                  <c:v>6.7141154089535729E-3</c:v>
                </c:pt>
                <c:pt idx="2050">
                  <c:v>6.6978462860752888E-3</c:v>
                </c:pt>
                <c:pt idx="2051">
                  <c:v>6.6601366059484898E-3</c:v>
                </c:pt>
                <c:pt idx="2052">
                  <c:v>6.6320288897626601E-3</c:v>
                </c:pt>
                <c:pt idx="2053">
                  <c:v>6.5841046639759952E-3</c:v>
                </c:pt>
                <c:pt idx="2054">
                  <c:v>6.5163976589839119E-3</c:v>
                </c:pt>
                <c:pt idx="2055">
                  <c:v>6.4551427301761258E-3</c:v>
                </c:pt>
                <c:pt idx="2056">
                  <c:v>6.3716437514711169E-3</c:v>
                </c:pt>
                <c:pt idx="2057">
                  <c:v>6.2639344825509667E-3</c:v>
                </c:pt>
                <c:pt idx="2058">
                  <c:v>6.2193228472598727E-3</c:v>
                </c:pt>
                <c:pt idx="2059">
                  <c:v>6.1582118969037841E-3</c:v>
                </c:pt>
                <c:pt idx="2060">
                  <c:v>7.9773197181171648E-3</c:v>
                </c:pt>
                <c:pt idx="2061">
                  <c:v>1.786826369368575E-2</c:v>
                </c:pt>
                <c:pt idx="2062">
                  <c:v>2.7309183108472024E-2</c:v>
                </c:pt>
                <c:pt idx="2063">
                  <c:v>3.7212471707471398E-2</c:v>
                </c:pt>
                <c:pt idx="2064">
                  <c:v>4.7598719488785156E-2</c:v>
                </c:pt>
                <c:pt idx="2065">
                  <c:v>6.1716597276935986E-2</c:v>
                </c:pt>
                <c:pt idx="2066">
                  <c:v>7.5272492007255193E-2</c:v>
                </c:pt>
                <c:pt idx="2067">
                  <c:v>8.8472346880166683E-2</c:v>
                </c:pt>
                <c:pt idx="2068">
                  <c:v>0.11057300496206592</c:v>
                </c:pt>
                <c:pt idx="2069">
                  <c:v>0.13016372763072301</c:v>
                </c:pt>
                <c:pt idx="2070">
                  <c:v>0.14816198211703568</c:v>
                </c:pt>
                <c:pt idx="2071">
                  <c:v>0.1649806020615141</c:v>
                </c:pt>
                <c:pt idx="2072">
                  <c:v>0.18087152803198411</c:v>
                </c:pt>
                <c:pt idx="2073">
                  <c:v>0.19587256730250052</c:v>
                </c:pt>
                <c:pt idx="2074">
                  <c:v>0.21227255932127997</c:v>
                </c:pt>
                <c:pt idx="2075">
                  <c:v>0.22754205881218917</c:v>
                </c:pt>
                <c:pt idx="2076">
                  <c:v>0.24180073872836219</c:v>
                </c:pt>
                <c:pt idx="2077">
                  <c:v>0.25500807829204164</c:v>
                </c:pt>
                <c:pt idx="2078">
                  <c:v>0.26912122229853258</c:v>
                </c:pt>
                <c:pt idx="2079">
                  <c:v>0.28197425742474941</c:v>
                </c:pt>
                <c:pt idx="2080">
                  <c:v>0.29350576448028121</c:v>
                </c:pt>
                <c:pt idx="2081">
                  <c:v>0.30374699239954633</c:v>
                </c:pt>
                <c:pt idx="2082">
                  <c:v>0.31260556796351352</c:v>
                </c:pt>
                <c:pt idx="2083">
                  <c:v>0.32005196734246133</c:v>
                </c:pt>
                <c:pt idx="2084">
                  <c:v>0.32594214337480226</c:v>
                </c:pt>
                <c:pt idx="2085">
                  <c:v>0.33184020450835583</c:v>
                </c:pt>
                <c:pt idx="2086">
                  <c:v>0.33582450580899859</c:v>
                </c:pt>
                <c:pt idx="2087">
                  <c:v>0.33775662242397941</c:v>
                </c:pt>
                <c:pt idx="2088">
                  <c:v>0.33913559628489248</c:v>
                </c:pt>
                <c:pt idx="2089">
                  <c:v>0.33784657897109927</c:v>
                </c:pt>
                <c:pt idx="2090">
                  <c:v>0.33840940200814396</c:v>
                </c:pt>
                <c:pt idx="2091">
                  <c:v>0.34130700178764928</c:v>
                </c:pt>
                <c:pt idx="2092">
                  <c:v>0.34281705961646114</c:v>
                </c:pt>
                <c:pt idx="2093">
                  <c:v>0.34182302589121566</c:v>
                </c:pt>
                <c:pt idx="2094">
                  <c:v>0.34818043004208843</c:v>
                </c:pt>
                <c:pt idx="2095">
                  <c:v>0.44783914626850135</c:v>
                </c:pt>
                <c:pt idx="2096">
                  <c:v>0.54586798818372617</c:v>
                </c:pt>
                <c:pt idx="2097">
                  <c:v>0.66885862349139735</c:v>
                </c:pt>
                <c:pt idx="2098">
                  <c:v>0.78816369988899637</c:v>
                </c:pt>
                <c:pt idx="2099">
                  <c:v>0.90265214119174886</c:v>
                </c:pt>
                <c:pt idx="2100">
                  <c:v>1.0356187216691719</c:v>
                </c:pt>
                <c:pt idx="2101">
                  <c:v>1.1605229071923997</c:v>
                </c:pt>
                <c:pt idx="2102">
                  <c:v>1.2796526011994835</c:v>
                </c:pt>
                <c:pt idx="2103">
                  <c:v>1.3935580771553544</c:v>
                </c:pt>
                <c:pt idx="2104">
                  <c:v>1.4915203012021081</c:v>
                </c:pt>
                <c:pt idx="2105">
                  <c:v>1.5718017769142314</c:v>
                </c:pt>
                <c:pt idx="2106">
                  <c:v>1.6378586279862177</c:v>
                </c:pt>
                <c:pt idx="2107">
                  <c:v>1.6912946587120976</c:v>
                </c:pt>
                <c:pt idx="2108">
                  <c:v>1.7342314244668813</c:v>
                </c:pt>
                <c:pt idx="2109">
                  <c:v>1.7665490813830804</c:v>
                </c:pt>
                <c:pt idx="2110">
                  <c:v>1.7886796688542872</c:v>
                </c:pt>
                <c:pt idx="2111">
                  <c:v>1.8010107181799153</c:v>
                </c:pt>
                <c:pt idx="2112">
                  <c:v>1.8035968678271881</c:v>
                </c:pt>
                <c:pt idx="2113">
                  <c:v>1.7980341272377227</c:v>
                </c:pt>
                <c:pt idx="2114">
                  <c:v>1.7823948758921271</c:v>
                </c:pt>
                <c:pt idx="2115">
                  <c:v>1.7578315323284359</c:v>
                </c:pt>
                <c:pt idx="2116">
                  <c:v>1.7239525730345253</c:v>
                </c:pt>
                <c:pt idx="2117">
                  <c:v>1.678473056173295</c:v>
                </c:pt>
                <c:pt idx="2118">
                  <c:v>1.622206340662425</c:v>
                </c:pt>
                <c:pt idx="2119">
                  <c:v>1.5546634255886826</c:v>
                </c:pt>
                <c:pt idx="2120">
                  <c:v>1.4754892764142817</c:v>
                </c:pt>
                <c:pt idx="2121">
                  <c:v>1.380651774590832</c:v>
                </c:pt>
                <c:pt idx="2122">
                  <c:v>1.2654688217215504</c:v>
                </c:pt>
                <c:pt idx="2123">
                  <c:v>1.1196689407029456</c:v>
                </c:pt>
                <c:pt idx="2124">
                  <c:v>0.94893660739097618</c:v>
                </c:pt>
                <c:pt idx="2125">
                  <c:v>0.84494272000008763</c:v>
                </c:pt>
                <c:pt idx="2126">
                  <c:v>0.73999517029013517</c:v>
                </c:pt>
                <c:pt idx="2127">
                  <c:v>0.65974971321006848</c:v>
                </c:pt>
                <c:pt idx="2128">
                  <c:v>0.58346019133117233</c:v>
                </c:pt>
                <c:pt idx="2129">
                  <c:v>0.5124513749104509</c:v>
                </c:pt>
                <c:pt idx="2130">
                  <c:v>0.47701981310483721</c:v>
                </c:pt>
                <c:pt idx="2131">
                  <c:v>0.45333697103387816</c:v>
                </c:pt>
                <c:pt idx="2132">
                  <c:v>0.44237761533961728</c:v>
                </c:pt>
                <c:pt idx="2133">
                  <c:v>0.44523225789229121</c:v>
                </c:pt>
                <c:pt idx="2134">
                  <c:v>0.44911568856633982</c:v>
                </c:pt>
                <c:pt idx="2135">
                  <c:v>0.45115102061442391</c:v>
                </c:pt>
                <c:pt idx="2136">
                  <c:v>0.45416291410267495</c:v>
                </c:pt>
                <c:pt idx="2137">
                  <c:v>0.45585866742286835</c:v>
                </c:pt>
                <c:pt idx="2138">
                  <c:v>0.45622029230986216</c:v>
                </c:pt>
                <c:pt idx="2139">
                  <c:v>0.4552672820692571</c:v>
                </c:pt>
                <c:pt idx="2140">
                  <c:v>0.4551253165629166</c:v>
                </c:pt>
                <c:pt idx="2141">
                  <c:v>0.45346202330457908</c:v>
                </c:pt>
                <c:pt idx="2142">
                  <c:v>0.45025671813303331</c:v>
                </c:pt>
                <c:pt idx="2143">
                  <c:v>0.4500839751051483</c:v>
                </c:pt>
                <c:pt idx="2144">
                  <c:v>0.4484095045052926</c:v>
                </c:pt>
                <c:pt idx="2145">
                  <c:v>0.44734925834964118</c:v>
                </c:pt>
                <c:pt idx="2146">
                  <c:v>0.44706735846998941</c:v>
                </c:pt>
                <c:pt idx="2147">
                  <c:v>0.45225825657908303</c:v>
                </c:pt>
                <c:pt idx="2148">
                  <c:v>0.46032731361798551</c:v>
                </c:pt>
                <c:pt idx="2149">
                  <c:v>0.47044399897506739</c:v>
                </c:pt>
                <c:pt idx="2150">
                  <c:v>0.47834377540115125</c:v>
                </c:pt>
                <c:pt idx="2151">
                  <c:v>0.49423046861014597</c:v>
                </c:pt>
                <c:pt idx="2152">
                  <c:v>0.50903391521036845</c:v>
                </c:pt>
                <c:pt idx="2153">
                  <c:v>0.52101820209060634</c:v>
                </c:pt>
                <c:pt idx="2154">
                  <c:v>0.53036541595740494</c:v>
                </c:pt>
                <c:pt idx="2155">
                  <c:v>0.53952268790083036</c:v>
                </c:pt>
                <c:pt idx="2156">
                  <c:v>0.54810204490988046</c:v>
                </c:pt>
                <c:pt idx="2157">
                  <c:v>0.55427452508232988</c:v>
                </c:pt>
                <c:pt idx="2158">
                  <c:v>0.56026946715645409</c:v>
                </c:pt>
                <c:pt idx="2159">
                  <c:v>0.56379510395815802</c:v>
                </c:pt>
                <c:pt idx="2160">
                  <c:v>0.5670198484455391</c:v>
                </c:pt>
                <c:pt idx="2161">
                  <c:v>0.57007515163729927</c:v>
                </c:pt>
                <c:pt idx="2162">
                  <c:v>0.5707206204170896</c:v>
                </c:pt>
                <c:pt idx="2163">
                  <c:v>0.57113463992150415</c:v>
                </c:pt>
                <c:pt idx="2164">
                  <c:v>0.57131977975562143</c:v>
                </c:pt>
                <c:pt idx="2165">
                  <c:v>0.56916811595146366</c:v>
                </c:pt>
                <c:pt idx="2166">
                  <c:v>0.56680120871445183</c:v>
                </c:pt>
                <c:pt idx="2167">
                  <c:v>0.56412894519265744</c:v>
                </c:pt>
                <c:pt idx="2168">
                  <c:v>0.55904968139011468</c:v>
                </c:pt>
                <c:pt idx="2169">
                  <c:v>0.55140945131361807</c:v>
                </c:pt>
                <c:pt idx="2170">
                  <c:v>0.54561431749039713</c:v>
                </c:pt>
                <c:pt idx="2171">
                  <c:v>0.53714267322379383</c:v>
                </c:pt>
                <c:pt idx="2172">
                  <c:v>0.52599129758203045</c:v>
                </c:pt>
                <c:pt idx="2173">
                  <c:v>0.51657002478643266</c:v>
                </c:pt>
                <c:pt idx="2174">
                  <c:v>0.50427999140884505</c:v>
                </c:pt>
                <c:pt idx="2175">
                  <c:v>0.49168305721058719</c:v>
                </c:pt>
                <c:pt idx="2176">
                  <c:v>0.47613868506522217</c:v>
                </c:pt>
                <c:pt idx="2177">
                  <c:v>0.46603541736967596</c:v>
                </c:pt>
                <c:pt idx="2178">
                  <c:v>0.46103461295922138</c:v>
                </c:pt>
                <c:pt idx="2179">
                  <c:v>0.45410928966273245</c:v>
                </c:pt>
                <c:pt idx="2180">
                  <c:v>0.44510644903051733</c:v>
                </c:pt>
                <c:pt idx="2181">
                  <c:v>0.45101217518312836</c:v>
                </c:pt>
                <c:pt idx="2182">
                  <c:v>0.45515269562245114</c:v>
                </c:pt>
                <c:pt idx="2183">
                  <c:v>0.45985632546280431</c:v>
                </c:pt>
                <c:pt idx="2184">
                  <c:v>0.46270790876939272</c:v>
                </c:pt>
                <c:pt idx="2185">
                  <c:v>0.46825961765405982</c:v>
                </c:pt>
                <c:pt idx="2186">
                  <c:v>0.47432776027626899</c:v>
                </c:pt>
                <c:pt idx="2187">
                  <c:v>0.47828530344276143</c:v>
                </c:pt>
                <c:pt idx="2188">
                  <c:v>0.48246565731837565</c:v>
                </c:pt>
                <c:pt idx="2189">
                  <c:v>0.4848863923079032</c:v>
                </c:pt>
                <c:pt idx="2190">
                  <c:v>0.48548517134123553</c:v>
                </c:pt>
                <c:pt idx="2191">
                  <c:v>0.48653245383825544</c:v>
                </c:pt>
                <c:pt idx="2192">
                  <c:v>0.48604462235370494</c:v>
                </c:pt>
                <c:pt idx="2193">
                  <c:v>0.48389692488171171</c:v>
                </c:pt>
                <c:pt idx="2194">
                  <c:v>0.4824413753004459</c:v>
                </c:pt>
                <c:pt idx="2195">
                  <c:v>0.47962591702806273</c:v>
                </c:pt>
                <c:pt idx="2196">
                  <c:v>0.47529454795514736</c:v>
                </c:pt>
                <c:pt idx="2197">
                  <c:v>0.47383966527081017</c:v>
                </c:pt>
                <c:pt idx="2198">
                  <c:v>0.47093296232564652</c:v>
                </c:pt>
                <c:pt idx="2199">
                  <c:v>0.46656183390972078</c:v>
                </c:pt>
                <c:pt idx="2200">
                  <c:v>0.46301596096147951</c:v>
                </c:pt>
                <c:pt idx="2201">
                  <c:v>0.48894168449912551</c:v>
                </c:pt>
                <c:pt idx="2202">
                  <c:v>0.50998318252710917</c:v>
                </c:pt>
                <c:pt idx="2203">
                  <c:v>0.52886410511836601</c:v>
                </c:pt>
                <c:pt idx="2204">
                  <c:v>0.54394168071787219</c:v>
                </c:pt>
                <c:pt idx="2205">
                  <c:v>0.55550100576918338</c:v>
                </c:pt>
                <c:pt idx="2206">
                  <c:v>0.56381080179101695</c:v>
                </c:pt>
                <c:pt idx="2207">
                  <c:v>0.5713577457502258</c:v>
                </c:pt>
                <c:pt idx="2208">
                  <c:v>0.57779437461940031</c:v>
                </c:pt>
                <c:pt idx="2209">
                  <c:v>0.58121966463478858</c:v>
                </c:pt>
                <c:pt idx="2210">
                  <c:v>0.58385311909058391</c:v>
                </c:pt>
                <c:pt idx="2211">
                  <c:v>0.58990145008586758</c:v>
                </c:pt>
                <c:pt idx="2212">
                  <c:v>0.59339550303537347</c:v>
                </c:pt>
                <c:pt idx="2213">
                  <c:v>0.59848501920017549</c:v>
                </c:pt>
                <c:pt idx="2214">
                  <c:v>0.60112045017465043</c:v>
                </c:pt>
                <c:pt idx="2215">
                  <c:v>0.60332925234537271</c:v>
                </c:pt>
                <c:pt idx="2216">
                  <c:v>0.60529203099897688</c:v>
                </c:pt>
                <c:pt idx="2217">
                  <c:v>0.60518352780798146</c:v>
                </c:pt>
                <c:pt idx="2218">
                  <c:v>0.60292604011399764</c:v>
                </c:pt>
                <c:pt idx="2219">
                  <c:v>0.59857565175235883</c:v>
                </c:pt>
                <c:pt idx="2220">
                  <c:v>0.59209652301166205</c:v>
                </c:pt>
                <c:pt idx="2221">
                  <c:v>0.58330763690765985</c:v>
                </c:pt>
                <c:pt idx="2222">
                  <c:v>0.57223222464865298</c:v>
                </c:pt>
                <c:pt idx="2223">
                  <c:v>0.55862127275487683</c:v>
                </c:pt>
                <c:pt idx="2224">
                  <c:v>0.54236120349329608</c:v>
                </c:pt>
                <c:pt idx="2225">
                  <c:v>0.52318919479017445</c:v>
                </c:pt>
                <c:pt idx="2226">
                  <c:v>0.51085644226762017</c:v>
                </c:pt>
                <c:pt idx="2227">
                  <c:v>0.49753347610282544</c:v>
                </c:pt>
                <c:pt idx="2228">
                  <c:v>0.48742148164537513</c:v>
                </c:pt>
                <c:pt idx="2229">
                  <c:v>0.4752944151163484</c:v>
                </c:pt>
                <c:pt idx="2230">
                  <c:v>0.45790077213585911</c:v>
                </c:pt>
                <c:pt idx="2231">
                  <c:v>0.46961232904719191</c:v>
                </c:pt>
                <c:pt idx="2232">
                  <c:v>0.49922780891759932</c:v>
                </c:pt>
                <c:pt idx="2233">
                  <c:v>0.52126388282426184</c:v>
                </c:pt>
                <c:pt idx="2234">
                  <c:v>0.53700682445350756</c:v>
                </c:pt>
                <c:pt idx="2235">
                  <c:v>0.54736616374185532</c:v>
                </c:pt>
                <c:pt idx="2236">
                  <c:v>0.55301547541591756</c:v>
                </c:pt>
                <c:pt idx="2237">
                  <c:v>0.55645888054462123</c:v>
                </c:pt>
                <c:pt idx="2238">
                  <c:v>0.55614043632692323</c:v>
                </c:pt>
                <c:pt idx="2239">
                  <c:v>0.5524177924414081</c:v>
                </c:pt>
                <c:pt idx="2240">
                  <c:v>0.54757497297626834</c:v>
                </c:pt>
                <c:pt idx="2241">
                  <c:v>0.53991219480880182</c:v>
                </c:pt>
                <c:pt idx="2242">
                  <c:v>0.52956546654502257</c:v>
                </c:pt>
                <c:pt idx="2243">
                  <c:v>0.51883796671786786</c:v>
                </c:pt>
                <c:pt idx="2244">
                  <c:v>0.50591964368230224</c:v>
                </c:pt>
                <c:pt idx="2245">
                  <c:v>0.49086008211975501</c:v>
                </c:pt>
                <c:pt idx="2246">
                  <c:v>0.47368996920243162</c:v>
                </c:pt>
                <c:pt idx="2247">
                  <c:v>0.45448017907755944</c:v>
                </c:pt>
                <c:pt idx="2248">
                  <c:v>0.43313362319673682</c:v>
                </c:pt>
                <c:pt idx="2249">
                  <c:v>0.40961378562472817</c:v>
                </c:pt>
                <c:pt idx="2250">
                  <c:v>0.38384920755154422</c:v>
                </c:pt>
                <c:pt idx="2251">
                  <c:v>0.3554968333714919</c:v>
                </c:pt>
                <c:pt idx="2252">
                  <c:v>0.32425903985741611</c:v>
                </c:pt>
                <c:pt idx="2253">
                  <c:v>0.28937723330183956</c:v>
                </c:pt>
                <c:pt idx="2254">
                  <c:v>0.24977681020280754</c:v>
                </c:pt>
                <c:pt idx="2255">
                  <c:v>0.20291212960007848</c:v>
                </c:pt>
                <c:pt idx="2256">
                  <c:v>0.17202249590599303</c:v>
                </c:pt>
                <c:pt idx="2257">
                  <c:v>0.13624922178838353</c:v>
                </c:pt>
                <c:pt idx="2258">
                  <c:v>0.11039255842444473</c:v>
                </c:pt>
                <c:pt idx="2259">
                  <c:v>8.6678186467485763E-2</c:v>
                </c:pt>
                <c:pt idx="2260">
                  <c:v>5.8683706850430749E-2</c:v>
                </c:pt>
                <c:pt idx="2261">
                  <c:v>5.7815171625817106E-14</c:v>
                </c:pt>
                <c:pt idx="2262">
                  <c:v>5.7815171625817106E-14</c:v>
                </c:pt>
                <c:pt idx="2263">
                  <c:v>5.7815171625817106E-14</c:v>
                </c:pt>
                <c:pt idx="2264">
                  <c:v>5.7815171625817106E-14</c:v>
                </c:pt>
                <c:pt idx="2265">
                  <c:v>5.7815171625817106E-14</c:v>
                </c:pt>
                <c:pt idx="2266">
                  <c:v>5.7815171625817106E-14</c:v>
                </c:pt>
                <c:pt idx="2267">
                  <c:v>5.7815171625817106E-14</c:v>
                </c:pt>
                <c:pt idx="2268">
                  <c:v>5.7815171625817106E-14</c:v>
                </c:pt>
                <c:pt idx="2269">
                  <c:v>5.7815171625817106E-14</c:v>
                </c:pt>
                <c:pt idx="2270">
                  <c:v>5.7815171625817106E-14</c:v>
                </c:pt>
                <c:pt idx="2271">
                  <c:v>5.7815171625817106E-14</c:v>
                </c:pt>
                <c:pt idx="2272">
                  <c:v>5.7815171625817106E-14</c:v>
                </c:pt>
                <c:pt idx="2273">
                  <c:v>5.7815171625817106E-14</c:v>
                </c:pt>
                <c:pt idx="2274">
                  <c:v>5.7815171625817106E-14</c:v>
                </c:pt>
                <c:pt idx="2275">
                  <c:v>5.7815171625817106E-14</c:v>
                </c:pt>
                <c:pt idx="2276">
                  <c:v>5.7815171625817106E-14</c:v>
                </c:pt>
                <c:pt idx="2277">
                  <c:v>5.7815171625817106E-14</c:v>
                </c:pt>
                <c:pt idx="2278">
                  <c:v>5.7815171625817106E-14</c:v>
                </c:pt>
                <c:pt idx="2279">
                  <c:v>5.7815171625817106E-14</c:v>
                </c:pt>
                <c:pt idx="2280">
                  <c:v>5.7815171625817106E-14</c:v>
                </c:pt>
                <c:pt idx="2281">
                  <c:v>5.7815171625817106E-14</c:v>
                </c:pt>
                <c:pt idx="2282">
                  <c:v>5.7815171625817106E-14</c:v>
                </c:pt>
                <c:pt idx="2283">
                  <c:v>5.7815171625817106E-14</c:v>
                </c:pt>
                <c:pt idx="2284">
                  <c:v>5.7815171625817106E-14</c:v>
                </c:pt>
                <c:pt idx="2285">
                  <c:v>5.7815171625817106E-14</c:v>
                </c:pt>
                <c:pt idx="2286">
                  <c:v>5.7815171625817106E-14</c:v>
                </c:pt>
                <c:pt idx="2287">
                  <c:v>5.7815171625817106E-14</c:v>
                </c:pt>
                <c:pt idx="2288">
                  <c:v>5.7815171625817106E-14</c:v>
                </c:pt>
                <c:pt idx="2289">
                  <c:v>5.7815171625817106E-14</c:v>
                </c:pt>
                <c:pt idx="2290">
                  <c:v>5.7815171625817106E-14</c:v>
                </c:pt>
                <c:pt idx="2291">
                  <c:v>5.7815171625817106E-14</c:v>
                </c:pt>
                <c:pt idx="2292">
                  <c:v>5.7815171625817106E-14</c:v>
                </c:pt>
                <c:pt idx="2293">
                  <c:v>5.7815171625817106E-14</c:v>
                </c:pt>
                <c:pt idx="2294">
                  <c:v>5.7815171625817106E-14</c:v>
                </c:pt>
                <c:pt idx="2295">
                  <c:v>5.7815171625817106E-14</c:v>
                </c:pt>
                <c:pt idx="2296">
                  <c:v>5.7815171625817106E-14</c:v>
                </c:pt>
                <c:pt idx="2297">
                  <c:v>5.7815171625817106E-14</c:v>
                </c:pt>
                <c:pt idx="2298">
                  <c:v>5.7815171625817106E-14</c:v>
                </c:pt>
                <c:pt idx="2299">
                  <c:v>5.7815171625817106E-14</c:v>
                </c:pt>
                <c:pt idx="2300">
                  <c:v>5.7815171625817106E-14</c:v>
                </c:pt>
                <c:pt idx="2301">
                  <c:v>5.7815171625817106E-14</c:v>
                </c:pt>
                <c:pt idx="2302">
                  <c:v>5.7815171625817106E-14</c:v>
                </c:pt>
                <c:pt idx="2303">
                  <c:v>5.7815171625817106E-14</c:v>
                </c:pt>
                <c:pt idx="2304">
                  <c:v>5.7815171625817106E-14</c:v>
                </c:pt>
                <c:pt idx="2305">
                  <c:v>5.7815171625817106E-14</c:v>
                </c:pt>
                <c:pt idx="2306">
                  <c:v>5.7815171625817106E-14</c:v>
                </c:pt>
                <c:pt idx="2307">
                  <c:v>5.7815171625817106E-14</c:v>
                </c:pt>
                <c:pt idx="2308">
                  <c:v>5.7815171625817106E-14</c:v>
                </c:pt>
                <c:pt idx="2309">
                  <c:v>5.7815171625817106E-14</c:v>
                </c:pt>
                <c:pt idx="2310">
                  <c:v>5.7815171625817106E-14</c:v>
                </c:pt>
                <c:pt idx="2311">
                  <c:v>5.7815171625817106E-14</c:v>
                </c:pt>
                <c:pt idx="2312">
                  <c:v>5.7815171625817106E-14</c:v>
                </c:pt>
                <c:pt idx="2313">
                  <c:v>5.7815171625817106E-14</c:v>
                </c:pt>
                <c:pt idx="2314">
                  <c:v>5.7815171625817106E-14</c:v>
                </c:pt>
                <c:pt idx="2315">
                  <c:v>5.7815171625817106E-14</c:v>
                </c:pt>
                <c:pt idx="2316">
                  <c:v>5.7815171625817106E-14</c:v>
                </c:pt>
                <c:pt idx="2317">
                  <c:v>5.7815171625817106E-14</c:v>
                </c:pt>
                <c:pt idx="2318">
                  <c:v>5.7815171625817106E-14</c:v>
                </c:pt>
                <c:pt idx="2319">
                  <c:v>5.7815171625817106E-14</c:v>
                </c:pt>
                <c:pt idx="2320">
                  <c:v>5.7815171625817106E-14</c:v>
                </c:pt>
                <c:pt idx="2321">
                  <c:v>5.7815171625817106E-14</c:v>
                </c:pt>
                <c:pt idx="2322">
                  <c:v>5.7815171625817106E-14</c:v>
                </c:pt>
                <c:pt idx="2323">
                  <c:v>5.7815171625817106E-14</c:v>
                </c:pt>
                <c:pt idx="2324">
                  <c:v>5.7815171625817106E-14</c:v>
                </c:pt>
                <c:pt idx="2325">
                  <c:v>5.7815171625817106E-14</c:v>
                </c:pt>
                <c:pt idx="2326">
                  <c:v>5.7815171625817106E-14</c:v>
                </c:pt>
                <c:pt idx="2327">
                  <c:v>5.7815171625817106E-14</c:v>
                </c:pt>
                <c:pt idx="2328">
                  <c:v>5.7815171625817106E-14</c:v>
                </c:pt>
                <c:pt idx="2329">
                  <c:v>5.7815171625817106E-14</c:v>
                </c:pt>
                <c:pt idx="2330">
                  <c:v>5.7815171625817106E-14</c:v>
                </c:pt>
                <c:pt idx="2331">
                  <c:v>5.7815171625817106E-14</c:v>
                </c:pt>
                <c:pt idx="2332">
                  <c:v>5.7815171625817106E-14</c:v>
                </c:pt>
                <c:pt idx="2333">
                  <c:v>5.7815171625817106E-14</c:v>
                </c:pt>
                <c:pt idx="2334">
                  <c:v>5.7815171625817106E-14</c:v>
                </c:pt>
                <c:pt idx="2335">
                  <c:v>5.7815171625817106E-14</c:v>
                </c:pt>
                <c:pt idx="2336">
                  <c:v>5.7815171625817106E-14</c:v>
                </c:pt>
                <c:pt idx="2337">
                  <c:v>5.7815171625817106E-14</c:v>
                </c:pt>
                <c:pt idx="2338">
                  <c:v>5.7815171625817106E-14</c:v>
                </c:pt>
                <c:pt idx="2339">
                  <c:v>5.7815171625817106E-14</c:v>
                </c:pt>
                <c:pt idx="2340">
                  <c:v>5.7815171625817106E-14</c:v>
                </c:pt>
                <c:pt idx="2341">
                  <c:v>5.7815171625817106E-14</c:v>
                </c:pt>
                <c:pt idx="2342">
                  <c:v>5.7815171625817106E-14</c:v>
                </c:pt>
                <c:pt idx="2343">
                  <c:v>5.7815171625817106E-14</c:v>
                </c:pt>
                <c:pt idx="2344">
                  <c:v>5.7815171625817106E-14</c:v>
                </c:pt>
                <c:pt idx="2345">
                  <c:v>5.7815171625817106E-14</c:v>
                </c:pt>
                <c:pt idx="2346">
                  <c:v>5.7815171625817106E-14</c:v>
                </c:pt>
                <c:pt idx="2347">
                  <c:v>5.7815171625817106E-14</c:v>
                </c:pt>
                <c:pt idx="2348">
                  <c:v>5.7815171625817106E-14</c:v>
                </c:pt>
                <c:pt idx="2349">
                  <c:v>5.7815171625817106E-14</c:v>
                </c:pt>
                <c:pt idx="2350">
                  <c:v>5.7815171625817106E-14</c:v>
                </c:pt>
                <c:pt idx="2351">
                  <c:v>5.7815171625817106E-14</c:v>
                </c:pt>
                <c:pt idx="2352">
                  <c:v>5.7815171625817106E-14</c:v>
                </c:pt>
                <c:pt idx="2353">
                  <c:v>5.7815171625817106E-14</c:v>
                </c:pt>
                <c:pt idx="2354">
                  <c:v>5.7815171625817106E-14</c:v>
                </c:pt>
                <c:pt idx="2355">
                  <c:v>5.7815171625817106E-14</c:v>
                </c:pt>
                <c:pt idx="2356">
                  <c:v>5.7815171625817106E-14</c:v>
                </c:pt>
                <c:pt idx="2357">
                  <c:v>5.7815171625817106E-14</c:v>
                </c:pt>
                <c:pt idx="2358">
                  <c:v>5.7815171625817106E-14</c:v>
                </c:pt>
                <c:pt idx="2359">
                  <c:v>5.7815171625817106E-14</c:v>
                </c:pt>
                <c:pt idx="2360">
                  <c:v>5.7815171625817106E-14</c:v>
                </c:pt>
                <c:pt idx="2361">
                  <c:v>5.7815171625817106E-14</c:v>
                </c:pt>
                <c:pt idx="2362">
                  <c:v>5.7815171625817106E-14</c:v>
                </c:pt>
                <c:pt idx="2363">
                  <c:v>5.7815171625817106E-14</c:v>
                </c:pt>
                <c:pt idx="2364">
                  <c:v>5.7815171625817106E-14</c:v>
                </c:pt>
                <c:pt idx="2365">
                  <c:v>5.7815171625817106E-14</c:v>
                </c:pt>
                <c:pt idx="2366">
                  <c:v>5.7815171625817106E-14</c:v>
                </c:pt>
                <c:pt idx="2367">
                  <c:v>5.7815171625817106E-14</c:v>
                </c:pt>
                <c:pt idx="2368">
                  <c:v>5.7815171625817106E-14</c:v>
                </c:pt>
                <c:pt idx="2369">
                  <c:v>5.7815171625817106E-14</c:v>
                </c:pt>
                <c:pt idx="2370">
                  <c:v>5.7815171625817106E-14</c:v>
                </c:pt>
                <c:pt idx="2371">
                  <c:v>5.7815171625817106E-14</c:v>
                </c:pt>
                <c:pt idx="2372">
                  <c:v>5.7815171625817106E-14</c:v>
                </c:pt>
                <c:pt idx="2373">
                  <c:v>5.7815171625817106E-14</c:v>
                </c:pt>
                <c:pt idx="2374">
                  <c:v>5.7815171625817106E-14</c:v>
                </c:pt>
                <c:pt idx="2375">
                  <c:v>5.7815171625817106E-14</c:v>
                </c:pt>
                <c:pt idx="2376">
                  <c:v>5.7815171625817106E-14</c:v>
                </c:pt>
                <c:pt idx="2377">
                  <c:v>5.7815171625817106E-14</c:v>
                </c:pt>
                <c:pt idx="2378">
                  <c:v>5.7815171625817106E-14</c:v>
                </c:pt>
                <c:pt idx="2379">
                  <c:v>5.7815171625817106E-14</c:v>
                </c:pt>
                <c:pt idx="2380">
                  <c:v>5.7815171625817106E-14</c:v>
                </c:pt>
                <c:pt idx="2381">
                  <c:v>5.7815171625817106E-14</c:v>
                </c:pt>
                <c:pt idx="2382">
                  <c:v>5.7815171625817106E-14</c:v>
                </c:pt>
                <c:pt idx="2383">
                  <c:v>5.7815171625817106E-14</c:v>
                </c:pt>
                <c:pt idx="2384">
                  <c:v>5.7815171625817106E-14</c:v>
                </c:pt>
                <c:pt idx="2385">
                  <c:v>5.7815171625817106E-14</c:v>
                </c:pt>
                <c:pt idx="2386">
                  <c:v>5.7815171625817106E-14</c:v>
                </c:pt>
                <c:pt idx="2387">
                  <c:v>5.7815171625817106E-14</c:v>
                </c:pt>
                <c:pt idx="2388">
                  <c:v>5.7815171625817106E-14</c:v>
                </c:pt>
                <c:pt idx="2389">
                  <c:v>5.7815171625817106E-14</c:v>
                </c:pt>
                <c:pt idx="2390">
                  <c:v>5.7815171625817106E-14</c:v>
                </c:pt>
                <c:pt idx="2391">
                  <c:v>5.7815171625817106E-14</c:v>
                </c:pt>
                <c:pt idx="2392">
                  <c:v>5.7815171625817106E-14</c:v>
                </c:pt>
                <c:pt idx="2393">
                  <c:v>5.7815171625817106E-14</c:v>
                </c:pt>
                <c:pt idx="2394">
                  <c:v>5.7815171625817106E-14</c:v>
                </c:pt>
                <c:pt idx="2395">
                  <c:v>5.7815171625817106E-14</c:v>
                </c:pt>
                <c:pt idx="2396">
                  <c:v>5.7815171625817106E-14</c:v>
                </c:pt>
                <c:pt idx="2397">
                  <c:v>5.7815171625817106E-14</c:v>
                </c:pt>
                <c:pt idx="2398">
                  <c:v>5.7815171625817106E-14</c:v>
                </c:pt>
                <c:pt idx="2399">
                  <c:v>5.7815171625817106E-14</c:v>
                </c:pt>
                <c:pt idx="2400">
                  <c:v>5.7815171625817106E-14</c:v>
                </c:pt>
                <c:pt idx="2401">
                  <c:v>5.7815171625817106E-14</c:v>
                </c:pt>
                <c:pt idx="2402">
                  <c:v>5.7815171625817106E-14</c:v>
                </c:pt>
                <c:pt idx="2403">
                  <c:v>5.7815171625817106E-14</c:v>
                </c:pt>
                <c:pt idx="2404">
                  <c:v>5.7815171625817106E-14</c:v>
                </c:pt>
                <c:pt idx="2405">
                  <c:v>5.7815171625817106E-14</c:v>
                </c:pt>
                <c:pt idx="2406">
                  <c:v>5.7815171625817106E-14</c:v>
                </c:pt>
                <c:pt idx="2407">
                  <c:v>5.7815171625817106E-14</c:v>
                </c:pt>
                <c:pt idx="2408">
                  <c:v>5.7815171625817106E-14</c:v>
                </c:pt>
                <c:pt idx="2409">
                  <c:v>5.7815171625817106E-14</c:v>
                </c:pt>
                <c:pt idx="2410">
                  <c:v>5.7815171625817106E-14</c:v>
                </c:pt>
                <c:pt idx="2411">
                  <c:v>5.7815171625817106E-14</c:v>
                </c:pt>
                <c:pt idx="2412">
                  <c:v>5.7815171625817106E-14</c:v>
                </c:pt>
                <c:pt idx="2413">
                  <c:v>5.7815171625817106E-14</c:v>
                </c:pt>
                <c:pt idx="2414">
                  <c:v>5.7815171625817106E-14</c:v>
                </c:pt>
                <c:pt idx="2415">
                  <c:v>5.7815171625817106E-14</c:v>
                </c:pt>
                <c:pt idx="2416">
                  <c:v>5.7815171625817106E-14</c:v>
                </c:pt>
                <c:pt idx="2417">
                  <c:v>5.7815171625817106E-14</c:v>
                </c:pt>
                <c:pt idx="2418">
                  <c:v>5.7815171625817106E-14</c:v>
                </c:pt>
                <c:pt idx="2419">
                  <c:v>5.7815171625817106E-14</c:v>
                </c:pt>
                <c:pt idx="2420">
                  <c:v>5.7815171625817106E-14</c:v>
                </c:pt>
                <c:pt idx="2421">
                  <c:v>5.7815171625817106E-14</c:v>
                </c:pt>
                <c:pt idx="2422">
                  <c:v>5.7815171625817106E-14</c:v>
                </c:pt>
                <c:pt idx="2423">
                  <c:v>5.7815171625817106E-14</c:v>
                </c:pt>
                <c:pt idx="2424">
                  <c:v>5.7815171625817106E-14</c:v>
                </c:pt>
                <c:pt idx="2425">
                  <c:v>5.7815171625817106E-14</c:v>
                </c:pt>
                <c:pt idx="2426">
                  <c:v>5.7815171625817106E-14</c:v>
                </c:pt>
                <c:pt idx="2427">
                  <c:v>5.7815171625817106E-14</c:v>
                </c:pt>
                <c:pt idx="2428">
                  <c:v>5.7815171625817106E-14</c:v>
                </c:pt>
                <c:pt idx="2429">
                  <c:v>5.7815171625817106E-14</c:v>
                </c:pt>
                <c:pt idx="2430">
                  <c:v>5.7815171625817106E-14</c:v>
                </c:pt>
                <c:pt idx="2431">
                  <c:v>5.7815171625817106E-14</c:v>
                </c:pt>
                <c:pt idx="2432">
                  <c:v>5.7815171625817106E-14</c:v>
                </c:pt>
                <c:pt idx="2433">
                  <c:v>5.7815171625817106E-14</c:v>
                </c:pt>
                <c:pt idx="2434">
                  <c:v>5.7815171625817106E-14</c:v>
                </c:pt>
                <c:pt idx="2435">
                  <c:v>5.7815171625817106E-14</c:v>
                </c:pt>
                <c:pt idx="2436">
                  <c:v>5.7815171625817106E-14</c:v>
                </c:pt>
                <c:pt idx="2437">
                  <c:v>5.7815171625817106E-14</c:v>
                </c:pt>
                <c:pt idx="2438">
                  <c:v>5.7815171625817106E-14</c:v>
                </c:pt>
                <c:pt idx="2439">
                  <c:v>5.7815171625817106E-14</c:v>
                </c:pt>
                <c:pt idx="2440">
                  <c:v>5.7815171625817106E-14</c:v>
                </c:pt>
                <c:pt idx="2441">
                  <c:v>5.7815171625817106E-14</c:v>
                </c:pt>
                <c:pt idx="2442">
                  <c:v>5.7815171625817106E-14</c:v>
                </c:pt>
                <c:pt idx="2443">
                  <c:v>5.7815171625817106E-14</c:v>
                </c:pt>
                <c:pt idx="2444">
                  <c:v>5.7815171625817106E-14</c:v>
                </c:pt>
                <c:pt idx="2445">
                  <c:v>5.7815171625817106E-14</c:v>
                </c:pt>
                <c:pt idx="2446">
                  <c:v>5.7815171625817106E-14</c:v>
                </c:pt>
                <c:pt idx="2447">
                  <c:v>5.7815171625817106E-14</c:v>
                </c:pt>
                <c:pt idx="2448">
                  <c:v>5.7815171625817106E-14</c:v>
                </c:pt>
                <c:pt idx="2449">
                  <c:v>5.7815171625817106E-14</c:v>
                </c:pt>
                <c:pt idx="2450">
                  <c:v>5.7815171625817106E-14</c:v>
                </c:pt>
                <c:pt idx="2451">
                  <c:v>5.7815171625817106E-14</c:v>
                </c:pt>
                <c:pt idx="2452">
                  <c:v>5.7815171625817106E-14</c:v>
                </c:pt>
                <c:pt idx="2453">
                  <c:v>5.7815171625817106E-14</c:v>
                </c:pt>
                <c:pt idx="2454">
                  <c:v>5.7815171625817106E-14</c:v>
                </c:pt>
                <c:pt idx="2455">
                  <c:v>5.7815171625817106E-14</c:v>
                </c:pt>
                <c:pt idx="2456">
                  <c:v>5.7815171625817106E-14</c:v>
                </c:pt>
                <c:pt idx="2457">
                  <c:v>5.7815171625817106E-14</c:v>
                </c:pt>
                <c:pt idx="2458">
                  <c:v>5.7815171625817106E-14</c:v>
                </c:pt>
                <c:pt idx="2459">
                  <c:v>5.7815171625817106E-14</c:v>
                </c:pt>
                <c:pt idx="2460">
                  <c:v>5.7815171625817106E-14</c:v>
                </c:pt>
                <c:pt idx="2461">
                  <c:v>5.7815171625817106E-14</c:v>
                </c:pt>
                <c:pt idx="2462">
                  <c:v>5.7815171625817106E-14</c:v>
                </c:pt>
                <c:pt idx="2463">
                  <c:v>5.7815171625817106E-14</c:v>
                </c:pt>
                <c:pt idx="2464">
                  <c:v>5.7815171625817106E-14</c:v>
                </c:pt>
                <c:pt idx="2465">
                  <c:v>5.7815171625817106E-14</c:v>
                </c:pt>
                <c:pt idx="2466">
                  <c:v>5.7815171625817106E-14</c:v>
                </c:pt>
                <c:pt idx="2467">
                  <c:v>5.7815171625817106E-14</c:v>
                </c:pt>
                <c:pt idx="2468">
                  <c:v>5.7815171625817106E-14</c:v>
                </c:pt>
                <c:pt idx="2469">
                  <c:v>5.7815171625817106E-14</c:v>
                </c:pt>
                <c:pt idx="2470">
                  <c:v>5.7815171625817106E-14</c:v>
                </c:pt>
                <c:pt idx="2471">
                  <c:v>5.7815171625817106E-14</c:v>
                </c:pt>
                <c:pt idx="2472">
                  <c:v>5.7815171625817106E-14</c:v>
                </c:pt>
                <c:pt idx="2473">
                  <c:v>5.7815171625817106E-14</c:v>
                </c:pt>
                <c:pt idx="2474">
                  <c:v>5.7815171625817106E-14</c:v>
                </c:pt>
                <c:pt idx="2475">
                  <c:v>5.7815171625817106E-14</c:v>
                </c:pt>
                <c:pt idx="2476">
                  <c:v>5.7815171625817106E-14</c:v>
                </c:pt>
                <c:pt idx="2477">
                  <c:v>5.7815171625817106E-14</c:v>
                </c:pt>
                <c:pt idx="2478">
                  <c:v>5.7815171625817106E-14</c:v>
                </c:pt>
                <c:pt idx="2479">
                  <c:v>5.7815171625817106E-14</c:v>
                </c:pt>
                <c:pt idx="2480">
                  <c:v>5.7815171625817106E-14</c:v>
                </c:pt>
                <c:pt idx="2481">
                  <c:v>5.7815171625817106E-14</c:v>
                </c:pt>
                <c:pt idx="2482">
                  <c:v>5.7815171625817106E-14</c:v>
                </c:pt>
                <c:pt idx="2483">
                  <c:v>5.7815171625817106E-14</c:v>
                </c:pt>
                <c:pt idx="2484">
                  <c:v>5.7815171625817106E-14</c:v>
                </c:pt>
                <c:pt idx="2485">
                  <c:v>5.7815171625817106E-14</c:v>
                </c:pt>
                <c:pt idx="2486">
                  <c:v>5.7815171625817106E-14</c:v>
                </c:pt>
                <c:pt idx="2487">
                  <c:v>5.7815171625817106E-14</c:v>
                </c:pt>
                <c:pt idx="2488">
                  <c:v>5.7815171625817106E-14</c:v>
                </c:pt>
                <c:pt idx="2489">
                  <c:v>5.7815171625817106E-14</c:v>
                </c:pt>
                <c:pt idx="2490">
                  <c:v>5.7815171625817106E-14</c:v>
                </c:pt>
                <c:pt idx="2491">
                  <c:v>5.7815171625817106E-14</c:v>
                </c:pt>
                <c:pt idx="2492">
                  <c:v>5.7815171625817106E-14</c:v>
                </c:pt>
                <c:pt idx="2493">
                  <c:v>5.7815171625817106E-14</c:v>
                </c:pt>
                <c:pt idx="2494">
                  <c:v>5.7815171625817106E-14</c:v>
                </c:pt>
                <c:pt idx="2495">
                  <c:v>5.7815171625817106E-14</c:v>
                </c:pt>
                <c:pt idx="2496">
                  <c:v>5.7815171625817106E-14</c:v>
                </c:pt>
                <c:pt idx="2497">
                  <c:v>5.7815171625817106E-14</c:v>
                </c:pt>
                <c:pt idx="2498">
                  <c:v>5.7815171625817106E-14</c:v>
                </c:pt>
                <c:pt idx="2499">
                  <c:v>5.7815171625817106E-14</c:v>
                </c:pt>
                <c:pt idx="2500">
                  <c:v>5.7815171625817106E-14</c:v>
                </c:pt>
                <c:pt idx="2501">
                  <c:v>5.7815171625817106E-14</c:v>
                </c:pt>
                <c:pt idx="2502">
                  <c:v>5.7815171625817106E-14</c:v>
                </c:pt>
                <c:pt idx="2503">
                  <c:v>5.7815171625817106E-14</c:v>
                </c:pt>
                <c:pt idx="2504">
                  <c:v>5.7815171625817106E-14</c:v>
                </c:pt>
                <c:pt idx="2505">
                  <c:v>5.7815171625817106E-14</c:v>
                </c:pt>
                <c:pt idx="2506">
                  <c:v>5.7815171625817106E-14</c:v>
                </c:pt>
                <c:pt idx="2507">
                  <c:v>5.7815171625817106E-14</c:v>
                </c:pt>
                <c:pt idx="2508">
                  <c:v>5.7815171625817106E-14</c:v>
                </c:pt>
                <c:pt idx="2509">
                  <c:v>5.7815171625817106E-14</c:v>
                </c:pt>
                <c:pt idx="2510">
                  <c:v>5.7815171625817106E-14</c:v>
                </c:pt>
                <c:pt idx="2511">
                  <c:v>5.7815171625817106E-14</c:v>
                </c:pt>
                <c:pt idx="2512">
                  <c:v>5.7815171625817106E-14</c:v>
                </c:pt>
                <c:pt idx="2513">
                  <c:v>5.7815171625817106E-14</c:v>
                </c:pt>
                <c:pt idx="2514">
                  <c:v>5.7815171625817106E-14</c:v>
                </c:pt>
                <c:pt idx="2515">
                  <c:v>5.7815171625817106E-14</c:v>
                </c:pt>
                <c:pt idx="2516">
                  <c:v>5.7815171625817106E-14</c:v>
                </c:pt>
                <c:pt idx="2517">
                  <c:v>5.7815171625817106E-14</c:v>
                </c:pt>
                <c:pt idx="2518">
                  <c:v>5.7815171625817106E-14</c:v>
                </c:pt>
                <c:pt idx="2519">
                  <c:v>5.7815171625817106E-14</c:v>
                </c:pt>
                <c:pt idx="2520">
                  <c:v>5.7815171625817106E-14</c:v>
                </c:pt>
                <c:pt idx="2521">
                  <c:v>5.7815171625817106E-14</c:v>
                </c:pt>
                <c:pt idx="2522">
                  <c:v>5.7815171625817106E-14</c:v>
                </c:pt>
                <c:pt idx="2523">
                  <c:v>5.7815171625817106E-14</c:v>
                </c:pt>
                <c:pt idx="2524">
                  <c:v>5.7815171625817106E-14</c:v>
                </c:pt>
                <c:pt idx="2525">
                  <c:v>5.7815171625817106E-14</c:v>
                </c:pt>
                <c:pt idx="2526">
                  <c:v>5.7815171625817106E-14</c:v>
                </c:pt>
                <c:pt idx="2527">
                  <c:v>5.7815171625817106E-14</c:v>
                </c:pt>
                <c:pt idx="2528">
                  <c:v>5.7815171625817106E-14</c:v>
                </c:pt>
                <c:pt idx="2529">
                  <c:v>5.7815171625817106E-14</c:v>
                </c:pt>
                <c:pt idx="2530">
                  <c:v>5.7815171625817106E-14</c:v>
                </c:pt>
                <c:pt idx="2531">
                  <c:v>5.7815171625817106E-14</c:v>
                </c:pt>
                <c:pt idx="2532">
                  <c:v>5.7815171625817106E-14</c:v>
                </c:pt>
                <c:pt idx="2533">
                  <c:v>5.7815171625817106E-14</c:v>
                </c:pt>
                <c:pt idx="2534">
                  <c:v>5.7815171625817106E-14</c:v>
                </c:pt>
                <c:pt idx="2535">
                  <c:v>5.7815171625817106E-14</c:v>
                </c:pt>
                <c:pt idx="2536">
                  <c:v>5.7815171625817106E-14</c:v>
                </c:pt>
                <c:pt idx="2537">
                  <c:v>5.7815171625817106E-14</c:v>
                </c:pt>
                <c:pt idx="2538">
                  <c:v>5.7815171625817106E-14</c:v>
                </c:pt>
                <c:pt idx="2539">
                  <c:v>5.7815171625817106E-14</c:v>
                </c:pt>
                <c:pt idx="2540">
                  <c:v>5.7815171625817106E-14</c:v>
                </c:pt>
                <c:pt idx="2541">
                  <c:v>5.7815171625817106E-14</c:v>
                </c:pt>
                <c:pt idx="2542">
                  <c:v>5.7815171625817106E-14</c:v>
                </c:pt>
                <c:pt idx="2543">
                  <c:v>5.7815171625817106E-14</c:v>
                </c:pt>
                <c:pt idx="2544">
                  <c:v>5.7815171625817106E-14</c:v>
                </c:pt>
                <c:pt idx="2545">
                  <c:v>5.7815171625817106E-14</c:v>
                </c:pt>
                <c:pt idx="2546">
                  <c:v>5.7815171625817106E-14</c:v>
                </c:pt>
                <c:pt idx="2547">
                  <c:v>5.7815171625817106E-14</c:v>
                </c:pt>
                <c:pt idx="2548">
                  <c:v>5.7815171625817106E-14</c:v>
                </c:pt>
                <c:pt idx="2549">
                  <c:v>5.7815171625817106E-14</c:v>
                </c:pt>
                <c:pt idx="2550">
                  <c:v>5.7815171625817106E-14</c:v>
                </c:pt>
                <c:pt idx="2551">
                  <c:v>5.7815171625817106E-14</c:v>
                </c:pt>
                <c:pt idx="2552">
                  <c:v>5.7815171625817106E-14</c:v>
                </c:pt>
                <c:pt idx="2553">
                  <c:v>5.7815171625817106E-14</c:v>
                </c:pt>
                <c:pt idx="2554">
                  <c:v>5.7815171625817106E-14</c:v>
                </c:pt>
                <c:pt idx="2555">
                  <c:v>5.7815171625817106E-14</c:v>
                </c:pt>
                <c:pt idx="2556">
                  <c:v>5.7815171625817106E-14</c:v>
                </c:pt>
                <c:pt idx="2557">
                  <c:v>5.7815171625817106E-14</c:v>
                </c:pt>
                <c:pt idx="2558">
                  <c:v>5.7815171625817106E-14</c:v>
                </c:pt>
                <c:pt idx="2559">
                  <c:v>5.7815171625817106E-14</c:v>
                </c:pt>
                <c:pt idx="2560">
                  <c:v>5.7815171625817106E-14</c:v>
                </c:pt>
                <c:pt idx="2561">
                  <c:v>5.7815171625817106E-14</c:v>
                </c:pt>
                <c:pt idx="2562">
                  <c:v>5.7815171625817106E-14</c:v>
                </c:pt>
                <c:pt idx="2563">
                  <c:v>5.7815171625817106E-14</c:v>
                </c:pt>
                <c:pt idx="2564">
                  <c:v>5.7815171625817106E-14</c:v>
                </c:pt>
                <c:pt idx="2565">
                  <c:v>5.7815171625817106E-14</c:v>
                </c:pt>
                <c:pt idx="2566">
                  <c:v>5.7815171625817106E-14</c:v>
                </c:pt>
                <c:pt idx="2567">
                  <c:v>5.7815171625817106E-14</c:v>
                </c:pt>
                <c:pt idx="2568">
                  <c:v>5.7815171625817106E-14</c:v>
                </c:pt>
                <c:pt idx="2569">
                  <c:v>5.7815171625817106E-14</c:v>
                </c:pt>
                <c:pt idx="2570">
                  <c:v>5.7815171625817106E-14</c:v>
                </c:pt>
                <c:pt idx="2571">
                  <c:v>5.7815171625817106E-14</c:v>
                </c:pt>
                <c:pt idx="2572">
                  <c:v>5.7815171625817106E-14</c:v>
                </c:pt>
                <c:pt idx="2573">
                  <c:v>5.7815171625817106E-14</c:v>
                </c:pt>
                <c:pt idx="2574">
                  <c:v>5.7815171625817106E-14</c:v>
                </c:pt>
                <c:pt idx="2575">
                  <c:v>5.7815171625817106E-14</c:v>
                </c:pt>
                <c:pt idx="2576">
                  <c:v>5.7815171625817106E-14</c:v>
                </c:pt>
                <c:pt idx="2577">
                  <c:v>5.7815171625817106E-14</c:v>
                </c:pt>
                <c:pt idx="2578">
                  <c:v>5.7815171625817106E-14</c:v>
                </c:pt>
                <c:pt idx="2579">
                  <c:v>5.7815171625817106E-14</c:v>
                </c:pt>
                <c:pt idx="2580">
                  <c:v>5.7815171625817106E-14</c:v>
                </c:pt>
                <c:pt idx="2581">
                  <c:v>5.7815171625817106E-14</c:v>
                </c:pt>
                <c:pt idx="2582">
                  <c:v>5.7815171625817106E-14</c:v>
                </c:pt>
                <c:pt idx="2583">
                  <c:v>5.7815171625817106E-14</c:v>
                </c:pt>
                <c:pt idx="2584">
                  <c:v>5.7815171625817106E-14</c:v>
                </c:pt>
                <c:pt idx="2585">
                  <c:v>5.7815171625817106E-14</c:v>
                </c:pt>
                <c:pt idx="2586">
                  <c:v>5.7815171625817106E-14</c:v>
                </c:pt>
                <c:pt idx="2587">
                  <c:v>5.7815171625817106E-14</c:v>
                </c:pt>
                <c:pt idx="2588">
                  <c:v>5.7815171625817106E-14</c:v>
                </c:pt>
                <c:pt idx="2589">
                  <c:v>5.7815171625817106E-14</c:v>
                </c:pt>
                <c:pt idx="2590">
                  <c:v>5.7815171625817106E-14</c:v>
                </c:pt>
                <c:pt idx="2591">
                  <c:v>5.7815171625817106E-14</c:v>
                </c:pt>
                <c:pt idx="2592">
                  <c:v>5.7815171625817106E-14</c:v>
                </c:pt>
                <c:pt idx="2593">
                  <c:v>5.7815171625817106E-14</c:v>
                </c:pt>
                <c:pt idx="2594">
                  <c:v>5.7815171625817106E-14</c:v>
                </c:pt>
                <c:pt idx="2595">
                  <c:v>5.7815171625817106E-14</c:v>
                </c:pt>
                <c:pt idx="2596">
                  <c:v>5.7815171625817106E-14</c:v>
                </c:pt>
                <c:pt idx="2597">
                  <c:v>5.7815171625817106E-14</c:v>
                </c:pt>
                <c:pt idx="2598">
                  <c:v>5.7815171625817106E-14</c:v>
                </c:pt>
                <c:pt idx="2599">
                  <c:v>5.7815171625817106E-14</c:v>
                </c:pt>
                <c:pt idx="2600">
                  <c:v>5.7815171625817106E-14</c:v>
                </c:pt>
                <c:pt idx="2601">
                  <c:v>5.7815171625817106E-14</c:v>
                </c:pt>
                <c:pt idx="2602">
                  <c:v>5.7815171625817106E-14</c:v>
                </c:pt>
                <c:pt idx="2603">
                  <c:v>5.7815171625817106E-14</c:v>
                </c:pt>
                <c:pt idx="2604">
                  <c:v>5.7815171625817106E-14</c:v>
                </c:pt>
                <c:pt idx="2605">
                  <c:v>5.7815171625817106E-14</c:v>
                </c:pt>
                <c:pt idx="2606">
                  <c:v>5.7815171625817106E-14</c:v>
                </c:pt>
                <c:pt idx="2607">
                  <c:v>5.7815171625817106E-14</c:v>
                </c:pt>
                <c:pt idx="2608">
                  <c:v>5.7815171625817106E-14</c:v>
                </c:pt>
                <c:pt idx="2609">
                  <c:v>5.7815171625817106E-14</c:v>
                </c:pt>
                <c:pt idx="2610">
                  <c:v>5.7815171625817106E-14</c:v>
                </c:pt>
                <c:pt idx="2611">
                  <c:v>5.7815171625817106E-14</c:v>
                </c:pt>
                <c:pt idx="2612">
                  <c:v>5.7815171625817106E-14</c:v>
                </c:pt>
                <c:pt idx="2613">
                  <c:v>5.7815171625817106E-14</c:v>
                </c:pt>
                <c:pt idx="2614">
                  <c:v>5.7815171625817106E-14</c:v>
                </c:pt>
                <c:pt idx="2615">
                  <c:v>5.7815171625817106E-14</c:v>
                </c:pt>
                <c:pt idx="2616">
                  <c:v>5.7815171625817106E-14</c:v>
                </c:pt>
                <c:pt idx="2617">
                  <c:v>5.7815171625817106E-14</c:v>
                </c:pt>
                <c:pt idx="2618">
                  <c:v>5.7815171625817106E-14</c:v>
                </c:pt>
                <c:pt idx="2619">
                  <c:v>5.7815171625817106E-14</c:v>
                </c:pt>
                <c:pt idx="2620">
                  <c:v>5.7815171625817106E-14</c:v>
                </c:pt>
                <c:pt idx="2621">
                  <c:v>5.7815171625817106E-14</c:v>
                </c:pt>
                <c:pt idx="2622">
                  <c:v>5.7815171625817106E-14</c:v>
                </c:pt>
                <c:pt idx="2623">
                  <c:v>5.7815171625817106E-14</c:v>
                </c:pt>
                <c:pt idx="2624">
                  <c:v>5.7815171625817106E-14</c:v>
                </c:pt>
                <c:pt idx="2625">
                  <c:v>5.7815171625817106E-14</c:v>
                </c:pt>
                <c:pt idx="2626">
                  <c:v>5.7815171625817106E-14</c:v>
                </c:pt>
                <c:pt idx="2627">
                  <c:v>5.7815171625817106E-14</c:v>
                </c:pt>
                <c:pt idx="2628">
                  <c:v>5.7815171625817106E-14</c:v>
                </c:pt>
                <c:pt idx="2629">
                  <c:v>5.7815171625817106E-14</c:v>
                </c:pt>
                <c:pt idx="2630">
                  <c:v>5.7815171625817106E-14</c:v>
                </c:pt>
                <c:pt idx="2631">
                  <c:v>5.7815171625817106E-14</c:v>
                </c:pt>
                <c:pt idx="2632">
                  <c:v>5.7815171625817106E-14</c:v>
                </c:pt>
                <c:pt idx="2633">
                  <c:v>5.7815171625817106E-14</c:v>
                </c:pt>
                <c:pt idx="2634">
                  <c:v>5.7815171625817106E-14</c:v>
                </c:pt>
                <c:pt idx="2635">
                  <c:v>5.7815171625817106E-14</c:v>
                </c:pt>
                <c:pt idx="2636">
                  <c:v>5.7815171625817106E-14</c:v>
                </c:pt>
                <c:pt idx="2637">
                  <c:v>5.7815171625817106E-14</c:v>
                </c:pt>
                <c:pt idx="2638">
                  <c:v>5.7815171625817106E-14</c:v>
                </c:pt>
                <c:pt idx="2639">
                  <c:v>5.7815171625817106E-14</c:v>
                </c:pt>
                <c:pt idx="2640">
                  <c:v>5.7815171625817106E-14</c:v>
                </c:pt>
                <c:pt idx="2641">
                  <c:v>5.7815171625817106E-14</c:v>
                </c:pt>
                <c:pt idx="2642">
                  <c:v>5.7815171625817106E-14</c:v>
                </c:pt>
                <c:pt idx="2643">
                  <c:v>5.7815171625817106E-14</c:v>
                </c:pt>
                <c:pt idx="2644">
                  <c:v>5.7815171625817106E-14</c:v>
                </c:pt>
                <c:pt idx="2645">
                  <c:v>5.7815171625817106E-14</c:v>
                </c:pt>
                <c:pt idx="2646">
                  <c:v>5.7815171625817106E-14</c:v>
                </c:pt>
                <c:pt idx="2647">
                  <c:v>5.7815171625817106E-14</c:v>
                </c:pt>
                <c:pt idx="2648">
                  <c:v>5.7815171625817106E-14</c:v>
                </c:pt>
                <c:pt idx="2649">
                  <c:v>5.7815171625817106E-14</c:v>
                </c:pt>
                <c:pt idx="2650">
                  <c:v>5.7815171625817106E-14</c:v>
                </c:pt>
                <c:pt idx="2651">
                  <c:v>5.7815171625817106E-14</c:v>
                </c:pt>
                <c:pt idx="2652">
                  <c:v>5.7815171625817106E-14</c:v>
                </c:pt>
                <c:pt idx="2653">
                  <c:v>5.7815171625817106E-14</c:v>
                </c:pt>
                <c:pt idx="2654">
                  <c:v>5.7815171625817106E-14</c:v>
                </c:pt>
                <c:pt idx="2655">
                  <c:v>5.7815171625817106E-14</c:v>
                </c:pt>
                <c:pt idx="2656">
                  <c:v>5.7815171625817106E-14</c:v>
                </c:pt>
                <c:pt idx="2657">
                  <c:v>5.7815171625817106E-14</c:v>
                </c:pt>
                <c:pt idx="2658">
                  <c:v>5.7815171625817106E-14</c:v>
                </c:pt>
                <c:pt idx="2659">
                  <c:v>5.7815171625817106E-14</c:v>
                </c:pt>
                <c:pt idx="2660">
                  <c:v>5.7815171625817106E-14</c:v>
                </c:pt>
                <c:pt idx="2661">
                  <c:v>5.7815171625817106E-14</c:v>
                </c:pt>
                <c:pt idx="2662">
                  <c:v>5.7815171625817106E-14</c:v>
                </c:pt>
                <c:pt idx="2663">
                  <c:v>5.7815171625817106E-14</c:v>
                </c:pt>
                <c:pt idx="2664">
                  <c:v>5.7815171625817106E-14</c:v>
                </c:pt>
                <c:pt idx="2665">
                  <c:v>5.7815171625817106E-14</c:v>
                </c:pt>
                <c:pt idx="2666">
                  <c:v>5.7815171625817106E-14</c:v>
                </c:pt>
                <c:pt idx="2667">
                  <c:v>5.7815171625817106E-14</c:v>
                </c:pt>
                <c:pt idx="2668">
                  <c:v>5.7815171625817106E-14</c:v>
                </c:pt>
                <c:pt idx="2669">
                  <c:v>5.7815171625817106E-14</c:v>
                </c:pt>
                <c:pt idx="2670">
                  <c:v>5.7815171625817106E-14</c:v>
                </c:pt>
                <c:pt idx="2671">
                  <c:v>5.7815171625817106E-14</c:v>
                </c:pt>
                <c:pt idx="2672">
                  <c:v>5.7815171625817106E-14</c:v>
                </c:pt>
                <c:pt idx="2673">
                  <c:v>5.7815171625817106E-14</c:v>
                </c:pt>
                <c:pt idx="2674">
                  <c:v>5.7815171625817106E-14</c:v>
                </c:pt>
                <c:pt idx="2675">
                  <c:v>5.7815171625817106E-14</c:v>
                </c:pt>
                <c:pt idx="2676">
                  <c:v>5.7815171625817106E-14</c:v>
                </c:pt>
                <c:pt idx="2677">
                  <c:v>5.7815171625817106E-14</c:v>
                </c:pt>
                <c:pt idx="2678">
                  <c:v>5.7815171625817106E-14</c:v>
                </c:pt>
                <c:pt idx="2679">
                  <c:v>5.7815171625817106E-14</c:v>
                </c:pt>
                <c:pt idx="2680">
                  <c:v>5.7815171625817106E-14</c:v>
                </c:pt>
                <c:pt idx="2681">
                  <c:v>5.7815171625817106E-14</c:v>
                </c:pt>
                <c:pt idx="2682">
                  <c:v>5.7815171625817106E-14</c:v>
                </c:pt>
                <c:pt idx="2683">
                  <c:v>5.7815171625817106E-14</c:v>
                </c:pt>
                <c:pt idx="2684">
                  <c:v>5.7815171625817106E-14</c:v>
                </c:pt>
                <c:pt idx="2685">
                  <c:v>5.7815171625817106E-14</c:v>
                </c:pt>
                <c:pt idx="2686">
                  <c:v>5.7815171625817106E-14</c:v>
                </c:pt>
                <c:pt idx="2687">
                  <c:v>5.7815171625817106E-14</c:v>
                </c:pt>
                <c:pt idx="2688">
                  <c:v>5.7815171625817106E-14</c:v>
                </c:pt>
                <c:pt idx="2689">
                  <c:v>5.7815171625817106E-14</c:v>
                </c:pt>
                <c:pt idx="2690">
                  <c:v>5.7815171625817106E-14</c:v>
                </c:pt>
                <c:pt idx="2691">
                  <c:v>5.7815171625817106E-14</c:v>
                </c:pt>
                <c:pt idx="2692">
                  <c:v>5.7815171625817106E-14</c:v>
                </c:pt>
                <c:pt idx="2693">
                  <c:v>5.7815171625817106E-14</c:v>
                </c:pt>
                <c:pt idx="2694">
                  <c:v>5.7815171625817106E-14</c:v>
                </c:pt>
                <c:pt idx="2695">
                  <c:v>5.7815171625817106E-14</c:v>
                </c:pt>
                <c:pt idx="2696">
                  <c:v>5.7815171625817106E-14</c:v>
                </c:pt>
                <c:pt idx="2697">
                  <c:v>5.7815171625817106E-14</c:v>
                </c:pt>
                <c:pt idx="2698">
                  <c:v>5.7815171625817106E-14</c:v>
                </c:pt>
                <c:pt idx="2699">
                  <c:v>5.7815171625817106E-14</c:v>
                </c:pt>
                <c:pt idx="2700">
                  <c:v>5.7815171625817106E-14</c:v>
                </c:pt>
                <c:pt idx="2701">
                  <c:v>5.7815171625817106E-14</c:v>
                </c:pt>
                <c:pt idx="2702">
                  <c:v>5.7815171625817106E-14</c:v>
                </c:pt>
                <c:pt idx="2703">
                  <c:v>5.7815171625817106E-14</c:v>
                </c:pt>
                <c:pt idx="2704">
                  <c:v>5.7815171625817106E-14</c:v>
                </c:pt>
                <c:pt idx="2705">
                  <c:v>5.7815171625817106E-14</c:v>
                </c:pt>
                <c:pt idx="2706">
                  <c:v>5.7815171625817106E-14</c:v>
                </c:pt>
                <c:pt idx="2707">
                  <c:v>5.7815171625817106E-14</c:v>
                </c:pt>
                <c:pt idx="2708">
                  <c:v>5.7815171625817106E-14</c:v>
                </c:pt>
                <c:pt idx="2709">
                  <c:v>5.7815171625817106E-14</c:v>
                </c:pt>
                <c:pt idx="2710">
                  <c:v>5.7815171625817106E-14</c:v>
                </c:pt>
                <c:pt idx="2711">
                  <c:v>5.7815171625817106E-14</c:v>
                </c:pt>
                <c:pt idx="2712">
                  <c:v>5.7815171625817106E-14</c:v>
                </c:pt>
                <c:pt idx="2713">
                  <c:v>5.7815171625817106E-14</c:v>
                </c:pt>
                <c:pt idx="2714">
                  <c:v>5.7815171625817106E-14</c:v>
                </c:pt>
                <c:pt idx="2715">
                  <c:v>5.7815171625817106E-14</c:v>
                </c:pt>
                <c:pt idx="2716">
                  <c:v>5.7815171625817106E-14</c:v>
                </c:pt>
                <c:pt idx="2717">
                  <c:v>5.7815171625817106E-14</c:v>
                </c:pt>
                <c:pt idx="2718">
                  <c:v>5.7815171625817106E-14</c:v>
                </c:pt>
                <c:pt idx="2719">
                  <c:v>5.7815171625817106E-14</c:v>
                </c:pt>
                <c:pt idx="2720">
                  <c:v>5.7815171625817106E-14</c:v>
                </c:pt>
                <c:pt idx="2721">
                  <c:v>5.7815171625817106E-14</c:v>
                </c:pt>
                <c:pt idx="2722">
                  <c:v>5.7815171625817106E-14</c:v>
                </c:pt>
                <c:pt idx="2723">
                  <c:v>5.7815171625817106E-14</c:v>
                </c:pt>
                <c:pt idx="2724">
                  <c:v>5.7815171625817106E-14</c:v>
                </c:pt>
                <c:pt idx="2725">
                  <c:v>5.7815171625817106E-14</c:v>
                </c:pt>
                <c:pt idx="2726">
                  <c:v>5.7815171625817106E-14</c:v>
                </c:pt>
                <c:pt idx="2727">
                  <c:v>5.7815171625817106E-14</c:v>
                </c:pt>
                <c:pt idx="2728">
                  <c:v>5.7815171625817106E-14</c:v>
                </c:pt>
                <c:pt idx="2729">
                  <c:v>5.7815171625817106E-14</c:v>
                </c:pt>
                <c:pt idx="2730">
                  <c:v>5.7815171625817106E-14</c:v>
                </c:pt>
                <c:pt idx="2731">
                  <c:v>5.7815171625817106E-14</c:v>
                </c:pt>
                <c:pt idx="2732">
                  <c:v>5.7815171625817106E-14</c:v>
                </c:pt>
                <c:pt idx="2733">
                  <c:v>5.7815171625817106E-14</c:v>
                </c:pt>
                <c:pt idx="2734">
                  <c:v>5.7815171625817106E-14</c:v>
                </c:pt>
                <c:pt idx="2735">
                  <c:v>5.7815171625817106E-14</c:v>
                </c:pt>
                <c:pt idx="2736">
                  <c:v>5.7815171625817106E-14</c:v>
                </c:pt>
                <c:pt idx="2737">
                  <c:v>5.7815171625817106E-14</c:v>
                </c:pt>
                <c:pt idx="2738">
                  <c:v>5.7815171625817106E-14</c:v>
                </c:pt>
                <c:pt idx="2739">
                  <c:v>5.7815171625817106E-14</c:v>
                </c:pt>
                <c:pt idx="2740">
                  <c:v>5.7815171625817106E-14</c:v>
                </c:pt>
                <c:pt idx="2741">
                  <c:v>5.7815171625817106E-14</c:v>
                </c:pt>
                <c:pt idx="2742">
                  <c:v>5.7815171625817106E-14</c:v>
                </c:pt>
                <c:pt idx="2743">
                  <c:v>5.7815171625817106E-14</c:v>
                </c:pt>
                <c:pt idx="2744">
                  <c:v>5.7815171625817106E-14</c:v>
                </c:pt>
                <c:pt idx="2745">
                  <c:v>5.7815171625817106E-14</c:v>
                </c:pt>
                <c:pt idx="2746">
                  <c:v>5.7815171625817106E-14</c:v>
                </c:pt>
                <c:pt idx="2747">
                  <c:v>5.7815171625817106E-14</c:v>
                </c:pt>
                <c:pt idx="2748">
                  <c:v>5.7815171625817106E-14</c:v>
                </c:pt>
                <c:pt idx="2749">
                  <c:v>5.7815171625817106E-14</c:v>
                </c:pt>
                <c:pt idx="2750">
                  <c:v>5.7815171625817106E-14</c:v>
                </c:pt>
                <c:pt idx="2751">
                  <c:v>5.7815171625817106E-14</c:v>
                </c:pt>
                <c:pt idx="2752">
                  <c:v>5.7815171625817106E-14</c:v>
                </c:pt>
                <c:pt idx="2753">
                  <c:v>5.7815171625817106E-14</c:v>
                </c:pt>
                <c:pt idx="2754">
                  <c:v>5.7815171625817106E-14</c:v>
                </c:pt>
                <c:pt idx="2755">
                  <c:v>5.7815171625817106E-14</c:v>
                </c:pt>
                <c:pt idx="2756">
                  <c:v>5.7815171625817106E-14</c:v>
                </c:pt>
                <c:pt idx="2757">
                  <c:v>5.7815171625817106E-14</c:v>
                </c:pt>
                <c:pt idx="2758">
                  <c:v>5.7815171625817106E-14</c:v>
                </c:pt>
                <c:pt idx="2759">
                  <c:v>5.7815171625817106E-14</c:v>
                </c:pt>
                <c:pt idx="2760">
                  <c:v>5.7815171625817106E-14</c:v>
                </c:pt>
                <c:pt idx="2761">
                  <c:v>5.7815171625817106E-14</c:v>
                </c:pt>
                <c:pt idx="2762">
                  <c:v>5.7815171625817106E-14</c:v>
                </c:pt>
                <c:pt idx="2763">
                  <c:v>5.7815171625817106E-14</c:v>
                </c:pt>
                <c:pt idx="2764">
                  <c:v>5.7815171625817106E-14</c:v>
                </c:pt>
                <c:pt idx="2765">
                  <c:v>5.7815171625817106E-14</c:v>
                </c:pt>
                <c:pt idx="2766">
                  <c:v>5.7815171625817106E-14</c:v>
                </c:pt>
                <c:pt idx="2767">
                  <c:v>5.7815171625817106E-14</c:v>
                </c:pt>
                <c:pt idx="2768">
                  <c:v>5.7815171625817106E-14</c:v>
                </c:pt>
                <c:pt idx="2769">
                  <c:v>5.7815171625817106E-14</c:v>
                </c:pt>
                <c:pt idx="2770">
                  <c:v>5.7815171625817106E-14</c:v>
                </c:pt>
                <c:pt idx="2771">
                  <c:v>5.7815171625817106E-14</c:v>
                </c:pt>
                <c:pt idx="2772">
                  <c:v>5.7815171625817106E-14</c:v>
                </c:pt>
                <c:pt idx="2773">
                  <c:v>5.7815171625817106E-14</c:v>
                </c:pt>
                <c:pt idx="2774">
                  <c:v>5.7815171625817106E-14</c:v>
                </c:pt>
                <c:pt idx="2775">
                  <c:v>5.7815171625817106E-14</c:v>
                </c:pt>
                <c:pt idx="2776">
                  <c:v>5.7815171625817106E-14</c:v>
                </c:pt>
                <c:pt idx="2777">
                  <c:v>5.7815171625817106E-14</c:v>
                </c:pt>
                <c:pt idx="2778">
                  <c:v>5.7815171625817106E-14</c:v>
                </c:pt>
                <c:pt idx="2779">
                  <c:v>5.7815171625817106E-14</c:v>
                </c:pt>
                <c:pt idx="2780">
                  <c:v>5.7815171625817106E-14</c:v>
                </c:pt>
                <c:pt idx="2781">
                  <c:v>5.7815171625817106E-14</c:v>
                </c:pt>
                <c:pt idx="2782">
                  <c:v>5.7815171625817106E-14</c:v>
                </c:pt>
                <c:pt idx="2783">
                  <c:v>5.7815171625817106E-14</c:v>
                </c:pt>
                <c:pt idx="2784">
                  <c:v>5.7815171625817106E-14</c:v>
                </c:pt>
                <c:pt idx="2785">
                  <c:v>5.7815171625817106E-14</c:v>
                </c:pt>
                <c:pt idx="2786">
                  <c:v>5.7815171625817106E-14</c:v>
                </c:pt>
                <c:pt idx="2787">
                  <c:v>5.7815171625817106E-14</c:v>
                </c:pt>
                <c:pt idx="2788">
                  <c:v>5.7815171625817106E-14</c:v>
                </c:pt>
                <c:pt idx="2789">
                  <c:v>5.7815171625817106E-14</c:v>
                </c:pt>
                <c:pt idx="2790">
                  <c:v>5.7815171625817106E-14</c:v>
                </c:pt>
                <c:pt idx="2791">
                  <c:v>5.7815171625817106E-14</c:v>
                </c:pt>
                <c:pt idx="2792">
                  <c:v>5.7815171625817106E-14</c:v>
                </c:pt>
                <c:pt idx="2793">
                  <c:v>5.7815171625817106E-14</c:v>
                </c:pt>
                <c:pt idx="2794">
                  <c:v>5.7815171625817106E-14</c:v>
                </c:pt>
                <c:pt idx="2795">
                  <c:v>5.7815171625817106E-14</c:v>
                </c:pt>
                <c:pt idx="2796">
                  <c:v>5.7815171625817106E-14</c:v>
                </c:pt>
                <c:pt idx="2797">
                  <c:v>5.7815171625817106E-14</c:v>
                </c:pt>
                <c:pt idx="2798">
                  <c:v>5.7815171625817106E-14</c:v>
                </c:pt>
                <c:pt idx="2799">
                  <c:v>5.7815171625817106E-14</c:v>
                </c:pt>
                <c:pt idx="2800">
                  <c:v>5.7815171625817106E-14</c:v>
                </c:pt>
                <c:pt idx="2801">
                  <c:v>5.7815171625817106E-14</c:v>
                </c:pt>
                <c:pt idx="2802">
                  <c:v>5.7815171625817106E-14</c:v>
                </c:pt>
                <c:pt idx="2803">
                  <c:v>5.7815171625817106E-14</c:v>
                </c:pt>
                <c:pt idx="2804">
                  <c:v>5.7815171625817106E-14</c:v>
                </c:pt>
                <c:pt idx="2805">
                  <c:v>5.7815171625817106E-14</c:v>
                </c:pt>
                <c:pt idx="2806">
                  <c:v>5.7815171625817106E-14</c:v>
                </c:pt>
                <c:pt idx="2807">
                  <c:v>5.7815171625817106E-14</c:v>
                </c:pt>
                <c:pt idx="2808">
                  <c:v>5.7815171625817106E-14</c:v>
                </c:pt>
                <c:pt idx="2809">
                  <c:v>5.7815171625817106E-14</c:v>
                </c:pt>
                <c:pt idx="2810">
                  <c:v>5.7815171625817106E-14</c:v>
                </c:pt>
                <c:pt idx="2811">
                  <c:v>5.7815171625817106E-14</c:v>
                </c:pt>
                <c:pt idx="2812">
                  <c:v>5.7815171625817106E-14</c:v>
                </c:pt>
                <c:pt idx="2813">
                  <c:v>5.7815171625817106E-14</c:v>
                </c:pt>
                <c:pt idx="2814">
                  <c:v>5.7815171625817106E-14</c:v>
                </c:pt>
                <c:pt idx="2815">
                  <c:v>5.7815171625817106E-14</c:v>
                </c:pt>
                <c:pt idx="2816">
                  <c:v>5.7815171625817106E-14</c:v>
                </c:pt>
                <c:pt idx="2817">
                  <c:v>5.7815171625817106E-14</c:v>
                </c:pt>
                <c:pt idx="2818">
                  <c:v>5.7815171625817106E-14</c:v>
                </c:pt>
                <c:pt idx="2819">
                  <c:v>5.7815171625817106E-14</c:v>
                </c:pt>
                <c:pt idx="2820">
                  <c:v>5.7815171625817106E-14</c:v>
                </c:pt>
                <c:pt idx="2821">
                  <c:v>5.7815171625817106E-14</c:v>
                </c:pt>
                <c:pt idx="2822">
                  <c:v>5.7815171625817106E-14</c:v>
                </c:pt>
                <c:pt idx="2823">
                  <c:v>5.7815171625817106E-14</c:v>
                </c:pt>
                <c:pt idx="2824">
                  <c:v>5.7815171625817106E-14</c:v>
                </c:pt>
                <c:pt idx="2825">
                  <c:v>5.7815171625817106E-14</c:v>
                </c:pt>
                <c:pt idx="2826">
                  <c:v>5.7815171625817106E-14</c:v>
                </c:pt>
                <c:pt idx="2827">
                  <c:v>5.7815171625817106E-14</c:v>
                </c:pt>
                <c:pt idx="2828">
                  <c:v>5.7815171625817106E-14</c:v>
                </c:pt>
                <c:pt idx="2829">
                  <c:v>5.7815171625817106E-14</c:v>
                </c:pt>
                <c:pt idx="2830">
                  <c:v>5.7815171625817106E-14</c:v>
                </c:pt>
                <c:pt idx="2831">
                  <c:v>5.7815171625817106E-14</c:v>
                </c:pt>
                <c:pt idx="2832">
                  <c:v>5.7815171625817106E-14</c:v>
                </c:pt>
                <c:pt idx="2833">
                  <c:v>5.7815171625817106E-14</c:v>
                </c:pt>
                <c:pt idx="2834">
                  <c:v>5.7815171625817106E-14</c:v>
                </c:pt>
                <c:pt idx="2835">
                  <c:v>5.7815171625817106E-14</c:v>
                </c:pt>
                <c:pt idx="2836">
                  <c:v>5.7815171625817106E-14</c:v>
                </c:pt>
                <c:pt idx="2837">
                  <c:v>5.7815171625817106E-14</c:v>
                </c:pt>
                <c:pt idx="2838">
                  <c:v>5.7815171625817106E-14</c:v>
                </c:pt>
                <c:pt idx="2839">
                  <c:v>5.7815171625817106E-14</c:v>
                </c:pt>
                <c:pt idx="2840">
                  <c:v>5.7815171625817106E-14</c:v>
                </c:pt>
                <c:pt idx="2841">
                  <c:v>5.7815171625817106E-14</c:v>
                </c:pt>
                <c:pt idx="2842">
                  <c:v>5.7815171625817106E-14</c:v>
                </c:pt>
                <c:pt idx="2843">
                  <c:v>5.7815171625817106E-14</c:v>
                </c:pt>
                <c:pt idx="2844">
                  <c:v>5.7815171625817106E-14</c:v>
                </c:pt>
                <c:pt idx="2845">
                  <c:v>5.7815171625817106E-14</c:v>
                </c:pt>
                <c:pt idx="2846">
                  <c:v>5.7815171625817106E-14</c:v>
                </c:pt>
                <c:pt idx="2847">
                  <c:v>5.7815171625817106E-14</c:v>
                </c:pt>
                <c:pt idx="2848">
                  <c:v>5.7815171625817106E-14</c:v>
                </c:pt>
                <c:pt idx="2849">
                  <c:v>5.7815171625817106E-14</c:v>
                </c:pt>
                <c:pt idx="2850">
                  <c:v>5.7815171625817106E-14</c:v>
                </c:pt>
                <c:pt idx="2851">
                  <c:v>5.7815171625817106E-14</c:v>
                </c:pt>
                <c:pt idx="2852">
                  <c:v>5.7815171625817106E-14</c:v>
                </c:pt>
                <c:pt idx="2853">
                  <c:v>5.7815171625817106E-14</c:v>
                </c:pt>
                <c:pt idx="2854">
                  <c:v>5.7815171625817106E-14</c:v>
                </c:pt>
                <c:pt idx="2855">
                  <c:v>5.7815171625817106E-14</c:v>
                </c:pt>
                <c:pt idx="2856">
                  <c:v>5.7815171625817106E-14</c:v>
                </c:pt>
                <c:pt idx="2857">
                  <c:v>5.7815171625817106E-14</c:v>
                </c:pt>
                <c:pt idx="2858">
                  <c:v>5.7815171625817106E-14</c:v>
                </c:pt>
                <c:pt idx="2859">
                  <c:v>5.7815171625817106E-14</c:v>
                </c:pt>
                <c:pt idx="2860">
                  <c:v>5.7815171625817106E-14</c:v>
                </c:pt>
                <c:pt idx="2861">
                  <c:v>5.7815171625817106E-14</c:v>
                </c:pt>
                <c:pt idx="2862">
                  <c:v>5.7815171625817106E-14</c:v>
                </c:pt>
                <c:pt idx="2863">
                  <c:v>5.7815171625817106E-14</c:v>
                </c:pt>
                <c:pt idx="2864">
                  <c:v>5.7815171625817106E-14</c:v>
                </c:pt>
                <c:pt idx="2865">
                  <c:v>5.7815171625817106E-14</c:v>
                </c:pt>
                <c:pt idx="2866">
                  <c:v>5.7815171625817106E-14</c:v>
                </c:pt>
                <c:pt idx="2867">
                  <c:v>5.7815171625817106E-14</c:v>
                </c:pt>
                <c:pt idx="2868">
                  <c:v>5.7815171625817106E-14</c:v>
                </c:pt>
                <c:pt idx="2869">
                  <c:v>5.7815171625817106E-14</c:v>
                </c:pt>
                <c:pt idx="2870">
                  <c:v>5.7815171625817106E-14</c:v>
                </c:pt>
                <c:pt idx="2871">
                  <c:v>5.7815171625817106E-14</c:v>
                </c:pt>
                <c:pt idx="2872">
                  <c:v>5.7815171625817106E-14</c:v>
                </c:pt>
                <c:pt idx="2873">
                  <c:v>5.7815171625817106E-14</c:v>
                </c:pt>
                <c:pt idx="2874">
                  <c:v>5.7815171625817106E-14</c:v>
                </c:pt>
                <c:pt idx="2875">
                  <c:v>5.7815171625817106E-14</c:v>
                </c:pt>
                <c:pt idx="2876">
                  <c:v>5.7815171625817106E-14</c:v>
                </c:pt>
                <c:pt idx="2877">
                  <c:v>5.7815171625817106E-14</c:v>
                </c:pt>
                <c:pt idx="2878">
                  <c:v>5.7815171625817106E-14</c:v>
                </c:pt>
                <c:pt idx="2879">
                  <c:v>5.7815171625817106E-14</c:v>
                </c:pt>
                <c:pt idx="2880">
                  <c:v>5.7815171625817106E-14</c:v>
                </c:pt>
                <c:pt idx="2881">
                  <c:v>5.7815171625817106E-14</c:v>
                </c:pt>
                <c:pt idx="2882">
                  <c:v>5.7815171625817106E-14</c:v>
                </c:pt>
                <c:pt idx="2883">
                  <c:v>5.7815171625817106E-14</c:v>
                </c:pt>
                <c:pt idx="2884">
                  <c:v>5.7815171625817106E-14</c:v>
                </c:pt>
                <c:pt idx="2885">
                  <c:v>5.7815171625817106E-14</c:v>
                </c:pt>
                <c:pt idx="2886">
                  <c:v>5.7815171625817106E-14</c:v>
                </c:pt>
                <c:pt idx="2887">
                  <c:v>5.7815171625817106E-14</c:v>
                </c:pt>
                <c:pt idx="2888">
                  <c:v>5.7815171625817106E-14</c:v>
                </c:pt>
                <c:pt idx="2889">
                  <c:v>5.7815171625817106E-14</c:v>
                </c:pt>
                <c:pt idx="2890">
                  <c:v>5.7815171625817106E-14</c:v>
                </c:pt>
                <c:pt idx="2891">
                  <c:v>5.7815171625817106E-14</c:v>
                </c:pt>
                <c:pt idx="2892">
                  <c:v>5.7815171625817106E-14</c:v>
                </c:pt>
                <c:pt idx="2893">
                  <c:v>5.7815171625817106E-14</c:v>
                </c:pt>
                <c:pt idx="2894">
                  <c:v>5.7815171625817106E-14</c:v>
                </c:pt>
                <c:pt idx="2895">
                  <c:v>5.7815171625817106E-14</c:v>
                </c:pt>
                <c:pt idx="2896">
                  <c:v>5.7815171625817106E-14</c:v>
                </c:pt>
                <c:pt idx="2897">
                  <c:v>5.7815171625817106E-14</c:v>
                </c:pt>
                <c:pt idx="2898">
                  <c:v>5.7815171625817106E-14</c:v>
                </c:pt>
                <c:pt idx="2899">
                  <c:v>5.7815171625817106E-14</c:v>
                </c:pt>
                <c:pt idx="2900">
                  <c:v>5.7815171625817106E-14</c:v>
                </c:pt>
                <c:pt idx="2901">
                  <c:v>5.7815171625817106E-14</c:v>
                </c:pt>
                <c:pt idx="2902">
                  <c:v>5.7815171625817106E-14</c:v>
                </c:pt>
                <c:pt idx="2903">
                  <c:v>5.7815171625817106E-14</c:v>
                </c:pt>
                <c:pt idx="2904">
                  <c:v>5.7815171625817106E-14</c:v>
                </c:pt>
                <c:pt idx="2905">
                  <c:v>5.7815171625817106E-14</c:v>
                </c:pt>
                <c:pt idx="2906">
                  <c:v>5.7815171625817106E-14</c:v>
                </c:pt>
                <c:pt idx="2907">
                  <c:v>5.7815171625817106E-14</c:v>
                </c:pt>
                <c:pt idx="2908">
                  <c:v>5.7815171625817106E-14</c:v>
                </c:pt>
                <c:pt idx="2909">
                  <c:v>5.7815171625817106E-14</c:v>
                </c:pt>
                <c:pt idx="2910">
                  <c:v>5.7815171625817106E-14</c:v>
                </c:pt>
                <c:pt idx="2911">
                  <c:v>5.7815171625817106E-14</c:v>
                </c:pt>
                <c:pt idx="2912">
                  <c:v>5.7815171625817106E-14</c:v>
                </c:pt>
                <c:pt idx="2913">
                  <c:v>5.7815171625817106E-14</c:v>
                </c:pt>
                <c:pt idx="2914">
                  <c:v>5.7815171625817106E-14</c:v>
                </c:pt>
                <c:pt idx="2915">
                  <c:v>5.7815171625817106E-14</c:v>
                </c:pt>
                <c:pt idx="2916">
                  <c:v>5.7815171625817106E-14</c:v>
                </c:pt>
                <c:pt idx="2917">
                  <c:v>5.7815171625817106E-14</c:v>
                </c:pt>
                <c:pt idx="2918">
                  <c:v>5.7815171625817106E-14</c:v>
                </c:pt>
                <c:pt idx="2919">
                  <c:v>5.7815171625817106E-14</c:v>
                </c:pt>
                <c:pt idx="2920">
                  <c:v>5.7815171625817106E-14</c:v>
                </c:pt>
                <c:pt idx="2921">
                  <c:v>5.7815171625817106E-14</c:v>
                </c:pt>
                <c:pt idx="2922">
                  <c:v>5.7815171625817106E-14</c:v>
                </c:pt>
                <c:pt idx="2923">
                  <c:v>5.7815171625817106E-14</c:v>
                </c:pt>
                <c:pt idx="2924">
                  <c:v>5.7815171625817106E-14</c:v>
                </c:pt>
                <c:pt idx="2925">
                  <c:v>5.7815171625817106E-14</c:v>
                </c:pt>
                <c:pt idx="2926">
                  <c:v>5.7815171625817106E-14</c:v>
                </c:pt>
                <c:pt idx="2927">
                  <c:v>5.7815171625817106E-14</c:v>
                </c:pt>
                <c:pt idx="2928">
                  <c:v>5.7815171625817106E-14</c:v>
                </c:pt>
                <c:pt idx="2929">
                  <c:v>5.7815171625817106E-14</c:v>
                </c:pt>
                <c:pt idx="2930">
                  <c:v>5.7815171625817106E-14</c:v>
                </c:pt>
                <c:pt idx="2931">
                  <c:v>5.7815171625817106E-14</c:v>
                </c:pt>
                <c:pt idx="2932">
                  <c:v>5.7815171625817106E-14</c:v>
                </c:pt>
                <c:pt idx="2933">
                  <c:v>5.7815171625817106E-14</c:v>
                </c:pt>
                <c:pt idx="2934">
                  <c:v>5.7815171625817106E-14</c:v>
                </c:pt>
                <c:pt idx="2935">
                  <c:v>5.7815171625817106E-14</c:v>
                </c:pt>
                <c:pt idx="2936">
                  <c:v>5.7815171625817106E-14</c:v>
                </c:pt>
                <c:pt idx="2937">
                  <c:v>5.7815171625817106E-14</c:v>
                </c:pt>
                <c:pt idx="2938">
                  <c:v>5.7815171625817106E-14</c:v>
                </c:pt>
                <c:pt idx="2939">
                  <c:v>5.7815171625817106E-14</c:v>
                </c:pt>
                <c:pt idx="2940">
                  <c:v>5.7815171625817106E-14</c:v>
                </c:pt>
                <c:pt idx="2941">
                  <c:v>5.7815171625817106E-14</c:v>
                </c:pt>
                <c:pt idx="2942">
                  <c:v>5.7815171625817106E-14</c:v>
                </c:pt>
                <c:pt idx="2943">
                  <c:v>5.7815171625817106E-14</c:v>
                </c:pt>
                <c:pt idx="2944">
                  <c:v>5.7815171625817106E-14</c:v>
                </c:pt>
                <c:pt idx="2945">
                  <c:v>5.7815171625817106E-14</c:v>
                </c:pt>
                <c:pt idx="2946">
                  <c:v>5.7815171625817106E-14</c:v>
                </c:pt>
                <c:pt idx="2947">
                  <c:v>5.7815171625817106E-14</c:v>
                </c:pt>
                <c:pt idx="2948">
                  <c:v>5.7815171625817106E-14</c:v>
                </c:pt>
                <c:pt idx="2949">
                  <c:v>5.7815171625817106E-14</c:v>
                </c:pt>
                <c:pt idx="2950">
                  <c:v>5.7815171625817106E-14</c:v>
                </c:pt>
                <c:pt idx="2951">
                  <c:v>5.7815171625817106E-14</c:v>
                </c:pt>
                <c:pt idx="2952">
                  <c:v>5.7815171625817106E-14</c:v>
                </c:pt>
                <c:pt idx="2953">
                  <c:v>5.7815171625817106E-14</c:v>
                </c:pt>
                <c:pt idx="2954">
                  <c:v>5.7815171625817106E-14</c:v>
                </c:pt>
                <c:pt idx="2955">
                  <c:v>5.7815171625817106E-14</c:v>
                </c:pt>
                <c:pt idx="2956">
                  <c:v>5.7815171625817106E-14</c:v>
                </c:pt>
                <c:pt idx="2957">
                  <c:v>5.7815171625817106E-14</c:v>
                </c:pt>
                <c:pt idx="2958">
                  <c:v>5.7815171625817106E-14</c:v>
                </c:pt>
                <c:pt idx="2959">
                  <c:v>5.7815171625817106E-14</c:v>
                </c:pt>
                <c:pt idx="2960">
                  <c:v>5.7815171625817106E-14</c:v>
                </c:pt>
                <c:pt idx="2961">
                  <c:v>5.7815171625817106E-14</c:v>
                </c:pt>
                <c:pt idx="2962">
                  <c:v>5.7815171625817106E-14</c:v>
                </c:pt>
                <c:pt idx="2963">
                  <c:v>5.7815171625817106E-14</c:v>
                </c:pt>
                <c:pt idx="2964">
                  <c:v>5.7815171625817106E-14</c:v>
                </c:pt>
                <c:pt idx="2965">
                  <c:v>5.7815171625817106E-14</c:v>
                </c:pt>
                <c:pt idx="2966">
                  <c:v>5.7815171625817106E-14</c:v>
                </c:pt>
                <c:pt idx="2967">
                  <c:v>5.7815171625817106E-14</c:v>
                </c:pt>
                <c:pt idx="2968">
                  <c:v>5.7815171625817106E-14</c:v>
                </c:pt>
                <c:pt idx="2969">
                  <c:v>5.7815171625817106E-14</c:v>
                </c:pt>
                <c:pt idx="2970">
                  <c:v>5.7815171625817106E-14</c:v>
                </c:pt>
                <c:pt idx="2971">
                  <c:v>5.7815171625817106E-14</c:v>
                </c:pt>
                <c:pt idx="2972">
                  <c:v>5.7815171625817106E-14</c:v>
                </c:pt>
                <c:pt idx="2973">
                  <c:v>5.7815171625817106E-14</c:v>
                </c:pt>
                <c:pt idx="2974">
                  <c:v>5.7815171625817106E-14</c:v>
                </c:pt>
                <c:pt idx="2975">
                  <c:v>5.7815171625817106E-14</c:v>
                </c:pt>
                <c:pt idx="2976">
                  <c:v>5.7815171625817106E-14</c:v>
                </c:pt>
                <c:pt idx="2977">
                  <c:v>5.7815171625817106E-14</c:v>
                </c:pt>
                <c:pt idx="2978">
                  <c:v>5.7815171625817106E-14</c:v>
                </c:pt>
                <c:pt idx="2979">
                  <c:v>5.7815171625817106E-14</c:v>
                </c:pt>
                <c:pt idx="2980">
                  <c:v>5.7815171625817106E-14</c:v>
                </c:pt>
                <c:pt idx="2981">
                  <c:v>5.7815171625817106E-14</c:v>
                </c:pt>
                <c:pt idx="2982">
                  <c:v>5.7815171625817106E-14</c:v>
                </c:pt>
                <c:pt idx="2983">
                  <c:v>5.7815171625817106E-14</c:v>
                </c:pt>
                <c:pt idx="2984">
                  <c:v>5.7815171625817106E-14</c:v>
                </c:pt>
                <c:pt idx="2985">
                  <c:v>5.7815171625817106E-14</c:v>
                </c:pt>
                <c:pt idx="2986">
                  <c:v>5.7815171625817106E-14</c:v>
                </c:pt>
                <c:pt idx="2987">
                  <c:v>5.7815171625817106E-14</c:v>
                </c:pt>
                <c:pt idx="2988">
                  <c:v>5.7815171625817106E-14</c:v>
                </c:pt>
                <c:pt idx="2989">
                  <c:v>5.7815171625817106E-14</c:v>
                </c:pt>
                <c:pt idx="2990">
                  <c:v>5.7815171625817106E-14</c:v>
                </c:pt>
                <c:pt idx="2991">
                  <c:v>5.7815171625817106E-14</c:v>
                </c:pt>
                <c:pt idx="2992">
                  <c:v>5.7815171625817106E-14</c:v>
                </c:pt>
                <c:pt idx="2993">
                  <c:v>5.7815171625817106E-14</c:v>
                </c:pt>
                <c:pt idx="2994">
                  <c:v>5.7815171625817106E-14</c:v>
                </c:pt>
                <c:pt idx="2995">
                  <c:v>5.7815171625817106E-14</c:v>
                </c:pt>
                <c:pt idx="2996">
                  <c:v>5.7815171625817106E-14</c:v>
                </c:pt>
                <c:pt idx="2997">
                  <c:v>5.7815171625817106E-14</c:v>
                </c:pt>
                <c:pt idx="2998">
                  <c:v>5.7815171625817106E-14</c:v>
                </c:pt>
                <c:pt idx="2999">
                  <c:v>5.7815171625817106E-14</c:v>
                </c:pt>
                <c:pt idx="3000">
                  <c:v>5.7815171625817106E-14</c:v>
                </c:pt>
                <c:pt idx="3001">
                  <c:v>5.7815171625817106E-14</c:v>
                </c:pt>
                <c:pt idx="3002">
                  <c:v>5.7815171625817106E-14</c:v>
                </c:pt>
                <c:pt idx="3003">
                  <c:v>5.7815171625817106E-14</c:v>
                </c:pt>
                <c:pt idx="3004">
                  <c:v>5.7815171625817106E-14</c:v>
                </c:pt>
                <c:pt idx="3005">
                  <c:v>5.7815171625817106E-14</c:v>
                </c:pt>
                <c:pt idx="3006">
                  <c:v>5.7815171625817106E-14</c:v>
                </c:pt>
                <c:pt idx="3007">
                  <c:v>5.7815171625817106E-14</c:v>
                </c:pt>
                <c:pt idx="3008">
                  <c:v>5.7815171625817106E-14</c:v>
                </c:pt>
                <c:pt idx="3009">
                  <c:v>5.7815171625817106E-14</c:v>
                </c:pt>
                <c:pt idx="3010">
                  <c:v>5.7815171625817106E-14</c:v>
                </c:pt>
                <c:pt idx="3011">
                  <c:v>5.7815171625817106E-14</c:v>
                </c:pt>
                <c:pt idx="3012">
                  <c:v>5.7815171625817106E-14</c:v>
                </c:pt>
                <c:pt idx="3013">
                  <c:v>5.7815171625817106E-14</c:v>
                </c:pt>
                <c:pt idx="3014">
                  <c:v>5.7815171625817106E-14</c:v>
                </c:pt>
                <c:pt idx="3015">
                  <c:v>5.7815171625817106E-14</c:v>
                </c:pt>
                <c:pt idx="3016">
                  <c:v>5.7815171625817106E-14</c:v>
                </c:pt>
                <c:pt idx="3017">
                  <c:v>5.7815171625817106E-14</c:v>
                </c:pt>
                <c:pt idx="3018">
                  <c:v>5.7815171625817106E-14</c:v>
                </c:pt>
                <c:pt idx="3019">
                  <c:v>5.7815171625817106E-14</c:v>
                </c:pt>
                <c:pt idx="3020">
                  <c:v>5.7815171625817106E-14</c:v>
                </c:pt>
                <c:pt idx="3021">
                  <c:v>5.7815171625817106E-14</c:v>
                </c:pt>
                <c:pt idx="3022">
                  <c:v>5.7815171625817106E-14</c:v>
                </c:pt>
                <c:pt idx="3023">
                  <c:v>5.7815171625817106E-14</c:v>
                </c:pt>
                <c:pt idx="3024">
                  <c:v>5.7815171625817106E-14</c:v>
                </c:pt>
                <c:pt idx="3025">
                  <c:v>5.7815171625817106E-14</c:v>
                </c:pt>
                <c:pt idx="3026">
                  <c:v>5.7815171625817106E-14</c:v>
                </c:pt>
                <c:pt idx="3027">
                  <c:v>5.7815171625817106E-14</c:v>
                </c:pt>
                <c:pt idx="3028">
                  <c:v>5.7815171625817106E-14</c:v>
                </c:pt>
                <c:pt idx="3029">
                  <c:v>5.7815171625817106E-14</c:v>
                </c:pt>
                <c:pt idx="3030">
                  <c:v>5.7815171625817106E-14</c:v>
                </c:pt>
                <c:pt idx="3031">
                  <c:v>5.7815171625817106E-14</c:v>
                </c:pt>
                <c:pt idx="3032">
                  <c:v>5.7815171625817106E-14</c:v>
                </c:pt>
                <c:pt idx="3033">
                  <c:v>5.7815171625817106E-14</c:v>
                </c:pt>
                <c:pt idx="3034">
                  <c:v>5.7815171625817106E-14</c:v>
                </c:pt>
                <c:pt idx="3035">
                  <c:v>5.7815171625817106E-14</c:v>
                </c:pt>
                <c:pt idx="3036">
                  <c:v>5.7815171625817106E-14</c:v>
                </c:pt>
                <c:pt idx="3037">
                  <c:v>5.7815171625817106E-14</c:v>
                </c:pt>
                <c:pt idx="3038">
                  <c:v>5.7815171625817106E-14</c:v>
                </c:pt>
                <c:pt idx="3039">
                  <c:v>5.7815171625817106E-14</c:v>
                </c:pt>
                <c:pt idx="3040">
                  <c:v>5.7815171625817106E-14</c:v>
                </c:pt>
                <c:pt idx="3041">
                  <c:v>5.7815171625817106E-14</c:v>
                </c:pt>
                <c:pt idx="3042">
                  <c:v>5.7815171625817106E-14</c:v>
                </c:pt>
                <c:pt idx="3043">
                  <c:v>5.7815171625817106E-14</c:v>
                </c:pt>
                <c:pt idx="3044">
                  <c:v>5.7815171625817106E-14</c:v>
                </c:pt>
                <c:pt idx="3045">
                  <c:v>5.7815171625817106E-14</c:v>
                </c:pt>
                <c:pt idx="3046">
                  <c:v>5.7815171625817106E-14</c:v>
                </c:pt>
                <c:pt idx="3047">
                  <c:v>5.7815171625817106E-14</c:v>
                </c:pt>
                <c:pt idx="3048">
                  <c:v>5.7815171625817106E-14</c:v>
                </c:pt>
                <c:pt idx="3049">
                  <c:v>5.7815171625817106E-14</c:v>
                </c:pt>
                <c:pt idx="3050">
                  <c:v>5.7815171625817106E-14</c:v>
                </c:pt>
                <c:pt idx="3051">
                  <c:v>5.7815171625817106E-14</c:v>
                </c:pt>
                <c:pt idx="3052">
                  <c:v>5.7815171625817106E-14</c:v>
                </c:pt>
                <c:pt idx="3053">
                  <c:v>5.7815171625817106E-14</c:v>
                </c:pt>
                <c:pt idx="3054">
                  <c:v>5.7815171625817106E-14</c:v>
                </c:pt>
                <c:pt idx="3055">
                  <c:v>5.7815171625817106E-14</c:v>
                </c:pt>
                <c:pt idx="3056">
                  <c:v>5.7815171625817106E-14</c:v>
                </c:pt>
                <c:pt idx="3057">
                  <c:v>5.7815171625817106E-14</c:v>
                </c:pt>
                <c:pt idx="3058">
                  <c:v>5.7815171625817106E-14</c:v>
                </c:pt>
                <c:pt idx="3059">
                  <c:v>5.7815171625817106E-14</c:v>
                </c:pt>
                <c:pt idx="3060">
                  <c:v>5.7815171625817106E-14</c:v>
                </c:pt>
                <c:pt idx="3061">
                  <c:v>5.7815171625817106E-14</c:v>
                </c:pt>
                <c:pt idx="3062">
                  <c:v>5.7815171625817106E-14</c:v>
                </c:pt>
                <c:pt idx="3063">
                  <c:v>5.7815171625817106E-14</c:v>
                </c:pt>
                <c:pt idx="3064">
                  <c:v>5.7815171625817106E-14</c:v>
                </c:pt>
                <c:pt idx="3065">
                  <c:v>5.7815171625817106E-14</c:v>
                </c:pt>
                <c:pt idx="3066">
                  <c:v>5.7815171625817106E-14</c:v>
                </c:pt>
                <c:pt idx="3067">
                  <c:v>5.7815171625817106E-14</c:v>
                </c:pt>
                <c:pt idx="3068">
                  <c:v>5.7815171625817106E-14</c:v>
                </c:pt>
                <c:pt idx="3069">
                  <c:v>5.7815171625817106E-14</c:v>
                </c:pt>
                <c:pt idx="3070">
                  <c:v>5.7815171625817106E-14</c:v>
                </c:pt>
                <c:pt idx="3071">
                  <c:v>5.7815171625817106E-14</c:v>
                </c:pt>
                <c:pt idx="3072">
                  <c:v>5.7815171625817106E-14</c:v>
                </c:pt>
                <c:pt idx="3073">
                  <c:v>5.7815171625817106E-14</c:v>
                </c:pt>
                <c:pt idx="3074">
                  <c:v>5.7815171625817106E-14</c:v>
                </c:pt>
                <c:pt idx="3075">
                  <c:v>5.7815171625817106E-14</c:v>
                </c:pt>
                <c:pt idx="3076">
                  <c:v>5.7815171625817106E-14</c:v>
                </c:pt>
                <c:pt idx="3077">
                  <c:v>5.7815171625817106E-14</c:v>
                </c:pt>
                <c:pt idx="3078">
                  <c:v>5.7815171625817106E-14</c:v>
                </c:pt>
                <c:pt idx="3079">
                  <c:v>5.7815171625817106E-14</c:v>
                </c:pt>
                <c:pt idx="3080">
                  <c:v>5.7815171625817106E-14</c:v>
                </c:pt>
                <c:pt idx="3081">
                  <c:v>5.7815171625817106E-14</c:v>
                </c:pt>
                <c:pt idx="3082">
                  <c:v>5.7815171625817106E-14</c:v>
                </c:pt>
                <c:pt idx="3083">
                  <c:v>5.7815171625817106E-14</c:v>
                </c:pt>
                <c:pt idx="3084">
                  <c:v>5.7815171625817106E-14</c:v>
                </c:pt>
                <c:pt idx="3085">
                  <c:v>5.7815171625817106E-14</c:v>
                </c:pt>
                <c:pt idx="3086">
                  <c:v>5.7815171625817106E-14</c:v>
                </c:pt>
                <c:pt idx="3087">
                  <c:v>5.7815171625817106E-14</c:v>
                </c:pt>
                <c:pt idx="3088">
                  <c:v>5.7815171625817106E-14</c:v>
                </c:pt>
                <c:pt idx="3089">
                  <c:v>5.7815171625817106E-14</c:v>
                </c:pt>
                <c:pt idx="3090">
                  <c:v>5.7815171625817106E-14</c:v>
                </c:pt>
                <c:pt idx="3091">
                  <c:v>5.7815171625817106E-14</c:v>
                </c:pt>
                <c:pt idx="3092">
                  <c:v>5.7815171625817106E-14</c:v>
                </c:pt>
                <c:pt idx="3093">
                  <c:v>5.7815171625817106E-14</c:v>
                </c:pt>
                <c:pt idx="3094">
                  <c:v>5.7815171625817106E-14</c:v>
                </c:pt>
                <c:pt idx="3095">
                  <c:v>5.7815171625817106E-14</c:v>
                </c:pt>
                <c:pt idx="3096">
                  <c:v>5.7815171625817106E-14</c:v>
                </c:pt>
                <c:pt idx="3097">
                  <c:v>5.7815171625817106E-14</c:v>
                </c:pt>
                <c:pt idx="3098">
                  <c:v>5.7815171625817106E-14</c:v>
                </c:pt>
                <c:pt idx="3099">
                  <c:v>5.7815171625817106E-14</c:v>
                </c:pt>
                <c:pt idx="3100">
                  <c:v>5.7815171625817106E-14</c:v>
                </c:pt>
                <c:pt idx="3101">
                  <c:v>5.7815171625817106E-14</c:v>
                </c:pt>
                <c:pt idx="3102">
                  <c:v>5.7815171625817106E-14</c:v>
                </c:pt>
                <c:pt idx="3103">
                  <c:v>5.7815171625817106E-14</c:v>
                </c:pt>
                <c:pt idx="3104">
                  <c:v>5.7815171625817106E-14</c:v>
                </c:pt>
                <c:pt idx="3105">
                  <c:v>5.7815171625817106E-14</c:v>
                </c:pt>
                <c:pt idx="3106">
                  <c:v>5.7815171625817106E-14</c:v>
                </c:pt>
                <c:pt idx="3107">
                  <c:v>5.7815171625817106E-14</c:v>
                </c:pt>
                <c:pt idx="3108">
                  <c:v>5.7815171625817106E-14</c:v>
                </c:pt>
                <c:pt idx="3109">
                  <c:v>5.7815171625817106E-14</c:v>
                </c:pt>
                <c:pt idx="3110">
                  <c:v>5.7815171625817106E-14</c:v>
                </c:pt>
                <c:pt idx="3111">
                  <c:v>5.7815171625817106E-14</c:v>
                </c:pt>
                <c:pt idx="3112">
                  <c:v>5.7815171625817106E-14</c:v>
                </c:pt>
                <c:pt idx="3113">
                  <c:v>5.7815171625817106E-14</c:v>
                </c:pt>
                <c:pt idx="3114">
                  <c:v>5.7815171625817106E-14</c:v>
                </c:pt>
                <c:pt idx="3115">
                  <c:v>5.7815171625817106E-14</c:v>
                </c:pt>
                <c:pt idx="3116">
                  <c:v>5.7815171625817106E-14</c:v>
                </c:pt>
                <c:pt idx="3117">
                  <c:v>5.7815171625817106E-14</c:v>
                </c:pt>
                <c:pt idx="3118">
                  <c:v>5.7815171625817106E-14</c:v>
                </c:pt>
                <c:pt idx="3119">
                  <c:v>5.7815171625817106E-14</c:v>
                </c:pt>
                <c:pt idx="3120">
                  <c:v>5.7815171625817106E-14</c:v>
                </c:pt>
                <c:pt idx="3121">
                  <c:v>5.7815171625817106E-14</c:v>
                </c:pt>
                <c:pt idx="3122">
                  <c:v>5.7815171625817106E-14</c:v>
                </c:pt>
                <c:pt idx="3123">
                  <c:v>5.7815171625817106E-14</c:v>
                </c:pt>
                <c:pt idx="3124">
                  <c:v>5.7815171625817106E-14</c:v>
                </c:pt>
                <c:pt idx="3125">
                  <c:v>5.7815171625817106E-14</c:v>
                </c:pt>
                <c:pt idx="3126">
                  <c:v>5.7815171625817106E-14</c:v>
                </c:pt>
                <c:pt idx="3127">
                  <c:v>5.7815171625817106E-14</c:v>
                </c:pt>
                <c:pt idx="3128">
                  <c:v>5.7815171625817106E-14</c:v>
                </c:pt>
                <c:pt idx="3129">
                  <c:v>5.7815171625817106E-14</c:v>
                </c:pt>
                <c:pt idx="3130">
                  <c:v>5.7815171625817106E-14</c:v>
                </c:pt>
                <c:pt idx="3131">
                  <c:v>5.7815171625817106E-14</c:v>
                </c:pt>
                <c:pt idx="3132">
                  <c:v>5.7815171625817106E-14</c:v>
                </c:pt>
                <c:pt idx="3133">
                  <c:v>5.7815171625817106E-14</c:v>
                </c:pt>
                <c:pt idx="3134">
                  <c:v>5.7815171625817106E-14</c:v>
                </c:pt>
                <c:pt idx="3135">
                  <c:v>5.7815171625817106E-14</c:v>
                </c:pt>
                <c:pt idx="3136">
                  <c:v>5.7815171625817106E-14</c:v>
                </c:pt>
                <c:pt idx="3137">
                  <c:v>5.7815171625817106E-14</c:v>
                </c:pt>
                <c:pt idx="3138">
                  <c:v>5.7815171625817106E-14</c:v>
                </c:pt>
                <c:pt idx="3139">
                  <c:v>5.7815171625817106E-14</c:v>
                </c:pt>
                <c:pt idx="3140">
                  <c:v>5.7815171625817106E-14</c:v>
                </c:pt>
                <c:pt idx="3141">
                  <c:v>5.7815171625817106E-14</c:v>
                </c:pt>
                <c:pt idx="3142">
                  <c:v>5.7815171625817106E-14</c:v>
                </c:pt>
                <c:pt idx="3143">
                  <c:v>5.7815171625817106E-14</c:v>
                </c:pt>
                <c:pt idx="3144">
                  <c:v>5.7815171625817106E-14</c:v>
                </c:pt>
                <c:pt idx="3145">
                  <c:v>5.7815171625817106E-14</c:v>
                </c:pt>
                <c:pt idx="3146">
                  <c:v>5.7815171625817106E-14</c:v>
                </c:pt>
                <c:pt idx="3147">
                  <c:v>5.7815171625817106E-14</c:v>
                </c:pt>
                <c:pt idx="3148">
                  <c:v>5.7815171625817106E-14</c:v>
                </c:pt>
                <c:pt idx="3149">
                  <c:v>5.7815171625817106E-14</c:v>
                </c:pt>
                <c:pt idx="3150">
                  <c:v>5.7815171625817106E-14</c:v>
                </c:pt>
                <c:pt idx="3151">
                  <c:v>5.7815171625817106E-14</c:v>
                </c:pt>
                <c:pt idx="3152">
                  <c:v>5.7815171625817106E-14</c:v>
                </c:pt>
                <c:pt idx="3153">
                  <c:v>5.7815171625817106E-14</c:v>
                </c:pt>
                <c:pt idx="3154">
                  <c:v>5.7815171625817106E-14</c:v>
                </c:pt>
                <c:pt idx="3155">
                  <c:v>5.7815171625817106E-14</c:v>
                </c:pt>
                <c:pt idx="3156">
                  <c:v>5.7815171625817106E-14</c:v>
                </c:pt>
                <c:pt idx="3157">
                  <c:v>5.7815171625817106E-14</c:v>
                </c:pt>
                <c:pt idx="3158">
                  <c:v>5.7815171625817106E-14</c:v>
                </c:pt>
                <c:pt idx="3159">
                  <c:v>5.7815171625817106E-14</c:v>
                </c:pt>
                <c:pt idx="3160">
                  <c:v>5.7815171625817106E-14</c:v>
                </c:pt>
                <c:pt idx="3161">
                  <c:v>5.7815171625817106E-14</c:v>
                </c:pt>
                <c:pt idx="3162">
                  <c:v>5.7815171625817106E-14</c:v>
                </c:pt>
                <c:pt idx="3163">
                  <c:v>5.7815171625817106E-14</c:v>
                </c:pt>
                <c:pt idx="3164">
                  <c:v>5.7815171625817106E-14</c:v>
                </c:pt>
                <c:pt idx="3165">
                  <c:v>5.7815171625817106E-14</c:v>
                </c:pt>
                <c:pt idx="3166">
                  <c:v>5.7815171625817106E-14</c:v>
                </c:pt>
                <c:pt idx="3167">
                  <c:v>5.7815171625817106E-14</c:v>
                </c:pt>
                <c:pt idx="3168">
                  <c:v>5.7815171625817106E-14</c:v>
                </c:pt>
                <c:pt idx="3169">
                  <c:v>5.7815171625817106E-14</c:v>
                </c:pt>
                <c:pt idx="3170">
                  <c:v>5.7815171625817106E-14</c:v>
                </c:pt>
                <c:pt idx="3171">
                  <c:v>5.7815171625817106E-14</c:v>
                </c:pt>
                <c:pt idx="3172">
                  <c:v>5.7815171625817106E-14</c:v>
                </c:pt>
                <c:pt idx="3173">
                  <c:v>5.7815171625817106E-14</c:v>
                </c:pt>
                <c:pt idx="3174">
                  <c:v>5.7815171625817106E-14</c:v>
                </c:pt>
                <c:pt idx="3175">
                  <c:v>5.7815171625817106E-14</c:v>
                </c:pt>
                <c:pt idx="3176">
                  <c:v>5.7815171625817106E-14</c:v>
                </c:pt>
                <c:pt idx="3177">
                  <c:v>5.7815171625817106E-14</c:v>
                </c:pt>
                <c:pt idx="3178">
                  <c:v>5.7815171625817106E-14</c:v>
                </c:pt>
                <c:pt idx="3179">
                  <c:v>5.7815171625817106E-14</c:v>
                </c:pt>
                <c:pt idx="3180">
                  <c:v>5.7815171625817106E-14</c:v>
                </c:pt>
                <c:pt idx="3181">
                  <c:v>5.7815171625817106E-14</c:v>
                </c:pt>
                <c:pt idx="3182">
                  <c:v>5.7815171625817106E-14</c:v>
                </c:pt>
                <c:pt idx="3183">
                  <c:v>5.7815171625817106E-14</c:v>
                </c:pt>
                <c:pt idx="3184">
                  <c:v>5.7815171625817106E-14</c:v>
                </c:pt>
                <c:pt idx="3185">
                  <c:v>5.7815171625817106E-14</c:v>
                </c:pt>
                <c:pt idx="3186">
                  <c:v>5.7815171625817106E-14</c:v>
                </c:pt>
                <c:pt idx="3187">
                  <c:v>5.7815171625817106E-14</c:v>
                </c:pt>
                <c:pt idx="3188">
                  <c:v>5.7815171625817106E-14</c:v>
                </c:pt>
                <c:pt idx="3189">
                  <c:v>5.7815171625817106E-14</c:v>
                </c:pt>
                <c:pt idx="3190">
                  <c:v>5.7815171625817106E-14</c:v>
                </c:pt>
                <c:pt idx="3191">
                  <c:v>5.7815171625817106E-14</c:v>
                </c:pt>
                <c:pt idx="3192">
                  <c:v>5.7815171625817106E-14</c:v>
                </c:pt>
                <c:pt idx="3193">
                  <c:v>5.7815171625817106E-14</c:v>
                </c:pt>
                <c:pt idx="3194">
                  <c:v>5.7815171625817106E-14</c:v>
                </c:pt>
                <c:pt idx="3195">
                  <c:v>5.7815171625817106E-14</c:v>
                </c:pt>
                <c:pt idx="3196">
                  <c:v>5.7815171625817106E-14</c:v>
                </c:pt>
                <c:pt idx="3197">
                  <c:v>5.7815171625817106E-14</c:v>
                </c:pt>
                <c:pt idx="3198">
                  <c:v>5.7815171625817106E-14</c:v>
                </c:pt>
                <c:pt idx="3199">
                  <c:v>5.7815171625817106E-14</c:v>
                </c:pt>
                <c:pt idx="3200">
                  <c:v>5.7815171625817106E-14</c:v>
                </c:pt>
                <c:pt idx="3201">
                  <c:v>5.7815171625817106E-14</c:v>
                </c:pt>
                <c:pt idx="3202">
                  <c:v>5.7815171625817106E-14</c:v>
                </c:pt>
                <c:pt idx="3203">
                  <c:v>5.7815171625817106E-14</c:v>
                </c:pt>
                <c:pt idx="3204">
                  <c:v>5.7815171625817106E-14</c:v>
                </c:pt>
                <c:pt idx="3205">
                  <c:v>5.7815171625817106E-14</c:v>
                </c:pt>
                <c:pt idx="3206">
                  <c:v>5.7815171625817106E-14</c:v>
                </c:pt>
                <c:pt idx="3207">
                  <c:v>5.7815171625817106E-14</c:v>
                </c:pt>
                <c:pt idx="3208">
                  <c:v>5.7815171625817106E-14</c:v>
                </c:pt>
                <c:pt idx="3209">
                  <c:v>5.7815171625817106E-14</c:v>
                </c:pt>
                <c:pt idx="3210">
                  <c:v>5.7815171625817106E-14</c:v>
                </c:pt>
                <c:pt idx="3211">
                  <c:v>5.7815171625817106E-14</c:v>
                </c:pt>
                <c:pt idx="3212">
                  <c:v>5.7815171625817106E-14</c:v>
                </c:pt>
                <c:pt idx="3213">
                  <c:v>5.7815171625817106E-14</c:v>
                </c:pt>
                <c:pt idx="3214">
                  <c:v>5.7815171625817106E-14</c:v>
                </c:pt>
                <c:pt idx="3215">
                  <c:v>5.7815171625817106E-14</c:v>
                </c:pt>
                <c:pt idx="3216">
                  <c:v>5.7815171625817106E-14</c:v>
                </c:pt>
                <c:pt idx="3217">
                  <c:v>5.7815171625817106E-14</c:v>
                </c:pt>
                <c:pt idx="3218">
                  <c:v>5.7815171625817106E-14</c:v>
                </c:pt>
                <c:pt idx="3219">
                  <c:v>5.7815171625817106E-14</c:v>
                </c:pt>
                <c:pt idx="3220">
                  <c:v>5.7815171625817106E-14</c:v>
                </c:pt>
                <c:pt idx="3221">
                  <c:v>5.7815171625817106E-14</c:v>
                </c:pt>
                <c:pt idx="3222">
                  <c:v>5.7815171625817106E-14</c:v>
                </c:pt>
                <c:pt idx="3223">
                  <c:v>5.7815171625817106E-14</c:v>
                </c:pt>
                <c:pt idx="3224">
                  <c:v>5.7815171625817106E-14</c:v>
                </c:pt>
                <c:pt idx="3225">
                  <c:v>5.7815171625817106E-14</c:v>
                </c:pt>
                <c:pt idx="3226">
                  <c:v>5.7815171625817106E-14</c:v>
                </c:pt>
                <c:pt idx="3227">
                  <c:v>5.7815171625817106E-14</c:v>
                </c:pt>
                <c:pt idx="3228">
                  <c:v>5.7815171625817106E-14</c:v>
                </c:pt>
                <c:pt idx="3229">
                  <c:v>5.7815171625817106E-14</c:v>
                </c:pt>
                <c:pt idx="3230">
                  <c:v>5.7815171625817106E-14</c:v>
                </c:pt>
                <c:pt idx="3231">
                  <c:v>5.7815171625817106E-14</c:v>
                </c:pt>
                <c:pt idx="3232">
                  <c:v>5.7815171625817106E-14</c:v>
                </c:pt>
                <c:pt idx="3233">
                  <c:v>5.7815171625817106E-14</c:v>
                </c:pt>
                <c:pt idx="3234">
                  <c:v>5.7815171625817106E-14</c:v>
                </c:pt>
                <c:pt idx="3235">
                  <c:v>5.7815171625817106E-14</c:v>
                </c:pt>
                <c:pt idx="3236">
                  <c:v>5.7815171625817106E-14</c:v>
                </c:pt>
                <c:pt idx="3237">
                  <c:v>5.7815171625817106E-14</c:v>
                </c:pt>
                <c:pt idx="3238">
                  <c:v>5.7815171625817106E-14</c:v>
                </c:pt>
                <c:pt idx="3239">
                  <c:v>5.7815171625817106E-14</c:v>
                </c:pt>
                <c:pt idx="3240">
                  <c:v>5.7815171625817106E-14</c:v>
                </c:pt>
                <c:pt idx="3241">
                  <c:v>5.7815171625817106E-14</c:v>
                </c:pt>
                <c:pt idx="3242">
                  <c:v>5.7815171625817106E-14</c:v>
                </c:pt>
                <c:pt idx="3243">
                  <c:v>5.7815171625817106E-14</c:v>
                </c:pt>
                <c:pt idx="3244">
                  <c:v>5.7815171625817106E-14</c:v>
                </c:pt>
                <c:pt idx="3245">
                  <c:v>5.7815171625817106E-14</c:v>
                </c:pt>
                <c:pt idx="3246">
                  <c:v>5.7815171625817106E-14</c:v>
                </c:pt>
                <c:pt idx="3247">
                  <c:v>5.7815171625817106E-14</c:v>
                </c:pt>
                <c:pt idx="3248">
                  <c:v>5.7815171625817106E-14</c:v>
                </c:pt>
                <c:pt idx="3249">
                  <c:v>5.7815171625817106E-14</c:v>
                </c:pt>
                <c:pt idx="3250">
                  <c:v>5.7815171625817106E-14</c:v>
                </c:pt>
                <c:pt idx="3251">
                  <c:v>5.7815171625817106E-14</c:v>
                </c:pt>
                <c:pt idx="3252">
                  <c:v>5.7815171625817106E-14</c:v>
                </c:pt>
                <c:pt idx="3253">
                  <c:v>5.7815171625817106E-14</c:v>
                </c:pt>
                <c:pt idx="3254">
                  <c:v>5.7815171625817106E-14</c:v>
                </c:pt>
                <c:pt idx="3255">
                  <c:v>5.7815171625817106E-14</c:v>
                </c:pt>
                <c:pt idx="3256">
                  <c:v>5.7815171625817106E-14</c:v>
                </c:pt>
                <c:pt idx="3257">
                  <c:v>5.7815171625817106E-14</c:v>
                </c:pt>
                <c:pt idx="3258">
                  <c:v>5.7815171625817106E-14</c:v>
                </c:pt>
                <c:pt idx="3259">
                  <c:v>5.7815171625817106E-14</c:v>
                </c:pt>
                <c:pt idx="3260">
                  <c:v>5.7815171625817106E-14</c:v>
                </c:pt>
                <c:pt idx="3261">
                  <c:v>5.7815171625817106E-14</c:v>
                </c:pt>
                <c:pt idx="3262">
                  <c:v>5.7815171625817106E-14</c:v>
                </c:pt>
                <c:pt idx="3263">
                  <c:v>5.7815171625817106E-14</c:v>
                </c:pt>
                <c:pt idx="3264">
                  <c:v>5.7815171625817106E-14</c:v>
                </c:pt>
                <c:pt idx="3265">
                  <c:v>5.7815171625817106E-14</c:v>
                </c:pt>
                <c:pt idx="3266">
                  <c:v>5.7815171625817106E-14</c:v>
                </c:pt>
                <c:pt idx="3267">
                  <c:v>5.7815171625817106E-14</c:v>
                </c:pt>
                <c:pt idx="3268">
                  <c:v>5.7815171625817106E-14</c:v>
                </c:pt>
                <c:pt idx="3269">
                  <c:v>5.7815171625817106E-14</c:v>
                </c:pt>
                <c:pt idx="3270">
                  <c:v>5.7815171625817106E-14</c:v>
                </c:pt>
                <c:pt idx="3271">
                  <c:v>5.7815171625817106E-14</c:v>
                </c:pt>
                <c:pt idx="3272">
                  <c:v>5.7815171625817106E-14</c:v>
                </c:pt>
                <c:pt idx="3273">
                  <c:v>5.7815171625817106E-14</c:v>
                </c:pt>
                <c:pt idx="3274">
                  <c:v>5.7815171625817106E-14</c:v>
                </c:pt>
                <c:pt idx="3275">
                  <c:v>5.7815171625817106E-14</c:v>
                </c:pt>
                <c:pt idx="3276">
                  <c:v>5.7815171625817106E-14</c:v>
                </c:pt>
                <c:pt idx="3277">
                  <c:v>5.7815171625817106E-14</c:v>
                </c:pt>
                <c:pt idx="3278">
                  <c:v>5.7815171625817106E-14</c:v>
                </c:pt>
                <c:pt idx="3279">
                  <c:v>5.7815171625817106E-14</c:v>
                </c:pt>
                <c:pt idx="3280">
                  <c:v>5.7815171625817106E-14</c:v>
                </c:pt>
                <c:pt idx="3281">
                  <c:v>5.7815171625817106E-14</c:v>
                </c:pt>
                <c:pt idx="3282">
                  <c:v>5.7815171625817106E-14</c:v>
                </c:pt>
                <c:pt idx="3283">
                  <c:v>5.7815171625817106E-14</c:v>
                </c:pt>
                <c:pt idx="3284">
                  <c:v>5.7815171625817106E-14</c:v>
                </c:pt>
                <c:pt idx="3285">
                  <c:v>5.7815171625817106E-14</c:v>
                </c:pt>
                <c:pt idx="3286">
                  <c:v>5.7815171625817106E-14</c:v>
                </c:pt>
                <c:pt idx="3287">
                  <c:v>5.7815171625817106E-14</c:v>
                </c:pt>
                <c:pt idx="3288">
                  <c:v>5.7815171625817106E-14</c:v>
                </c:pt>
                <c:pt idx="3289">
                  <c:v>5.7815171625817106E-14</c:v>
                </c:pt>
                <c:pt idx="3290">
                  <c:v>5.7815171625817106E-14</c:v>
                </c:pt>
                <c:pt idx="3291">
                  <c:v>5.7815171625817106E-14</c:v>
                </c:pt>
                <c:pt idx="3292">
                  <c:v>5.7815171625817106E-14</c:v>
                </c:pt>
                <c:pt idx="3293">
                  <c:v>5.7815171625817106E-14</c:v>
                </c:pt>
                <c:pt idx="3294">
                  <c:v>5.7815171625817106E-14</c:v>
                </c:pt>
                <c:pt idx="3295">
                  <c:v>5.7815171625817106E-14</c:v>
                </c:pt>
                <c:pt idx="3296">
                  <c:v>5.7815171625817106E-14</c:v>
                </c:pt>
                <c:pt idx="3297">
                  <c:v>5.7815171625817106E-14</c:v>
                </c:pt>
                <c:pt idx="3298">
                  <c:v>5.7815171625817106E-14</c:v>
                </c:pt>
                <c:pt idx="3299">
                  <c:v>5.7815171625817106E-14</c:v>
                </c:pt>
                <c:pt idx="3300">
                  <c:v>5.7815171625817106E-14</c:v>
                </c:pt>
                <c:pt idx="3301">
                  <c:v>5.7815171625817106E-14</c:v>
                </c:pt>
                <c:pt idx="3302">
                  <c:v>5.7815171625817106E-14</c:v>
                </c:pt>
                <c:pt idx="3303">
                  <c:v>5.7815171625817106E-14</c:v>
                </c:pt>
                <c:pt idx="3304">
                  <c:v>5.7815171625817106E-14</c:v>
                </c:pt>
                <c:pt idx="3305">
                  <c:v>5.7815171625817106E-14</c:v>
                </c:pt>
                <c:pt idx="3306">
                  <c:v>5.7815171625817106E-14</c:v>
                </c:pt>
                <c:pt idx="3307">
                  <c:v>5.7815171625817106E-14</c:v>
                </c:pt>
                <c:pt idx="3308">
                  <c:v>5.7815171625817106E-14</c:v>
                </c:pt>
                <c:pt idx="3309">
                  <c:v>5.7815171625817106E-14</c:v>
                </c:pt>
                <c:pt idx="3310">
                  <c:v>5.7815171625817106E-14</c:v>
                </c:pt>
                <c:pt idx="3311">
                  <c:v>5.7815171625817106E-14</c:v>
                </c:pt>
                <c:pt idx="3312">
                  <c:v>5.7815171625817106E-14</c:v>
                </c:pt>
                <c:pt idx="3313">
                  <c:v>5.7815171625817106E-14</c:v>
                </c:pt>
                <c:pt idx="3314">
                  <c:v>5.7815171625817106E-14</c:v>
                </c:pt>
                <c:pt idx="3315">
                  <c:v>5.7815171625817106E-14</c:v>
                </c:pt>
                <c:pt idx="3316">
                  <c:v>5.7815171625817106E-14</c:v>
                </c:pt>
                <c:pt idx="3317">
                  <c:v>5.7815171625817106E-14</c:v>
                </c:pt>
                <c:pt idx="3318">
                  <c:v>5.7815171625817106E-14</c:v>
                </c:pt>
                <c:pt idx="3319">
                  <c:v>5.7815171625817106E-14</c:v>
                </c:pt>
                <c:pt idx="3320">
                  <c:v>5.7815171625817106E-14</c:v>
                </c:pt>
                <c:pt idx="3321">
                  <c:v>5.7815171625817106E-14</c:v>
                </c:pt>
                <c:pt idx="3322">
                  <c:v>5.7815171625817106E-14</c:v>
                </c:pt>
                <c:pt idx="3323">
                  <c:v>5.7815171625817106E-14</c:v>
                </c:pt>
                <c:pt idx="3324">
                  <c:v>5.7815171625817106E-14</c:v>
                </c:pt>
                <c:pt idx="3325">
                  <c:v>5.7815171625817106E-14</c:v>
                </c:pt>
                <c:pt idx="3326">
                  <c:v>5.7815171625817106E-14</c:v>
                </c:pt>
                <c:pt idx="3327">
                  <c:v>5.7815171625817106E-14</c:v>
                </c:pt>
                <c:pt idx="3328">
                  <c:v>5.7815171625817106E-14</c:v>
                </c:pt>
                <c:pt idx="3329">
                  <c:v>5.7815171625817106E-14</c:v>
                </c:pt>
                <c:pt idx="3330">
                  <c:v>5.7815171625817106E-14</c:v>
                </c:pt>
                <c:pt idx="3331">
                  <c:v>5.7815171625817106E-14</c:v>
                </c:pt>
                <c:pt idx="3332">
                  <c:v>5.7815171625817106E-14</c:v>
                </c:pt>
                <c:pt idx="3333">
                  <c:v>5.7815171625817106E-14</c:v>
                </c:pt>
                <c:pt idx="3334">
                  <c:v>5.7815171625817106E-14</c:v>
                </c:pt>
                <c:pt idx="3335">
                  <c:v>5.7815171625817106E-14</c:v>
                </c:pt>
                <c:pt idx="3336">
                  <c:v>5.7815171625817106E-14</c:v>
                </c:pt>
                <c:pt idx="3337">
                  <c:v>5.7815171625817106E-14</c:v>
                </c:pt>
                <c:pt idx="3338">
                  <c:v>5.7815171625817106E-14</c:v>
                </c:pt>
                <c:pt idx="3339">
                  <c:v>5.7815171625817106E-14</c:v>
                </c:pt>
                <c:pt idx="3340">
                  <c:v>5.7815171625817106E-14</c:v>
                </c:pt>
                <c:pt idx="3341">
                  <c:v>5.7815171625817106E-14</c:v>
                </c:pt>
                <c:pt idx="3342">
                  <c:v>5.7815171625817106E-14</c:v>
                </c:pt>
                <c:pt idx="3343">
                  <c:v>5.7815171625817106E-14</c:v>
                </c:pt>
                <c:pt idx="3344">
                  <c:v>5.7815171625817106E-14</c:v>
                </c:pt>
                <c:pt idx="3345">
                  <c:v>5.7815171625817106E-14</c:v>
                </c:pt>
                <c:pt idx="3346">
                  <c:v>5.7815171625817106E-14</c:v>
                </c:pt>
                <c:pt idx="3347">
                  <c:v>5.7815171625817106E-14</c:v>
                </c:pt>
                <c:pt idx="3348">
                  <c:v>5.7815171625817106E-14</c:v>
                </c:pt>
                <c:pt idx="3349">
                  <c:v>5.7815171625817106E-14</c:v>
                </c:pt>
                <c:pt idx="3350">
                  <c:v>5.7815171625817106E-14</c:v>
                </c:pt>
                <c:pt idx="3351">
                  <c:v>5.7815171625817106E-14</c:v>
                </c:pt>
                <c:pt idx="3352">
                  <c:v>5.7815171625817106E-14</c:v>
                </c:pt>
                <c:pt idx="3353">
                  <c:v>5.7815171625817106E-14</c:v>
                </c:pt>
                <c:pt idx="3354">
                  <c:v>5.7815171625817106E-14</c:v>
                </c:pt>
                <c:pt idx="3355">
                  <c:v>5.7815171625817106E-14</c:v>
                </c:pt>
                <c:pt idx="3356">
                  <c:v>5.7815171625817106E-14</c:v>
                </c:pt>
                <c:pt idx="3357">
                  <c:v>5.7815171625817106E-14</c:v>
                </c:pt>
                <c:pt idx="3358">
                  <c:v>5.7815171625817106E-14</c:v>
                </c:pt>
                <c:pt idx="3359">
                  <c:v>5.7815171625817106E-14</c:v>
                </c:pt>
                <c:pt idx="3360">
                  <c:v>5.7815171625817106E-14</c:v>
                </c:pt>
                <c:pt idx="3361">
                  <c:v>5.7815171625817106E-14</c:v>
                </c:pt>
                <c:pt idx="3362">
                  <c:v>5.7815171625817106E-14</c:v>
                </c:pt>
                <c:pt idx="3363">
                  <c:v>5.7815171625817106E-14</c:v>
                </c:pt>
                <c:pt idx="3364">
                  <c:v>5.7815171625817106E-14</c:v>
                </c:pt>
                <c:pt idx="3365">
                  <c:v>5.7815171625817106E-14</c:v>
                </c:pt>
                <c:pt idx="3366">
                  <c:v>5.7815171625817106E-14</c:v>
                </c:pt>
                <c:pt idx="3367">
                  <c:v>5.7815171625817106E-14</c:v>
                </c:pt>
                <c:pt idx="3368">
                  <c:v>5.7815171625817106E-14</c:v>
                </c:pt>
                <c:pt idx="3369">
                  <c:v>5.7815171625817106E-14</c:v>
                </c:pt>
                <c:pt idx="3370">
                  <c:v>5.7815171625817106E-14</c:v>
                </c:pt>
                <c:pt idx="3371">
                  <c:v>5.7815171625817106E-14</c:v>
                </c:pt>
                <c:pt idx="3372">
                  <c:v>5.7815171625817106E-14</c:v>
                </c:pt>
                <c:pt idx="3373">
                  <c:v>5.7815171625817106E-14</c:v>
                </c:pt>
                <c:pt idx="3374">
                  <c:v>5.7815171625817106E-14</c:v>
                </c:pt>
                <c:pt idx="3375">
                  <c:v>5.7815171625817106E-14</c:v>
                </c:pt>
                <c:pt idx="3376">
                  <c:v>5.7815171625817106E-14</c:v>
                </c:pt>
                <c:pt idx="3377">
                  <c:v>5.7815171625817106E-14</c:v>
                </c:pt>
                <c:pt idx="3378">
                  <c:v>5.7815171625817106E-14</c:v>
                </c:pt>
                <c:pt idx="3379">
                  <c:v>5.7815171625817106E-14</c:v>
                </c:pt>
                <c:pt idx="3380">
                  <c:v>5.7815171625817106E-14</c:v>
                </c:pt>
                <c:pt idx="3381">
                  <c:v>5.7815171625817106E-14</c:v>
                </c:pt>
                <c:pt idx="3382">
                  <c:v>5.7815171625817106E-14</c:v>
                </c:pt>
                <c:pt idx="3383">
                  <c:v>5.7815171625817106E-14</c:v>
                </c:pt>
                <c:pt idx="3384">
                  <c:v>5.7815171625817106E-14</c:v>
                </c:pt>
                <c:pt idx="3385">
                  <c:v>5.7815171625817106E-14</c:v>
                </c:pt>
                <c:pt idx="3386">
                  <c:v>5.7815171625817106E-14</c:v>
                </c:pt>
                <c:pt idx="3387">
                  <c:v>5.7815171625817106E-14</c:v>
                </c:pt>
                <c:pt idx="3388">
                  <c:v>5.7815171625817106E-14</c:v>
                </c:pt>
                <c:pt idx="3389">
                  <c:v>5.7815171625817106E-14</c:v>
                </c:pt>
                <c:pt idx="3390">
                  <c:v>5.7815171625817106E-14</c:v>
                </c:pt>
                <c:pt idx="3391">
                  <c:v>5.7815171625817106E-14</c:v>
                </c:pt>
                <c:pt idx="3392">
                  <c:v>5.7815171625817106E-14</c:v>
                </c:pt>
                <c:pt idx="3393">
                  <c:v>5.7815171625817106E-14</c:v>
                </c:pt>
                <c:pt idx="3394">
                  <c:v>5.7815171625817106E-14</c:v>
                </c:pt>
                <c:pt idx="3395">
                  <c:v>5.7815171625817106E-14</c:v>
                </c:pt>
                <c:pt idx="3396">
                  <c:v>5.7815171625817106E-14</c:v>
                </c:pt>
                <c:pt idx="3397">
                  <c:v>5.7815171625817106E-14</c:v>
                </c:pt>
                <c:pt idx="3398">
                  <c:v>5.7815171625817106E-14</c:v>
                </c:pt>
                <c:pt idx="3399">
                  <c:v>5.7815171625817106E-14</c:v>
                </c:pt>
                <c:pt idx="3400">
                  <c:v>5.7815171625817106E-14</c:v>
                </c:pt>
                <c:pt idx="3401">
                  <c:v>5.7815171625817106E-14</c:v>
                </c:pt>
                <c:pt idx="3402">
                  <c:v>5.7815171625817106E-14</c:v>
                </c:pt>
                <c:pt idx="3403">
                  <c:v>5.7815171625817106E-14</c:v>
                </c:pt>
                <c:pt idx="3404">
                  <c:v>5.7815171625817106E-14</c:v>
                </c:pt>
                <c:pt idx="3405">
                  <c:v>5.7815171625817106E-14</c:v>
                </c:pt>
                <c:pt idx="3406">
                  <c:v>5.7815171625817106E-14</c:v>
                </c:pt>
                <c:pt idx="3407">
                  <c:v>5.7815171625817106E-14</c:v>
                </c:pt>
                <c:pt idx="3408">
                  <c:v>5.7815171625817106E-14</c:v>
                </c:pt>
                <c:pt idx="3409">
                  <c:v>5.7815171625817106E-14</c:v>
                </c:pt>
                <c:pt idx="3410">
                  <c:v>5.7815171625817106E-14</c:v>
                </c:pt>
                <c:pt idx="3411">
                  <c:v>5.7815171625817106E-14</c:v>
                </c:pt>
                <c:pt idx="3412">
                  <c:v>5.7815171625817106E-14</c:v>
                </c:pt>
                <c:pt idx="3413">
                  <c:v>5.7815171625817106E-14</c:v>
                </c:pt>
                <c:pt idx="3414">
                  <c:v>5.7815171625817106E-14</c:v>
                </c:pt>
                <c:pt idx="3415">
                  <c:v>5.7815171625817106E-14</c:v>
                </c:pt>
                <c:pt idx="3416">
                  <c:v>5.7815171625817106E-14</c:v>
                </c:pt>
                <c:pt idx="3417">
                  <c:v>5.7815171625817106E-14</c:v>
                </c:pt>
                <c:pt idx="3418">
                  <c:v>5.7815171625817106E-14</c:v>
                </c:pt>
                <c:pt idx="3419">
                  <c:v>5.7815171625817106E-14</c:v>
                </c:pt>
                <c:pt idx="3420">
                  <c:v>5.7815171625817106E-14</c:v>
                </c:pt>
                <c:pt idx="3421">
                  <c:v>5.7815171625817106E-14</c:v>
                </c:pt>
                <c:pt idx="3422">
                  <c:v>5.7815171625817106E-14</c:v>
                </c:pt>
                <c:pt idx="3423">
                  <c:v>5.7815171625817106E-14</c:v>
                </c:pt>
                <c:pt idx="3424">
                  <c:v>5.7815171625817106E-14</c:v>
                </c:pt>
                <c:pt idx="3425">
                  <c:v>5.7815171625817106E-14</c:v>
                </c:pt>
                <c:pt idx="3426">
                  <c:v>5.7815171625817106E-14</c:v>
                </c:pt>
                <c:pt idx="3427">
                  <c:v>5.7815171625817106E-14</c:v>
                </c:pt>
                <c:pt idx="3428">
                  <c:v>5.7815171625817106E-14</c:v>
                </c:pt>
                <c:pt idx="3429">
                  <c:v>5.7815171625817106E-14</c:v>
                </c:pt>
                <c:pt idx="3430">
                  <c:v>5.7815171625817106E-14</c:v>
                </c:pt>
                <c:pt idx="3431">
                  <c:v>5.7815171625817106E-14</c:v>
                </c:pt>
                <c:pt idx="3432">
                  <c:v>5.7815171625817106E-14</c:v>
                </c:pt>
                <c:pt idx="3433">
                  <c:v>5.7815171625817106E-14</c:v>
                </c:pt>
                <c:pt idx="3434">
                  <c:v>5.7815171625817106E-14</c:v>
                </c:pt>
                <c:pt idx="3435">
                  <c:v>5.7815171625817106E-14</c:v>
                </c:pt>
                <c:pt idx="3436">
                  <c:v>5.7815171625817106E-14</c:v>
                </c:pt>
                <c:pt idx="3437">
                  <c:v>5.7815171625817106E-14</c:v>
                </c:pt>
                <c:pt idx="3438">
                  <c:v>5.7815171625817106E-14</c:v>
                </c:pt>
                <c:pt idx="3439">
                  <c:v>5.7815171625817106E-14</c:v>
                </c:pt>
                <c:pt idx="3440">
                  <c:v>5.7815171625817106E-14</c:v>
                </c:pt>
                <c:pt idx="3441">
                  <c:v>5.7815171625817106E-14</c:v>
                </c:pt>
                <c:pt idx="3442">
                  <c:v>5.7815171625817106E-14</c:v>
                </c:pt>
                <c:pt idx="3443">
                  <c:v>5.7815171625817106E-14</c:v>
                </c:pt>
                <c:pt idx="3444">
                  <c:v>5.7815171625817106E-14</c:v>
                </c:pt>
                <c:pt idx="3445">
                  <c:v>5.7815171625817106E-14</c:v>
                </c:pt>
                <c:pt idx="3446">
                  <c:v>5.7815171625817106E-14</c:v>
                </c:pt>
                <c:pt idx="3447">
                  <c:v>5.7815171625817106E-14</c:v>
                </c:pt>
                <c:pt idx="3448">
                  <c:v>5.7815171625817106E-14</c:v>
                </c:pt>
                <c:pt idx="3449">
                  <c:v>5.7815171625817106E-14</c:v>
                </c:pt>
                <c:pt idx="3450">
                  <c:v>5.7815171625817106E-14</c:v>
                </c:pt>
                <c:pt idx="3451">
                  <c:v>5.7815171625817106E-14</c:v>
                </c:pt>
                <c:pt idx="3452">
                  <c:v>5.7815171625817106E-14</c:v>
                </c:pt>
                <c:pt idx="3453">
                  <c:v>5.7815171625817106E-14</c:v>
                </c:pt>
                <c:pt idx="3454">
                  <c:v>5.7815171625817106E-14</c:v>
                </c:pt>
                <c:pt idx="3455">
                  <c:v>5.7815171625817106E-14</c:v>
                </c:pt>
                <c:pt idx="3456">
                  <c:v>5.7815171625817106E-14</c:v>
                </c:pt>
                <c:pt idx="3457">
                  <c:v>5.7815171625817106E-14</c:v>
                </c:pt>
                <c:pt idx="3458">
                  <c:v>5.7815171625817106E-14</c:v>
                </c:pt>
                <c:pt idx="3459">
                  <c:v>5.7815171625817106E-14</c:v>
                </c:pt>
                <c:pt idx="3460">
                  <c:v>5.7815171625817106E-14</c:v>
                </c:pt>
                <c:pt idx="3461">
                  <c:v>5.7815171625817106E-14</c:v>
                </c:pt>
                <c:pt idx="3462">
                  <c:v>5.7815171625817106E-14</c:v>
                </c:pt>
                <c:pt idx="3463">
                  <c:v>5.7815171625817106E-14</c:v>
                </c:pt>
                <c:pt idx="3464">
                  <c:v>5.7815171625817106E-14</c:v>
                </c:pt>
                <c:pt idx="3465">
                  <c:v>5.7815171625817106E-14</c:v>
                </c:pt>
                <c:pt idx="3466">
                  <c:v>5.7815171625817106E-14</c:v>
                </c:pt>
                <c:pt idx="3467">
                  <c:v>5.7815171625817106E-14</c:v>
                </c:pt>
                <c:pt idx="3468">
                  <c:v>5.7815171625817106E-14</c:v>
                </c:pt>
                <c:pt idx="3469">
                  <c:v>5.7815171625817106E-14</c:v>
                </c:pt>
                <c:pt idx="3470">
                  <c:v>5.7815171625817106E-14</c:v>
                </c:pt>
                <c:pt idx="3471">
                  <c:v>5.7815171625817106E-14</c:v>
                </c:pt>
                <c:pt idx="3472">
                  <c:v>5.7815171625817106E-14</c:v>
                </c:pt>
                <c:pt idx="3473">
                  <c:v>5.7815171625817106E-14</c:v>
                </c:pt>
                <c:pt idx="3474">
                  <c:v>5.7815171625817106E-14</c:v>
                </c:pt>
                <c:pt idx="3475">
                  <c:v>5.7815171625817106E-14</c:v>
                </c:pt>
                <c:pt idx="3476">
                  <c:v>5.7815171625817106E-14</c:v>
                </c:pt>
                <c:pt idx="3477">
                  <c:v>5.7815171625817106E-14</c:v>
                </c:pt>
                <c:pt idx="3478">
                  <c:v>5.7815171625817106E-14</c:v>
                </c:pt>
                <c:pt idx="3479">
                  <c:v>5.7815171625817106E-14</c:v>
                </c:pt>
                <c:pt idx="3480">
                  <c:v>5.7815171625817106E-14</c:v>
                </c:pt>
                <c:pt idx="3481">
                  <c:v>5.7815171625817106E-14</c:v>
                </c:pt>
                <c:pt idx="3482">
                  <c:v>5.7815171625817106E-14</c:v>
                </c:pt>
                <c:pt idx="3483">
                  <c:v>5.7815171625817106E-14</c:v>
                </c:pt>
                <c:pt idx="3484">
                  <c:v>5.7815171625817106E-14</c:v>
                </c:pt>
                <c:pt idx="3485">
                  <c:v>5.7815171625817106E-14</c:v>
                </c:pt>
                <c:pt idx="3486">
                  <c:v>5.7815171625817106E-14</c:v>
                </c:pt>
                <c:pt idx="3487">
                  <c:v>5.7815171625817106E-14</c:v>
                </c:pt>
                <c:pt idx="3488">
                  <c:v>5.7815171625817106E-14</c:v>
                </c:pt>
                <c:pt idx="3489">
                  <c:v>5.7815171625817106E-14</c:v>
                </c:pt>
                <c:pt idx="3490">
                  <c:v>5.7815171625817106E-14</c:v>
                </c:pt>
                <c:pt idx="3491">
                  <c:v>5.7815171625817106E-14</c:v>
                </c:pt>
                <c:pt idx="3492">
                  <c:v>5.7815171625817106E-14</c:v>
                </c:pt>
                <c:pt idx="3493">
                  <c:v>5.7815171625817106E-14</c:v>
                </c:pt>
                <c:pt idx="3494">
                  <c:v>5.7815171625817106E-14</c:v>
                </c:pt>
                <c:pt idx="3495">
                  <c:v>5.7815171625817106E-14</c:v>
                </c:pt>
                <c:pt idx="3496">
                  <c:v>5.7815171625817106E-14</c:v>
                </c:pt>
                <c:pt idx="3497">
                  <c:v>5.7815171625817106E-14</c:v>
                </c:pt>
                <c:pt idx="3498">
                  <c:v>5.7815171625817106E-14</c:v>
                </c:pt>
                <c:pt idx="3499">
                  <c:v>5.7815171625817106E-14</c:v>
                </c:pt>
                <c:pt idx="3500">
                  <c:v>5.7815171625817106E-14</c:v>
                </c:pt>
                <c:pt idx="3501">
                  <c:v>5.7815171625817106E-14</c:v>
                </c:pt>
                <c:pt idx="3502">
                  <c:v>5.7815171625817106E-14</c:v>
                </c:pt>
                <c:pt idx="3503">
                  <c:v>5.7815171625817106E-14</c:v>
                </c:pt>
                <c:pt idx="3504">
                  <c:v>5.7815171625817106E-14</c:v>
                </c:pt>
                <c:pt idx="3505">
                  <c:v>5.7815171625817106E-14</c:v>
                </c:pt>
                <c:pt idx="3506">
                  <c:v>5.7815171625817106E-14</c:v>
                </c:pt>
                <c:pt idx="3507">
                  <c:v>5.7815171625817106E-14</c:v>
                </c:pt>
                <c:pt idx="3508">
                  <c:v>5.7815171625817106E-14</c:v>
                </c:pt>
                <c:pt idx="3509">
                  <c:v>5.7815171625817106E-14</c:v>
                </c:pt>
                <c:pt idx="3510">
                  <c:v>5.7815171625817106E-14</c:v>
                </c:pt>
                <c:pt idx="3511">
                  <c:v>5.7815171625817106E-14</c:v>
                </c:pt>
                <c:pt idx="3512">
                  <c:v>5.7815171625817106E-14</c:v>
                </c:pt>
                <c:pt idx="3513">
                  <c:v>5.7815171625817106E-14</c:v>
                </c:pt>
                <c:pt idx="3514">
                  <c:v>5.7815171625817106E-14</c:v>
                </c:pt>
                <c:pt idx="3515">
                  <c:v>5.7815171625817106E-14</c:v>
                </c:pt>
                <c:pt idx="3516">
                  <c:v>5.7815171625817106E-14</c:v>
                </c:pt>
                <c:pt idx="3517">
                  <c:v>5.7815171625817106E-14</c:v>
                </c:pt>
                <c:pt idx="3518">
                  <c:v>5.7815171625817106E-14</c:v>
                </c:pt>
                <c:pt idx="3519">
                  <c:v>5.7815171625817106E-14</c:v>
                </c:pt>
                <c:pt idx="3520">
                  <c:v>5.7815171625817106E-14</c:v>
                </c:pt>
                <c:pt idx="3521">
                  <c:v>5.7815171625817106E-14</c:v>
                </c:pt>
                <c:pt idx="3522">
                  <c:v>5.7815171625817106E-14</c:v>
                </c:pt>
                <c:pt idx="3523">
                  <c:v>5.7815171625817106E-14</c:v>
                </c:pt>
                <c:pt idx="3524">
                  <c:v>5.7815171625817106E-14</c:v>
                </c:pt>
                <c:pt idx="3525">
                  <c:v>5.7815171625817106E-14</c:v>
                </c:pt>
                <c:pt idx="3526">
                  <c:v>5.7815171625817106E-14</c:v>
                </c:pt>
                <c:pt idx="3527">
                  <c:v>5.7815171625817106E-14</c:v>
                </c:pt>
                <c:pt idx="3528">
                  <c:v>5.7815171625817106E-14</c:v>
                </c:pt>
                <c:pt idx="3529">
                  <c:v>5.7815171625817106E-14</c:v>
                </c:pt>
                <c:pt idx="3530">
                  <c:v>5.7815171625817106E-14</c:v>
                </c:pt>
                <c:pt idx="3531">
                  <c:v>5.7815171625817106E-14</c:v>
                </c:pt>
                <c:pt idx="3532">
                  <c:v>5.7815171625817106E-14</c:v>
                </c:pt>
                <c:pt idx="3533">
                  <c:v>5.7815171625817106E-14</c:v>
                </c:pt>
                <c:pt idx="3534">
                  <c:v>5.7815171625817106E-14</c:v>
                </c:pt>
                <c:pt idx="3535">
                  <c:v>5.7815171625817106E-14</c:v>
                </c:pt>
                <c:pt idx="3536">
                  <c:v>5.7815171625817106E-14</c:v>
                </c:pt>
                <c:pt idx="3537">
                  <c:v>5.7815171625817106E-14</c:v>
                </c:pt>
                <c:pt idx="3538">
                  <c:v>5.7815171625817106E-14</c:v>
                </c:pt>
                <c:pt idx="3539">
                  <c:v>5.7815171625817106E-14</c:v>
                </c:pt>
                <c:pt idx="3540">
                  <c:v>5.7815171625817106E-14</c:v>
                </c:pt>
                <c:pt idx="3541">
                  <c:v>5.7815171625817106E-14</c:v>
                </c:pt>
                <c:pt idx="3542">
                  <c:v>5.7815171625817106E-14</c:v>
                </c:pt>
                <c:pt idx="3543">
                  <c:v>5.7815171625817106E-14</c:v>
                </c:pt>
                <c:pt idx="3544">
                  <c:v>5.7815171625817106E-14</c:v>
                </c:pt>
                <c:pt idx="3545">
                  <c:v>5.7815171625817106E-14</c:v>
                </c:pt>
                <c:pt idx="3546">
                  <c:v>5.7815171625817106E-14</c:v>
                </c:pt>
                <c:pt idx="3547">
                  <c:v>5.7815171625817106E-14</c:v>
                </c:pt>
                <c:pt idx="3548">
                  <c:v>5.7815171625817106E-14</c:v>
                </c:pt>
                <c:pt idx="3549">
                  <c:v>5.7815171625817106E-14</c:v>
                </c:pt>
                <c:pt idx="3550">
                  <c:v>5.7815171625817106E-14</c:v>
                </c:pt>
                <c:pt idx="3551">
                  <c:v>5.7815171625817106E-14</c:v>
                </c:pt>
                <c:pt idx="3552">
                  <c:v>5.7815171625817106E-14</c:v>
                </c:pt>
                <c:pt idx="3553">
                  <c:v>5.7815171625817106E-14</c:v>
                </c:pt>
                <c:pt idx="3554">
                  <c:v>5.7815171625817106E-14</c:v>
                </c:pt>
                <c:pt idx="3555">
                  <c:v>5.7815171625817106E-14</c:v>
                </c:pt>
                <c:pt idx="3556">
                  <c:v>5.7815171625817106E-14</c:v>
                </c:pt>
                <c:pt idx="3557">
                  <c:v>5.7815171625817106E-14</c:v>
                </c:pt>
                <c:pt idx="3558">
                  <c:v>5.7815171625817106E-14</c:v>
                </c:pt>
                <c:pt idx="3559">
                  <c:v>5.7815171625817106E-14</c:v>
                </c:pt>
                <c:pt idx="3560">
                  <c:v>5.7815171625817106E-14</c:v>
                </c:pt>
                <c:pt idx="3561">
                  <c:v>5.7815171625817106E-14</c:v>
                </c:pt>
                <c:pt idx="3562">
                  <c:v>5.7815171625817106E-14</c:v>
                </c:pt>
                <c:pt idx="3563">
                  <c:v>5.7815171625817106E-14</c:v>
                </c:pt>
                <c:pt idx="3564">
                  <c:v>5.7815171625817106E-14</c:v>
                </c:pt>
                <c:pt idx="3565">
                  <c:v>5.7815171625817106E-14</c:v>
                </c:pt>
                <c:pt idx="3566">
                  <c:v>5.7815171625817106E-14</c:v>
                </c:pt>
                <c:pt idx="3567">
                  <c:v>5.7815171625817106E-14</c:v>
                </c:pt>
                <c:pt idx="3568">
                  <c:v>5.7815171625817106E-14</c:v>
                </c:pt>
                <c:pt idx="3569">
                  <c:v>5.7815171625817106E-14</c:v>
                </c:pt>
                <c:pt idx="3570">
                  <c:v>5.7815171625817106E-14</c:v>
                </c:pt>
                <c:pt idx="3571">
                  <c:v>5.7815171625817106E-14</c:v>
                </c:pt>
                <c:pt idx="3572">
                  <c:v>5.7815171625817106E-14</c:v>
                </c:pt>
                <c:pt idx="3573">
                  <c:v>5.7815171625817106E-14</c:v>
                </c:pt>
                <c:pt idx="3574">
                  <c:v>5.7815171625817106E-14</c:v>
                </c:pt>
                <c:pt idx="3575">
                  <c:v>5.7815171625817106E-14</c:v>
                </c:pt>
                <c:pt idx="3576">
                  <c:v>5.7815171625817106E-14</c:v>
                </c:pt>
                <c:pt idx="3577">
                  <c:v>5.7815171625817106E-14</c:v>
                </c:pt>
                <c:pt idx="3578">
                  <c:v>5.7815171625817106E-14</c:v>
                </c:pt>
                <c:pt idx="3579">
                  <c:v>5.7815171625817106E-14</c:v>
                </c:pt>
                <c:pt idx="3580">
                  <c:v>5.7815171625817106E-14</c:v>
                </c:pt>
                <c:pt idx="3581">
                  <c:v>5.7815171625817106E-14</c:v>
                </c:pt>
                <c:pt idx="3582">
                  <c:v>5.7815171625817106E-14</c:v>
                </c:pt>
                <c:pt idx="3583">
                  <c:v>5.7815171625817106E-14</c:v>
                </c:pt>
                <c:pt idx="3584">
                  <c:v>5.7815171625817106E-14</c:v>
                </c:pt>
                <c:pt idx="3585">
                  <c:v>5.7815171625817106E-14</c:v>
                </c:pt>
                <c:pt idx="3586">
                  <c:v>5.7815171625817106E-14</c:v>
                </c:pt>
                <c:pt idx="3587">
                  <c:v>5.7815171625817106E-14</c:v>
                </c:pt>
                <c:pt idx="3588">
                  <c:v>5.7815171625817106E-14</c:v>
                </c:pt>
                <c:pt idx="3589">
                  <c:v>5.7815171625817106E-14</c:v>
                </c:pt>
                <c:pt idx="3590">
                  <c:v>5.7815171625817106E-14</c:v>
                </c:pt>
                <c:pt idx="3591">
                  <c:v>5.7815171625817106E-14</c:v>
                </c:pt>
                <c:pt idx="3592">
                  <c:v>5.7815171625817106E-14</c:v>
                </c:pt>
                <c:pt idx="3593">
                  <c:v>5.7815171625817106E-14</c:v>
                </c:pt>
                <c:pt idx="3594">
                  <c:v>5.7815171625817106E-14</c:v>
                </c:pt>
                <c:pt idx="3595">
                  <c:v>5.7815171625817106E-14</c:v>
                </c:pt>
                <c:pt idx="3596">
                  <c:v>5.7815171625817106E-14</c:v>
                </c:pt>
                <c:pt idx="3597">
                  <c:v>5.7815171625817106E-14</c:v>
                </c:pt>
                <c:pt idx="3598">
                  <c:v>5.7815171625817106E-14</c:v>
                </c:pt>
                <c:pt idx="3599">
                  <c:v>5.7815171625817106E-14</c:v>
                </c:pt>
                <c:pt idx="3600">
                  <c:v>5.7815171625817106E-14</c:v>
                </c:pt>
                <c:pt idx="3601">
                  <c:v>5.7815171625817106E-14</c:v>
                </c:pt>
                <c:pt idx="3602">
                  <c:v>5.7815171625817106E-14</c:v>
                </c:pt>
                <c:pt idx="3603">
                  <c:v>5.7815171625817106E-14</c:v>
                </c:pt>
                <c:pt idx="3604">
                  <c:v>5.7815171625817106E-14</c:v>
                </c:pt>
                <c:pt idx="3605">
                  <c:v>5.7815171625817106E-14</c:v>
                </c:pt>
                <c:pt idx="3606">
                  <c:v>5.7815171625817106E-14</c:v>
                </c:pt>
                <c:pt idx="3607">
                  <c:v>5.7815171625817106E-14</c:v>
                </c:pt>
                <c:pt idx="3608">
                  <c:v>5.7815171625817106E-14</c:v>
                </c:pt>
                <c:pt idx="3609">
                  <c:v>5.7815171625817106E-14</c:v>
                </c:pt>
                <c:pt idx="3610">
                  <c:v>5.7815171625817106E-14</c:v>
                </c:pt>
                <c:pt idx="3611">
                  <c:v>5.7815171625817106E-14</c:v>
                </c:pt>
                <c:pt idx="3612">
                  <c:v>5.7815171625817106E-14</c:v>
                </c:pt>
                <c:pt idx="3613">
                  <c:v>5.7815171625817106E-14</c:v>
                </c:pt>
                <c:pt idx="3614">
                  <c:v>5.7815171625817106E-14</c:v>
                </c:pt>
                <c:pt idx="3615">
                  <c:v>5.7815171625817106E-14</c:v>
                </c:pt>
                <c:pt idx="3616">
                  <c:v>5.7815171625817106E-14</c:v>
                </c:pt>
                <c:pt idx="3617">
                  <c:v>5.7815171625817106E-14</c:v>
                </c:pt>
                <c:pt idx="3618">
                  <c:v>5.7815171625817106E-14</c:v>
                </c:pt>
                <c:pt idx="3619">
                  <c:v>5.7815171625817106E-14</c:v>
                </c:pt>
                <c:pt idx="3620">
                  <c:v>5.7815171625817106E-14</c:v>
                </c:pt>
                <c:pt idx="3621">
                  <c:v>5.7815171625817106E-14</c:v>
                </c:pt>
                <c:pt idx="3622">
                  <c:v>5.7815171625817106E-14</c:v>
                </c:pt>
                <c:pt idx="3623">
                  <c:v>5.7815171625817106E-14</c:v>
                </c:pt>
                <c:pt idx="3624">
                  <c:v>5.7815171625817106E-14</c:v>
                </c:pt>
                <c:pt idx="3625">
                  <c:v>5.7815171625817106E-14</c:v>
                </c:pt>
                <c:pt idx="3626">
                  <c:v>5.7815171625817106E-14</c:v>
                </c:pt>
                <c:pt idx="3627">
                  <c:v>5.7815171625817106E-14</c:v>
                </c:pt>
                <c:pt idx="3628">
                  <c:v>5.7815171625817106E-14</c:v>
                </c:pt>
                <c:pt idx="3629">
                  <c:v>5.7815171625817106E-14</c:v>
                </c:pt>
                <c:pt idx="3630">
                  <c:v>5.7815171625817106E-14</c:v>
                </c:pt>
                <c:pt idx="3631">
                  <c:v>5.7815171625817106E-14</c:v>
                </c:pt>
                <c:pt idx="3632">
                  <c:v>5.7815171625817106E-14</c:v>
                </c:pt>
                <c:pt idx="3633">
                  <c:v>5.7815171625817106E-14</c:v>
                </c:pt>
                <c:pt idx="3634">
                  <c:v>5.7815171625817106E-14</c:v>
                </c:pt>
                <c:pt idx="3635">
                  <c:v>5.7815171625817106E-14</c:v>
                </c:pt>
                <c:pt idx="3636">
                  <c:v>5.7815171625817106E-14</c:v>
                </c:pt>
                <c:pt idx="3637">
                  <c:v>5.7815171625817106E-14</c:v>
                </c:pt>
                <c:pt idx="3638">
                  <c:v>5.7815171625817106E-14</c:v>
                </c:pt>
                <c:pt idx="3639">
                  <c:v>5.7815171625817106E-14</c:v>
                </c:pt>
                <c:pt idx="3640">
                  <c:v>5.7815171625817106E-14</c:v>
                </c:pt>
                <c:pt idx="3641">
                  <c:v>5.7815171625817106E-14</c:v>
                </c:pt>
                <c:pt idx="3642">
                  <c:v>5.7815171625817106E-14</c:v>
                </c:pt>
                <c:pt idx="3643">
                  <c:v>5.7815171625817106E-14</c:v>
                </c:pt>
                <c:pt idx="3644">
                  <c:v>5.7815171625817106E-14</c:v>
                </c:pt>
                <c:pt idx="3645">
                  <c:v>5.7815171625817106E-14</c:v>
                </c:pt>
                <c:pt idx="3646">
                  <c:v>5.7815171625817106E-14</c:v>
                </c:pt>
                <c:pt idx="3647">
                  <c:v>5.7815171625817106E-14</c:v>
                </c:pt>
                <c:pt idx="3648">
                  <c:v>5.7815171625817106E-14</c:v>
                </c:pt>
                <c:pt idx="3649">
                  <c:v>5.7815171625817106E-14</c:v>
                </c:pt>
                <c:pt idx="3650">
                  <c:v>5.7815171625817106E-14</c:v>
                </c:pt>
                <c:pt idx="3651">
                  <c:v>5.7815171625817106E-14</c:v>
                </c:pt>
                <c:pt idx="3652">
                  <c:v>5.7815171625817106E-14</c:v>
                </c:pt>
                <c:pt idx="3653">
                  <c:v>5.7815171625817106E-14</c:v>
                </c:pt>
                <c:pt idx="3654">
                  <c:v>5.7815171625817106E-14</c:v>
                </c:pt>
                <c:pt idx="3655">
                  <c:v>5.7815171625817106E-14</c:v>
                </c:pt>
                <c:pt idx="3656">
                  <c:v>5.7815171625817106E-14</c:v>
                </c:pt>
                <c:pt idx="3657">
                  <c:v>5.7815171625817106E-14</c:v>
                </c:pt>
                <c:pt idx="3658">
                  <c:v>5.7815171625817106E-14</c:v>
                </c:pt>
                <c:pt idx="3659">
                  <c:v>5.7815171625817106E-14</c:v>
                </c:pt>
                <c:pt idx="3660">
                  <c:v>5.7815171625817106E-14</c:v>
                </c:pt>
                <c:pt idx="3661">
                  <c:v>5.7815171625817106E-14</c:v>
                </c:pt>
                <c:pt idx="3662">
                  <c:v>5.7815171625817106E-14</c:v>
                </c:pt>
                <c:pt idx="3663">
                  <c:v>5.7815171625817106E-14</c:v>
                </c:pt>
                <c:pt idx="3664">
                  <c:v>5.7815171625817106E-14</c:v>
                </c:pt>
                <c:pt idx="3665">
                  <c:v>5.7815171625817106E-14</c:v>
                </c:pt>
                <c:pt idx="3666">
                  <c:v>5.7815171625817106E-14</c:v>
                </c:pt>
                <c:pt idx="3667">
                  <c:v>5.7815171625817106E-14</c:v>
                </c:pt>
                <c:pt idx="3668">
                  <c:v>5.7815171625817106E-14</c:v>
                </c:pt>
                <c:pt idx="3669">
                  <c:v>5.7815171625817106E-14</c:v>
                </c:pt>
                <c:pt idx="3670">
                  <c:v>5.7815171625817106E-14</c:v>
                </c:pt>
                <c:pt idx="3671">
                  <c:v>5.7815171625817106E-14</c:v>
                </c:pt>
                <c:pt idx="3672">
                  <c:v>5.7815171625817106E-14</c:v>
                </c:pt>
                <c:pt idx="3673">
                  <c:v>5.7815171625817106E-14</c:v>
                </c:pt>
                <c:pt idx="3674">
                  <c:v>5.7815171625817106E-14</c:v>
                </c:pt>
                <c:pt idx="3675">
                  <c:v>5.7815171625817106E-14</c:v>
                </c:pt>
                <c:pt idx="3676">
                  <c:v>5.7815171625817106E-14</c:v>
                </c:pt>
                <c:pt idx="3677">
                  <c:v>5.7815171625817106E-14</c:v>
                </c:pt>
                <c:pt idx="3678">
                  <c:v>5.7815171625817106E-14</c:v>
                </c:pt>
                <c:pt idx="3679">
                  <c:v>5.7815171625817106E-14</c:v>
                </c:pt>
                <c:pt idx="3680">
                  <c:v>5.7815171625817106E-14</c:v>
                </c:pt>
                <c:pt idx="3681">
                  <c:v>5.7815171625817106E-14</c:v>
                </c:pt>
                <c:pt idx="3682">
                  <c:v>5.7815171625817106E-14</c:v>
                </c:pt>
                <c:pt idx="3683">
                  <c:v>5.7815171625817106E-14</c:v>
                </c:pt>
                <c:pt idx="3684">
                  <c:v>5.7815171625817106E-14</c:v>
                </c:pt>
                <c:pt idx="3685">
                  <c:v>5.7815171625817106E-14</c:v>
                </c:pt>
                <c:pt idx="3686">
                  <c:v>5.7815171625817106E-14</c:v>
                </c:pt>
                <c:pt idx="3687">
                  <c:v>5.7815171625817106E-14</c:v>
                </c:pt>
                <c:pt idx="3688">
                  <c:v>5.7815171625817106E-14</c:v>
                </c:pt>
                <c:pt idx="3689">
                  <c:v>5.7815171625817106E-14</c:v>
                </c:pt>
                <c:pt idx="3690">
                  <c:v>5.7815171625817106E-14</c:v>
                </c:pt>
                <c:pt idx="3691">
                  <c:v>5.7815171625817106E-14</c:v>
                </c:pt>
                <c:pt idx="3692">
                  <c:v>5.7815171625817106E-14</c:v>
                </c:pt>
                <c:pt idx="3693">
                  <c:v>5.7815171625817106E-14</c:v>
                </c:pt>
                <c:pt idx="3694">
                  <c:v>5.7815171625817106E-14</c:v>
                </c:pt>
                <c:pt idx="3695">
                  <c:v>5.7815171625817106E-14</c:v>
                </c:pt>
                <c:pt idx="3696">
                  <c:v>5.7815171625817106E-14</c:v>
                </c:pt>
                <c:pt idx="3697">
                  <c:v>5.7815171625817106E-14</c:v>
                </c:pt>
                <c:pt idx="3698">
                  <c:v>5.7815171625817106E-14</c:v>
                </c:pt>
                <c:pt idx="3699">
                  <c:v>5.7815171625817106E-14</c:v>
                </c:pt>
                <c:pt idx="3700">
                  <c:v>5.7815171625817106E-14</c:v>
                </c:pt>
                <c:pt idx="3701">
                  <c:v>5.7815171625817106E-14</c:v>
                </c:pt>
                <c:pt idx="3702">
                  <c:v>5.7815171625817106E-14</c:v>
                </c:pt>
                <c:pt idx="3703">
                  <c:v>5.7815171625817106E-14</c:v>
                </c:pt>
                <c:pt idx="3704">
                  <c:v>5.7815171625817106E-14</c:v>
                </c:pt>
                <c:pt idx="3705">
                  <c:v>5.7815171625817106E-14</c:v>
                </c:pt>
                <c:pt idx="3706">
                  <c:v>5.7815171625817106E-14</c:v>
                </c:pt>
                <c:pt idx="3707">
                  <c:v>5.7815171625817106E-14</c:v>
                </c:pt>
                <c:pt idx="3708">
                  <c:v>5.7815171625817106E-14</c:v>
                </c:pt>
                <c:pt idx="3709">
                  <c:v>5.7815171625817106E-14</c:v>
                </c:pt>
                <c:pt idx="3710">
                  <c:v>5.7815171625817106E-14</c:v>
                </c:pt>
                <c:pt idx="3711">
                  <c:v>5.7815171625817106E-14</c:v>
                </c:pt>
                <c:pt idx="3712">
                  <c:v>5.7815171625817106E-14</c:v>
                </c:pt>
                <c:pt idx="3713">
                  <c:v>5.7815171625817106E-14</c:v>
                </c:pt>
                <c:pt idx="3714">
                  <c:v>5.7815171625817106E-14</c:v>
                </c:pt>
                <c:pt idx="3715">
                  <c:v>5.7815171625817106E-14</c:v>
                </c:pt>
                <c:pt idx="3716">
                  <c:v>5.7815171625817106E-14</c:v>
                </c:pt>
                <c:pt idx="3717">
                  <c:v>5.7815171625817106E-14</c:v>
                </c:pt>
                <c:pt idx="3718">
                  <c:v>5.7815171625817106E-14</c:v>
                </c:pt>
                <c:pt idx="3719">
                  <c:v>5.7815171625817106E-14</c:v>
                </c:pt>
                <c:pt idx="3720">
                  <c:v>5.7815171625817106E-14</c:v>
                </c:pt>
                <c:pt idx="3721">
                  <c:v>5.7815171625817106E-14</c:v>
                </c:pt>
                <c:pt idx="3722">
                  <c:v>5.7815171625817106E-14</c:v>
                </c:pt>
                <c:pt idx="3723">
                  <c:v>5.7815171625817106E-14</c:v>
                </c:pt>
                <c:pt idx="3724">
                  <c:v>5.7815171625817106E-14</c:v>
                </c:pt>
                <c:pt idx="3725">
                  <c:v>5.7815171625817106E-14</c:v>
                </c:pt>
                <c:pt idx="3726">
                  <c:v>5.7815171625817106E-14</c:v>
                </c:pt>
                <c:pt idx="3727">
                  <c:v>5.7815171625817106E-14</c:v>
                </c:pt>
                <c:pt idx="3728">
                  <c:v>5.7815171625817106E-14</c:v>
                </c:pt>
                <c:pt idx="3729">
                  <c:v>5.7815171625817106E-14</c:v>
                </c:pt>
                <c:pt idx="3730">
                  <c:v>5.7815171625817106E-14</c:v>
                </c:pt>
                <c:pt idx="3731">
                  <c:v>5.7815171625817106E-14</c:v>
                </c:pt>
                <c:pt idx="3732">
                  <c:v>5.7815171625817106E-14</c:v>
                </c:pt>
                <c:pt idx="3733">
                  <c:v>5.7815171625817106E-14</c:v>
                </c:pt>
                <c:pt idx="3734">
                  <c:v>5.7815171625817106E-14</c:v>
                </c:pt>
                <c:pt idx="3735">
                  <c:v>5.7815171625817106E-14</c:v>
                </c:pt>
                <c:pt idx="3736">
                  <c:v>5.7815171625817106E-14</c:v>
                </c:pt>
                <c:pt idx="3737">
                  <c:v>5.7815171625817106E-14</c:v>
                </c:pt>
                <c:pt idx="3738">
                  <c:v>5.7815171625817106E-14</c:v>
                </c:pt>
                <c:pt idx="3739">
                  <c:v>5.7815171625817106E-14</c:v>
                </c:pt>
                <c:pt idx="3740">
                  <c:v>5.7815171625817106E-14</c:v>
                </c:pt>
                <c:pt idx="3741">
                  <c:v>5.7815171625817106E-14</c:v>
                </c:pt>
                <c:pt idx="3742">
                  <c:v>5.7815171625817106E-14</c:v>
                </c:pt>
                <c:pt idx="3743">
                  <c:v>5.7815171625817106E-14</c:v>
                </c:pt>
                <c:pt idx="3744">
                  <c:v>5.7815171625817106E-14</c:v>
                </c:pt>
                <c:pt idx="3745">
                  <c:v>5.7815171625817106E-14</c:v>
                </c:pt>
                <c:pt idx="3746">
                  <c:v>5.7815171625817106E-14</c:v>
                </c:pt>
                <c:pt idx="3747">
                  <c:v>5.7815171625817106E-14</c:v>
                </c:pt>
                <c:pt idx="3748">
                  <c:v>5.7815171625817106E-14</c:v>
                </c:pt>
                <c:pt idx="3749">
                  <c:v>5.7815171625817106E-14</c:v>
                </c:pt>
                <c:pt idx="3750">
                  <c:v>5.7815171625817106E-14</c:v>
                </c:pt>
                <c:pt idx="3751">
                  <c:v>5.7815171625817106E-14</c:v>
                </c:pt>
                <c:pt idx="3752">
                  <c:v>5.7815171625817106E-14</c:v>
                </c:pt>
                <c:pt idx="3753">
                  <c:v>5.7815171625817106E-14</c:v>
                </c:pt>
                <c:pt idx="3754">
                  <c:v>5.7815171625817106E-14</c:v>
                </c:pt>
                <c:pt idx="3755">
                  <c:v>5.7815171625817106E-14</c:v>
                </c:pt>
                <c:pt idx="3756">
                  <c:v>5.7815171625817106E-14</c:v>
                </c:pt>
                <c:pt idx="3757">
                  <c:v>5.7815171625817106E-14</c:v>
                </c:pt>
                <c:pt idx="3758">
                  <c:v>5.7815171625817106E-14</c:v>
                </c:pt>
                <c:pt idx="3759">
                  <c:v>5.7815171625817106E-14</c:v>
                </c:pt>
                <c:pt idx="3760">
                  <c:v>5.7815171625817106E-14</c:v>
                </c:pt>
                <c:pt idx="3761">
                  <c:v>5.7815171625817106E-14</c:v>
                </c:pt>
                <c:pt idx="3762">
                  <c:v>5.7815171625817106E-14</c:v>
                </c:pt>
                <c:pt idx="3763">
                  <c:v>5.7815171625817106E-14</c:v>
                </c:pt>
                <c:pt idx="3764">
                  <c:v>5.7815171625817106E-14</c:v>
                </c:pt>
                <c:pt idx="3765">
                  <c:v>5.7815171625817106E-14</c:v>
                </c:pt>
                <c:pt idx="3766">
                  <c:v>5.7815171625817106E-14</c:v>
                </c:pt>
                <c:pt idx="3767">
                  <c:v>5.7815171625817106E-14</c:v>
                </c:pt>
                <c:pt idx="3768">
                  <c:v>5.7815171625817106E-14</c:v>
                </c:pt>
                <c:pt idx="3769">
                  <c:v>5.7815171625817106E-14</c:v>
                </c:pt>
                <c:pt idx="3770">
                  <c:v>5.7815171625817106E-14</c:v>
                </c:pt>
                <c:pt idx="3771">
                  <c:v>5.7815171625817106E-14</c:v>
                </c:pt>
                <c:pt idx="3772">
                  <c:v>5.7815171625817106E-14</c:v>
                </c:pt>
                <c:pt idx="3773">
                  <c:v>5.7815171625817106E-14</c:v>
                </c:pt>
                <c:pt idx="3774">
                  <c:v>5.7815171625817106E-14</c:v>
                </c:pt>
                <c:pt idx="3775">
                  <c:v>5.7815171625817106E-14</c:v>
                </c:pt>
                <c:pt idx="3776">
                  <c:v>5.7815171625817106E-14</c:v>
                </c:pt>
                <c:pt idx="3777">
                  <c:v>5.7815171625817106E-14</c:v>
                </c:pt>
                <c:pt idx="3778">
                  <c:v>5.7815171625817106E-14</c:v>
                </c:pt>
                <c:pt idx="3779">
                  <c:v>5.7815171625817106E-14</c:v>
                </c:pt>
                <c:pt idx="3780">
                  <c:v>5.7815171625817106E-14</c:v>
                </c:pt>
                <c:pt idx="3781">
                  <c:v>5.7815171625817106E-14</c:v>
                </c:pt>
                <c:pt idx="3782">
                  <c:v>5.7815171625817106E-14</c:v>
                </c:pt>
                <c:pt idx="3783">
                  <c:v>5.7815171625817106E-14</c:v>
                </c:pt>
                <c:pt idx="3784">
                  <c:v>5.7815171625817106E-14</c:v>
                </c:pt>
                <c:pt idx="3785">
                  <c:v>5.7815171625817106E-14</c:v>
                </c:pt>
                <c:pt idx="3786">
                  <c:v>5.7815171625817106E-14</c:v>
                </c:pt>
                <c:pt idx="3787">
                  <c:v>5.7815171625817106E-14</c:v>
                </c:pt>
                <c:pt idx="3788">
                  <c:v>5.7815171625817106E-14</c:v>
                </c:pt>
                <c:pt idx="3789">
                  <c:v>5.7815171625817106E-14</c:v>
                </c:pt>
                <c:pt idx="3790">
                  <c:v>5.7815171625817106E-14</c:v>
                </c:pt>
                <c:pt idx="3791">
                  <c:v>5.7815171625817106E-14</c:v>
                </c:pt>
                <c:pt idx="3792">
                  <c:v>5.7815171625817106E-14</c:v>
                </c:pt>
                <c:pt idx="3793">
                  <c:v>5.7815171625817106E-14</c:v>
                </c:pt>
                <c:pt idx="3794">
                  <c:v>5.7815171625817106E-14</c:v>
                </c:pt>
                <c:pt idx="3795">
                  <c:v>5.7815171625817106E-14</c:v>
                </c:pt>
                <c:pt idx="3796">
                  <c:v>5.7815171625817106E-14</c:v>
                </c:pt>
                <c:pt idx="3797">
                  <c:v>5.7815171625817106E-14</c:v>
                </c:pt>
                <c:pt idx="3798">
                  <c:v>5.7815171625817106E-14</c:v>
                </c:pt>
                <c:pt idx="3799">
                  <c:v>5.7815171625817106E-14</c:v>
                </c:pt>
                <c:pt idx="3800">
                  <c:v>5.7815171625817106E-14</c:v>
                </c:pt>
                <c:pt idx="3801">
                  <c:v>5.7815171625817106E-14</c:v>
                </c:pt>
                <c:pt idx="3802">
                  <c:v>5.7815171625817106E-14</c:v>
                </c:pt>
                <c:pt idx="3803">
                  <c:v>5.7815171625817106E-14</c:v>
                </c:pt>
                <c:pt idx="3804">
                  <c:v>5.7815171625817106E-14</c:v>
                </c:pt>
                <c:pt idx="3805">
                  <c:v>5.7815171625817106E-14</c:v>
                </c:pt>
                <c:pt idx="3806">
                  <c:v>5.7815171625817106E-14</c:v>
                </c:pt>
                <c:pt idx="3807">
                  <c:v>5.7815171625817106E-14</c:v>
                </c:pt>
                <c:pt idx="3808">
                  <c:v>5.7815171625817106E-14</c:v>
                </c:pt>
                <c:pt idx="3809">
                  <c:v>5.7815171625817106E-14</c:v>
                </c:pt>
                <c:pt idx="3810">
                  <c:v>5.7815171625817106E-14</c:v>
                </c:pt>
                <c:pt idx="3811">
                  <c:v>5.7815171625817106E-14</c:v>
                </c:pt>
                <c:pt idx="3812">
                  <c:v>5.7815171625817106E-14</c:v>
                </c:pt>
                <c:pt idx="3813">
                  <c:v>5.7815171625817106E-14</c:v>
                </c:pt>
                <c:pt idx="3814">
                  <c:v>5.7815171625817106E-14</c:v>
                </c:pt>
                <c:pt idx="3815">
                  <c:v>5.7815171625817106E-14</c:v>
                </c:pt>
                <c:pt idx="3816">
                  <c:v>5.7815171625817106E-14</c:v>
                </c:pt>
                <c:pt idx="3817">
                  <c:v>5.7815171625817106E-14</c:v>
                </c:pt>
                <c:pt idx="3818">
                  <c:v>5.7815171625817106E-14</c:v>
                </c:pt>
                <c:pt idx="3819">
                  <c:v>5.7815171625817106E-14</c:v>
                </c:pt>
                <c:pt idx="3820">
                  <c:v>5.7815171625817106E-14</c:v>
                </c:pt>
                <c:pt idx="3821">
                  <c:v>5.7815171625817106E-14</c:v>
                </c:pt>
                <c:pt idx="3822">
                  <c:v>5.7815171625817106E-14</c:v>
                </c:pt>
                <c:pt idx="3823">
                  <c:v>5.7815171625817106E-14</c:v>
                </c:pt>
                <c:pt idx="3824">
                  <c:v>5.7815171625817106E-14</c:v>
                </c:pt>
                <c:pt idx="3825">
                  <c:v>5.7815171625817106E-14</c:v>
                </c:pt>
                <c:pt idx="3826">
                  <c:v>5.7815171625817106E-14</c:v>
                </c:pt>
                <c:pt idx="3827">
                  <c:v>5.7815171625817106E-14</c:v>
                </c:pt>
                <c:pt idx="3828">
                  <c:v>5.7815171625817106E-14</c:v>
                </c:pt>
                <c:pt idx="3829">
                  <c:v>5.7815171625817106E-14</c:v>
                </c:pt>
                <c:pt idx="3830">
                  <c:v>5.7815171625817106E-14</c:v>
                </c:pt>
                <c:pt idx="3831">
                  <c:v>5.7815171625817106E-14</c:v>
                </c:pt>
                <c:pt idx="3832">
                  <c:v>5.7815171625817106E-14</c:v>
                </c:pt>
                <c:pt idx="3833">
                  <c:v>5.7815171625817106E-14</c:v>
                </c:pt>
                <c:pt idx="3834">
                  <c:v>5.7815171625817106E-14</c:v>
                </c:pt>
                <c:pt idx="3835">
                  <c:v>5.7815171625817106E-14</c:v>
                </c:pt>
                <c:pt idx="3836">
                  <c:v>5.7815171625817106E-14</c:v>
                </c:pt>
                <c:pt idx="3837">
                  <c:v>5.7815171625817106E-14</c:v>
                </c:pt>
                <c:pt idx="3838">
                  <c:v>5.7815171625817106E-14</c:v>
                </c:pt>
                <c:pt idx="3839">
                  <c:v>5.7815171625817106E-14</c:v>
                </c:pt>
                <c:pt idx="3840">
                  <c:v>5.7815171625817106E-14</c:v>
                </c:pt>
                <c:pt idx="3841">
                  <c:v>5.7815171625817106E-14</c:v>
                </c:pt>
                <c:pt idx="3842">
                  <c:v>5.7815171625817106E-14</c:v>
                </c:pt>
                <c:pt idx="3843">
                  <c:v>5.7815171625817106E-14</c:v>
                </c:pt>
                <c:pt idx="3844">
                  <c:v>5.7815171625817106E-14</c:v>
                </c:pt>
                <c:pt idx="3845">
                  <c:v>5.7815171625817106E-14</c:v>
                </c:pt>
                <c:pt idx="3846">
                  <c:v>5.7815171625817106E-14</c:v>
                </c:pt>
                <c:pt idx="3847">
                  <c:v>5.7815171625817106E-14</c:v>
                </c:pt>
                <c:pt idx="3848">
                  <c:v>5.7815171625817106E-14</c:v>
                </c:pt>
                <c:pt idx="3849">
                  <c:v>5.7815171625817106E-14</c:v>
                </c:pt>
                <c:pt idx="3850">
                  <c:v>5.7815171625817106E-14</c:v>
                </c:pt>
                <c:pt idx="3851">
                  <c:v>5.7815171625817106E-14</c:v>
                </c:pt>
                <c:pt idx="3852">
                  <c:v>5.7815171625817106E-14</c:v>
                </c:pt>
                <c:pt idx="3853">
                  <c:v>5.7815171625817106E-14</c:v>
                </c:pt>
                <c:pt idx="3854">
                  <c:v>5.7815171625817106E-14</c:v>
                </c:pt>
                <c:pt idx="3855">
                  <c:v>5.7815171625817106E-14</c:v>
                </c:pt>
                <c:pt idx="3856">
                  <c:v>5.7815171625817106E-14</c:v>
                </c:pt>
                <c:pt idx="3857">
                  <c:v>5.7815171625817106E-14</c:v>
                </c:pt>
                <c:pt idx="3858">
                  <c:v>5.7815171625817106E-14</c:v>
                </c:pt>
                <c:pt idx="3859">
                  <c:v>5.7815171625817106E-14</c:v>
                </c:pt>
                <c:pt idx="3860">
                  <c:v>5.7815171625817106E-14</c:v>
                </c:pt>
                <c:pt idx="3861">
                  <c:v>5.7815171625817106E-14</c:v>
                </c:pt>
                <c:pt idx="3862">
                  <c:v>5.7815171625817106E-14</c:v>
                </c:pt>
                <c:pt idx="3863">
                  <c:v>5.7815171625817106E-14</c:v>
                </c:pt>
                <c:pt idx="3864">
                  <c:v>5.7815171625817106E-14</c:v>
                </c:pt>
                <c:pt idx="3865">
                  <c:v>5.7815171625817106E-14</c:v>
                </c:pt>
                <c:pt idx="3866">
                  <c:v>5.7815171625817106E-14</c:v>
                </c:pt>
                <c:pt idx="3867">
                  <c:v>5.7815171625817106E-14</c:v>
                </c:pt>
                <c:pt idx="3868">
                  <c:v>5.7815171625817106E-14</c:v>
                </c:pt>
                <c:pt idx="3869">
                  <c:v>5.7815171625817106E-14</c:v>
                </c:pt>
                <c:pt idx="3870">
                  <c:v>5.7815171625817106E-14</c:v>
                </c:pt>
                <c:pt idx="3871">
                  <c:v>5.7815171625817106E-14</c:v>
                </c:pt>
                <c:pt idx="3872">
                  <c:v>5.7815171625817106E-14</c:v>
                </c:pt>
                <c:pt idx="3873">
                  <c:v>5.7815171625817106E-14</c:v>
                </c:pt>
                <c:pt idx="3874">
                  <c:v>5.7815171625817106E-14</c:v>
                </c:pt>
                <c:pt idx="3875">
                  <c:v>5.7815171625817106E-14</c:v>
                </c:pt>
                <c:pt idx="3876">
                  <c:v>5.7815171625817106E-14</c:v>
                </c:pt>
                <c:pt idx="3877">
                  <c:v>5.7815171625817106E-14</c:v>
                </c:pt>
                <c:pt idx="3878">
                  <c:v>5.7815171625817106E-14</c:v>
                </c:pt>
                <c:pt idx="3879">
                  <c:v>5.7815171625817106E-14</c:v>
                </c:pt>
                <c:pt idx="3880">
                  <c:v>5.7815171625817106E-14</c:v>
                </c:pt>
                <c:pt idx="3881">
                  <c:v>5.7815171625817106E-14</c:v>
                </c:pt>
                <c:pt idx="3882">
                  <c:v>5.7815171625817106E-14</c:v>
                </c:pt>
                <c:pt idx="3883">
                  <c:v>5.7815171625817106E-14</c:v>
                </c:pt>
                <c:pt idx="3884">
                  <c:v>5.7815171625817106E-14</c:v>
                </c:pt>
                <c:pt idx="3885">
                  <c:v>5.7815171625817106E-14</c:v>
                </c:pt>
                <c:pt idx="3886">
                  <c:v>5.7815171625817106E-14</c:v>
                </c:pt>
                <c:pt idx="3887">
                  <c:v>5.7815171625817106E-14</c:v>
                </c:pt>
                <c:pt idx="3888">
                  <c:v>5.7815171625817106E-14</c:v>
                </c:pt>
                <c:pt idx="3889">
                  <c:v>5.7815171625817106E-14</c:v>
                </c:pt>
                <c:pt idx="3890">
                  <c:v>5.7815171625817106E-14</c:v>
                </c:pt>
                <c:pt idx="3891">
                  <c:v>5.7815171625817106E-14</c:v>
                </c:pt>
                <c:pt idx="3892">
                  <c:v>5.7815171625817106E-14</c:v>
                </c:pt>
                <c:pt idx="3893">
                  <c:v>5.7815171625817106E-14</c:v>
                </c:pt>
                <c:pt idx="3894">
                  <c:v>5.7815171625817106E-14</c:v>
                </c:pt>
                <c:pt idx="3895">
                  <c:v>5.7815171625817106E-14</c:v>
                </c:pt>
                <c:pt idx="3896">
                  <c:v>5.7815171625817106E-14</c:v>
                </c:pt>
                <c:pt idx="3897">
                  <c:v>5.7815171625817106E-14</c:v>
                </c:pt>
                <c:pt idx="3898">
                  <c:v>5.7815171625817106E-14</c:v>
                </c:pt>
                <c:pt idx="3899">
                  <c:v>5.7815171625817106E-14</c:v>
                </c:pt>
                <c:pt idx="3900">
                  <c:v>5.7815171625817106E-14</c:v>
                </c:pt>
                <c:pt idx="3901">
                  <c:v>5.7815171625817106E-14</c:v>
                </c:pt>
                <c:pt idx="3902">
                  <c:v>5.7815171625817106E-14</c:v>
                </c:pt>
                <c:pt idx="3903">
                  <c:v>5.7815171625817106E-14</c:v>
                </c:pt>
                <c:pt idx="3904">
                  <c:v>5.7815171625817106E-14</c:v>
                </c:pt>
                <c:pt idx="3905">
                  <c:v>5.7815171625817106E-14</c:v>
                </c:pt>
                <c:pt idx="3906">
                  <c:v>5.7815171625817106E-14</c:v>
                </c:pt>
                <c:pt idx="3907">
                  <c:v>5.7815171625817106E-14</c:v>
                </c:pt>
                <c:pt idx="3908">
                  <c:v>5.7815171625817106E-14</c:v>
                </c:pt>
                <c:pt idx="3909">
                  <c:v>5.7815171625817106E-14</c:v>
                </c:pt>
                <c:pt idx="3910">
                  <c:v>5.7815171625817106E-14</c:v>
                </c:pt>
                <c:pt idx="3911">
                  <c:v>5.7815171625817106E-14</c:v>
                </c:pt>
                <c:pt idx="3912">
                  <c:v>5.7815171625817106E-14</c:v>
                </c:pt>
                <c:pt idx="3913">
                  <c:v>5.7815171625817106E-14</c:v>
                </c:pt>
                <c:pt idx="3914">
                  <c:v>5.7815171625817106E-14</c:v>
                </c:pt>
                <c:pt idx="3915">
                  <c:v>5.7815171625817106E-14</c:v>
                </c:pt>
                <c:pt idx="3916">
                  <c:v>5.7815171625817106E-14</c:v>
                </c:pt>
                <c:pt idx="3917">
                  <c:v>5.7815171625817106E-14</c:v>
                </c:pt>
                <c:pt idx="3918">
                  <c:v>5.7815171625817106E-14</c:v>
                </c:pt>
                <c:pt idx="3919">
                  <c:v>5.7815171625817106E-14</c:v>
                </c:pt>
                <c:pt idx="3920">
                  <c:v>5.7815171625817106E-14</c:v>
                </c:pt>
                <c:pt idx="3921">
                  <c:v>5.7815171625817106E-14</c:v>
                </c:pt>
                <c:pt idx="3922">
                  <c:v>5.7815171625817106E-14</c:v>
                </c:pt>
                <c:pt idx="3923">
                  <c:v>5.7815171625817106E-14</c:v>
                </c:pt>
                <c:pt idx="3924">
                  <c:v>5.7815171625817106E-14</c:v>
                </c:pt>
                <c:pt idx="3925">
                  <c:v>5.7815171625817106E-14</c:v>
                </c:pt>
                <c:pt idx="3926">
                  <c:v>5.7815171625817106E-14</c:v>
                </c:pt>
                <c:pt idx="3927">
                  <c:v>5.7815171625817106E-14</c:v>
                </c:pt>
                <c:pt idx="3928">
                  <c:v>5.7815171625817106E-14</c:v>
                </c:pt>
                <c:pt idx="3929">
                  <c:v>5.7815171625817106E-14</c:v>
                </c:pt>
                <c:pt idx="3930">
                  <c:v>5.7815171625817106E-14</c:v>
                </c:pt>
                <c:pt idx="3931">
                  <c:v>5.7815171625817106E-14</c:v>
                </c:pt>
                <c:pt idx="3932">
                  <c:v>5.7815171625817106E-14</c:v>
                </c:pt>
                <c:pt idx="3933">
                  <c:v>5.7815171625817106E-14</c:v>
                </c:pt>
                <c:pt idx="3934">
                  <c:v>5.7815171625817106E-14</c:v>
                </c:pt>
                <c:pt idx="3935">
                  <c:v>5.7815171625817106E-14</c:v>
                </c:pt>
                <c:pt idx="3936">
                  <c:v>5.7815171625817106E-14</c:v>
                </c:pt>
                <c:pt idx="3937">
                  <c:v>5.7815171625817106E-14</c:v>
                </c:pt>
                <c:pt idx="3938">
                  <c:v>5.7815171625817106E-14</c:v>
                </c:pt>
                <c:pt idx="3939">
                  <c:v>5.7815171625817106E-14</c:v>
                </c:pt>
                <c:pt idx="3940">
                  <c:v>5.7815171625817106E-14</c:v>
                </c:pt>
                <c:pt idx="3941">
                  <c:v>5.7815171625817106E-14</c:v>
                </c:pt>
                <c:pt idx="3942">
                  <c:v>5.7815171625817106E-14</c:v>
                </c:pt>
                <c:pt idx="3943">
                  <c:v>5.7815171625817106E-14</c:v>
                </c:pt>
                <c:pt idx="3944">
                  <c:v>5.7815171625817106E-14</c:v>
                </c:pt>
                <c:pt idx="3945">
                  <c:v>5.7815171625817106E-14</c:v>
                </c:pt>
                <c:pt idx="3946">
                  <c:v>5.7815171625817106E-14</c:v>
                </c:pt>
                <c:pt idx="3947">
                  <c:v>5.7815171625817106E-14</c:v>
                </c:pt>
                <c:pt idx="3948">
                  <c:v>5.7815171625817106E-14</c:v>
                </c:pt>
                <c:pt idx="3949">
                  <c:v>5.7815171625817106E-14</c:v>
                </c:pt>
                <c:pt idx="3950">
                  <c:v>5.7815171625817106E-14</c:v>
                </c:pt>
                <c:pt idx="3951">
                  <c:v>5.7815171625817106E-14</c:v>
                </c:pt>
                <c:pt idx="3952">
                  <c:v>5.7815171625817106E-14</c:v>
                </c:pt>
                <c:pt idx="3953">
                  <c:v>5.7815171625817106E-14</c:v>
                </c:pt>
                <c:pt idx="3954">
                  <c:v>5.7815171625817106E-14</c:v>
                </c:pt>
                <c:pt idx="3955">
                  <c:v>5.7815171625817106E-14</c:v>
                </c:pt>
                <c:pt idx="3956">
                  <c:v>5.7815171625817106E-14</c:v>
                </c:pt>
                <c:pt idx="3957">
                  <c:v>5.7815171625817106E-14</c:v>
                </c:pt>
                <c:pt idx="3958">
                  <c:v>5.7815171625817106E-14</c:v>
                </c:pt>
                <c:pt idx="3959">
                  <c:v>5.7815171625817106E-14</c:v>
                </c:pt>
                <c:pt idx="3960">
                  <c:v>5.7815171625817106E-14</c:v>
                </c:pt>
                <c:pt idx="3961">
                  <c:v>5.7815171625817106E-14</c:v>
                </c:pt>
                <c:pt idx="3962">
                  <c:v>5.7815171625817106E-14</c:v>
                </c:pt>
                <c:pt idx="3963">
                  <c:v>5.7815171625817106E-14</c:v>
                </c:pt>
                <c:pt idx="3964">
                  <c:v>5.7815171625817106E-14</c:v>
                </c:pt>
                <c:pt idx="3965">
                  <c:v>5.7815171625817106E-14</c:v>
                </c:pt>
                <c:pt idx="3966">
                  <c:v>5.7815171625817106E-14</c:v>
                </c:pt>
                <c:pt idx="3967">
                  <c:v>5.7815171625817106E-14</c:v>
                </c:pt>
                <c:pt idx="3968">
                  <c:v>5.7815171625817106E-14</c:v>
                </c:pt>
                <c:pt idx="3969">
                  <c:v>5.7815171625817106E-14</c:v>
                </c:pt>
                <c:pt idx="3970">
                  <c:v>5.7815171625817106E-14</c:v>
                </c:pt>
                <c:pt idx="3971">
                  <c:v>5.7815171625817106E-14</c:v>
                </c:pt>
                <c:pt idx="3972">
                  <c:v>5.7815171625817106E-14</c:v>
                </c:pt>
                <c:pt idx="3973">
                  <c:v>5.7815171625817106E-14</c:v>
                </c:pt>
                <c:pt idx="3974">
                  <c:v>5.7815171625817106E-14</c:v>
                </c:pt>
                <c:pt idx="3975">
                  <c:v>5.7815171625817106E-14</c:v>
                </c:pt>
                <c:pt idx="3976">
                  <c:v>5.7815171625817106E-14</c:v>
                </c:pt>
                <c:pt idx="3977">
                  <c:v>5.7815171625817106E-14</c:v>
                </c:pt>
                <c:pt idx="3978">
                  <c:v>5.7815171625817106E-14</c:v>
                </c:pt>
                <c:pt idx="3979">
                  <c:v>5.7815171625817106E-14</c:v>
                </c:pt>
                <c:pt idx="3980">
                  <c:v>5.7815171625817106E-14</c:v>
                </c:pt>
                <c:pt idx="3981">
                  <c:v>5.7815171625817106E-14</c:v>
                </c:pt>
                <c:pt idx="3982">
                  <c:v>5.7815171625817106E-14</c:v>
                </c:pt>
                <c:pt idx="3983">
                  <c:v>5.7815171625817106E-14</c:v>
                </c:pt>
                <c:pt idx="3984">
                  <c:v>5.7815171625817106E-14</c:v>
                </c:pt>
                <c:pt idx="3985">
                  <c:v>5.7815171625817106E-14</c:v>
                </c:pt>
                <c:pt idx="3986">
                  <c:v>5.7815171625817106E-14</c:v>
                </c:pt>
                <c:pt idx="3987">
                  <c:v>5.7815171625817106E-14</c:v>
                </c:pt>
                <c:pt idx="3988">
                  <c:v>5.7815171625817106E-14</c:v>
                </c:pt>
                <c:pt idx="3989">
                  <c:v>5.7815171625817106E-14</c:v>
                </c:pt>
                <c:pt idx="3990">
                  <c:v>5.7815171625817106E-14</c:v>
                </c:pt>
                <c:pt idx="3991">
                  <c:v>5.7815171625817106E-14</c:v>
                </c:pt>
                <c:pt idx="3992">
                  <c:v>5.7815171625817106E-14</c:v>
                </c:pt>
                <c:pt idx="3993">
                  <c:v>5.7815171625817106E-14</c:v>
                </c:pt>
                <c:pt idx="3994">
                  <c:v>5.7815171625817106E-14</c:v>
                </c:pt>
                <c:pt idx="3995">
                  <c:v>5.7815171625817106E-14</c:v>
                </c:pt>
                <c:pt idx="3996">
                  <c:v>5.7815171625817106E-14</c:v>
                </c:pt>
                <c:pt idx="3997">
                  <c:v>5.7815171625817106E-14</c:v>
                </c:pt>
                <c:pt idx="3998">
                  <c:v>5.7815171625817106E-14</c:v>
                </c:pt>
                <c:pt idx="3999">
                  <c:v>5.7815171625817106E-14</c:v>
                </c:pt>
                <c:pt idx="4000">
                  <c:v>5.7815171625817106E-14</c:v>
                </c:pt>
                <c:pt idx="4001">
                  <c:v>5.7815171625817106E-14</c:v>
                </c:pt>
                <c:pt idx="4002">
                  <c:v>5.7815171625817106E-14</c:v>
                </c:pt>
                <c:pt idx="4003">
                  <c:v>5.7815171625817106E-14</c:v>
                </c:pt>
                <c:pt idx="4004">
                  <c:v>5.7815171625817106E-14</c:v>
                </c:pt>
                <c:pt idx="4005">
                  <c:v>5.7815171625817106E-14</c:v>
                </c:pt>
                <c:pt idx="4006">
                  <c:v>5.7815171625817106E-14</c:v>
                </c:pt>
                <c:pt idx="4007">
                  <c:v>5.7815171625817106E-14</c:v>
                </c:pt>
                <c:pt idx="4008">
                  <c:v>5.7815171625817106E-14</c:v>
                </c:pt>
                <c:pt idx="4009">
                  <c:v>5.7815171625817106E-14</c:v>
                </c:pt>
                <c:pt idx="4010">
                  <c:v>5.7815171625817106E-14</c:v>
                </c:pt>
                <c:pt idx="4011">
                  <c:v>5.7815171625817106E-14</c:v>
                </c:pt>
                <c:pt idx="4012">
                  <c:v>5.7815171625817106E-14</c:v>
                </c:pt>
                <c:pt idx="4013">
                  <c:v>5.7815171625817106E-14</c:v>
                </c:pt>
                <c:pt idx="4014">
                  <c:v>5.7815171625817106E-14</c:v>
                </c:pt>
                <c:pt idx="4015">
                  <c:v>5.7815171625817106E-14</c:v>
                </c:pt>
                <c:pt idx="4016">
                  <c:v>5.7815171625817106E-14</c:v>
                </c:pt>
                <c:pt idx="4017">
                  <c:v>5.7815171625817106E-14</c:v>
                </c:pt>
                <c:pt idx="4018">
                  <c:v>5.7815171625817106E-14</c:v>
                </c:pt>
                <c:pt idx="4019">
                  <c:v>5.7815171625817106E-14</c:v>
                </c:pt>
                <c:pt idx="4020">
                  <c:v>5.7815171625817106E-14</c:v>
                </c:pt>
                <c:pt idx="4021">
                  <c:v>5.7815171625817106E-14</c:v>
                </c:pt>
                <c:pt idx="4022">
                  <c:v>5.7815171625817106E-14</c:v>
                </c:pt>
                <c:pt idx="4023">
                  <c:v>5.7815171625817106E-14</c:v>
                </c:pt>
                <c:pt idx="4024">
                  <c:v>5.7815171625817106E-14</c:v>
                </c:pt>
                <c:pt idx="4025">
                  <c:v>5.7815171625817106E-14</c:v>
                </c:pt>
                <c:pt idx="4026">
                  <c:v>5.7815171625817106E-14</c:v>
                </c:pt>
                <c:pt idx="4027">
                  <c:v>5.7815171625817106E-14</c:v>
                </c:pt>
                <c:pt idx="4028">
                  <c:v>5.7815171625817106E-14</c:v>
                </c:pt>
                <c:pt idx="4029">
                  <c:v>5.7815171625817106E-14</c:v>
                </c:pt>
                <c:pt idx="4030">
                  <c:v>5.7815171625817106E-14</c:v>
                </c:pt>
                <c:pt idx="4031">
                  <c:v>5.7815171625817106E-14</c:v>
                </c:pt>
                <c:pt idx="4032">
                  <c:v>5.7815171625817106E-14</c:v>
                </c:pt>
                <c:pt idx="4033">
                  <c:v>5.7815171625817106E-14</c:v>
                </c:pt>
                <c:pt idx="4034">
                  <c:v>5.7815171625817106E-14</c:v>
                </c:pt>
                <c:pt idx="4035">
                  <c:v>5.7815171625817106E-14</c:v>
                </c:pt>
                <c:pt idx="4036">
                  <c:v>5.7815171625817106E-14</c:v>
                </c:pt>
                <c:pt idx="4037">
                  <c:v>5.7815171625817106E-14</c:v>
                </c:pt>
                <c:pt idx="4038">
                  <c:v>5.7815171625817106E-14</c:v>
                </c:pt>
                <c:pt idx="4039">
                  <c:v>5.7815171625817106E-14</c:v>
                </c:pt>
                <c:pt idx="4040">
                  <c:v>5.7815171625817106E-14</c:v>
                </c:pt>
                <c:pt idx="4041">
                  <c:v>5.7815171625817106E-14</c:v>
                </c:pt>
                <c:pt idx="4042">
                  <c:v>5.7815171625817106E-14</c:v>
                </c:pt>
                <c:pt idx="4043">
                  <c:v>5.7815171625817106E-14</c:v>
                </c:pt>
                <c:pt idx="4044">
                  <c:v>5.7815171625817106E-14</c:v>
                </c:pt>
                <c:pt idx="4045">
                  <c:v>5.7815171625817106E-14</c:v>
                </c:pt>
                <c:pt idx="4046">
                  <c:v>5.7815171625817106E-14</c:v>
                </c:pt>
                <c:pt idx="4047">
                  <c:v>5.7815171625817106E-14</c:v>
                </c:pt>
                <c:pt idx="4048">
                  <c:v>5.7815171625817106E-14</c:v>
                </c:pt>
                <c:pt idx="4049">
                  <c:v>5.7815171625817106E-14</c:v>
                </c:pt>
                <c:pt idx="4050">
                  <c:v>5.7815171625817106E-14</c:v>
                </c:pt>
                <c:pt idx="4051">
                  <c:v>5.7815171625817106E-14</c:v>
                </c:pt>
                <c:pt idx="4052">
                  <c:v>5.7815171625817106E-14</c:v>
                </c:pt>
                <c:pt idx="4053">
                  <c:v>5.7815171625817106E-14</c:v>
                </c:pt>
                <c:pt idx="4054">
                  <c:v>5.7815171625817106E-14</c:v>
                </c:pt>
                <c:pt idx="4055">
                  <c:v>5.7815171625817106E-14</c:v>
                </c:pt>
                <c:pt idx="4056">
                  <c:v>5.7815171625817106E-14</c:v>
                </c:pt>
                <c:pt idx="4057">
                  <c:v>5.7815171625817106E-14</c:v>
                </c:pt>
                <c:pt idx="4058">
                  <c:v>5.7815171625817106E-14</c:v>
                </c:pt>
                <c:pt idx="4059">
                  <c:v>5.7815171625817106E-14</c:v>
                </c:pt>
                <c:pt idx="4060">
                  <c:v>5.7815171625817106E-14</c:v>
                </c:pt>
                <c:pt idx="4061">
                  <c:v>5.7815171625817106E-14</c:v>
                </c:pt>
                <c:pt idx="4062">
                  <c:v>5.7815171625817106E-14</c:v>
                </c:pt>
                <c:pt idx="4063">
                  <c:v>5.7815171625817106E-14</c:v>
                </c:pt>
                <c:pt idx="4064">
                  <c:v>5.7815171625817106E-14</c:v>
                </c:pt>
                <c:pt idx="4065">
                  <c:v>5.7815171625817106E-14</c:v>
                </c:pt>
                <c:pt idx="4066">
                  <c:v>5.7815171625817106E-14</c:v>
                </c:pt>
                <c:pt idx="4067">
                  <c:v>5.7815171625817106E-14</c:v>
                </c:pt>
                <c:pt idx="4068">
                  <c:v>5.7815171625817106E-14</c:v>
                </c:pt>
                <c:pt idx="4069">
                  <c:v>5.7815171625817106E-14</c:v>
                </c:pt>
                <c:pt idx="4070">
                  <c:v>5.7815171625817106E-14</c:v>
                </c:pt>
                <c:pt idx="4071">
                  <c:v>5.7815171625817106E-14</c:v>
                </c:pt>
                <c:pt idx="4072">
                  <c:v>5.7815171625817106E-14</c:v>
                </c:pt>
                <c:pt idx="4073">
                  <c:v>5.7815171625817106E-14</c:v>
                </c:pt>
                <c:pt idx="4074">
                  <c:v>5.7815171625817106E-14</c:v>
                </c:pt>
                <c:pt idx="4075">
                  <c:v>5.7815171625817106E-14</c:v>
                </c:pt>
                <c:pt idx="4076">
                  <c:v>5.7815171625817106E-14</c:v>
                </c:pt>
                <c:pt idx="4077">
                  <c:v>5.7815171625817106E-14</c:v>
                </c:pt>
                <c:pt idx="4078">
                  <c:v>5.7815171625817106E-14</c:v>
                </c:pt>
                <c:pt idx="4079">
                  <c:v>5.7815171625817106E-14</c:v>
                </c:pt>
                <c:pt idx="4080">
                  <c:v>5.7815171625817106E-14</c:v>
                </c:pt>
                <c:pt idx="4081">
                  <c:v>5.7815171625817106E-14</c:v>
                </c:pt>
                <c:pt idx="4082">
                  <c:v>5.7815171625817106E-14</c:v>
                </c:pt>
                <c:pt idx="4083">
                  <c:v>5.7815171625817106E-14</c:v>
                </c:pt>
                <c:pt idx="4084">
                  <c:v>5.7815171625817106E-14</c:v>
                </c:pt>
                <c:pt idx="4085">
                  <c:v>5.7815171625817106E-14</c:v>
                </c:pt>
                <c:pt idx="4086">
                  <c:v>5.7815171625817106E-14</c:v>
                </c:pt>
                <c:pt idx="4087">
                  <c:v>5.7815171625817106E-14</c:v>
                </c:pt>
                <c:pt idx="4088">
                  <c:v>5.7815171625817106E-14</c:v>
                </c:pt>
                <c:pt idx="4089">
                  <c:v>5.7815171625817106E-14</c:v>
                </c:pt>
                <c:pt idx="4090">
                  <c:v>5.7815171625817106E-14</c:v>
                </c:pt>
                <c:pt idx="4091">
                  <c:v>5.7815171625817106E-14</c:v>
                </c:pt>
                <c:pt idx="4092">
                  <c:v>5.7815171625817106E-14</c:v>
                </c:pt>
                <c:pt idx="4093">
                  <c:v>5.7815171625817106E-14</c:v>
                </c:pt>
                <c:pt idx="4094">
                  <c:v>5.7815171625817106E-14</c:v>
                </c:pt>
                <c:pt idx="4095">
                  <c:v>5.7815171625817106E-14</c:v>
                </c:pt>
                <c:pt idx="4096">
                  <c:v>5.7815171625817106E-14</c:v>
                </c:pt>
                <c:pt idx="4097">
                  <c:v>5.7815171625817106E-14</c:v>
                </c:pt>
                <c:pt idx="4098">
                  <c:v>5.7815171625817106E-14</c:v>
                </c:pt>
                <c:pt idx="4099">
                  <c:v>5.7815171625817106E-14</c:v>
                </c:pt>
                <c:pt idx="4100">
                  <c:v>5.7815171625817106E-14</c:v>
                </c:pt>
                <c:pt idx="4101">
                  <c:v>5.7815171625817106E-14</c:v>
                </c:pt>
                <c:pt idx="4102">
                  <c:v>5.7815171625817106E-14</c:v>
                </c:pt>
                <c:pt idx="4103">
                  <c:v>5.7815171625817106E-14</c:v>
                </c:pt>
                <c:pt idx="4104">
                  <c:v>5.7815171625817106E-14</c:v>
                </c:pt>
                <c:pt idx="4105">
                  <c:v>5.7815171625817106E-14</c:v>
                </c:pt>
                <c:pt idx="4106">
                  <c:v>5.7815171625817106E-14</c:v>
                </c:pt>
                <c:pt idx="4107">
                  <c:v>5.7815171625817106E-14</c:v>
                </c:pt>
                <c:pt idx="4108">
                  <c:v>5.7815171625817106E-14</c:v>
                </c:pt>
                <c:pt idx="4109">
                  <c:v>5.7815171625817106E-14</c:v>
                </c:pt>
                <c:pt idx="4110">
                  <c:v>5.7815171625817106E-14</c:v>
                </c:pt>
                <c:pt idx="4111">
                  <c:v>5.7815171625817106E-14</c:v>
                </c:pt>
                <c:pt idx="4112">
                  <c:v>5.7815171625817106E-14</c:v>
                </c:pt>
                <c:pt idx="4113">
                  <c:v>5.7815171625817106E-14</c:v>
                </c:pt>
                <c:pt idx="4114">
                  <c:v>5.7815171625817106E-14</c:v>
                </c:pt>
                <c:pt idx="4115">
                  <c:v>5.7815171625817106E-14</c:v>
                </c:pt>
                <c:pt idx="4116">
                  <c:v>5.7815171625817106E-14</c:v>
                </c:pt>
                <c:pt idx="4117">
                  <c:v>5.7815171625817106E-14</c:v>
                </c:pt>
                <c:pt idx="4118">
                  <c:v>5.7815171625817106E-14</c:v>
                </c:pt>
                <c:pt idx="4119">
                  <c:v>5.7815171625817106E-14</c:v>
                </c:pt>
                <c:pt idx="4120">
                  <c:v>5.7815171625817106E-14</c:v>
                </c:pt>
                <c:pt idx="4121">
                  <c:v>5.7815171625817106E-14</c:v>
                </c:pt>
                <c:pt idx="4122">
                  <c:v>5.7815171625817106E-14</c:v>
                </c:pt>
                <c:pt idx="4123">
                  <c:v>5.7815171625817106E-14</c:v>
                </c:pt>
                <c:pt idx="4124">
                  <c:v>5.7815171625817106E-14</c:v>
                </c:pt>
                <c:pt idx="4125">
                  <c:v>5.7815171625817106E-14</c:v>
                </c:pt>
                <c:pt idx="4126">
                  <c:v>5.7815171625817106E-14</c:v>
                </c:pt>
                <c:pt idx="4127">
                  <c:v>5.7815171625817106E-14</c:v>
                </c:pt>
                <c:pt idx="4128">
                  <c:v>5.7815171625817106E-14</c:v>
                </c:pt>
                <c:pt idx="4129">
                  <c:v>5.7815171625817106E-14</c:v>
                </c:pt>
                <c:pt idx="4130">
                  <c:v>5.7815171625817106E-14</c:v>
                </c:pt>
                <c:pt idx="4131">
                  <c:v>5.7815171625817106E-14</c:v>
                </c:pt>
                <c:pt idx="4132">
                  <c:v>5.7815171625817106E-14</c:v>
                </c:pt>
                <c:pt idx="4133">
                  <c:v>5.7815171625817106E-14</c:v>
                </c:pt>
                <c:pt idx="4134">
                  <c:v>5.7815171625817106E-14</c:v>
                </c:pt>
                <c:pt idx="4135">
                  <c:v>5.7815171625817106E-14</c:v>
                </c:pt>
                <c:pt idx="4136">
                  <c:v>5.7815171625817106E-14</c:v>
                </c:pt>
                <c:pt idx="4137">
                  <c:v>5.7815171625817106E-14</c:v>
                </c:pt>
                <c:pt idx="4138">
                  <c:v>5.7815171625817106E-14</c:v>
                </c:pt>
                <c:pt idx="4139">
                  <c:v>5.7815171625817106E-14</c:v>
                </c:pt>
                <c:pt idx="4140">
                  <c:v>5.7815171625817106E-14</c:v>
                </c:pt>
                <c:pt idx="4141">
                  <c:v>5.7815171625817106E-14</c:v>
                </c:pt>
                <c:pt idx="4142">
                  <c:v>5.7815171625817106E-14</c:v>
                </c:pt>
                <c:pt idx="4143">
                  <c:v>5.7815171625817106E-14</c:v>
                </c:pt>
                <c:pt idx="4144">
                  <c:v>5.7815171625817106E-14</c:v>
                </c:pt>
                <c:pt idx="4145">
                  <c:v>5.7815171625817106E-14</c:v>
                </c:pt>
                <c:pt idx="4146">
                  <c:v>5.7815171625817106E-14</c:v>
                </c:pt>
                <c:pt idx="4147">
                  <c:v>5.7815171625817106E-14</c:v>
                </c:pt>
                <c:pt idx="4148">
                  <c:v>5.7815171625817106E-14</c:v>
                </c:pt>
                <c:pt idx="4149">
                  <c:v>5.7815171625817106E-14</c:v>
                </c:pt>
                <c:pt idx="4150">
                  <c:v>5.7815171625817106E-14</c:v>
                </c:pt>
                <c:pt idx="4151">
                  <c:v>5.7815171625817106E-14</c:v>
                </c:pt>
                <c:pt idx="4152">
                  <c:v>5.7815171625817106E-14</c:v>
                </c:pt>
                <c:pt idx="4153">
                  <c:v>5.7815171625817106E-14</c:v>
                </c:pt>
                <c:pt idx="4154">
                  <c:v>5.7815171625817106E-14</c:v>
                </c:pt>
                <c:pt idx="4155">
                  <c:v>5.7815171625817106E-14</c:v>
                </c:pt>
                <c:pt idx="4156">
                  <c:v>5.7815171625817106E-14</c:v>
                </c:pt>
                <c:pt idx="4157">
                  <c:v>5.7815171625817106E-14</c:v>
                </c:pt>
                <c:pt idx="4158">
                  <c:v>5.7815171625817106E-14</c:v>
                </c:pt>
                <c:pt idx="4159">
                  <c:v>5.7815171625817106E-14</c:v>
                </c:pt>
                <c:pt idx="4160">
                  <c:v>5.7815171625817106E-14</c:v>
                </c:pt>
                <c:pt idx="4161">
                  <c:v>5.7815171625817106E-14</c:v>
                </c:pt>
                <c:pt idx="4162">
                  <c:v>5.7815171625817106E-14</c:v>
                </c:pt>
                <c:pt idx="4163">
                  <c:v>5.7815171625817106E-14</c:v>
                </c:pt>
                <c:pt idx="4164">
                  <c:v>5.7815171625817106E-14</c:v>
                </c:pt>
                <c:pt idx="4165">
                  <c:v>5.7815171625817106E-14</c:v>
                </c:pt>
                <c:pt idx="4166">
                  <c:v>5.7815171625817106E-14</c:v>
                </c:pt>
                <c:pt idx="4167">
                  <c:v>5.7815171625817106E-14</c:v>
                </c:pt>
                <c:pt idx="4168">
                  <c:v>5.7815171625817106E-14</c:v>
                </c:pt>
                <c:pt idx="4169">
                  <c:v>5.7815171625817106E-14</c:v>
                </c:pt>
                <c:pt idx="4170">
                  <c:v>5.7815171625817106E-14</c:v>
                </c:pt>
                <c:pt idx="4171">
                  <c:v>5.7815171625817106E-14</c:v>
                </c:pt>
                <c:pt idx="4172">
                  <c:v>5.7815171625817106E-14</c:v>
                </c:pt>
                <c:pt idx="4173">
                  <c:v>5.7815171625817106E-14</c:v>
                </c:pt>
                <c:pt idx="4174">
                  <c:v>5.7815171625817106E-14</c:v>
                </c:pt>
                <c:pt idx="4175">
                  <c:v>5.7815171625817106E-14</c:v>
                </c:pt>
                <c:pt idx="4176">
                  <c:v>5.7815171625817106E-14</c:v>
                </c:pt>
                <c:pt idx="4177">
                  <c:v>5.7815171625817106E-14</c:v>
                </c:pt>
                <c:pt idx="4178">
                  <c:v>5.7815171625817106E-14</c:v>
                </c:pt>
                <c:pt idx="4179">
                  <c:v>5.7815171625817106E-14</c:v>
                </c:pt>
                <c:pt idx="4180">
                  <c:v>5.7815171625817106E-14</c:v>
                </c:pt>
                <c:pt idx="4181">
                  <c:v>5.7815171625817106E-14</c:v>
                </c:pt>
                <c:pt idx="4182">
                  <c:v>5.7815171625817106E-14</c:v>
                </c:pt>
                <c:pt idx="4183">
                  <c:v>5.7815171625817106E-14</c:v>
                </c:pt>
                <c:pt idx="4184">
                  <c:v>5.7815171625817106E-14</c:v>
                </c:pt>
                <c:pt idx="4185">
                  <c:v>5.7815171625817106E-14</c:v>
                </c:pt>
                <c:pt idx="4186">
                  <c:v>5.7815171625817106E-14</c:v>
                </c:pt>
                <c:pt idx="4187">
                  <c:v>5.7815171625817106E-14</c:v>
                </c:pt>
                <c:pt idx="4188">
                  <c:v>5.7815171625817106E-14</c:v>
                </c:pt>
                <c:pt idx="4189">
                  <c:v>5.7815171625817106E-14</c:v>
                </c:pt>
                <c:pt idx="4190">
                  <c:v>5.7815171625817106E-14</c:v>
                </c:pt>
                <c:pt idx="4191">
                  <c:v>5.7815171625817106E-14</c:v>
                </c:pt>
                <c:pt idx="4192">
                  <c:v>5.7815171625817106E-14</c:v>
                </c:pt>
                <c:pt idx="4193">
                  <c:v>5.7815171625817106E-14</c:v>
                </c:pt>
                <c:pt idx="4194">
                  <c:v>5.7815171625817106E-14</c:v>
                </c:pt>
                <c:pt idx="4195">
                  <c:v>5.7815171625817106E-14</c:v>
                </c:pt>
                <c:pt idx="4196">
                  <c:v>5.7815171625817106E-14</c:v>
                </c:pt>
                <c:pt idx="4197">
                  <c:v>5.7815171625817106E-14</c:v>
                </c:pt>
                <c:pt idx="4198">
                  <c:v>5.7815171625817106E-14</c:v>
                </c:pt>
                <c:pt idx="4199">
                  <c:v>5.7815171625817106E-14</c:v>
                </c:pt>
                <c:pt idx="4200">
                  <c:v>5.7815171625817106E-14</c:v>
                </c:pt>
                <c:pt idx="4201">
                  <c:v>5.7815171625817106E-14</c:v>
                </c:pt>
                <c:pt idx="4202">
                  <c:v>5.7815171625817106E-14</c:v>
                </c:pt>
                <c:pt idx="4203">
                  <c:v>5.7815171625817106E-14</c:v>
                </c:pt>
                <c:pt idx="4204">
                  <c:v>5.7815171625817106E-14</c:v>
                </c:pt>
                <c:pt idx="4205">
                  <c:v>5.7815171625817106E-14</c:v>
                </c:pt>
                <c:pt idx="4206">
                  <c:v>5.7815171625817106E-14</c:v>
                </c:pt>
                <c:pt idx="4207">
                  <c:v>5.7815171625817106E-14</c:v>
                </c:pt>
                <c:pt idx="4208">
                  <c:v>5.7815171625817106E-14</c:v>
                </c:pt>
                <c:pt idx="4209">
                  <c:v>5.7815171625817106E-14</c:v>
                </c:pt>
                <c:pt idx="4210">
                  <c:v>5.7815171625817106E-14</c:v>
                </c:pt>
                <c:pt idx="4211">
                  <c:v>5.7815171625817106E-14</c:v>
                </c:pt>
                <c:pt idx="4212">
                  <c:v>5.7815171625817106E-14</c:v>
                </c:pt>
                <c:pt idx="4213">
                  <c:v>5.7815171625817106E-14</c:v>
                </c:pt>
                <c:pt idx="4214">
                  <c:v>5.7815171625817106E-14</c:v>
                </c:pt>
                <c:pt idx="4215">
                  <c:v>5.7815171625817106E-14</c:v>
                </c:pt>
                <c:pt idx="4216">
                  <c:v>5.7815171625817106E-14</c:v>
                </c:pt>
                <c:pt idx="4217">
                  <c:v>5.7815171625817106E-14</c:v>
                </c:pt>
                <c:pt idx="4218">
                  <c:v>5.7815171625817106E-14</c:v>
                </c:pt>
                <c:pt idx="4219">
                  <c:v>5.7815171625817106E-14</c:v>
                </c:pt>
                <c:pt idx="4220">
                  <c:v>5.7815171625817106E-14</c:v>
                </c:pt>
                <c:pt idx="4221">
                  <c:v>5.7815171625817106E-14</c:v>
                </c:pt>
                <c:pt idx="4222">
                  <c:v>5.7815171625817106E-14</c:v>
                </c:pt>
                <c:pt idx="4223">
                  <c:v>5.7815171625817106E-14</c:v>
                </c:pt>
                <c:pt idx="4224">
                  <c:v>5.7815171625817106E-14</c:v>
                </c:pt>
                <c:pt idx="4225">
                  <c:v>5.7815171625817106E-14</c:v>
                </c:pt>
                <c:pt idx="4226">
                  <c:v>5.7815171625817106E-14</c:v>
                </c:pt>
                <c:pt idx="4227">
                  <c:v>5.7815171625817106E-14</c:v>
                </c:pt>
                <c:pt idx="4228">
                  <c:v>5.7815171625817106E-14</c:v>
                </c:pt>
                <c:pt idx="4229">
                  <c:v>5.7815171625817106E-14</c:v>
                </c:pt>
                <c:pt idx="4230">
                  <c:v>5.7815171625817106E-14</c:v>
                </c:pt>
                <c:pt idx="4231">
                  <c:v>5.7815171625817106E-14</c:v>
                </c:pt>
                <c:pt idx="4232">
                  <c:v>5.7815171625817106E-14</c:v>
                </c:pt>
                <c:pt idx="4233">
                  <c:v>5.7815171625817106E-14</c:v>
                </c:pt>
                <c:pt idx="4234">
                  <c:v>5.7815171625817106E-14</c:v>
                </c:pt>
                <c:pt idx="4235">
                  <c:v>5.7815171625817106E-14</c:v>
                </c:pt>
                <c:pt idx="4236">
                  <c:v>5.7815171625817106E-14</c:v>
                </c:pt>
                <c:pt idx="4237">
                  <c:v>5.7815171625817106E-14</c:v>
                </c:pt>
                <c:pt idx="4238">
                  <c:v>5.7815171625817106E-14</c:v>
                </c:pt>
                <c:pt idx="4239">
                  <c:v>5.7815171625817106E-14</c:v>
                </c:pt>
                <c:pt idx="4240">
                  <c:v>5.7815171625817106E-14</c:v>
                </c:pt>
                <c:pt idx="4241">
                  <c:v>5.7815171625817106E-14</c:v>
                </c:pt>
                <c:pt idx="4242">
                  <c:v>5.7815171625817106E-14</c:v>
                </c:pt>
                <c:pt idx="4243">
                  <c:v>5.7815171625817106E-14</c:v>
                </c:pt>
                <c:pt idx="4244">
                  <c:v>5.7815171625817106E-14</c:v>
                </c:pt>
                <c:pt idx="4245">
                  <c:v>5.7815171625817106E-14</c:v>
                </c:pt>
                <c:pt idx="4246">
                  <c:v>5.7815171625817106E-14</c:v>
                </c:pt>
                <c:pt idx="4247">
                  <c:v>5.7815171625817106E-14</c:v>
                </c:pt>
                <c:pt idx="4248">
                  <c:v>5.7815171625817106E-14</c:v>
                </c:pt>
                <c:pt idx="4249">
                  <c:v>5.7815171625817106E-14</c:v>
                </c:pt>
                <c:pt idx="4250">
                  <c:v>5.7815171625817106E-14</c:v>
                </c:pt>
                <c:pt idx="4251">
                  <c:v>5.7815171625817106E-14</c:v>
                </c:pt>
                <c:pt idx="4252">
                  <c:v>5.7815171625817106E-14</c:v>
                </c:pt>
                <c:pt idx="4253">
                  <c:v>5.7815171625817106E-14</c:v>
                </c:pt>
                <c:pt idx="4254">
                  <c:v>5.7815171625817106E-14</c:v>
                </c:pt>
                <c:pt idx="4255">
                  <c:v>5.7815171625817106E-14</c:v>
                </c:pt>
                <c:pt idx="4256">
                  <c:v>5.7815171625817106E-14</c:v>
                </c:pt>
                <c:pt idx="4257">
                  <c:v>5.7815171625817106E-14</c:v>
                </c:pt>
                <c:pt idx="4258">
                  <c:v>5.7815171625817106E-14</c:v>
                </c:pt>
                <c:pt idx="4259">
                  <c:v>5.7815171625817106E-14</c:v>
                </c:pt>
                <c:pt idx="4260">
                  <c:v>5.7815171625817106E-14</c:v>
                </c:pt>
                <c:pt idx="4261">
                  <c:v>5.7815171625817106E-14</c:v>
                </c:pt>
                <c:pt idx="4262">
                  <c:v>5.7815171625817106E-14</c:v>
                </c:pt>
                <c:pt idx="4263">
                  <c:v>5.7815171625817106E-14</c:v>
                </c:pt>
                <c:pt idx="4264">
                  <c:v>5.7815171625817106E-14</c:v>
                </c:pt>
                <c:pt idx="4265">
                  <c:v>5.7815171625817106E-14</c:v>
                </c:pt>
                <c:pt idx="4266">
                  <c:v>5.7815171625817106E-14</c:v>
                </c:pt>
                <c:pt idx="4267">
                  <c:v>5.7815171625817106E-14</c:v>
                </c:pt>
                <c:pt idx="4268">
                  <c:v>5.7815171625817106E-14</c:v>
                </c:pt>
                <c:pt idx="4269">
                  <c:v>5.7815171625817106E-14</c:v>
                </c:pt>
                <c:pt idx="4270">
                  <c:v>5.7815171625817106E-14</c:v>
                </c:pt>
                <c:pt idx="4271">
                  <c:v>5.7815171625817106E-14</c:v>
                </c:pt>
                <c:pt idx="4272">
                  <c:v>5.7815171625817106E-14</c:v>
                </c:pt>
                <c:pt idx="4273">
                  <c:v>5.7815171625817106E-14</c:v>
                </c:pt>
                <c:pt idx="4274">
                  <c:v>5.7815171625817106E-14</c:v>
                </c:pt>
                <c:pt idx="4275">
                  <c:v>5.7815171625817106E-14</c:v>
                </c:pt>
                <c:pt idx="4276">
                  <c:v>5.7815171625817106E-14</c:v>
                </c:pt>
                <c:pt idx="4277">
                  <c:v>5.7815171625817106E-14</c:v>
                </c:pt>
                <c:pt idx="4278">
                  <c:v>5.7815171625817106E-14</c:v>
                </c:pt>
                <c:pt idx="4279">
                  <c:v>5.7815171625817106E-14</c:v>
                </c:pt>
                <c:pt idx="4280">
                  <c:v>5.7815171625817106E-14</c:v>
                </c:pt>
                <c:pt idx="4281">
                  <c:v>5.7815171625817106E-14</c:v>
                </c:pt>
                <c:pt idx="4282">
                  <c:v>5.7815171625817106E-14</c:v>
                </c:pt>
                <c:pt idx="4283">
                  <c:v>5.7815171625817106E-14</c:v>
                </c:pt>
                <c:pt idx="4284">
                  <c:v>5.7815171625817106E-14</c:v>
                </c:pt>
                <c:pt idx="4285">
                  <c:v>5.7815171625817106E-14</c:v>
                </c:pt>
                <c:pt idx="4286">
                  <c:v>5.7815171625817106E-14</c:v>
                </c:pt>
                <c:pt idx="4287">
                  <c:v>5.7815171625817106E-14</c:v>
                </c:pt>
                <c:pt idx="4288">
                  <c:v>5.7815171625817106E-14</c:v>
                </c:pt>
                <c:pt idx="4289">
                  <c:v>5.7815171625817106E-14</c:v>
                </c:pt>
                <c:pt idx="4290">
                  <c:v>5.7815171625817106E-14</c:v>
                </c:pt>
                <c:pt idx="4291">
                  <c:v>5.7815171625817106E-14</c:v>
                </c:pt>
                <c:pt idx="4292">
                  <c:v>5.7815171625817106E-14</c:v>
                </c:pt>
                <c:pt idx="4293">
                  <c:v>5.7815171625817106E-14</c:v>
                </c:pt>
                <c:pt idx="4294">
                  <c:v>5.7815171625817106E-14</c:v>
                </c:pt>
                <c:pt idx="4295">
                  <c:v>5.7815171625817106E-14</c:v>
                </c:pt>
                <c:pt idx="4296">
                  <c:v>5.7815171625817106E-14</c:v>
                </c:pt>
                <c:pt idx="4297">
                  <c:v>5.7815171625817106E-14</c:v>
                </c:pt>
                <c:pt idx="4298">
                  <c:v>5.7815171625817106E-14</c:v>
                </c:pt>
                <c:pt idx="4299">
                  <c:v>5.7815171625817106E-14</c:v>
                </c:pt>
                <c:pt idx="4300">
                  <c:v>5.7815171625817106E-14</c:v>
                </c:pt>
                <c:pt idx="4301">
                  <c:v>5.7815171625817106E-14</c:v>
                </c:pt>
                <c:pt idx="4302">
                  <c:v>5.7815171625817106E-14</c:v>
                </c:pt>
                <c:pt idx="4303">
                  <c:v>5.7815171625817106E-14</c:v>
                </c:pt>
                <c:pt idx="4304">
                  <c:v>5.7815171625817106E-14</c:v>
                </c:pt>
                <c:pt idx="4305">
                  <c:v>5.7815171625817106E-14</c:v>
                </c:pt>
                <c:pt idx="4306">
                  <c:v>5.7815171625817106E-14</c:v>
                </c:pt>
                <c:pt idx="4307">
                  <c:v>5.7815171625817106E-14</c:v>
                </c:pt>
                <c:pt idx="4308">
                  <c:v>5.7815171625817106E-14</c:v>
                </c:pt>
                <c:pt idx="4309">
                  <c:v>5.7815171625817106E-14</c:v>
                </c:pt>
                <c:pt idx="4310">
                  <c:v>5.7815171625817106E-14</c:v>
                </c:pt>
                <c:pt idx="4311">
                  <c:v>5.7815171625817106E-14</c:v>
                </c:pt>
                <c:pt idx="4312">
                  <c:v>5.7815171625817106E-14</c:v>
                </c:pt>
                <c:pt idx="4313">
                  <c:v>5.7815171625817106E-14</c:v>
                </c:pt>
                <c:pt idx="4314">
                  <c:v>5.7815171625817106E-14</c:v>
                </c:pt>
                <c:pt idx="4315">
                  <c:v>5.7815171625817106E-14</c:v>
                </c:pt>
                <c:pt idx="4316">
                  <c:v>5.7815171625817106E-14</c:v>
                </c:pt>
                <c:pt idx="4317">
                  <c:v>5.7815171625817106E-14</c:v>
                </c:pt>
                <c:pt idx="4318">
                  <c:v>5.7815171625817106E-14</c:v>
                </c:pt>
                <c:pt idx="4319">
                  <c:v>5.7815171625817106E-14</c:v>
                </c:pt>
                <c:pt idx="4320">
                  <c:v>5.7815171625817106E-14</c:v>
                </c:pt>
                <c:pt idx="4321">
                  <c:v>5.7815171625817106E-14</c:v>
                </c:pt>
                <c:pt idx="4322">
                  <c:v>5.7815171625817106E-14</c:v>
                </c:pt>
                <c:pt idx="4323">
                  <c:v>5.7815171625817106E-14</c:v>
                </c:pt>
                <c:pt idx="4324">
                  <c:v>5.7815171625817106E-14</c:v>
                </c:pt>
                <c:pt idx="4325">
                  <c:v>5.7815171625817106E-14</c:v>
                </c:pt>
                <c:pt idx="4326">
                  <c:v>5.7815171625817106E-14</c:v>
                </c:pt>
                <c:pt idx="4327">
                  <c:v>5.7815171625817106E-14</c:v>
                </c:pt>
                <c:pt idx="4328">
                  <c:v>5.7815171625817106E-14</c:v>
                </c:pt>
                <c:pt idx="4329">
                  <c:v>5.7815171625817106E-14</c:v>
                </c:pt>
                <c:pt idx="4330">
                  <c:v>5.7815171625817106E-14</c:v>
                </c:pt>
                <c:pt idx="4331">
                  <c:v>5.7815171625817106E-14</c:v>
                </c:pt>
                <c:pt idx="4332">
                  <c:v>5.7815171625817106E-14</c:v>
                </c:pt>
                <c:pt idx="4333">
                  <c:v>5.7815171625817106E-14</c:v>
                </c:pt>
                <c:pt idx="4334">
                  <c:v>5.7815171625817106E-14</c:v>
                </c:pt>
                <c:pt idx="4335">
                  <c:v>5.7815171625817106E-14</c:v>
                </c:pt>
                <c:pt idx="4336">
                  <c:v>5.7815171625817106E-14</c:v>
                </c:pt>
                <c:pt idx="4337">
                  <c:v>5.7815171625817106E-14</c:v>
                </c:pt>
                <c:pt idx="4338">
                  <c:v>5.7815171625817106E-14</c:v>
                </c:pt>
                <c:pt idx="4339">
                  <c:v>5.7815171625817106E-14</c:v>
                </c:pt>
                <c:pt idx="4340">
                  <c:v>5.7815171625817106E-14</c:v>
                </c:pt>
                <c:pt idx="4341">
                  <c:v>5.7815171625817106E-14</c:v>
                </c:pt>
                <c:pt idx="4342">
                  <c:v>5.7815171625817106E-14</c:v>
                </c:pt>
                <c:pt idx="4343">
                  <c:v>5.7815171625817106E-14</c:v>
                </c:pt>
                <c:pt idx="4344">
                  <c:v>5.7815171625817106E-14</c:v>
                </c:pt>
                <c:pt idx="4345">
                  <c:v>5.7815171625817106E-14</c:v>
                </c:pt>
                <c:pt idx="4346">
                  <c:v>5.7815171625817106E-14</c:v>
                </c:pt>
                <c:pt idx="4347">
                  <c:v>5.7815171625817106E-14</c:v>
                </c:pt>
                <c:pt idx="4348">
                  <c:v>5.7815171625817106E-14</c:v>
                </c:pt>
                <c:pt idx="4349">
                  <c:v>5.7815171625817106E-14</c:v>
                </c:pt>
                <c:pt idx="4350">
                  <c:v>5.7815171625817106E-14</c:v>
                </c:pt>
                <c:pt idx="4351">
                  <c:v>5.7815171625817106E-14</c:v>
                </c:pt>
                <c:pt idx="4352">
                  <c:v>5.7815171625817106E-14</c:v>
                </c:pt>
                <c:pt idx="4353">
                  <c:v>5.7815171625817106E-14</c:v>
                </c:pt>
                <c:pt idx="4354">
                  <c:v>5.7815171625817106E-14</c:v>
                </c:pt>
                <c:pt idx="4355">
                  <c:v>5.7815171625817106E-14</c:v>
                </c:pt>
                <c:pt idx="4356">
                  <c:v>5.7815171625817106E-14</c:v>
                </c:pt>
                <c:pt idx="4357">
                  <c:v>5.7815171625817106E-14</c:v>
                </c:pt>
                <c:pt idx="4358">
                  <c:v>5.7815171625817106E-14</c:v>
                </c:pt>
                <c:pt idx="4359">
                  <c:v>5.7815171625817106E-14</c:v>
                </c:pt>
                <c:pt idx="4360">
                  <c:v>5.7815171625817106E-14</c:v>
                </c:pt>
                <c:pt idx="4361">
                  <c:v>5.7815171625817106E-14</c:v>
                </c:pt>
                <c:pt idx="4362">
                  <c:v>5.7815171625817106E-14</c:v>
                </c:pt>
                <c:pt idx="4363">
                  <c:v>5.7815171625817106E-14</c:v>
                </c:pt>
                <c:pt idx="4364">
                  <c:v>5.7815171625817106E-14</c:v>
                </c:pt>
                <c:pt idx="4365">
                  <c:v>5.7815171625817106E-14</c:v>
                </c:pt>
                <c:pt idx="4366">
                  <c:v>5.7815171625817106E-14</c:v>
                </c:pt>
                <c:pt idx="4367">
                  <c:v>5.7815171625817106E-14</c:v>
                </c:pt>
                <c:pt idx="4368">
                  <c:v>5.7815171625817106E-14</c:v>
                </c:pt>
                <c:pt idx="4369">
                  <c:v>5.7815171625817106E-14</c:v>
                </c:pt>
                <c:pt idx="4370">
                  <c:v>5.7815171625817106E-14</c:v>
                </c:pt>
                <c:pt idx="4371">
                  <c:v>5.7815171625817106E-14</c:v>
                </c:pt>
                <c:pt idx="4372">
                  <c:v>5.7815171625817106E-14</c:v>
                </c:pt>
                <c:pt idx="4373">
                  <c:v>5.7815171625817106E-14</c:v>
                </c:pt>
                <c:pt idx="4374">
                  <c:v>5.7815171625817106E-14</c:v>
                </c:pt>
                <c:pt idx="4375">
                  <c:v>5.7815171625817106E-14</c:v>
                </c:pt>
                <c:pt idx="4376">
                  <c:v>5.7815171625817106E-14</c:v>
                </c:pt>
                <c:pt idx="4377">
                  <c:v>5.7815171625817106E-14</c:v>
                </c:pt>
                <c:pt idx="4378">
                  <c:v>5.7815171625817106E-14</c:v>
                </c:pt>
                <c:pt idx="4379">
                  <c:v>5.7815171625817106E-14</c:v>
                </c:pt>
                <c:pt idx="4380">
                  <c:v>5.7815171625817106E-14</c:v>
                </c:pt>
                <c:pt idx="4381">
                  <c:v>5.7815171625817106E-14</c:v>
                </c:pt>
                <c:pt idx="4382">
                  <c:v>5.7815171625817106E-14</c:v>
                </c:pt>
                <c:pt idx="4383">
                  <c:v>5.7815171625817106E-14</c:v>
                </c:pt>
                <c:pt idx="4384">
                  <c:v>5.7815171625817106E-14</c:v>
                </c:pt>
                <c:pt idx="4385">
                  <c:v>5.7815171625817106E-14</c:v>
                </c:pt>
                <c:pt idx="4386">
                  <c:v>5.7815171625817106E-14</c:v>
                </c:pt>
                <c:pt idx="4387">
                  <c:v>5.7815171625817106E-14</c:v>
                </c:pt>
                <c:pt idx="4388">
                  <c:v>5.7815171625817106E-14</c:v>
                </c:pt>
                <c:pt idx="4389">
                  <c:v>5.7815171625817106E-14</c:v>
                </c:pt>
                <c:pt idx="4390">
                  <c:v>5.7815171625817106E-14</c:v>
                </c:pt>
                <c:pt idx="4391">
                  <c:v>5.7815171625817106E-14</c:v>
                </c:pt>
                <c:pt idx="4392">
                  <c:v>5.7815171625817106E-14</c:v>
                </c:pt>
                <c:pt idx="4393">
                  <c:v>5.7815171625817106E-14</c:v>
                </c:pt>
                <c:pt idx="4394">
                  <c:v>5.7815171625817106E-14</c:v>
                </c:pt>
                <c:pt idx="4395">
                  <c:v>5.7815171625817106E-14</c:v>
                </c:pt>
                <c:pt idx="4396">
                  <c:v>5.7815171625817106E-14</c:v>
                </c:pt>
                <c:pt idx="4397">
                  <c:v>5.7815171625817106E-14</c:v>
                </c:pt>
                <c:pt idx="4398">
                  <c:v>5.7815171625817106E-14</c:v>
                </c:pt>
                <c:pt idx="4399">
                  <c:v>5.7815171625817106E-14</c:v>
                </c:pt>
                <c:pt idx="4400">
                  <c:v>5.7815171625817106E-14</c:v>
                </c:pt>
                <c:pt idx="4401">
                  <c:v>5.7815171625817106E-14</c:v>
                </c:pt>
                <c:pt idx="4402">
                  <c:v>5.7815171625817106E-14</c:v>
                </c:pt>
                <c:pt idx="4403">
                  <c:v>5.7815171625817106E-14</c:v>
                </c:pt>
                <c:pt idx="4404">
                  <c:v>5.7815171625817106E-14</c:v>
                </c:pt>
                <c:pt idx="4405">
                  <c:v>5.7815171625817106E-14</c:v>
                </c:pt>
                <c:pt idx="4406">
                  <c:v>5.7815171625817106E-14</c:v>
                </c:pt>
                <c:pt idx="4407">
                  <c:v>5.7815171625817106E-14</c:v>
                </c:pt>
                <c:pt idx="4408">
                  <c:v>5.7815171625817106E-14</c:v>
                </c:pt>
                <c:pt idx="4409">
                  <c:v>5.7815171625817106E-14</c:v>
                </c:pt>
                <c:pt idx="4410">
                  <c:v>5.7815171625817106E-14</c:v>
                </c:pt>
                <c:pt idx="4411">
                  <c:v>5.7815171625817106E-14</c:v>
                </c:pt>
                <c:pt idx="4412">
                  <c:v>5.7815171625817106E-14</c:v>
                </c:pt>
                <c:pt idx="4413">
                  <c:v>5.7815171625817106E-14</c:v>
                </c:pt>
                <c:pt idx="4414">
                  <c:v>5.7815171625817106E-14</c:v>
                </c:pt>
                <c:pt idx="4415">
                  <c:v>5.7815171625817106E-14</c:v>
                </c:pt>
                <c:pt idx="4416">
                  <c:v>5.7815171625817106E-14</c:v>
                </c:pt>
                <c:pt idx="4417">
                  <c:v>5.7815171625817106E-14</c:v>
                </c:pt>
                <c:pt idx="4418">
                  <c:v>5.7815171625817106E-14</c:v>
                </c:pt>
                <c:pt idx="4419">
                  <c:v>5.7815171625817106E-14</c:v>
                </c:pt>
                <c:pt idx="4420">
                  <c:v>5.7815171625817106E-14</c:v>
                </c:pt>
                <c:pt idx="4421">
                  <c:v>5.7815171625817106E-14</c:v>
                </c:pt>
                <c:pt idx="4422">
                  <c:v>5.7815171625817106E-14</c:v>
                </c:pt>
                <c:pt idx="4423">
                  <c:v>5.7815171625817106E-14</c:v>
                </c:pt>
                <c:pt idx="4424">
                  <c:v>5.7815171625817106E-14</c:v>
                </c:pt>
                <c:pt idx="4425">
                  <c:v>5.7815171625817106E-14</c:v>
                </c:pt>
                <c:pt idx="4426">
                  <c:v>5.7815171625817106E-14</c:v>
                </c:pt>
                <c:pt idx="4427">
                  <c:v>5.7815171625817106E-14</c:v>
                </c:pt>
                <c:pt idx="4428">
                  <c:v>5.7815171625817106E-14</c:v>
                </c:pt>
                <c:pt idx="4429">
                  <c:v>5.7815171625817106E-14</c:v>
                </c:pt>
                <c:pt idx="4430">
                  <c:v>5.7815171625817106E-14</c:v>
                </c:pt>
                <c:pt idx="4431">
                  <c:v>5.7815171625817106E-14</c:v>
                </c:pt>
                <c:pt idx="4432">
                  <c:v>5.7815171625817106E-14</c:v>
                </c:pt>
                <c:pt idx="4433">
                  <c:v>5.7815171625817106E-14</c:v>
                </c:pt>
                <c:pt idx="4434">
                  <c:v>5.7815171625817106E-14</c:v>
                </c:pt>
                <c:pt idx="4435">
                  <c:v>5.7815171625817106E-14</c:v>
                </c:pt>
                <c:pt idx="4436">
                  <c:v>5.7815171625817106E-14</c:v>
                </c:pt>
                <c:pt idx="4437">
                  <c:v>5.7815171625817106E-14</c:v>
                </c:pt>
                <c:pt idx="4438">
                  <c:v>5.7815171625817106E-14</c:v>
                </c:pt>
                <c:pt idx="4439">
                  <c:v>5.7815171625817106E-14</c:v>
                </c:pt>
                <c:pt idx="4440">
                  <c:v>5.7815171625817106E-14</c:v>
                </c:pt>
                <c:pt idx="4441">
                  <c:v>5.7815171625817106E-14</c:v>
                </c:pt>
                <c:pt idx="4442">
                  <c:v>5.7815171625817106E-14</c:v>
                </c:pt>
                <c:pt idx="4443">
                  <c:v>5.7815171625817106E-14</c:v>
                </c:pt>
                <c:pt idx="4444">
                  <c:v>5.7815171625817106E-14</c:v>
                </c:pt>
                <c:pt idx="4445">
                  <c:v>5.7815171625817106E-14</c:v>
                </c:pt>
                <c:pt idx="4446">
                  <c:v>5.7815171625817106E-14</c:v>
                </c:pt>
                <c:pt idx="4447">
                  <c:v>5.7815171625817106E-14</c:v>
                </c:pt>
                <c:pt idx="4448">
                  <c:v>5.7815171625817106E-14</c:v>
                </c:pt>
                <c:pt idx="4449">
                  <c:v>5.7815171625817106E-14</c:v>
                </c:pt>
                <c:pt idx="4450">
                  <c:v>5.7815171625817106E-14</c:v>
                </c:pt>
                <c:pt idx="4451">
                  <c:v>5.7815171625817106E-14</c:v>
                </c:pt>
                <c:pt idx="4452">
                  <c:v>5.7815171625817106E-14</c:v>
                </c:pt>
                <c:pt idx="4453">
                  <c:v>5.7815171625817106E-14</c:v>
                </c:pt>
                <c:pt idx="4454">
                  <c:v>5.7815171625817106E-14</c:v>
                </c:pt>
                <c:pt idx="4455">
                  <c:v>5.7815171625817106E-14</c:v>
                </c:pt>
                <c:pt idx="4456">
                  <c:v>5.7815171625817106E-14</c:v>
                </c:pt>
                <c:pt idx="4457">
                  <c:v>5.7815171625817106E-14</c:v>
                </c:pt>
                <c:pt idx="4458">
                  <c:v>5.7815171625817106E-14</c:v>
                </c:pt>
                <c:pt idx="4459">
                  <c:v>5.7815171625817106E-14</c:v>
                </c:pt>
                <c:pt idx="4460">
                  <c:v>5.7815171625817106E-14</c:v>
                </c:pt>
                <c:pt idx="4461">
                  <c:v>5.7815171625817106E-14</c:v>
                </c:pt>
                <c:pt idx="4462">
                  <c:v>5.7815171625817106E-14</c:v>
                </c:pt>
                <c:pt idx="4463">
                  <c:v>5.7815171625817106E-14</c:v>
                </c:pt>
                <c:pt idx="4464">
                  <c:v>5.7815171625817106E-14</c:v>
                </c:pt>
                <c:pt idx="4465">
                  <c:v>5.7815171625817106E-14</c:v>
                </c:pt>
                <c:pt idx="4466">
                  <c:v>5.7815171625817106E-14</c:v>
                </c:pt>
                <c:pt idx="4467">
                  <c:v>5.7815171625817106E-14</c:v>
                </c:pt>
                <c:pt idx="4468">
                  <c:v>5.7815171625817106E-14</c:v>
                </c:pt>
                <c:pt idx="4469">
                  <c:v>5.7815171625817106E-14</c:v>
                </c:pt>
                <c:pt idx="4470">
                  <c:v>5.7815171625817106E-14</c:v>
                </c:pt>
                <c:pt idx="4471">
                  <c:v>5.7815171625817106E-14</c:v>
                </c:pt>
                <c:pt idx="4472">
                  <c:v>5.7815171625817106E-14</c:v>
                </c:pt>
                <c:pt idx="4473">
                  <c:v>5.7815171625817106E-14</c:v>
                </c:pt>
                <c:pt idx="4474">
                  <c:v>5.7815171625817106E-14</c:v>
                </c:pt>
                <c:pt idx="4475">
                  <c:v>5.7815171625817106E-14</c:v>
                </c:pt>
                <c:pt idx="4476">
                  <c:v>5.7815171625817106E-14</c:v>
                </c:pt>
                <c:pt idx="4477">
                  <c:v>5.7815171625817106E-14</c:v>
                </c:pt>
                <c:pt idx="4478">
                  <c:v>5.7815171625817106E-14</c:v>
                </c:pt>
                <c:pt idx="4479">
                  <c:v>5.7815171625817106E-14</c:v>
                </c:pt>
                <c:pt idx="4480">
                  <c:v>5.7815171625817106E-14</c:v>
                </c:pt>
                <c:pt idx="4481">
                  <c:v>5.7815171625817106E-14</c:v>
                </c:pt>
                <c:pt idx="4482">
                  <c:v>5.7815171625817106E-14</c:v>
                </c:pt>
                <c:pt idx="4483">
                  <c:v>5.7815171625817106E-14</c:v>
                </c:pt>
                <c:pt idx="4484">
                  <c:v>5.7815171625817106E-14</c:v>
                </c:pt>
                <c:pt idx="4485">
                  <c:v>5.7815171625817106E-14</c:v>
                </c:pt>
                <c:pt idx="4486">
                  <c:v>5.7815171625817106E-14</c:v>
                </c:pt>
                <c:pt idx="4487">
                  <c:v>5.7815171625817106E-14</c:v>
                </c:pt>
                <c:pt idx="4488">
                  <c:v>5.7815171625817106E-14</c:v>
                </c:pt>
                <c:pt idx="4489">
                  <c:v>5.7815171625817106E-14</c:v>
                </c:pt>
                <c:pt idx="4490">
                  <c:v>5.7815171625817106E-14</c:v>
                </c:pt>
                <c:pt idx="4491">
                  <c:v>5.7815171625817106E-14</c:v>
                </c:pt>
                <c:pt idx="4492">
                  <c:v>5.7815171625817106E-14</c:v>
                </c:pt>
                <c:pt idx="4493">
                  <c:v>5.7815171625817106E-14</c:v>
                </c:pt>
                <c:pt idx="4494">
                  <c:v>5.7815171625817106E-14</c:v>
                </c:pt>
                <c:pt idx="4495">
                  <c:v>5.7815171625817106E-14</c:v>
                </c:pt>
                <c:pt idx="4496">
                  <c:v>5.7815171625817106E-14</c:v>
                </c:pt>
                <c:pt idx="4497">
                  <c:v>5.7815171625817106E-14</c:v>
                </c:pt>
                <c:pt idx="4498">
                  <c:v>5.7815171625817106E-14</c:v>
                </c:pt>
                <c:pt idx="4499">
                  <c:v>5.7815171625817106E-14</c:v>
                </c:pt>
                <c:pt idx="4500">
                  <c:v>5.7815171625817106E-14</c:v>
                </c:pt>
                <c:pt idx="4501">
                  <c:v>5.7815171625817106E-14</c:v>
                </c:pt>
                <c:pt idx="4502">
                  <c:v>5.7815171625817106E-14</c:v>
                </c:pt>
                <c:pt idx="4503">
                  <c:v>5.7815171625817106E-14</c:v>
                </c:pt>
                <c:pt idx="4504">
                  <c:v>5.7815171625817106E-14</c:v>
                </c:pt>
                <c:pt idx="4505">
                  <c:v>5.7815171625817106E-14</c:v>
                </c:pt>
                <c:pt idx="4506">
                  <c:v>5.7815171625817106E-14</c:v>
                </c:pt>
                <c:pt idx="4507">
                  <c:v>5.7815171625817106E-14</c:v>
                </c:pt>
                <c:pt idx="4508">
                  <c:v>5.7815171625817106E-14</c:v>
                </c:pt>
                <c:pt idx="4509">
                  <c:v>5.7815171625817106E-14</c:v>
                </c:pt>
                <c:pt idx="4510">
                  <c:v>5.7815171625817106E-14</c:v>
                </c:pt>
                <c:pt idx="4511">
                  <c:v>5.7815171625817106E-14</c:v>
                </c:pt>
                <c:pt idx="4512">
                  <c:v>5.7815171625817106E-14</c:v>
                </c:pt>
                <c:pt idx="4513">
                  <c:v>5.7815171625817106E-14</c:v>
                </c:pt>
                <c:pt idx="4514">
                  <c:v>5.7815171625817106E-14</c:v>
                </c:pt>
                <c:pt idx="4515">
                  <c:v>5.7815171625817106E-14</c:v>
                </c:pt>
                <c:pt idx="4516">
                  <c:v>5.7815171625817106E-14</c:v>
                </c:pt>
                <c:pt idx="4517">
                  <c:v>5.7815171625817106E-14</c:v>
                </c:pt>
                <c:pt idx="4518">
                  <c:v>5.7815171625817106E-14</c:v>
                </c:pt>
                <c:pt idx="4519">
                  <c:v>5.7815171625817106E-14</c:v>
                </c:pt>
                <c:pt idx="4520">
                  <c:v>5.7815171625817106E-14</c:v>
                </c:pt>
                <c:pt idx="4521">
                  <c:v>5.7815171625817106E-14</c:v>
                </c:pt>
                <c:pt idx="4522">
                  <c:v>5.7815171625817106E-14</c:v>
                </c:pt>
                <c:pt idx="4523">
                  <c:v>5.7815171625817106E-14</c:v>
                </c:pt>
                <c:pt idx="4524">
                  <c:v>5.7815171625817106E-14</c:v>
                </c:pt>
                <c:pt idx="4525">
                  <c:v>5.7815171625817106E-14</c:v>
                </c:pt>
                <c:pt idx="4526">
                  <c:v>5.7815171625817106E-14</c:v>
                </c:pt>
                <c:pt idx="4527">
                  <c:v>5.7815171625817106E-14</c:v>
                </c:pt>
                <c:pt idx="4528">
                  <c:v>5.7815171625817106E-14</c:v>
                </c:pt>
                <c:pt idx="4529">
                  <c:v>5.7815171625817106E-14</c:v>
                </c:pt>
                <c:pt idx="4530">
                  <c:v>5.7815171625817106E-14</c:v>
                </c:pt>
                <c:pt idx="4531">
                  <c:v>5.7815171625817106E-14</c:v>
                </c:pt>
                <c:pt idx="4532">
                  <c:v>5.7815171625817106E-14</c:v>
                </c:pt>
                <c:pt idx="4533">
                  <c:v>5.7815171625817106E-14</c:v>
                </c:pt>
                <c:pt idx="4534">
                  <c:v>5.7815171625817106E-14</c:v>
                </c:pt>
                <c:pt idx="4535">
                  <c:v>5.7815171625817106E-14</c:v>
                </c:pt>
                <c:pt idx="4536">
                  <c:v>5.7815171625817106E-14</c:v>
                </c:pt>
                <c:pt idx="4537">
                  <c:v>5.7815171625817106E-14</c:v>
                </c:pt>
                <c:pt idx="4538">
                  <c:v>5.7815171625817106E-14</c:v>
                </c:pt>
                <c:pt idx="4539">
                  <c:v>5.7815171625817106E-14</c:v>
                </c:pt>
                <c:pt idx="4540">
                  <c:v>5.7815171625817106E-14</c:v>
                </c:pt>
                <c:pt idx="4541">
                  <c:v>5.7815171625817106E-14</c:v>
                </c:pt>
                <c:pt idx="4542">
                  <c:v>5.7815171625817106E-14</c:v>
                </c:pt>
                <c:pt idx="4543">
                  <c:v>5.7815171625817106E-14</c:v>
                </c:pt>
                <c:pt idx="4544">
                  <c:v>5.7815171625817106E-14</c:v>
                </c:pt>
                <c:pt idx="4545">
                  <c:v>5.7815171625817106E-14</c:v>
                </c:pt>
                <c:pt idx="4546">
                  <c:v>5.7815171625817106E-14</c:v>
                </c:pt>
                <c:pt idx="4547">
                  <c:v>5.7815171625817106E-14</c:v>
                </c:pt>
                <c:pt idx="4548">
                  <c:v>5.7815171625817106E-14</c:v>
                </c:pt>
                <c:pt idx="4549">
                  <c:v>5.7815171625817106E-14</c:v>
                </c:pt>
                <c:pt idx="4550">
                  <c:v>5.7815171625817106E-14</c:v>
                </c:pt>
                <c:pt idx="4551">
                  <c:v>5.7815171625817106E-14</c:v>
                </c:pt>
                <c:pt idx="4552">
                  <c:v>5.7815171625817106E-14</c:v>
                </c:pt>
                <c:pt idx="4553">
                  <c:v>5.7815171625817106E-14</c:v>
                </c:pt>
                <c:pt idx="4554">
                  <c:v>5.7815171625817106E-14</c:v>
                </c:pt>
                <c:pt idx="4555">
                  <c:v>5.7815171625817106E-14</c:v>
                </c:pt>
                <c:pt idx="4556">
                  <c:v>5.7815171625817106E-14</c:v>
                </c:pt>
                <c:pt idx="4557">
                  <c:v>5.7815171625817106E-14</c:v>
                </c:pt>
                <c:pt idx="4558">
                  <c:v>5.7815171625817106E-14</c:v>
                </c:pt>
                <c:pt idx="4559">
                  <c:v>5.7815171625817106E-14</c:v>
                </c:pt>
                <c:pt idx="4560">
                  <c:v>5.7815171625817106E-14</c:v>
                </c:pt>
                <c:pt idx="4561">
                  <c:v>5.7815171625817106E-14</c:v>
                </c:pt>
                <c:pt idx="4562">
                  <c:v>5.7815171625817106E-14</c:v>
                </c:pt>
                <c:pt idx="4563">
                  <c:v>5.7815171625817106E-14</c:v>
                </c:pt>
                <c:pt idx="4564">
                  <c:v>5.7815171625817106E-14</c:v>
                </c:pt>
                <c:pt idx="4565">
                  <c:v>5.7815171625817106E-14</c:v>
                </c:pt>
                <c:pt idx="4566">
                  <c:v>5.7815171625817106E-14</c:v>
                </c:pt>
                <c:pt idx="4567">
                  <c:v>5.7815171625817106E-14</c:v>
                </c:pt>
                <c:pt idx="4568">
                  <c:v>5.7815171625817106E-14</c:v>
                </c:pt>
                <c:pt idx="4569">
                  <c:v>5.7815171625817106E-14</c:v>
                </c:pt>
                <c:pt idx="4570">
                  <c:v>5.7815171625817106E-14</c:v>
                </c:pt>
                <c:pt idx="4571">
                  <c:v>5.7815171625817106E-14</c:v>
                </c:pt>
                <c:pt idx="4572">
                  <c:v>5.7815171625817106E-14</c:v>
                </c:pt>
                <c:pt idx="4573">
                  <c:v>5.7815171625817106E-14</c:v>
                </c:pt>
                <c:pt idx="4574">
                  <c:v>5.7815171625817106E-14</c:v>
                </c:pt>
                <c:pt idx="4575">
                  <c:v>5.7815171625817106E-14</c:v>
                </c:pt>
                <c:pt idx="4576">
                  <c:v>5.7815171625817106E-14</c:v>
                </c:pt>
                <c:pt idx="4577">
                  <c:v>5.7815171625817106E-14</c:v>
                </c:pt>
                <c:pt idx="4578">
                  <c:v>5.7815171625817106E-14</c:v>
                </c:pt>
                <c:pt idx="4579">
                  <c:v>5.7815171625817106E-14</c:v>
                </c:pt>
                <c:pt idx="4580">
                  <c:v>5.7815171625817106E-14</c:v>
                </c:pt>
                <c:pt idx="4581">
                  <c:v>5.7815171625817106E-14</c:v>
                </c:pt>
                <c:pt idx="4582">
                  <c:v>5.7815171625817106E-14</c:v>
                </c:pt>
                <c:pt idx="4583">
                  <c:v>5.7815171625817106E-14</c:v>
                </c:pt>
                <c:pt idx="4584">
                  <c:v>5.7815171625817106E-14</c:v>
                </c:pt>
                <c:pt idx="4585">
                  <c:v>5.7815171625817106E-14</c:v>
                </c:pt>
                <c:pt idx="4586">
                  <c:v>5.7815171625817106E-14</c:v>
                </c:pt>
                <c:pt idx="4587">
                  <c:v>5.7815171625817106E-14</c:v>
                </c:pt>
                <c:pt idx="4588">
                  <c:v>5.7815171625817106E-14</c:v>
                </c:pt>
                <c:pt idx="4589">
                  <c:v>5.7815171625817106E-14</c:v>
                </c:pt>
                <c:pt idx="4590">
                  <c:v>5.7815171625817106E-14</c:v>
                </c:pt>
                <c:pt idx="4591">
                  <c:v>5.7815171625817106E-14</c:v>
                </c:pt>
                <c:pt idx="4592">
                  <c:v>5.7815171625817106E-14</c:v>
                </c:pt>
                <c:pt idx="4593">
                  <c:v>5.7815171625817106E-14</c:v>
                </c:pt>
                <c:pt idx="4594">
                  <c:v>5.7815171625817106E-14</c:v>
                </c:pt>
                <c:pt idx="4595">
                  <c:v>5.7815171625817106E-14</c:v>
                </c:pt>
                <c:pt idx="4596">
                  <c:v>5.7815171625817106E-14</c:v>
                </c:pt>
                <c:pt idx="4597">
                  <c:v>5.7815171625817106E-14</c:v>
                </c:pt>
                <c:pt idx="4598">
                  <c:v>5.7815171625817106E-14</c:v>
                </c:pt>
                <c:pt idx="4599">
                  <c:v>5.7815171625817106E-14</c:v>
                </c:pt>
                <c:pt idx="4600">
                  <c:v>5.7815171625817106E-14</c:v>
                </c:pt>
                <c:pt idx="4601">
                  <c:v>5.7815171625817106E-14</c:v>
                </c:pt>
                <c:pt idx="4602">
                  <c:v>5.7815171625817106E-14</c:v>
                </c:pt>
                <c:pt idx="4603">
                  <c:v>5.7815171625817106E-14</c:v>
                </c:pt>
                <c:pt idx="4604">
                  <c:v>5.7815171625817106E-14</c:v>
                </c:pt>
                <c:pt idx="4605">
                  <c:v>5.7815171625817106E-14</c:v>
                </c:pt>
                <c:pt idx="4606">
                  <c:v>5.7815171625817106E-14</c:v>
                </c:pt>
                <c:pt idx="4607">
                  <c:v>5.7815171625817106E-14</c:v>
                </c:pt>
                <c:pt idx="4608">
                  <c:v>5.7815171625817106E-14</c:v>
                </c:pt>
                <c:pt idx="4609">
                  <c:v>5.7815171625817106E-14</c:v>
                </c:pt>
                <c:pt idx="4610">
                  <c:v>5.7815171625817106E-14</c:v>
                </c:pt>
                <c:pt idx="4611">
                  <c:v>5.7815171625817106E-14</c:v>
                </c:pt>
                <c:pt idx="4612">
                  <c:v>5.7815171625817106E-14</c:v>
                </c:pt>
                <c:pt idx="4613">
                  <c:v>5.7815171625817106E-14</c:v>
                </c:pt>
                <c:pt idx="4614">
                  <c:v>5.7815171625817106E-14</c:v>
                </c:pt>
                <c:pt idx="4615">
                  <c:v>5.7815171625817106E-14</c:v>
                </c:pt>
                <c:pt idx="4616">
                  <c:v>5.7815171625817106E-14</c:v>
                </c:pt>
                <c:pt idx="4617">
                  <c:v>5.7815171625817106E-14</c:v>
                </c:pt>
                <c:pt idx="4618">
                  <c:v>5.7815171625817106E-14</c:v>
                </c:pt>
                <c:pt idx="4619">
                  <c:v>5.7815171625817106E-14</c:v>
                </c:pt>
                <c:pt idx="4620">
                  <c:v>5.7815171625817106E-14</c:v>
                </c:pt>
                <c:pt idx="4621">
                  <c:v>5.7815171625817106E-14</c:v>
                </c:pt>
                <c:pt idx="4622">
                  <c:v>5.7815171625817106E-14</c:v>
                </c:pt>
                <c:pt idx="4623">
                  <c:v>5.7815171625817106E-14</c:v>
                </c:pt>
                <c:pt idx="4624">
                  <c:v>5.7815171625817106E-14</c:v>
                </c:pt>
                <c:pt idx="4625">
                  <c:v>5.7815171625817106E-14</c:v>
                </c:pt>
                <c:pt idx="4626">
                  <c:v>5.7815171625817106E-14</c:v>
                </c:pt>
                <c:pt idx="4627">
                  <c:v>5.7815171625817106E-14</c:v>
                </c:pt>
                <c:pt idx="4628">
                  <c:v>5.7815171625817106E-14</c:v>
                </c:pt>
                <c:pt idx="4629">
                  <c:v>5.7815171625817106E-14</c:v>
                </c:pt>
                <c:pt idx="4630">
                  <c:v>5.7815171625817106E-14</c:v>
                </c:pt>
                <c:pt idx="4631">
                  <c:v>5.7815171625817106E-14</c:v>
                </c:pt>
                <c:pt idx="4632">
                  <c:v>5.7815171625817106E-14</c:v>
                </c:pt>
                <c:pt idx="4633">
                  <c:v>5.7815171625817106E-14</c:v>
                </c:pt>
                <c:pt idx="4634">
                  <c:v>5.7815171625817106E-14</c:v>
                </c:pt>
                <c:pt idx="4635">
                  <c:v>5.7815171625817106E-14</c:v>
                </c:pt>
                <c:pt idx="4636">
                  <c:v>5.7815171625817106E-14</c:v>
                </c:pt>
                <c:pt idx="4637">
                  <c:v>5.7815171625817106E-14</c:v>
                </c:pt>
                <c:pt idx="4638">
                  <c:v>5.7815171625817106E-14</c:v>
                </c:pt>
                <c:pt idx="4639">
                  <c:v>5.7815171625817106E-14</c:v>
                </c:pt>
                <c:pt idx="4640">
                  <c:v>5.7815171625817106E-14</c:v>
                </c:pt>
                <c:pt idx="4641">
                  <c:v>5.7815171625817106E-14</c:v>
                </c:pt>
                <c:pt idx="4642">
                  <c:v>5.7815171625817106E-14</c:v>
                </c:pt>
                <c:pt idx="4643">
                  <c:v>5.7815171625817106E-14</c:v>
                </c:pt>
                <c:pt idx="4644">
                  <c:v>5.7815171625817106E-14</c:v>
                </c:pt>
                <c:pt idx="4645">
                  <c:v>5.7815171625817106E-14</c:v>
                </c:pt>
                <c:pt idx="4646">
                  <c:v>5.7815171625817106E-14</c:v>
                </c:pt>
                <c:pt idx="4647">
                  <c:v>5.7815171625817106E-14</c:v>
                </c:pt>
                <c:pt idx="4648">
                  <c:v>5.7815171625817106E-14</c:v>
                </c:pt>
                <c:pt idx="4649">
                  <c:v>5.7815171625817106E-14</c:v>
                </c:pt>
                <c:pt idx="4650">
                  <c:v>5.7815171625817106E-14</c:v>
                </c:pt>
                <c:pt idx="4651">
                  <c:v>5.7815171625817106E-14</c:v>
                </c:pt>
                <c:pt idx="4652">
                  <c:v>5.7815171625817106E-14</c:v>
                </c:pt>
                <c:pt idx="4653">
                  <c:v>5.7815171625817106E-14</c:v>
                </c:pt>
                <c:pt idx="4654">
                  <c:v>5.7815171625817106E-14</c:v>
                </c:pt>
                <c:pt idx="4655">
                  <c:v>5.7815171625817106E-14</c:v>
                </c:pt>
                <c:pt idx="4656">
                  <c:v>5.7815171625817106E-14</c:v>
                </c:pt>
                <c:pt idx="4657">
                  <c:v>5.7815171625817106E-14</c:v>
                </c:pt>
                <c:pt idx="4658">
                  <c:v>5.7815171625817106E-14</c:v>
                </c:pt>
                <c:pt idx="4659">
                  <c:v>5.7815171625817106E-14</c:v>
                </c:pt>
                <c:pt idx="4660">
                  <c:v>5.7815171625817106E-14</c:v>
                </c:pt>
                <c:pt idx="4661">
                  <c:v>5.7815171625817106E-14</c:v>
                </c:pt>
                <c:pt idx="4662">
                  <c:v>5.7815171625817106E-14</c:v>
                </c:pt>
                <c:pt idx="4663">
                  <c:v>5.7815171625817106E-14</c:v>
                </c:pt>
                <c:pt idx="4664">
                  <c:v>5.7815171625817106E-14</c:v>
                </c:pt>
                <c:pt idx="4665">
                  <c:v>5.7815171625817106E-14</c:v>
                </c:pt>
                <c:pt idx="4666">
                  <c:v>5.7815171625817106E-14</c:v>
                </c:pt>
                <c:pt idx="4667">
                  <c:v>5.7815171625817106E-14</c:v>
                </c:pt>
                <c:pt idx="4668">
                  <c:v>5.7815171625817106E-14</c:v>
                </c:pt>
                <c:pt idx="4669">
                  <c:v>5.7815171625817106E-14</c:v>
                </c:pt>
                <c:pt idx="4670">
                  <c:v>5.7815171625817106E-14</c:v>
                </c:pt>
                <c:pt idx="4671">
                  <c:v>5.7815171625817106E-14</c:v>
                </c:pt>
                <c:pt idx="4672">
                  <c:v>5.7815171625817106E-14</c:v>
                </c:pt>
                <c:pt idx="4673">
                  <c:v>5.7815171625817106E-14</c:v>
                </c:pt>
                <c:pt idx="4674">
                  <c:v>5.7815171625817106E-14</c:v>
                </c:pt>
                <c:pt idx="4675">
                  <c:v>5.7815171625817106E-14</c:v>
                </c:pt>
                <c:pt idx="4676">
                  <c:v>5.7815171625817106E-14</c:v>
                </c:pt>
                <c:pt idx="4677">
                  <c:v>5.7815171625817106E-14</c:v>
                </c:pt>
                <c:pt idx="4678">
                  <c:v>5.7815171625817106E-14</c:v>
                </c:pt>
                <c:pt idx="4679">
                  <c:v>5.7815171625817106E-14</c:v>
                </c:pt>
                <c:pt idx="4680">
                  <c:v>5.7815171625817106E-14</c:v>
                </c:pt>
                <c:pt idx="4681">
                  <c:v>5.7815171625817106E-14</c:v>
                </c:pt>
                <c:pt idx="4682">
                  <c:v>5.7815171625817106E-14</c:v>
                </c:pt>
                <c:pt idx="4683">
                  <c:v>5.7815171625817106E-14</c:v>
                </c:pt>
                <c:pt idx="4684">
                  <c:v>5.7815171625817106E-14</c:v>
                </c:pt>
                <c:pt idx="4685">
                  <c:v>5.7815171625817106E-14</c:v>
                </c:pt>
                <c:pt idx="4686">
                  <c:v>5.7815171625817106E-14</c:v>
                </c:pt>
                <c:pt idx="4687">
                  <c:v>5.7815171625817106E-14</c:v>
                </c:pt>
                <c:pt idx="4688">
                  <c:v>5.7815171625817106E-14</c:v>
                </c:pt>
                <c:pt idx="4689">
                  <c:v>5.7815171625817106E-14</c:v>
                </c:pt>
                <c:pt idx="4690">
                  <c:v>5.7815171625817106E-14</c:v>
                </c:pt>
                <c:pt idx="4691">
                  <c:v>5.7815171625817106E-14</c:v>
                </c:pt>
                <c:pt idx="4692">
                  <c:v>5.7815171625817106E-14</c:v>
                </c:pt>
                <c:pt idx="4693">
                  <c:v>5.7815171625817106E-14</c:v>
                </c:pt>
                <c:pt idx="4694">
                  <c:v>5.7815171625817106E-14</c:v>
                </c:pt>
                <c:pt idx="4695">
                  <c:v>5.7815171625817106E-14</c:v>
                </c:pt>
                <c:pt idx="4696">
                  <c:v>5.7815171625817106E-14</c:v>
                </c:pt>
                <c:pt idx="4697">
                  <c:v>5.7815171625817106E-14</c:v>
                </c:pt>
                <c:pt idx="4698">
                  <c:v>5.7815171625817106E-14</c:v>
                </c:pt>
                <c:pt idx="4699">
                  <c:v>5.7815171625817106E-14</c:v>
                </c:pt>
                <c:pt idx="4700">
                  <c:v>5.7815171625817106E-14</c:v>
                </c:pt>
                <c:pt idx="4701">
                  <c:v>5.7815171625817106E-14</c:v>
                </c:pt>
                <c:pt idx="4702">
                  <c:v>5.7815171625817106E-14</c:v>
                </c:pt>
                <c:pt idx="4703">
                  <c:v>5.7815171625817106E-14</c:v>
                </c:pt>
                <c:pt idx="4704">
                  <c:v>5.7815171625817106E-14</c:v>
                </c:pt>
                <c:pt idx="4705">
                  <c:v>5.7815171625817106E-14</c:v>
                </c:pt>
                <c:pt idx="4706">
                  <c:v>5.7815171625817106E-14</c:v>
                </c:pt>
                <c:pt idx="4707">
                  <c:v>5.7815171625817106E-14</c:v>
                </c:pt>
                <c:pt idx="4708">
                  <c:v>5.7815171625817106E-14</c:v>
                </c:pt>
                <c:pt idx="4709">
                  <c:v>5.7815171625817106E-14</c:v>
                </c:pt>
                <c:pt idx="4710">
                  <c:v>5.7815171625817106E-14</c:v>
                </c:pt>
                <c:pt idx="4711">
                  <c:v>5.7815171625817106E-14</c:v>
                </c:pt>
                <c:pt idx="4712">
                  <c:v>5.7815171625817106E-14</c:v>
                </c:pt>
                <c:pt idx="4713">
                  <c:v>5.7815171625817106E-14</c:v>
                </c:pt>
                <c:pt idx="4714">
                  <c:v>5.7815171625817106E-14</c:v>
                </c:pt>
                <c:pt idx="4715">
                  <c:v>5.7815171625817106E-14</c:v>
                </c:pt>
                <c:pt idx="4716">
                  <c:v>5.7815171625817106E-14</c:v>
                </c:pt>
                <c:pt idx="4717">
                  <c:v>5.7815171625817106E-14</c:v>
                </c:pt>
                <c:pt idx="4718">
                  <c:v>5.7815171625817106E-14</c:v>
                </c:pt>
                <c:pt idx="4719">
                  <c:v>5.7815171625817106E-14</c:v>
                </c:pt>
                <c:pt idx="4720">
                  <c:v>5.7815171625817106E-14</c:v>
                </c:pt>
                <c:pt idx="4721">
                  <c:v>0.4984552055762736</c:v>
                </c:pt>
                <c:pt idx="4722">
                  <c:v>0.71638923566334622</c:v>
                </c:pt>
                <c:pt idx="4723">
                  <c:v>1.1297871482566193</c:v>
                </c:pt>
                <c:pt idx="4724">
                  <c:v>1.4702456903725729</c:v>
                </c:pt>
                <c:pt idx="4725">
                  <c:v>1.7370560261867423</c:v>
                </c:pt>
                <c:pt idx="4726">
                  <c:v>1.9569789320775759</c:v>
                </c:pt>
                <c:pt idx="4727">
                  <c:v>2.1723848174720368</c:v>
                </c:pt>
                <c:pt idx="4728">
                  <c:v>2.3764379034034335</c:v>
                </c:pt>
                <c:pt idx="4729">
                  <c:v>2.7787291546320416</c:v>
                </c:pt>
                <c:pt idx="4730">
                  <c:v>3.1148253746249543</c:v>
                </c:pt>
                <c:pt idx="4731">
                  <c:v>3.5468927507428405</c:v>
                </c:pt>
                <c:pt idx="4732">
                  <c:v>3.948866363627396</c:v>
                </c:pt>
                <c:pt idx="4733">
                  <c:v>4.4177493343561958</c:v>
                </c:pt>
                <c:pt idx="4734">
                  <c:v>4.7986784420386668</c:v>
                </c:pt>
                <c:pt idx="4735">
                  <c:v>5.2867994991247151</c:v>
                </c:pt>
                <c:pt idx="4736">
                  <c:v>5.7546752444116978</c:v>
                </c:pt>
                <c:pt idx="4737">
                  <c:v>6.2762347143998269</c:v>
                </c:pt>
                <c:pt idx="4738">
                  <c:v>6.7283095930762267</c:v>
                </c:pt>
                <c:pt idx="4739">
                  <c:v>7.1938354795734316</c:v>
                </c:pt>
                <c:pt idx="4740">
                  <c:v>7.5792915906787046</c:v>
                </c:pt>
                <c:pt idx="4741">
                  <c:v>7.9126880499285637</c:v>
                </c:pt>
                <c:pt idx="4742">
                  <c:v>8.2087851678273065</c:v>
                </c:pt>
                <c:pt idx="4743">
                  <c:v>8.4453723046920821</c:v>
                </c:pt>
                <c:pt idx="4744">
                  <c:v>8.829264396855633</c:v>
                </c:pt>
                <c:pt idx="4745">
                  <c:v>9.3710709200557947</c:v>
                </c:pt>
                <c:pt idx="4746">
                  <c:v>9.7994275997545106</c:v>
                </c:pt>
                <c:pt idx="4747">
                  <c:v>10.279306371264306</c:v>
                </c:pt>
                <c:pt idx="4748">
                  <c:v>10.666332982873742</c:v>
                </c:pt>
                <c:pt idx="4749">
                  <c:v>10.90688178418287</c:v>
                </c:pt>
                <c:pt idx="4750">
                  <c:v>11.258989078813089</c:v>
                </c:pt>
                <c:pt idx="4751">
                  <c:v>11.722259759926695</c:v>
                </c:pt>
                <c:pt idx="4752">
                  <c:v>12.078350588126469</c:v>
                </c:pt>
                <c:pt idx="4753">
                  <c:v>12.381615965815444</c:v>
                </c:pt>
                <c:pt idx="4754">
                  <c:v>12.607287033623743</c:v>
                </c:pt>
                <c:pt idx="4755">
                  <c:v>12.70487306917839</c:v>
                </c:pt>
                <c:pt idx="4756">
                  <c:v>12.684247065981848</c:v>
                </c:pt>
                <c:pt idx="4757">
                  <c:v>12.743490094010605</c:v>
                </c:pt>
                <c:pt idx="4758">
                  <c:v>12.67228934780543</c:v>
                </c:pt>
                <c:pt idx="4759">
                  <c:v>12.627286219030413</c:v>
                </c:pt>
                <c:pt idx="4760">
                  <c:v>12.462226199621364</c:v>
                </c:pt>
                <c:pt idx="4761">
                  <c:v>12.295876790631402</c:v>
                </c:pt>
                <c:pt idx="4762">
                  <c:v>12.145643811495177</c:v>
                </c:pt>
                <c:pt idx="4763">
                  <c:v>11.999171332680758</c:v>
                </c:pt>
                <c:pt idx="4764">
                  <c:v>11.731910000672103</c:v>
                </c:pt>
                <c:pt idx="4765">
                  <c:v>11.529139684431586</c:v>
                </c:pt>
                <c:pt idx="4766">
                  <c:v>11.27310539697652</c:v>
                </c:pt>
                <c:pt idx="4767">
                  <c:v>11.032439706184185</c:v>
                </c:pt>
                <c:pt idx="4768">
                  <c:v>10.714993299020188</c:v>
                </c:pt>
                <c:pt idx="4769">
                  <c:v>10.392824967671851</c:v>
                </c:pt>
                <c:pt idx="4770">
                  <c:v>9.9684737122368681</c:v>
                </c:pt>
                <c:pt idx="4771">
                  <c:v>9.4947515146289465</c:v>
                </c:pt>
                <c:pt idx="4772">
                  <c:v>8.9255275085106867</c:v>
                </c:pt>
                <c:pt idx="4773">
                  <c:v>8.2600560096242841</c:v>
                </c:pt>
                <c:pt idx="4774">
                  <c:v>7.7804270716054997</c:v>
                </c:pt>
                <c:pt idx="4775">
                  <c:v>7.5882771281015788</c:v>
                </c:pt>
                <c:pt idx="4776">
                  <c:v>7.3244139336510869</c:v>
                </c:pt>
                <c:pt idx="4777">
                  <c:v>7.326571714983432</c:v>
                </c:pt>
                <c:pt idx="4778">
                  <c:v>7.4125452702387635</c:v>
                </c:pt>
                <c:pt idx="4779">
                  <c:v>7.3602241800310075</c:v>
                </c:pt>
                <c:pt idx="4780">
                  <c:v>7.466673937796684</c:v>
                </c:pt>
                <c:pt idx="4781">
                  <c:v>7.7935292557932669</c:v>
                </c:pt>
                <c:pt idx="4782">
                  <c:v>8.2093471597905427</c:v>
                </c:pt>
                <c:pt idx="4783">
                  <c:v>8.6149451309640845</c:v>
                </c:pt>
                <c:pt idx="4784">
                  <c:v>8.9370497017694817</c:v>
                </c:pt>
                <c:pt idx="4785">
                  <c:v>9.1330923101096122</c:v>
                </c:pt>
                <c:pt idx="4786">
                  <c:v>9.2448084310347909</c:v>
                </c:pt>
                <c:pt idx="4787">
                  <c:v>9.6914576528431198</c:v>
                </c:pt>
                <c:pt idx="4788">
                  <c:v>10.037676978505164</c:v>
                </c:pt>
                <c:pt idx="4789">
                  <c:v>10.582991704159813</c:v>
                </c:pt>
                <c:pt idx="4790">
                  <c:v>11.285788639224503</c:v>
                </c:pt>
                <c:pt idx="4791">
                  <c:v>12.142007800548512</c:v>
                </c:pt>
                <c:pt idx="4792">
                  <c:v>12.904317249983828</c:v>
                </c:pt>
                <c:pt idx="4793">
                  <c:v>13.59212428701178</c:v>
                </c:pt>
                <c:pt idx="4794">
                  <c:v>14.159725460858468</c:v>
                </c:pt>
                <c:pt idx="4795">
                  <c:v>14.684751393399953</c:v>
                </c:pt>
                <c:pt idx="4796">
                  <c:v>15.308304351521999</c:v>
                </c:pt>
                <c:pt idx="4797">
                  <c:v>15.806087011459899</c:v>
                </c:pt>
                <c:pt idx="4798">
                  <c:v>16.14589629251277</c:v>
                </c:pt>
                <c:pt idx="4799">
                  <c:v>16.480504088611148</c:v>
                </c:pt>
                <c:pt idx="4800">
                  <c:v>16.674896604346074</c:v>
                </c:pt>
                <c:pt idx="4801">
                  <c:v>16.773672004411182</c:v>
                </c:pt>
                <c:pt idx="4802">
                  <c:v>16.78152391327917</c:v>
                </c:pt>
                <c:pt idx="4803">
                  <c:v>16.724697630145219</c:v>
                </c:pt>
                <c:pt idx="4804">
                  <c:v>16.546050371462211</c:v>
                </c:pt>
                <c:pt idx="4805">
                  <c:v>16.326865446234653</c:v>
                </c:pt>
                <c:pt idx="4806">
                  <c:v>16.013914770568572</c:v>
                </c:pt>
                <c:pt idx="4807">
                  <c:v>15.805692537860349</c:v>
                </c:pt>
                <c:pt idx="4808">
                  <c:v>15.681984004877869</c:v>
                </c:pt>
                <c:pt idx="4809">
                  <c:v>15.523767950632834</c:v>
                </c:pt>
                <c:pt idx="4810">
                  <c:v>15.211295390575492</c:v>
                </c:pt>
                <c:pt idx="4811">
                  <c:v>15.118447685821982</c:v>
                </c:pt>
                <c:pt idx="4812">
                  <c:v>15.005923023089084</c:v>
                </c:pt>
                <c:pt idx="4813">
                  <c:v>14.87589552912771</c:v>
                </c:pt>
                <c:pt idx="4814">
                  <c:v>14.655183567567077</c:v>
                </c:pt>
                <c:pt idx="4815">
                  <c:v>14.249955742911384</c:v>
                </c:pt>
                <c:pt idx="4816">
                  <c:v>13.741798305709558</c:v>
                </c:pt>
                <c:pt idx="4817">
                  <c:v>13.344513946687636</c:v>
                </c:pt>
                <c:pt idx="4818">
                  <c:v>12.906627988763125</c:v>
                </c:pt>
                <c:pt idx="4819">
                  <c:v>12.608076211545345</c:v>
                </c:pt>
                <c:pt idx="4820">
                  <c:v>12.424570066080713</c:v>
                </c:pt>
                <c:pt idx="4821">
                  <c:v>12.537618757753105</c:v>
                </c:pt>
                <c:pt idx="4822">
                  <c:v>12.541838074204634</c:v>
                </c:pt>
                <c:pt idx="4823">
                  <c:v>12.564959848474057</c:v>
                </c:pt>
                <c:pt idx="4824">
                  <c:v>12.485373477108606</c:v>
                </c:pt>
                <c:pt idx="4825">
                  <c:v>12.445629886388787</c:v>
                </c:pt>
                <c:pt idx="4826">
                  <c:v>12.509271391257816</c:v>
                </c:pt>
                <c:pt idx="4827">
                  <c:v>12.481765278699786</c:v>
                </c:pt>
                <c:pt idx="4828">
                  <c:v>12.33889866023596</c:v>
                </c:pt>
                <c:pt idx="4829">
                  <c:v>12.211076982875683</c:v>
                </c:pt>
                <c:pt idx="4830">
                  <c:v>12.001526654461168</c:v>
                </c:pt>
                <c:pt idx="4831">
                  <c:v>11.690943864984311</c:v>
                </c:pt>
                <c:pt idx="4832">
                  <c:v>11.485875727977582</c:v>
                </c:pt>
                <c:pt idx="4833">
                  <c:v>11.25322551147632</c:v>
                </c:pt>
                <c:pt idx="4834">
                  <c:v>10.982510841264121</c:v>
                </c:pt>
                <c:pt idx="4835">
                  <c:v>10.58584968695992</c:v>
                </c:pt>
                <c:pt idx="4836">
                  <c:v>10.143180316967918</c:v>
                </c:pt>
                <c:pt idx="4837">
                  <c:v>9.6880562461460098</c:v>
                </c:pt>
                <c:pt idx="4838">
                  <c:v>9.3578833178664436</c:v>
                </c:pt>
                <c:pt idx="4839">
                  <c:v>9.2167621111947398</c:v>
                </c:pt>
                <c:pt idx="4840">
                  <c:v>9.1049065505395745</c:v>
                </c:pt>
                <c:pt idx="4841">
                  <c:v>9.1197501712101996</c:v>
                </c:pt>
                <c:pt idx="4842">
                  <c:v>9.0413621881563895</c:v>
                </c:pt>
                <c:pt idx="4843">
                  <c:v>9.288315415803762</c:v>
                </c:pt>
                <c:pt idx="4844">
                  <c:v>9.4771146904534653</c:v>
                </c:pt>
                <c:pt idx="4845">
                  <c:v>9.5496230334418772</c:v>
                </c:pt>
                <c:pt idx="4846">
                  <c:v>9.7873218590638356</c:v>
                </c:pt>
                <c:pt idx="4847">
                  <c:v>10.205067489434015</c:v>
                </c:pt>
                <c:pt idx="4848">
                  <c:v>10.60308629108297</c:v>
                </c:pt>
                <c:pt idx="4849">
                  <c:v>10.974629084678048</c:v>
                </c:pt>
                <c:pt idx="4850">
                  <c:v>11.192823845928581</c:v>
                </c:pt>
                <c:pt idx="4851">
                  <c:v>11.506848997271435</c:v>
                </c:pt>
                <c:pt idx="4852">
                  <c:v>11.735186300188612</c:v>
                </c:pt>
                <c:pt idx="4853">
                  <c:v>11.933769687972671</c:v>
                </c:pt>
                <c:pt idx="4854">
                  <c:v>12.2525237618748</c:v>
                </c:pt>
                <c:pt idx="4855">
                  <c:v>12.533197486075236</c:v>
                </c:pt>
                <c:pt idx="4856">
                  <c:v>12.708149960063238</c:v>
                </c:pt>
                <c:pt idx="4857">
                  <c:v>12.793239760480475</c:v>
                </c:pt>
                <c:pt idx="4858">
                  <c:v>12.790369237117194</c:v>
                </c:pt>
                <c:pt idx="4859">
                  <c:v>12.665385003120743</c:v>
                </c:pt>
                <c:pt idx="4860">
                  <c:v>12.429175321260514</c:v>
                </c:pt>
                <c:pt idx="4861">
                  <c:v>12.147306107520597</c:v>
                </c:pt>
                <c:pt idx="4862">
                  <c:v>12.057814382568576</c:v>
                </c:pt>
                <c:pt idx="4863">
                  <c:v>11.889035718338423</c:v>
                </c:pt>
                <c:pt idx="4864">
                  <c:v>11.698675873502212</c:v>
                </c:pt>
                <c:pt idx="4865">
                  <c:v>11.462843714463274</c:v>
                </c:pt>
                <c:pt idx="4866">
                  <c:v>11.152018659420783</c:v>
                </c:pt>
                <c:pt idx="4867">
                  <c:v>10.82642551122705</c:v>
                </c:pt>
                <c:pt idx="4868">
                  <c:v>10.496907075749514</c:v>
                </c:pt>
                <c:pt idx="4869">
                  <c:v>10.179554265276229</c:v>
                </c:pt>
                <c:pt idx="4870">
                  <c:v>9.9049332931814256</c:v>
                </c:pt>
                <c:pt idx="4871">
                  <c:v>9.5245231335263547</c:v>
                </c:pt>
                <c:pt idx="4872">
                  <c:v>9.0184130295621756</c:v>
                </c:pt>
                <c:pt idx="4873">
                  <c:v>8.8271783856093045</c:v>
                </c:pt>
                <c:pt idx="4874">
                  <c:v>8.6241227264030691</c:v>
                </c:pt>
                <c:pt idx="4875">
                  <c:v>8.3649199464942843</c:v>
                </c:pt>
                <c:pt idx="4876">
                  <c:v>8.2839505363658663</c:v>
                </c:pt>
                <c:pt idx="4877">
                  <c:v>8.4515687901304002</c:v>
                </c:pt>
                <c:pt idx="4878">
                  <c:v>8.5137248491719131</c:v>
                </c:pt>
                <c:pt idx="4879">
                  <c:v>8.6208211059648967</c:v>
                </c:pt>
                <c:pt idx="4880">
                  <c:v>8.688612077224791</c:v>
                </c:pt>
                <c:pt idx="4881">
                  <c:v>8.8954027711232975</c:v>
                </c:pt>
                <c:pt idx="4882">
                  <c:v>9.0157078552026579</c:v>
                </c:pt>
                <c:pt idx="4883">
                  <c:v>9.0962532355447294</c:v>
                </c:pt>
                <c:pt idx="4884">
                  <c:v>9.3481370258267198</c:v>
                </c:pt>
                <c:pt idx="4885">
                  <c:v>9.5499368390949595</c:v>
                </c:pt>
                <c:pt idx="4886">
                  <c:v>9.6628706552621644</c:v>
                </c:pt>
                <c:pt idx="4887">
                  <c:v>9.7909069376455502</c:v>
                </c:pt>
                <c:pt idx="4888">
                  <c:v>10.164121052302393</c:v>
                </c:pt>
                <c:pt idx="4889">
                  <c:v>10.395593756572987</c:v>
                </c:pt>
                <c:pt idx="4890">
                  <c:v>10.5038085337928</c:v>
                </c:pt>
                <c:pt idx="4891">
                  <c:v>10.588185944796964</c:v>
                </c:pt>
                <c:pt idx="4892">
                  <c:v>10.786184585784978</c:v>
                </c:pt>
                <c:pt idx="4893">
                  <c:v>10.901282694210998</c:v>
                </c:pt>
                <c:pt idx="4894">
                  <c:v>11.055840435133794</c:v>
                </c:pt>
                <c:pt idx="4895">
                  <c:v>11.308607137026057</c:v>
                </c:pt>
                <c:pt idx="4896">
                  <c:v>11.60040310583125</c:v>
                </c:pt>
                <c:pt idx="4897">
                  <c:v>11.87764129241957</c:v>
                </c:pt>
                <c:pt idx="4898">
                  <c:v>12.130651681419932</c:v>
                </c:pt>
                <c:pt idx="4899">
                  <c:v>12.308849505528505</c:v>
                </c:pt>
                <c:pt idx="4900">
                  <c:v>12.559231472094471</c:v>
                </c:pt>
                <c:pt idx="4901">
                  <c:v>12.699716314085116</c:v>
                </c:pt>
                <c:pt idx="4902">
                  <c:v>12.809727720332424</c:v>
                </c:pt>
                <c:pt idx="4903">
                  <c:v>12.836762170936206</c:v>
                </c:pt>
                <c:pt idx="4904">
                  <c:v>12.92723462839737</c:v>
                </c:pt>
                <c:pt idx="4905">
                  <c:v>12.973694532342426</c:v>
                </c:pt>
                <c:pt idx="4906">
                  <c:v>13.012460529630303</c:v>
                </c:pt>
                <c:pt idx="4907">
                  <c:v>13.012966109069827</c:v>
                </c:pt>
                <c:pt idx="4908">
                  <c:v>12.878189860977715</c:v>
                </c:pt>
                <c:pt idx="4909">
                  <c:v>12.740085199462962</c:v>
                </c:pt>
                <c:pt idx="4910">
                  <c:v>12.564656506669394</c:v>
                </c:pt>
                <c:pt idx="4911">
                  <c:v>12.480640713809631</c:v>
                </c:pt>
                <c:pt idx="4912">
                  <c:v>12.277153185056788</c:v>
                </c:pt>
                <c:pt idx="4913">
                  <c:v>12.041286173850617</c:v>
                </c:pt>
                <c:pt idx="4914">
                  <c:v>11.938494639502709</c:v>
                </c:pt>
                <c:pt idx="4915">
                  <c:v>11.891041667026968</c:v>
                </c:pt>
                <c:pt idx="4916">
                  <c:v>11.718668942668771</c:v>
                </c:pt>
                <c:pt idx="4917">
                  <c:v>11.608921954381312</c:v>
                </c:pt>
                <c:pt idx="4918">
                  <c:v>11.678790934699812</c:v>
                </c:pt>
                <c:pt idx="4919">
                  <c:v>11.774580736728426</c:v>
                </c:pt>
                <c:pt idx="4920">
                  <c:v>11.726397727750536</c:v>
                </c:pt>
                <c:pt idx="4921">
                  <c:v>11.539239395622616</c:v>
                </c:pt>
                <c:pt idx="4922">
                  <c:v>11.366375732788804</c:v>
                </c:pt>
                <c:pt idx="4923">
                  <c:v>11.229748385668193</c:v>
                </c:pt>
                <c:pt idx="4924">
                  <c:v>11.111454891253915</c:v>
                </c:pt>
                <c:pt idx="4925">
                  <c:v>11.105500348632956</c:v>
                </c:pt>
                <c:pt idx="4926">
                  <c:v>11.133157552127845</c:v>
                </c:pt>
                <c:pt idx="4927">
                  <c:v>11.028394271663981</c:v>
                </c:pt>
                <c:pt idx="4928">
                  <c:v>10.963678190926844</c:v>
                </c:pt>
                <c:pt idx="4929">
                  <c:v>10.836950765033476</c:v>
                </c:pt>
                <c:pt idx="4930">
                  <c:v>10.987339299204431</c:v>
                </c:pt>
                <c:pt idx="4931">
                  <c:v>11.180359328592905</c:v>
                </c:pt>
                <c:pt idx="4932">
                  <c:v>11.340503436397086</c:v>
                </c:pt>
                <c:pt idx="4933">
                  <c:v>11.432310902195033</c:v>
                </c:pt>
                <c:pt idx="4934">
                  <c:v>11.685692679146783</c:v>
                </c:pt>
                <c:pt idx="4935">
                  <c:v>11.898791389407483</c:v>
                </c:pt>
                <c:pt idx="4936">
                  <c:v>12.074306969524851</c:v>
                </c:pt>
                <c:pt idx="4937">
                  <c:v>12.397776149709934</c:v>
                </c:pt>
                <c:pt idx="4938">
                  <c:v>12.558862344256339</c:v>
                </c:pt>
                <c:pt idx="4939">
                  <c:v>12.644217999637251</c:v>
                </c:pt>
                <c:pt idx="4940">
                  <c:v>12.706654919526226</c:v>
                </c:pt>
                <c:pt idx="4941">
                  <c:v>12.682615849566895</c:v>
                </c:pt>
                <c:pt idx="4942">
                  <c:v>12.560574030959826</c:v>
                </c:pt>
                <c:pt idx="4943">
                  <c:v>12.365117768211363</c:v>
                </c:pt>
                <c:pt idx="4944">
                  <c:v>12.260917935628726</c:v>
                </c:pt>
                <c:pt idx="4945">
                  <c:v>12.177803121117906</c:v>
                </c:pt>
                <c:pt idx="4946">
                  <c:v>11.990791832810356</c:v>
                </c:pt>
                <c:pt idx="4947">
                  <c:v>11.807399454640365</c:v>
                </c:pt>
                <c:pt idx="4948">
                  <c:v>11.522339615764851</c:v>
                </c:pt>
                <c:pt idx="4949">
                  <c:v>11.283674034967529</c:v>
                </c:pt>
                <c:pt idx="4950">
                  <c:v>10.941904521009736</c:v>
                </c:pt>
                <c:pt idx="4951">
                  <c:v>10.50974702282932</c:v>
                </c:pt>
                <c:pt idx="4952">
                  <c:v>10.046883481716943</c:v>
                </c:pt>
                <c:pt idx="4953">
                  <c:v>9.662037166089755</c:v>
                </c:pt>
                <c:pt idx="4954">
                  <c:v>9.1818917207494142</c:v>
                </c:pt>
                <c:pt idx="4955">
                  <c:v>8.701745603380429</c:v>
                </c:pt>
                <c:pt idx="4956">
                  <c:v>8.1299331234374073</c:v>
                </c:pt>
                <c:pt idx="4957">
                  <c:v>7.4268083520911858</c:v>
                </c:pt>
                <c:pt idx="4958">
                  <c:v>6.7215339572396431</c:v>
                </c:pt>
                <c:pt idx="4959">
                  <c:v>5.8378614264305062</c:v>
                </c:pt>
                <c:pt idx="4960">
                  <c:v>5.1537793951623962</c:v>
                </c:pt>
                <c:pt idx="4961">
                  <c:v>4.5852923662179723</c:v>
                </c:pt>
                <c:pt idx="4962">
                  <c:v>3.9312642338642565</c:v>
                </c:pt>
                <c:pt idx="4963">
                  <c:v>3.1488783361792758</c:v>
                </c:pt>
                <c:pt idx="4964">
                  <c:v>2.5676742111716173</c:v>
                </c:pt>
                <c:pt idx="4965">
                  <c:v>1.9754670081012569</c:v>
                </c:pt>
                <c:pt idx="4966">
                  <c:v>1.2794433883126133</c:v>
                </c:pt>
                <c:pt idx="4967">
                  <c:v>1.080080884852904</c:v>
                </c:pt>
                <c:pt idx="4968">
                  <c:v>0.86200786871375601</c:v>
                </c:pt>
                <c:pt idx="4969">
                  <c:v>0.54185295131694589</c:v>
                </c:pt>
                <c:pt idx="4970">
                  <c:v>0.38227628502751076</c:v>
                </c:pt>
                <c:pt idx="4971">
                  <c:v>0.14995653727896285</c:v>
                </c:pt>
                <c:pt idx="4972">
                  <c:v>5.6639961031304205E-2</c:v>
                </c:pt>
                <c:pt idx="4973">
                  <c:v>4.8982248884217358E-2</c:v>
                </c:pt>
                <c:pt idx="4974">
                  <c:v>4.0199376539631855E-2</c:v>
                </c:pt>
                <c:pt idx="4975">
                  <c:v>2.8445866876598128E-2</c:v>
                </c:pt>
                <c:pt idx="4976">
                  <c:v>2.245329053441018E-2</c:v>
                </c:pt>
                <c:pt idx="4977">
                  <c:v>1.6860945310704638E-2</c:v>
                </c:pt>
                <c:pt idx="4978">
                  <c:v>1.690165993308522E-2</c:v>
                </c:pt>
                <c:pt idx="4979">
                  <c:v>1.679374293197133E-2</c:v>
                </c:pt>
                <c:pt idx="4980">
                  <c:v>1.6948504078948597E-2</c:v>
                </c:pt>
                <c:pt idx="4981">
                  <c:v>1.6940105625015921E-2</c:v>
                </c:pt>
                <c:pt idx="4982">
                  <c:v>1.6952255841794515E-2</c:v>
                </c:pt>
                <c:pt idx="4983">
                  <c:v>1.6857078450656166E-2</c:v>
                </c:pt>
                <c:pt idx="4984">
                  <c:v>1.6702085191532701E-2</c:v>
                </c:pt>
                <c:pt idx="4985">
                  <c:v>1.6443140367952296E-2</c:v>
                </c:pt>
                <c:pt idx="4986">
                  <c:v>1.6194350120933124E-2</c:v>
                </c:pt>
                <c:pt idx="4987">
                  <c:v>1.5905147777072054E-2</c:v>
                </c:pt>
                <c:pt idx="4988">
                  <c:v>1.560215780375389E-2</c:v>
                </c:pt>
                <c:pt idx="4989">
                  <c:v>1.5276456507090717E-2</c:v>
                </c:pt>
                <c:pt idx="4990">
                  <c:v>1.5010927969637176E-2</c:v>
                </c:pt>
                <c:pt idx="4991">
                  <c:v>1.477016842928078E-2</c:v>
                </c:pt>
                <c:pt idx="4992">
                  <c:v>1.45147280418084E-2</c:v>
                </c:pt>
                <c:pt idx="4993">
                  <c:v>1.6105502450270589E-2</c:v>
                </c:pt>
                <c:pt idx="4994">
                  <c:v>1.7329803101395896E-2</c:v>
                </c:pt>
                <c:pt idx="4995">
                  <c:v>1.8555066268083974E-2</c:v>
                </c:pt>
                <c:pt idx="4996">
                  <c:v>1.9762452815098072E-2</c:v>
                </c:pt>
                <c:pt idx="4997">
                  <c:v>2.0897957937746413E-2</c:v>
                </c:pt>
                <c:pt idx="4998">
                  <c:v>2.2033952258786824E-2</c:v>
                </c:pt>
                <c:pt idx="4999">
                  <c:v>2.2861139089946279E-2</c:v>
                </c:pt>
                <c:pt idx="5000">
                  <c:v>2.3548217029398008E-2</c:v>
                </c:pt>
                <c:pt idx="5001">
                  <c:v>2.4901779607034869E-2</c:v>
                </c:pt>
                <c:pt idx="5002">
                  <c:v>2.5925868140629381E-2</c:v>
                </c:pt>
                <c:pt idx="5003">
                  <c:v>2.6621501896214726E-2</c:v>
                </c:pt>
                <c:pt idx="5004">
                  <c:v>2.7147387180185202E-2</c:v>
                </c:pt>
                <c:pt idx="5005">
                  <c:v>2.8058830649087183E-2</c:v>
                </c:pt>
                <c:pt idx="5006">
                  <c:v>2.8829037074587907E-2</c:v>
                </c:pt>
                <c:pt idx="5007">
                  <c:v>2.9732897220014473E-2</c:v>
                </c:pt>
                <c:pt idx="5008">
                  <c:v>3.0357741849264024E-2</c:v>
                </c:pt>
                <c:pt idx="5009">
                  <c:v>3.0723175560209304E-2</c:v>
                </c:pt>
                <c:pt idx="5010">
                  <c:v>3.1360624697946121E-2</c:v>
                </c:pt>
                <c:pt idx="5011">
                  <c:v>3.1700973553467238E-2</c:v>
                </c:pt>
                <c:pt idx="5012">
                  <c:v>3.1903059611907855E-2</c:v>
                </c:pt>
                <c:pt idx="5013">
                  <c:v>3.1855607390070595E-2</c:v>
                </c:pt>
                <c:pt idx="5014">
                  <c:v>3.1611783205938125E-2</c:v>
                </c:pt>
                <c:pt idx="5015">
                  <c:v>3.1226253807619626E-2</c:v>
                </c:pt>
                <c:pt idx="5016">
                  <c:v>3.0635163359159209E-2</c:v>
                </c:pt>
                <c:pt idx="5017">
                  <c:v>2.9721744818451641E-2</c:v>
                </c:pt>
                <c:pt idx="5018">
                  <c:v>2.8693009412413734E-2</c:v>
                </c:pt>
                <c:pt idx="5019">
                  <c:v>2.7395809441392922E-2</c:v>
                </c:pt>
                <c:pt idx="5020">
                  <c:v>2.5888847199087576E-2</c:v>
                </c:pt>
                <c:pt idx="5021">
                  <c:v>2.431761328215477E-2</c:v>
                </c:pt>
                <c:pt idx="5022">
                  <c:v>2.2386495458619652E-2</c:v>
                </c:pt>
                <c:pt idx="5023">
                  <c:v>2.1842972677798403E-2</c:v>
                </c:pt>
                <c:pt idx="5024">
                  <c:v>2.1145558756921794E-2</c:v>
                </c:pt>
                <c:pt idx="5025">
                  <c:v>2.0448895775135662E-2</c:v>
                </c:pt>
                <c:pt idx="5026">
                  <c:v>1.9958556548496674E-2</c:v>
                </c:pt>
                <c:pt idx="5027">
                  <c:v>1.9426020457256193E-2</c:v>
                </c:pt>
                <c:pt idx="5028">
                  <c:v>1.8882958576773239E-2</c:v>
                </c:pt>
                <c:pt idx="5029">
                  <c:v>1.8233090630698032E-2</c:v>
                </c:pt>
                <c:pt idx="5030">
                  <c:v>1.7684659178268239E-2</c:v>
                </c:pt>
                <c:pt idx="5031">
                  <c:v>1.827225578432996E-2</c:v>
                </c:pt>
                <c:pt idx="5032">
                  <c:v>1.867267123438637E-2</c:v>
                </c:pt>
                <c:pt idx="5033">
                  <c:v>1.8879904233003231E-2</c:v>
                </c:pt>
                <c:pt idx="5034">
                  <c:v>1.8827953229259013E-2</c:v>
                </c:pt>
                <c:pt idx="5035">
                  <c:v>1.9160099166467538E-2</c:v>
                </c:pt>
                <c:pt idx="5036">
                  <c:v>1.9366998976606858E-2</c:v>
                </c:pt>
                <c:pt idx="5037">
                  <c:v>1.9622224638988068E-2</c:v>
                </c:pt>
                <c:pt idx="5038">
                  <c:v>1.971756245536847E-2</c:v>
                </c:pt>
                <c:pt idx="5039">
                  <c:v>1.9840624081899093E-2</c:v>
                </c:pt>
                <c:pt idx="5040">
                  <c:v>2.008411769974254E-2</c:v>
                </c:pt>
                <c:pt idx="5041">
                  <c:v>2.0180554203311114E-2</c:v>
                </c:pt>
                <c:pt idx="5042">
                  <c:v>2.0320588836494693E-2</c:v>
                </c:pt>
                <c:pt idx="5043">
                  <c:v>2.0297680742228763E-2</c:v>
                </c:pt>
                <c:pt idx="5044">
                  <c:v>2.0109817944562524E-2</c:v>
                </c:pt>
                <c:pt idx="5045">
                  <c:v>1.9896201378302128E-2</c:v>
                </c:pt>
                <c:pt idx="5046">
                  <c:v>1.955830726482221E-2</c:v>
                </c:pt>
                <c:pt idx="5047">
                  <c:v>1.910875353500224E-2</c:v>
                </c:pt>
                <c:pt idx="5048">
                  <c:v>1.8590323214722985E-2</c:v>
                </c:pt>
                <c:pt idx="5049">
                  <c:v>1.8052537059588911E-2</c:v>
                </c:pt>
                <c:pt idx="5050">
                  <c:v>1.7326714648051314E-2</c:v>
                </c:pt>
                <c:pt idx="5051">
                  <c:v>1.6399569538222872E-2</c:v>
                </c:pt>
                <c:pt idx="5052">
                  <c:v>1.5505043732905222E-2</c:v>
                </c:pt>
                <c:pt idx="5053">
                  <c:v>1.4751492766370954E-2</c:v>
                </c:pt>
                <c:pt idx="5054">
                  <c:v>1.3971046635689334E-2</c:v>
                </c:pt>
                <c:pt idx="5055">
                  <c:v>1.3276611282274788E-2</c:v>
                </c:pt>
                <c:pt idx="5056">
                  <c:v>1.2681037026705611E-2</c:v>
                </c:pt>
                <c:pt idx="5057">
                  <c:v>1.1869884307578012E-2</c:v>
                </c:pt>
                <c:pt idx="5058">
                  <c:v>1.0932097811112764E-2</c:v>
                </c:pt>
                <c:pt idx="5059">
                  <c:v>1.0349523417591652E-2</c:v>
                </c:pt>
                <c:pt idx="5060">
                  <c:v>1.018305600139037E-2</c:v>
                </c:pt>
                <c:pt idx="5061">
                  <c:v>1.0452768266064233E-2</c:v>
                </c:pt>
                <c:pt idx="5062">
                  <c:v>1.1602259757644036E-2</c:v>
                </c:pt>
                <c:pt idx="5063">
                  <c:v>1.2637500596819324E-2</c:v>
                </c:pt>
                <c:pt idx="5064">
                  <c:v>1.3426305449695339E-2</c:v>
                </c:pt>
                <c:pt idx="5065">
                  <c:v>1.4236401089225524E-2</c:v>
                </c:pt>
                <c:pt idx="5066">
                  <c:v>1.5295487144821866E-2</c:v>
                </c:pt>
                <c:pt idx="5067">
                  <c:v>1.6122061358614468E-2</c:v>
                </c:pt>
                <c:pt idx="5068">
                  <c:v>1.7039053051509497E-2</c:v>
                </c:pt>
                <c:pt idx="5069">
                  <c:v>1.8692790096404274E-2</c:v>
                </c:pt>
                <c:pt idx="5070">
                  <c:v>2.2098772307320845E-2</c:v>
                </c:pt>
                <c:pt idx="5071">
                  <c:v>2.5167199544958947E-2</c:v>
                </c:pt>
                <c:pt idx="5072">
                  <c:v>2.7722492131953904E-2</c:v>
                </c:pt>
                <c:pt idx="5073">
                  <c:v>3.0236880754800795E-2</c:v>
                </c:pt>
                <c:pt idx="5074">
                  <c:v>0.13894356221862383</c:v>
                </c:pt>
                <c:pt idx="5075">
                  <c:v>0.32019356303787122</c:v>
                </c:pt>
                <c:pt idx="5076">
                  <c:v>1.1938796772542264</c:v>
                </c:pt>
                <c:pt idx="5077">
                  <c:v>2.2845834475136471</c:v>
                </c:pt>
                <c:pt idx="5078">
                  <c:v>2.97671401068117</c:v>
                </c:pt>
                <c:pt idx="5079">
                  <c:v>3.6386060662521671</c:v>
                </c:pt>
                <c:pt idx="5080">
                  <c:v>4.4453339195322314</c:v>
                </c:pt>
                <c:pt idx="5081">
                  <c:v>5.3277090200563748</c:v>
                </c:pt>
                <c:pt idx="5082">
                  <c:v>6.0596882681084479</c:v>
                </c:pt>
                <c:pt idx="5083">
                  <c:v>7.0993620661882533</c:v>
                </c:pt>
                <c:pt idx="5084">
                  <c:v>7.9304123612423032</c:v>
                </c:pt>
                <c:pt idx="5085">
                  <c:v>8.8448428903355225</c:v>
                </c:pt>
                <c:pt idx="5086">
                  <c:v>9.9253034512667089</c:v>
                </c:pt>
                <c:pt idx="5087">
                  <c:v>10.954304869072756</c:v>
                </c:pt>
                <c:pt idx="5088">
                  <c:v>12.040060498954304</c:v>
                </c:pt>
                <c:pt idx="5089">
                  <c:v>13.106237792180197</c:v>
                </c:pt>
                <c:pt idx="5090">
                  <c:v>13.984388081840324</c:v>
                </c:pt>
                <c:pt idx="5091">
                  <c:v>14.841504326904753</c:v>
                </c:pt>
                <c:pt idx="5092">
                  <c:v>15.84092168187356</c:v>
                </c:pt>
                <c:pt idx="5093">
                  <c:v>16.706589824051171</c:v>
                </c:pt>
                <c:pt idx="5094">
                  <c:v>17.427740505692217</c:v>
                </c:pt>
                <c:pt idx="5095">
                  <c:v>18.122828528736356</c:v>
                </c:pt>
                <c:pt idx="5096">
                  <c:v>18.885837677140632</c:v>
                </c:pt>
                <c:pt idx="5097">
                  <c:v>19.59625081797342</c:v>
                </c:pt>
                <c:pt idx="5098">
                  <c:v>20.126689546735751</c:v>
                </c:pt>
                <c:pt idx="5099">
                  <c:v>20.490721927801932</c:v>
                </c:pt>
                <c:pt idx="5100">
                  <c:v>20.658130781395467</c:v>
                </c:pt>
                <c:pt idx="5101">
                  <c:v>20.721617309480742</c:v>
                </c:pt>
                <c:pt idx="5102">
                  <c:v>20.624984308972042</c:v>
                </c:pt>
                <c:pt idx="5103">
                  <c:v>20.31961610968688</c:v>
                </c:pt>
                <c:pt idx="5104">
                  <c:v>19.871514273063767</c:v>
                </c:pt>
                <c:pt idx="5105">
                  <c:v>19.351144410062481</c:v>
                </c:pt>
                <c:pt idx="5106">
                  <c:v>18.921269242267396</c:v>
                </c:pt>
                <c:pt idx="5107">
                  <c:v>18.551332369730229</c:v>
                </c:pt>
                <c:pt idx="5108">
                  <c:v>18.054022568047991</c:v>
                </c:pt>
                <c:pt idx="5109">
                  <c:v>17.548236065264003</c:v>
                </c:pt>
                <c:pt idx="5110">
                  <c:v>17.134601594245389</c:v>
                </c:pt>
                <c:pt idx="5111">
                  <c:v>16.691137072625683</c:v>
                </c:pt>
                <c:pt idx="5112">
                  <c:v>16.049847238238083</c:v>
                </c:pt>
                <c:pt idx="5113">
                  <c:v>15.931571366072093</c:v>
                </c:pt>
                <c:pt idx="5114">
                  <c:v>15.643461498973442</c:v>
                </c:pt>
                <c:pt idx="5115">
                  <c:v>15.330908280938546</c:v>
                </c:pt>
                <c:pt idx="5116">
                  <c:v>15.18436829542712</c:v>
                </c:pt>
                <c:pt idx="5117">
                  <c:v>14.944918518149368</c:v>
                </c:pt>
                <c:pt idx="5118">
                  <c:v>15.057502672908083</c:v>
                </c:pt>
                <c:pt idx="5119">
                  <c:v>15.250119347210976</c:v>
                </c:pt>
                <c:pt idx="5120">
                  <c:v>15.403752466243578</c:v>
                </c:pt>
                <c:pt idx="5121">
                  <c:v>15.597527434315991</c:v>
                </c:pt>
                <c:pt idx="5122">
                  <c:v>16.126810961256897</c:v>
                </c:pt>
                <c:pt idx="5123">
                  <c:v>16.52945799005386</c:v>
                </c:pt>
                <c:pt idx="5124">
                  <c:v>16.84749900790737</c:v>
                </c:pt>
                <c:pt idx="5125">
                  <c:v>17.226201437072582</c:v>
                </c:pt>
                <c:pt idx="5126">
                  <c:v>17.679290981828668</c:v>
                </c:pt>
                <c:pt idx="5127">
                  <c:v>18.067932135050285</c:v>
                </c:pt>
                <c:pt idx="5128">
                  <c:v>18.625838974858688</c:v>
                </c:pt>
                <c:pt idx="5129">
                  <c:v>19.108060644615168</c:v>
                </c:pt>
                <c:pt idx="5130">
                  <c:v>19.645361566621421</c:v>
                </c:pt>
                <c:pt idx="5131">
                  <c:v>20.405847180172298</c:v>
                </c:pt>
                <c:pt idx="5132">
                  <c:v>21.050961941856926</c:v>
                </c:pt>
                <c:pt idx="5133">
                  <c:v>21.521452366549699</c:v>
                </c:pt>
                <c:pt idx="5134">
                  <c:v>21.858453734368954</c:v>
                </c:pt>
                <c:pt idx="5135">
                  <c:v>22.242811078652306</c:v>
                </c:pt>
                <c:pt idx="5136">
                  <c:v>22.459085731359579</c:v>
                </c:pt>
                <c:pt idx="5137">
                  <c:v>22.558594402691003</c:v>
                </c:pt>
                <c:pt idx="5138">
                  <c:v>22.504880627266239</c:v>
                </c:pt>
                <c:pt idx="5139">
                  <c:v>22.403583877746751</c:v>
                </c:pt>
                <c:pt idx="5140">
                  <c:v>22.205872745755272</c:v>
                </c:pt>
                <c:pt idx="5141">
                  <c:v>21.801387418003358</c:v>
                </c:pt>
                <c:pt idx="5142">
                  <c:v>21.163200508898729</c:v>
                </c:pt>
                <c:pt idx="5143">
                  <c:v>20.748581517204027</c:v>
                </c:pt>
                <c:pt idx="5144">
                  <c:v>20.221520343623645</c:v>
                </c:pt>
                <c:pt idx="5145">
                  <c:v>19.507642974494022</c:v>
                </c:pt>
                <c:pt idx="5146">
                  <c:v>18.7115833118762</c:v>
                </c:pt>
                <c:pt idx="5147">
                  <c:v>17.678706389553877</c:v>
                </c:pt>
                <c:pt idx="5148">
                  <c:v>16.830898442525129</c:v>
                </c:pt>
                <c:pt idx="5149">
                  <c:v>15.975768288528917</c:v>
                </c:pt>
                <c:pt idx="5150">
                  <c:v>15.128847214542555</c:v>
                </c:pt>
                <c:pt idx="5151">
                  <c:v>14.251444098648284</c:v>
                </c:pt>
                <c:pt idx="5152">
                  <c:v>13.516000637144078</c:v>
                </c:pt>
                <c:pt idx="5153">
                  <c:v>12.669543042580267</c:v>
                </c:pt>
                <c:pt idx="5154">
                  <c:v>11.75220924731423</c:v>
                </c:pt>
                <c:pt idx="5155">
                  <c:v>10.82694549982277</c:v>
                </c:pt>
                <c:pt idx="5156">
                  <c:v>9.7840804856773538</c:v>
                </c:pt>
                <c:pt idx="5157">
                  <c:v>8.4926527684120057</c:v>
                </c:pt>
                <c:pt idx="5158">
                  <c:v>7.4934980341388986</c:v>
                </c:pt>
                <c:pt idx="5159">
                  <c:v>6.4370875231982723</c:v>
                </c:pt>
                <c:pt idx="5160">
                  <c:v>5.6081358793146245</c:v>
                </c:pt>
                <c:pt idx="5161">
                  <c:v>5.1868731816208218</c:v>
                </c:pt>
                <c:pt idx="5162">
                  <c:v>4.8514849140339251</c:v>
                </c:pt>
                <c:pt idx="5163">
                  <c:v>4.5299786078337858</c:v>
                </c:pt>
                <c:pt idx="5164">
                  <c:v>4.2198747075401259</c:v>
                </c:pt>
                <c:pt idx="5165">
                  <c:v>4.0976307230829629</c:v>
                </c:pt>
                <c:pt idx="5166">
                  <c:v>4.0237445311095223</c:v>
                </c:pt>
                <c:pt idx="5167">
                  <c:v>4.0957632031680316</c:v>
                </c:pt>
                <c:pt idx="5168">
                  <c:v>4.1614147365337733</c:v>
                </c:pt>
                <c:pt idx="5169">
                  <c:v>4.2511438219052042</c:v>
                </c:pt>
                <c:pt idx="5170">
                  <c:v>4.410503066341728</c:v>
                </c:pt>
                <c:pt idx="5171">
                  <c:v>4.521224760895687</c:v>
                </c:pt>
                <c:pt idx="5172">
                  <c:v>4.5902286101399703</c:v>
                </c:pt>
                <c:pt idx="5173">
                  <c:v>4.6113201257073761</c:v>
                </c:pt>
                <c:pt idx="5174">
                  <c:v>4.5966345722523787</c:v>
                </c:pt>
                <c:pt idx="5175">
                  <c:v>4.5339983997122868</c:v>
                </c:pt>
                <c:pt idx="5176">
                  <c:v>4.4397907619766857</c:v>
                </c:pt>
                <c:pt idx="5177">
                  <c:v>4.2943452103670623</c:v>
                </c:pt>
                <c:pt idx="5178">
                  <c:v>4.1131584903198464</c:v>
                </c:pt>
                <c:pt idx="5179">
                  <c:v>3.9591610406740472</c:v>
                </c:pt>
                <c:pt idx="5180">
                  <c:v>3.7953066188638562</c:v>
                </c:pt>
                <c:pt idx="5181">
                  <c:v>3.6337396794677255</c:v>
                </c:pt>
                <c:pt idx="5182">
                  <c:v>3.4838109396045369</c:v>
                </c:pt>
                <c:pt idx="5183">
                  <c:v>3.327793946471286</c:v>
                </c:pt>
                <c:pt idx="5184">
                  <c:v>3.1462937545934335</c:v>
                </c:pt>
                <c:pt idx="5185">
                  <c:v>2.9586801281222925</c:v>
                </c:pt>
                <c:pt idx="5186">
                  <c:v>2.7432200135941356</c:v>
                </c:pt>
                <c:pt idx="5187">
                  <c:v>2.5426756280520739</c:v>
                </c:pt>
                <c:pt idx="5188">
                  <c:v>2.3493692241898709</c:v>
                </c:pt>
                <c:pt idx="5189">
                  <c:v>2.194202025277975</c:v>
                </c:pt>
                <c:pt idx="5190">
                  <c:v>2.025572922949245</c:v>
                </c:pt>
                <c:pt idx="5191">
                  <c:v>1.8197790696467082</c:v>
                </c:pt>
                <c:pt idx="5192">
                  <c:v>1.6622530502394401</c:v>
                </c:pt>
                <c:pt idx="5193">
                  <c:v>1.4815052776503965</c:v>
                </c:pt>
                <c:pt idx="5194">
                  <c:v>1.2570413909117482</c:v>
                </c:pt>
                <c:pt idx="5195">
                  <c:v>1.0296136012017016</c:v>
                </c:pt>
                <c:pt idx="5196">
                  <c:v>0.82665911399134484</c:v>
                </c:pt>
                <c:pt idx="5197">
                  <c:v>0.70965109849834929</c:v>
                </c:pt>
                <c:pt idx="5198">
                  <c:v>0.72815341899810115</c:v>
                </c:pt>
                <c:pt idx="5199">
                  <c:v>0.92225157165652549</c:v>
                </c:pt>
                <c:pt idx="5200">
                  <c:v>1.3240210025969312</c:v>
                </c:pt>
                <c:pt idx="5201">
                  <c:v>1.7601590641946263</c:v>
                </c:pt>
                <c:pt idx="5202">
                  <c:v>2.2284579982297652</c:v>
                </c:pt>
                <c:pt idx="5203">
                  <c:v>2.7270734440488171</c:v>
                </c:pt>
                <c:pt idx="5204">
                  <c:v>3.2425884577371478</c:v>
                </c:pt>
                <c:pt idx="5205">
                  <c:v>3.770374511716259</c:v>
                </c:pt>
                <c:pt idx="5206">
                  <c:v>4.5847654216706006</c:v>
                </c:pt>
                <c:pt idx="5207">
                  <c:v>5.3402394194577338</c:v>
                </c:pt>
                <c:pt idx="5208">
                  <c:v>6.0535941541376159</c:v>
                </c:pt>
                <c:pt idx="5209">
                  <c:v>6.7605558175465488</c:v>
                </c:pt>
                <c:pt idx="5210">
                  <c:v>7.3929515908347501</c:v>
                </c:pt>
                <c:pt idx="5211">
                  <c:v>7.9374832192179667</c:v>
                </c:pt>
                <c:pt idx="5212">
                  <c:v>8.6344053726328429</c:v>
                </c:pt>
                <c:pt idx="5213">
                  <c:v>9.2592565476254673</c:v>
                </c:pt>
                <c:pt idx="5214">
                  <c:v>9.7889039215147751</c:v>
                </c:pt>
                <c:pt idx="5215">
                  <c:v>10.240960104143058</c:v>
                </c:pt>
                <c:pt idx="5216">
                  <c:v>10.952508696017478</c:v>
                </c:pt>
                <c:pt idx="5217">
                  <c:v>12.002520805471947</c:v>
                </c:pt>
                <c:pt idx="5218">
                  <c:v>13.188957363439828</c:v>
                </c:pt>
                <c:pt idx="5219">
                  <c:v>14.372272907694647</c:v>
                </c:pt>
                <c:pt idx="5220">
                  <c:v>15.539057111487317</c:v>
                </c:pt>
                <c:pt idx="5221">
                  <c:v>17.375345525277886</c:v>
                </c:pt>
                <c:pt idx="5222">
                  <c:v>18.952670419835439</c:v>
                </c:pt>
                <c:pt idx="5223">
                  <c:v>20.74576585755457</c:v>
                </c:pt>
                <c:pt idx="5224">
                  <c:v>22.215770794592537</c:v>
                </c:pt>
                <c:pt idx="5225">
                  <c:v>23.417089873719547</c:v>
                </c:pt>
                <c:pt idx="5226">
                  <c:v>24.372841662719875</c:v>
                </c:pt>
                <c:pt idx="5227">
                  <c:v>25.153087181632976</c:v>
                </c:pt>
                <c:pt idx="5228">
                  <c:v>25.782083966242279</c:v>
                </c:pt>
                <c:pt idx="5229">
                  <c:v>26.270478369317512</c:v>
                </c:pt>
                <c:pt idx="5230">
                  <c:v>26.787274476927692</c:v>
                </c:pt>
                <c:pt idx="5231">
                  <c:v>27.313717184578231</c:v>
                </c:pt>
                <c:pt idx="5232">
                  <c:v>27.85030973180849</c:v>
                </c:pt>
                <c:pt idx="5233">
                  <c:v>28.199940435545976</c:v>
                </c:pt>
                <c:pt idx="5234">
                  <c:v>28.374407314506005</c:v>
                </c:pt>
                <c:pt idx="5235">
                  <c:v>28.458533151914704</c:v>
                </c:pt>
                <c:pt idx="5236">
                  <c:v>28.479827123111441</c:v>
                </c:pt>
                <c:pt idx="5237">
                  <c:v>28.360070262405827</c:v>
                </c:pt>
                <c:pt idx="5238">
                  <c:v>28.172651820037665</c:v>
                </c:pt>
                <c:pt idx="5239">
                  <c:v>27.924142714320666</c:v>
                </c:pt>
                <c:pt idx="5240">
                  <c:v>27.694788878731693</c:v>
                </c:pt>
                <c:pt idx="5241">
                  <c:v>27.603321555904884</c:v>
                </c:pt>
                <c:pt idx="5242">
                  <c:v>27.375548453959009</c:v>
                </c:pt>
                <c:pt idx="5243">
                  <c:v>27.089088074764824</c:v>
                </c:pt>
                <c:pt idx="5244">
                  <c:v>26.740279099630921</c:v>
                </c:pt>
                <c:pt idx="5245">
                  <c:v>26.689014790783553</c:v>
                </c:pt>
                <c:pt idx="5246">
                  <c:v>26.898206850576674</c:v>
                </c:pt>
                <c:pt idx="5247">
                  <c:v>27.445804670529576</c:v>
                </c:pt>
                <c:pt idx="5248">
                  <c:v>28.199112961508614</c:v>
                </c:pt>
                <c:pt idx="5249">
                  <c:v>29.036841764783073</c:v>
                </c:pt>
                <c:pt idx="5250">
                  <c:v>29.943195379472776</c:v>
                </c:pt>
                <c:pt idx="5251">
                  <c:v>31.376133527758515</c:v>
                </c:pt>
                <c:pt idx="5252">
                  <c:v>32.798493237035942</c:v>
                </c:pt>
                <c:pt idx="5253">
                  <c:v>35.2616076383595</c:v>
                </c:pt>
                <c:pt idx="5254">
                  <c:v>37.56616406436499</c:v>
                </c:pt>
                <c:pt idx="5255">
                  <c:v>39.393518825133299</c:v>
                </c:pt>
                <c:pt idx="5256">
                  <c:v>40.760923301544892</c:v>
                </c:pt>
                <c:pt idx="5257">
                  <c:v>41.71556003385242</c:v>
                </c:pt>
                <c:pt idx="5258">
                  <c:v>42.311763973818572</c:v>
                </c:pt>
                <c:pt idx="5259">
                  <c:v>42.557916892305052</c:v>
                </c:pt>
                <c:pt idx="5260">
                  <c:v>42.615128278838554</c:v>
                </c:pt>
                <c:pt idx="5261">
                  <c:v>42.505480855023535</c:v>
                </c:pt>
                <c:pt idx="5262">
                  <c:v>42.264527963563232</c:v>
                </c:pt>
                <c:pt idx="5263">
                  <c:v>41.740133597578229</c:v>
                </c:pt>
                <c:pt idx="5264">
                  <c:v>40.930273347856783</c:v>
                </c:pt>
                <c:pt idx="5265">
                  <c:v>39.924045332170202</c:v>
                </c:pt>
                <c:pt idx="5266">
                  <c:v>38.571139741664801</c:v>
                </c:pt>
                <c:pt idx="5267">
                  <c:v>36.90318533045766</c:v>
                </c:pt>
                <c:pt idx="5268">
                  <c:v>35.001792161457992</c:v>
                </c:pt>
                <c:pt idx="5269">
                  <c:v>32.843584675896025</c:v>
                </c:pt>
                <c:pt idx="5270">
                  <c:v>30.622685486300892</c:v>
                </c:pt>
                <c:pt idx="5271">
                  <c:v>28.575955691853672</c:v>
                </c:pt>
                <c:pt idx="5272">
                  <c:v>26.075764138895739</c:v>
                </c:pt>
                <c:pt idx="5273">
                  <c:v>23.416174649684198</c:v>
                </c:pt>
                <c:pt idx="5274">
                  <c:v>20.648138967981446</c:v>
                </c:pt>
                <c:pt idx="5275">
                  <c:v>18.36208528404504</c:v>
                </c:pt>
                <c:pt idx="5276">
                  <c:v>16.070508490679234</c:v>
                </c:pt>
                <c:pt idx="5277">
                  <c:v>13.791510326474853</c:v>
                </c:pt>
                <c:pt idx="5278">
                  <c:v>11.558352171655368</c:v>
                </c:pt>
                <c:pt idx="5279">
                  <c:v>9.3317901061568396</c:v>
                </c:pt>
                <c:pt idx="5280">
                  <c:v>7.085047677666096</c:v>
                </c:pt>
                <c:pt idx="5281">
                  <c:v>4.7346061236135109</c:v>
                </c:pt>
                <c:pt idx="5282">
                  <c:v>1.6718612633047008</c:v>
                </c:pt>
                <c:pt idx="5283">
                  <c:v>0.86698711946526785</c:v>
                </c:pt>
                <c:pt idx="5284">
                  <c:v>0.78303888873919525</c:v>
                </c:pt>
                <c:pt idx="5285">
                  <c:v>0.76325200320751829</c:v>
                </c:pt>
                <c:pt idx="5286">
                  <c:v>0.74768736625862942</c:v>
                </c:pt>
                <c:pt idx="5287">
                  <c:v>0.7263922354037563</c:v>
                </c:pt>
                <c:pt idx="5288">
                  <c:v>0.73121147694545319</c:v>
                </c:pt>
                <c:pt idx="5289">
                  <c:v>0.73089503532713407</c:v>
                </c:pt>
                <c:pt idx="5290">
                  <c:v>0.73010062966971634</c:v>
                </c:pt>
                <c:pt idx="5291">
                  <c:v>0.72593330762071373</c:v>
                </c:pt>
                <c:pt idx="5292">
                  <c:v>0.72385844408991984</c:v>
                </c:pt>
                <c:pt idx="5293">
                  <c:v>0.71919741319990638</c:v>
                </c:pt>
                <c:pt idx="5294">
                  <c:v>0.7094725612452939</c:v>
                </c:pt>
                <c:pt idx="5295">
                  <c:v>0.70969420231302094</c:v>
                </c:pt>
                <c:pt idx="5296">
                  <c:v>0.7104787220073443</c:v>
                </c:pt>
                <c:pt idx="5297">
                  <c:v>0.70965783104484992</c:v>
                </c:pt>
                <c:pt idx="5298">
                  <c:v>0.70490665768163618</c:v>
                </c:pt>
                <c:pt idx="5299">
                  <c:v>0.70041704134706051</c:v>
                </c:pt>
                <c:pt idx="5300">
                  <c:v>0.6937006296664352</c:v>
                </c:pt>
                <c:pt idx="5301">
                  <c:v>0.68704154553598196</c:v>
                </c:pt>
                <c:pt idx="5302">
                  <c:v>0.68270757905140911</c:v>
                </c:pt>
                <c:pt idx="5303">
                  <c:v>0.68587636200658175</c:v>
                </c:pt>
                <c:pt idx="5304">
                  <c:v>0.68440554730061476</c:v>
                </c:pt>
                <c:pt idx="5305">
                  <c:v>0.67631558295709138</c:v>
                </c:pt>
                <c:pt idx="5306">
                  <c:v>1.9596717492560556</c:v>
                </c:pt>
                <c:pt idx="5307">
                  <c:v>2.9394960828182186</c:v>
                </c:pt>
                <c:pt idx="5308">
                  <c:v>3.8823948827495633</c:v>
                </c:pt>
                <c:pt idx="5309">
                  <c:v>4.8336489679192853</c:v>
                </c:pt>
                <c:pt idx="5310">
                  <c:v>5.7875465572759754</c:v>
                </c:pt>
                <c:pt idx="5311">
                  <c:v>8.4174272467777627</c:v>
                </c:pt>
                <c:pt idx="5312">
                  <c:v>10.293630455400837</c:v>
                </c:pt>
                <c:pt idx="5313">
                  <c:v>11.786374193115959</c:v>
                </c:pt>
                <c:pt idx="5314">
                  <c:v>13.031325965116435</c:v>
                </c:pt>
                <c:pt idx="5315">
                  <c:v>14.224929217227121</c:v>
                </c:pt>
                <c:pt idx="5316">
                  <c:v>15.244330374603848</c:v>
                </c:pt>
                <c:pt idx="5317">
                  <c:v>16.116426706275114</c:v>
                </c:pt>
                <c:pt idx="5318">
                  <c:v>16.866191724744759</c:v>
                </c:pt>
                <c:pt idx="5319">
                  <c:v>17.570234504018419</c:v>
                </c:pt>
                <c:pt idx="5320">
                  <c:v>18.160211115939337</c:v>
                </c:pt>
                <c:pt idx="5321">
                  <c:v>18.641862490273837</c:v>
                </c:pt>
                <c:pt idx="5322">
                  <c:v>19.019923543912693</c:v>
                </c:pt>
                <c:pt idx="5323">
                  <c:v>19.273365921802373</c:v>
                </c:pt>
                <c:pt idx="5324">
                  <c:v>19.438514575577322</c:v>
                </c:pt>
                <c:pt idx="5325">
                  <c:v>19.519022849713167</c:v>
                </c:pt>
                <c:pt idx="5326">
                  <c:v>19.51384410552318</c:v>
                </c:pt>
                <c:pt idx="5327">
                  <c:v>19.415145982796975</c:v>
                </c:pt>
                <c:pt idx="5328">
                  <c:v>19.212035486053161</c:v>
                </c:pt>
                <c:pt idx="5329">
                  <c:v>18.898759272194177</c:v>
                </c:pt>
                <c:pt idx="5330">
                  <c:v>18.46239325320224</c:v>
                </c:pt>
                <c:pt idx="5331">
                  <c:v>17.884304850149057</c:v>
                </c:pt>
                <c:pt idx="5332">
                  <c:v>17.144211541395389</c:v>
                </c:pt>
                <c:pt idx="5333">
                  <c:v>16.213160063034934</c:v>
                </c:pt>
                <c:pt idx="5334">
                  <c:v>15.038818029845029</c:v>
                </c:pt>
                <c:pt idx="5335">
                  <c:v>13.545239399403997</c:v>
                </c:pt>
                <c:pt idx="5336">
                  <c:v>12.571076151420497</c:v>
                </c:pt>
                <c:pt idx="5337">
                  <c:v>11.554146713227443</c:v>
                </c:pt>
                <c:pt idx="5338">
                  <c:v>10.492561475721615</c:v>
                </c:pt>
                <c:pt idx="5339">
                  <c:v>9.342870129148217</c:v>
                </c:pt>
                <c:pt idx="5340">
                  <c:v>8.1405350757493782</c:v>
                </c:pt>
                <c:pt idx="5341">
                  <c:v>8.2556664812915166</c:v>
                </c:pt>
                <c:pt idx="5342">
                  <c:v>8.3936332123346329</c:v>
                </c:pt>
                <c:pt idx="5343">
                  <c:v>8.5491587406323468</c:v>
                </c:pt>
                <c:pt idx="5344">
                  <c:v>8.7214996216687304</c:v>
                </c:pt>
                <c:pt idx="5345">
                  <c:v>9.0105748983111713</c:v>
                </c:pt>
                <c:pt idx="5346">
                  <c:v>9.3206174049204336</c:v>
                </c:pt>
                <c:pt idx="5347">
                  <c:v>9.6390012896796371</c:v>
                </c:pt>
                <c:pt idx="5348">
                  <c:v>9.9584639937777411</c:v>
                </c:pt>
                <c:pt idx="5349">
                  <c:v>10.342070931691376</c:v>
                </c:pt>
                <c:pt idx="5350">
                  <c:v>10.722902771409602</c:v>
                </c:pt>
                <c:pt idx="5351">
                  <c:v>11.101743055828482</c:v>
                </c:pt>
                <c:pt idx="5352">
                  <c:v>11.46990592449427</c:v>
                </c:pt>
                <c:pt idx="5353">
                  <c:v>11.795575353642477</c:v>
                </c:pt>
                <c:pt idx="5354">
                  <c:v>12.117573526723353</c:v>
                </c:pt>
                <c:pt idx="5355">
                  <c:v>12.348973423631719</c:v>
                </c:pt>
                <c:pt idx="5356">
                  <c:v>12.496841042395447</c:v>
                </c:pt>
                <c:pt idx="5357">
                  <c:v>12.59235081820737</c:v>
                </c:pt>
                <c:pt idx="5358">
                  <c:v>12.61924771032615</c:v>
                </c:pt>
                <c:pt idx="5359">
                  <c:v>12.584111403388416</c:v>
                </c:pt>
                <c:pt idx="5360">
                  <c:v>12.494173185311061</c:v>
                </c:pt>
                <c:pt idx="5361">
                  <c:v>12.351160838888559</c:v>
                </c:pt>
                <c:pt idx="5362">
                  <c:v>12.156305927581615</c:v>
                </c:pt>
                <c:pt idx="5363">
                  <c:v>11.913430280110886</c:v>
                </c:pt>
                <c:pt idx="5364">
                  <c:v>11.623640430706777</c:v>
                </c:pt>
                <c:pt idx="5365">
                  <c:v>11.290775199671806</c:v>
                </c:pt>
                <c:pt idx="5366">
                  <c:v>10.913030934395188</c:v>
                </c:pt>
                <c:pt idx="5367">
                  <c:v>10.488441658386044</c:v>
                </c:pt>
                <c:pt idx="5368">
                  <c:v>10.018914907900866</c:v>
                </c:pt>
                <c:pt idx="5369">
                  <c:v>9.4358185778668009</c:v>
                </c:pt>
                <c:pt idx="5370">
                  <c:v>8.8145282139073249</c:v>
                </c:pt>
                <c:pt idx="5371">
                  <c:v>9.1820237478800788</c:v>
                </c:pt>
                <c:pt idx="5372">
                  <c:v>11.46317450422846</c:v>
                </c:pt>
                <c:pt idx="5373">
                  <c:v>15.666521287467491</c:v>
                </c:pt>
                <c:pt idx="5374">
                  <c:v>20.771556610839138</c:v>
                </c:pt>
                <c:pt idx="5375">
                  <c:v>26.59590836912615</c:v>
                </c:pt>
                <c:pt idx="5376">
                  <c:v>32.95717833241342</c:v>
                </c:pt>
                <c:pt idx="5377">
                  <c:v>39.817863267053582</c:v>
                </c:pt>
                <c:pt idx="5378">
                  <c:v>46.963575683423535</c:v>
                </c:pt>
                <c:pt idx="5379">
                  <c:v>54.303289251633267</c:v>
                </c:pt>
                <c:pt idx="5380">
                  <c:v>61.845736387554922</c:v>
                </c:pt>
                <c:pt idx="5381">
                  <c:v>69.509436844654189</c:v>
                </c:pt>
                <c:pt idx="5382">
                  <c:v>77.325811403965176</c:v>
                </c:pt>
                <c:pt idx="5383">
                  <c:v>85.16276713135251</c:v>
                </c:pt>
                <c:pt idx="5384">
                  <c:v>92.962340846630738</c:v>
                </c:pt>
                <c:pt idx="5385">
                  <c:v>100.72130558864268</c:v>
                </c:pt>
                <c:pt idx="5386">
                  <c:v>107.21843032618069</c:v>
                </c:pt>
                <c:pt idx="5387">
                  <c:v>112.81005055244054</c:v>
                </c:pt>
                <c:pt idx="5388">
                  <c:v>117.64785569010107</c:v>
                </c:pt>
                <c:pt idx="5389">
                  <c:v>121.81736265335931</c:v>
                </c:pt>
                <c:pt idx="5390">
                  <c:v>125.2763336385964</c:v>
                </c:pt>
                <c:pt idx="5391">
                  <c:v>128.05525005027803</c:v>
                </c:pt>
                <c:pt idx="5392">
                  <c:v>130.15269824966478</c:v>
                </c:pt>
                <c:pt idx="5393">
                  <c:v>131.56914624471327</c:v>
                </c:pt>
                <c:pt idx="5394">
                  <c:v>132.25686917030987</c:v>
                </c:pt>
                <c:pt idx="5395">
                  <c:v>131.85794602752821</c:v>
                </c:pt>
                <c:pt idx="5396">
                  <c:v>130.66291226706767</c:v>
                </c:pt>
                <c:pt idx="5397">
                  <c:v>128.60585771272076</c:v>
                </c:pt>
                <c:pt idx="5398">
                  <c:v>125.58247030275206</c:v>
                </c:pt>
                <c:pt idx="5399">
                  <c:v>121.4765203450213</c:v>
                </c:pt>
                <c:pt idx="5400">
                  <c:v>116.07429369036203</c:v>
                </c:pt>
                <c:pt idx="5401">
                  <c:v>110.39995660908841</c:v>
                </c:pt>
                <c:pt idx="5402">
                  <c:v>104.72641519906878</c:v>
                </c:pt>
                <c:pt idx="5403">
                  <c:v>98.992073194538875</c:v>
                </c:pt>
                <c:pt idx="5404">
                  <c:v>93.263474542679077</c:v>
                </c:pt>
                <c:pt idx="5405">
                  <c:v>87.718459382573997</c:v>
                </c:pt>
                <c:pt idx="5406">
                  <c:v>82.47056637578244</c:v>
                </c:pt>
                <c:pt idx="5407">
                  <c:v>77.616194979181586</c:v>
                </c:pt>
                <c:pt idx="5408">
                  <c:v>72.793755821019005</c:v>
                </c:pt>
                <c:pt idx="5409">
                  <c:v>68.448459174274859</c:v>
                </c:pt>
                <c:pt idx="5410">
                  <c:v>64.736422878086117</c:v>
                </c:pt>
                <c:pt idx="5411">
                  <c:v>61.756387561897462</c:v>
                </c:pt>
                <c:pt idx="5412">
                  <c:v>59.217002499305487</c:v>
                </c:pt>
                <c:pt idx="5413">
                  <c:v>57.52354049413691</c:v>
                </c:pt>
                <c:pt idx="5414">
                  <c:v>56.707902250470831</c:v>
                </c:pt>
                <c:pt idx="5415">
                  <c:v>56.824760645506146</c:v>
                </c:pt>
                <c:pt idx="5416">
                  <c:v>56.860703706829831</c:v>
                </c:pt>
                <c:pt idx="5417">
                  <c:v>56.969773346006207</c:v>
                </c:pt>
                <c:pt idx="5418">
                  <c:v>57.190482249791316</c:v>
                </c:pt>
                <c:pt idx="5419">
                  <c:v>57.100105959074696</c:v>
                </c:pt>
                <c:pt idx="5420">
                  <c:v>57.119915509962034</c:v>
                </c:pt>
                <c:pt idx="5421">
                  <c:v>57.289282813624482</c:v>
                </c:pt>
                <c:pt idx="5422">
                  <c:v>57.59596629413597</c:v>
                </c:pt>
                <c:pt idx="5423">
                  <c:v>58.048225128096192</c:v>
                </c:pt>
                <c:pt idx="5424">
                  <c:v>58.645247000068316</c:v>
                </c:pt>
                <c:pt idx="5425">
                  <c:v>58.494002901494149</c:v>
                </c:pt>
                <c:pt idx="5426">
                  <c:v>58.427052416807001</c:v>
                </c:pt>
                <c:pt idx="5427">
                  <c:v>58.482992799347606</c:v>
                </c:pt>
                <c:pt idx="5428">
                  <c:v>58.656111085756855</c:v>
                </c:pt>
                <c:pt idx="5429">
                  <c:v>58.985944312082061</c:v>
                </c:pt>
                <c:pt idx="5430">
                  <c:v>59.421195031737561</c:v>
                </c:pt>
                <c:pt idx="5431">
                  <c:v>59.493458412404294</c:v>
                </c:pt>
                <c:pt idx="5432">
                  <c:v>59.701433135462686</c:v>
                </c:pt>
                <c:pt idx="5433">
                  <c:v>59.695673157850486</c:v>
                </c:pt>
                <c:pt idx="5434">
                  <c:v>59.762510115696358</c:v>
                </c:pt>
                <c:pt idx="5435">
                  <c:v>60.000318878105055</c:v>
                </c:pt>
                <c:pt idx="5436">
                  <c:v>60.431826569263599</c:v>
                </c:pt>
                <c:pt idx="5437">
                  <c:v>60.978436400817657</c:v>
                </c:pt>
                <c:pt idx="5438">
                  <c:v>61.214209394476903</c:v>
                </c:pt>
                <c:pt idx="5439">
                  <c:v>61.179426435224904</c:v>
                </c:pt>
                <c:pt idx="5440">
                  <c:v>61.383963385025709</c:v>
                </c:pt>
                <c:pt idx="5441">
                  <c:v>61.964817211303441</c:v>
                </c:pt>
                <c:pt idx="5442">
                  <c:v>62.464625741828691</c:v>
                </c:pt>
                <c:pt idx="5443">
                  <c:v>62.566614790950979</c:v>
                </c:pt>
                <c:pt idx="5444">
                  <c:v>62.954587248899969</c:v>
                </c:pt>
                <c:pt idx="5445">
                  <c:v>62.975664389645942</c:v>
                </c:pt>
                <c:pt idx="5446">
                  <c:v>63.323799791134924</c:v>
                </c:pt>
                <c:pt idx="5447">
                  <c:v>64.023692608366616</c:v>
                </c:pt>
                <c:pt idx="5448">
                  <c:v>65.070678046316374</c:v>
                </c:pt>
                <c:pt idx="5449">
                  <c:v>65.95257449978638</c:v>
                </c:pt>
                <c:pt idx="5450">
                  <c:v>67.075720953427634</c:v>
                </c:pt>
                <c:pt idx="5451">
                  <c:v>68.466887282267365</c:v>
                </c:pt>
                <c:pt idx="5452">
                  <c:v>70.079984936711568</c:v>
                </c:pt>
                <c:pt idx="5453">
                  <c:v>71.921986285096779</c:v>
                </c:pt>
                <c:pt idx="5454">
                  <c:v>73.947607654143866</c:v>
                </c:pt>
                <c:pt idx="5455">
                  <c:v>74.975808981396384</c:v>
                </c:pt>
                <c:pt idx="5456">
                  <c:v>76.139540670388698</c:v>
                </c:pt>
                <c:pt idx="5457">
                  <c:v>77.485719388626521</c:v>
                </c:pt>
                <c:pt idx="5458">
                  <c:v>78.316586515638932</c:v>
                </c:pt>
                <c:pt idx="5459">
                  <c:v>78.676424108885115</c:v>
                </c:pt>
                <c:pt idx="5460">
                  <c:v>78.607318047255632</c:v>
                </c:pt>
                <c:pt idx="5461">
                  <c:v>77.715395765721055</c:v>
                </c:pt>
                <c:pt idx="5462">
                  <c:v>76.455281379401029</c:v>
                </c:pt>
                <c:pt idx="5463">
                  <c:v>74.878661008291559</c:v>
                </c:pt>
                <c:pt idx="5464">
                  <c:v>73.010907607907612</c:v>
                </c:pt>
                <c:pt idx="5465">
                  <c:v>70.904712908354739</c:v>
                </c:pt>
                <c:pt idx="5466">
                  <c:v>68.564766863020139</c:v>
                </c:pt>
                <c:pt idx="5467">
                  <c:v>66.006687521862091</c:v>
                </c:pt>
                <c:pt idx="5468">
                  <c:v>63.276582929650395</c:v>
                </c:pt>
                <c:pt idx="5469">
                  <c:v>59.913265227242</c:v>
                </c:pt>
                <c:pt idx="5470">
                  <c:v>56.461043483565916</c:v>
                </c:pt>
                <c:pt idx="5471">
                  <c:v>53.095473954501884</c:v>
                </c:pt>
                <c:pt idx="5472">
                  <c:v>49.914424301328758</c:v>
                </c:pt>
                <c:pt idx="5473">
                  <c:v>46.046343722815514</c:v>
                </c:pt>
                <c:pt idx="5474">
                  <c:v>42.27398112725492</c:v>
                </c:pt>
                <c:pt idx="5475">
                  <c:v>37.607278346731512</c:v>
                </c:pt>
                <c:pt idx="5476">
                  <c:v>32.981500784406762</c:v>
                </c:pt>
                <c:pt idx="5477">
                  <c:v>28.443460614256868</c:v>
                </c:pt>
                <c:pt idx="5478">
                  <c:v>24.094630320290122</c:v>
                </c:pt>
                <c:pt idx="5479">
                  <c:v>19.926796738253081</c:v>
                </c:pt>
                <c:pt idx="5480">
                  <c:v>15.968811626431858</c:v>
                </c:pt>
                <c:pt idx="5481">
                  <c:v>12.3400545925617</c:v>
                </c:pt>
                <c:pt idx="5482">
                  <c:v>9.130346171013775</c:v>
                </c:pt>
                <c:pt idx="5483">
                  <c:v>6.6290711548778756</c:v>
                </c:pt>
                <c:pt idx="5484">
                  <c:v>5.0485087209430199</c:v>
                </c:pt>
                <c:pt idx="5485">
                  <c:v>2.4010578010743275</c:v>
                </c:pt>
                <c:pt idx="5486">
                  <c:v>0.15391003865896519</c:v>
                </c:pt>
                <c:pt idx="5487">
                  <c:v>4.6252137300653685E-13</c:v>
                </c:pt>
                <c:pt idx="5488">
                  <c:v>4.6252137300653685E-13</c:v>
                </c:pt>
                <c:pt idx="5489">
                  <c:v>4.6252137300653685E-13</c:v>
                </c:pt>
                <c:pt idx="5490">
                  <c:v>4.6252137300653685E-13</c:v>
                </c:pt>
                <c:pt idx="5491">
                  <c:v>4.6252137300653685E-13</c:v>
                </c:pt>
                <c:pt idx="5492">
                  <c:v>4.6252137300653685E-13</c:v>
                </c:pt>
                <c:pt idx="5493">
                  <c:v>4.6252137300653685E-13</c:v>
                </c:pt>
                <c:pt idx="5494">
                  <c:v>4.6252137300653685E-13</c:v>
                </c:pt>
                <c:pt idx="5495">
                  <c:v>4.6252137300653685E-13</c:v>
                </c:pt>
                <c:pt idx="5496">
                  <c:v>4.6252137300653685E-13</c:v>
                </c:pt>
                <c:pt idx="5497">
                  <c:v>4.6252137300653685E-13</c:v>
                </c:pt>
                <c:pt idx="5498">
                  <c:v>4.6252137300653685E-13</c:v>
                </c:pt>
                <c:pt idx="5499">
                  <c:v>4.6252137300653685E-13</c:v>
                </c:pt>
                <c:pt idx="5500">
                  <c:v>4.6252137300653685E-13</c:v>
                </c:pt>
                <c:pt idx="5501">
                  <c:v>4.6252137300653685E-13</c:v>
                </c:pt>
                <c:pt idx="5502">
                  <c:v>4.6252137300653685E-13</c:v>
                </c:pt>
                <c:pt idx="5503">
                  <c:v>4.6252137300653685E-13</c:v>
                </c:pt>
                <c:pt idx="5504">
                  <c:v>4.6252137300653685E-13</c:v>
                </c:pt>
                <c:pt idx="5505">
                  <c:v>4.6252137300653685E-13</c:v>
                </c:pt>
                <c:pt idx="5506">
                  <c:v>4.6252137300653685E-13</c:v>
                </c:pt>
                <c:pt idx="5507">
                  <c:v>4.6252137300653685E-13</c:v>
                </c:pt>
                <c:pt idx="5508">
                  <c:v>4.6252137300653685E-13</c:v>
                </c:pt>
                <c:pt idx="5509">
                  <c:v>4.6252137300653685E-13</c:v>
                </c:pt>
                <c:pt idx="5510">
                  <c:v>4.6252137300653685E-13</c:v>
                </c:pt>
                <c:pt idx="5511">
                  <c:v>4.6252137300653685E-13</c:v>
                </c:pt>
                <c:pt idx="5512">
                  <c:v>4.6252137300653685E-13</c:v>
                </c:pt>
                <c:pt idx="5513">
                  <c:v>4.6252137300653685E-13</c:v>
                </c:pt>
                <c:pt idx="5514">
                  <c:v>4.6252137300653685E-13</c:v>
                </c:pt>
                <c:pt idx="5515">
                  <c:v>4.6252137300653685E-13</c:v>
                </c:pt>
                <c:pt idx="5516">
                  <c:v>4.6252137300653685E-13</c:v>
                </c:pt>
                <c:pt idx="5517">
                  <c:v>4.6252137300653685E-13</c:v>
                </c:pt>
                <c:pt idx="5518">
                  <c:v>4.6252137300653685E-13</c:v>
                </c:pt>
                <c:pt idx="5519">
                  <c:v>4.6252137300653685E-13</c:v>
                </c:pt>
                <c:pt idx="5520">
                  <c:v>4.6252137300653685E-13</c:v>
                </c:pt>
                <c:pt idx="5521">
                  <c:v>4.6252137300653685E-13</c:v>
                </c:pt>
                <c:pt idx="5522">
                  <c:v>4.6252137300653685E-13</c:v>
                </c:pt>
                <c:pt idx="5523">
                  <c:v>4.6252137300653685E-13</c:v>
                </c:pt>
                <c:pt idx="5524">
                  <c:v>4.6252137300653685E-13</c:v>
                </c:pt>
                <c:pt idx="5525">
                  <c:v>4.6252137300653685E-13</c:v>
                </c:pt>
                <c:pt idx="5526">
                  <c:v>4.6252137300653685E-13</c:v>
                </c:pt>
                <c:pt idx="5527">
                  <c:v>4.6252137300653685E-13</c:v>
                </c:pt>
                <c:pt idx="5528">
                  <c:v>4.6252137300653685E-13</c:v>
                </c:pt>
                <c:pt idx="5529">
                  <c:v>4.6252137300653685E-13</c:v>
                </c:pt>
                <c:pt idx="5530">
                  <c:v>4.6252137300653685E-13</c:v>
                </c:pt>
                <c:pt idx="5531">
                  <c:v>4.6252137300653685E-13</c:v>
                </c:pt>
                <c:pt idx="5532">
                  <c:v>4.6252137300653685E-13</c:v>
                </c:pt>
                <c:pt idx="5533">
                  <c:v>4.6252137300653685E-13</c:v>
                </c:pt>
                <c:pt idx="5534">
                  <c:v>4.6252137300653685E-13</c:v>
                </c:pt>
                <c:pt idx="5535">
                  <c:v>4.6252137300653685E-13</c:v>
                </c:pt>
                <c:pt idx="5536">
                  <c:v>4.6252137300653685E-13</c:v>
                </c:pt>
                <c:pt idx="5537">
                  <c:v>4.6252137300653685E-13</c:v>
                </c:pt>
                <c:pt idx="5538">
                  <c:v>4.6252137300653685E-13</c:v>
                </c:pt>
                <c:pt idx="5539">
                  <c:v>4.6252137300653685E-13</c:v>
                </c:pt>
                <c:pt idx="5540">
                  <c:v>4.6252137300653685E-13</c:v>
                </c:pt>
                <c:pt idx="5541">
                  <c:v>4.6252137300653685E-13</c:v>
                </c:pt>
                <c:pt idx="5542">
                  <c:v>4.6252137300653685E-13</c:v>
                </c:pt>
                <c:pt idx="5543">
                  <c:v>4.6252137300653685E-13</c:v>
                </c:pt>
                <c:pt idx="5544">
                  <c:v>4.6252137300653685E-13</c:v>
                </c:pt>
                <c:pt idx="5545">
                  <c:v>4.6252137300653685E-13</c:v>
                </c:pt>
                <c:pt idx="5546">
                  <c:v>4.6252137300653685E-13</c:v>
                </c:pt>
                <c:pt idx="5547">
                  <c:v>4.6252137300653685E-13</c:v>
                </c:pt>
                <c:pt idx="5548">
                  <c:v>4.6252137300653685E-13</c:v>
                </c:pt>
                <c:pt idx="5549">
                  <c:v>4.6252137300653685E-13</c:v>
                </c:pt>
                <c:pt idx="5550">
                  <c:v>4.6252137300653685E-13</c:v>
                </c:pt>
                <c:pt idx="5551">
                  <c:v>4.6252137300653685E-13</c:v>
                </c:pt>
                <c:pt idx="5552">
                  <c:v>4.6252137300653685E-13</c:v>
                </c:pt>
                <c:pt idx="5553">
                  <c:v>4.6252137300653685E-13</c:v>
                </c:pt>
                <c:pt idx="5554">
                  <c:v>4.6252137300653685E-13</c:v>
                </c:pt>
                <c:pt idx="5555">
                  <c:v>4.6252137300653685E-13</c:v>
                </c:pt>
                <c:pt idx="5556">
                  <c:v>4.6252137300653685E-13</c:v>
                </c:pt>
                <c:pt idx="5557">
                  <c:v>4.6252137300653685E-13</c:v>
                </c:pt>
                <c:pt idx="5558">
                  <c:v>4.6252137300653685E-13</c:v>
                </c:pt>
                <c:pt idx="5559">
                  <c:v>4.6252137300653685E-13</c:v>
                </c:pt>
                <c:pt idx="5560">
                  <c:v>4.6252137300653685E-13</c:v>
                </c:pt>
                <c:pt idx="5561">
                  <c:v>4.6252137300653685E-13</c:v>
                </c:pt>
                <c:pt idx="5562">
                  <c:v>4.6252137300653685E-13</c:v>
                </c:pt>
                <c:pt idx="5563">
                  <c:v>4.6252137300653685E-13</c:v>
                </c:pt>
                <c:pt idx="5564">
                  <c:v>4.6252137300653685E-13</c:v>
                </c:pt>
                <c:pt idx="5565">
                  <c:v>4.6252137300653685E-13</c:v>
                </c:pt>
                <c:pt idx="5566">
                  <c:v>4.6252137300653685E-13</c:v>
                </c:pt>
                <c:pt idx="5567">
                  <c:v>4.6252137300653685E-13</c:v>
                </c:pt>
                <c:pt idx="5568">
                  <c:v>4.6252137300653685E-13</c:v>
                </c:pt>
                <c:pt idx="5569">
                  <c:v>4.6252137300653685E-13</c:v>
                </c:pt>
                <c:pt idx="5570">
                  <c:v>4.6252137300653685E-13</c:v>
                </c:pt>
                <c:pt idx="5571">
                  <c:v>4.6252137300653685E-13</c:v>
                </c:pt>
                <c:pt idx="5572">
                  <c:v>4.6252137300653685E-13</c:v>
                </c:pt>
                <c:pt idx="5573">
                  <c:v>4.6252137300653685E-13</c:v>
                </c:pt>
                <c:pt idx="5574">
                  <c:v>4.6252137300653685E-13</c:v>
                </c:pt>
                <c:pt idx="5575">
                  <c:v>4.6252137300653685E-13</c:v>
                </c:pt>
                <c:pt idx="5576">
                  <c:v>4.6252137300653685E-13</c:v>
                </c:pt>
                <c:pt idx="5577">
                  <c:v>4.6252137300653685E-13</c:v>
                </c:pt>
                <c:pt idx="5578">
                  <c:v>4.6252137300653685E-13</c:v>
                </c:pt>
                <c:pt idx="5579">
                  <c:v>4.6252137300653685E-13</c:v>
                </c:pt>
                <c:pt idx="5580">
                  <c:v>4.6252137300653685E-13</c:v>
                </c:pt>
                <c:pt idx="5581">
                  <c:v>4.6252137300653685E-13</c:v>
                </c:pt>
                <c:pt idx="5582">
                  <c:v>4.6252137300653685E-13</c:v>
                </c:pt>
                <c:pt idx="5583">
                  <c:v>4.6252137300653685E-13</c:v>
                </c:pt>
                <c:pt idx="5584">
                  <c:v>4.6252137300653685E-13</c:v>
                </c:pt>
                <c:pt idx="5585">
                  <c:v>4.6252137300653685E-13</c:v>
                </c:pt>
                <c:pt idx="5586">
                  <c:v>4.6252137300653685E-13</c:v>
                </c:pt>
                <c:pt idx="5587">
                  <c:v>4.6252137300653685E-13</c:v>
                </c:pt>
                <c:pt idx="5588">
                  <c:v>4.6252137300653685E-13</c:v>
                </c:pt>
                <c:pt idx="5589">
                  <c:v>4.6252137300653685E-13</c:v>
                </c:pt>
                <c:pt idx="5590">
                  <c:v>4.6252137300653685E-13</c:v>
                </c:pt>
                <c:pt idx="5591">
                  <c:v>4.6252137300653685E-13</c:v>
                </c:pt>
                <c:pt idx="5592">
                  <c:v>4.6252137300653685E-13</c:v>
                </c:pt>
                <c:pt idx="5593">
                  <c:v>4.6252137300653685E-13</c:v>
                </c:pt>
                <c:pt idx="5594">
                  <c:v>4.6252137300653685E-13</c:v>
                </c:pt>
                <c:pt idx="5595">
                  <c:v>4.6252137300653685E-13</c:v>
                </c:pt>
                <c:pt idx="5596">
                  <c:v>4.6252137300653685E-13</c:v>
                </c:pt>
                <c:pt idx="5597">
                  <c:v>4.6252137300653685E-13</c:v>
                </c:pt>
                <c:pt idx="5598">
                  <c:v>4.6252137300653685E-13</c:v>
                </c:pt>
                <c:pt idx="5599">
                  <c:v>4.6252137300653685E-13</c:v>
                </c:pt>
                <c:pt idx="5600">
                  <c:v>4.6252137300653685E-13</c:v>
                </c:pt>
                <c:pt idx="5601">
                  <c:v>4.6252137300653685E-13</c:v>
                </c:pt>
                <c:pt idx="5602">
                  <c:v>4.6252137300653685E-13</c:v>
                </c:pt>
                <c:pt idx="5603">
                  <c:v>4.6252137300653685E-13</c:v>
                </c:pt>
                <c:pt idx="5604">
                  <c:v>4.6252137300653685E-13</c:v>
                </c:pt>
                <c:pt idx="5605">
                  <c:v>4.6252137300653685E-13</c:v>
                </c:pt>
                <c:pt idx="5606">
                  <c:v>4.6252137300653685E-13</c:v>
                </c:pt>
                <c:pt idx="5607">
                  <c:v>4.6252137300653685E-13</c:v>
                </c:pt>
                <c:pt idx="5608">
                  <c:v>4.6252137300653685E-13</c:v>
                </c:pt>
                <c:pt idx="5609">
                  <c:v>4.6252137300653685E-13</c:v>
                </c:pt>
                <c:pt idx="5610">
                  <c:v>4.6252137300653685E-13</c:v>
                </c:pt>
                <c:pt idx="5611">
                  <c:v>4.6252137300653685E-13</c:v>
                </c:pt>
                <c:pt idx="5612">
                  <c:v>4.6252137300653685E-13</c:v>
                </c:pt>
                <c:pt idx="5613">
                  <c:v>4.6252137300653685E-13</c:v>
                </c:pt>
                <c:pt idx="5614">
                  <c:v>4.6252137300653685E-13</c:v>
                </c:pt>
                <c:pt idx="5615">
                  <c:v>4.6252137300653685E-13</c:v>
                </c:pt>
                <c:pt idx="5616">
                  <c:v>4.6252137300653685E-13</c:v>
                </c:pt>
                <c:pt idx="5617">
                  <c:v>4.6252137300653685E-13</c:v>
                </c:pt>
                <c:pt idx="5618">
                  <c:v>4.6252137300653685E-13</c:v>
                </c:pt>
                <c:pt idx="5619">
                  <c:v>4.6252137300653685E-13</c:v>
                </c:pt>
                <c:pt idx="5620">
                  <c:v>4.6252137300653685E-13</c:v>
                </c:pt>
                <c:pt idx="5621">
                  <c:v>4.6252137300653685E-13</c:v>
                </c:pt>
                <c:pt idx="5622">
                  <c:v>4.6252137300653685E-13</c:v>
                </c:pt>
                <c:pt idx="5623">
                  <c:v>4.6252137300653685E-13</c:v>
                </c:pt>
                <c:pt idx="5624">
                  <c:v>4.6252137300653685E-13</c:v>
                </c:pt>
                <c:pt idx="5625">
                  <c:v>4.6252137300653685E-13</c:v>
                </c:pt>
                <c:pt idx="5626">
                  <c:v>4.6252137300653685E-13</c:v>
                </c:pt>
                <c:pt idx="5627">
                  <c:v>4.6252137300653685E-13</c:v>
                </c:pt>
                <c:pt idx="5628">
                  <c:v>4.6252137300653685E-13</c:v>
                </c:pt>
                <c:pt idx="5629">
                  <c:v>4.6252137300653685E-13</c:v>
                </c:pt>
                <c:pt idx="5630">
                  <c:v>4.6252137300653685E-13</c:v>
                </c:pt>
                <c:pt idx="5631">
                  <c:v>4.6252137300653685E-13</c:v>
                </c:pt>
                <c:pt idx="5632">
                  <c:v>4.6252137300653685E-13</c:v>
                </c:pt>
                <c:pt idx="5633">
                  <c:v>4.6252137300653685E-13</c:v>
                </c:pt>
                <c:pt idx="5634">
                  <c:v>4.6252137300653685E-13</c:v>
                </c:pt>
                <c:pt idx="5635">
                  <c:v>4.6252137300653685E-13</c:v>
                </c:pt>
                <c:pt idx="5636">
                  <c:v>4.6252137300653685E-13</c:v>
                </c:pt>
                <c:pt idx="5637">
                  <c:v>4.6252137300653685E-13</c:v>
                </c:pt>
                <c:pt idx="5638">
                  <c:v>4.6252137300653685E-13</c:v>
                </c:pt>
                <c:pt idx="5639">
                  <c:v>4.6252137300653685E-13</c:v>
                </c:pt>
                <c:pt idx="5640">
                  <c:v>4.6252137300653685E-13</c:v>
                </c:pt>
                <c:pt idx="5641">
                  <c:v>4.6252137300653685E-13</c:v>
                </c:pt>
                <c:pt idx="5642">
                  <c:v>4.6252137300653685E-13</c:v>
                </c:pt>
                <c:pt idx="5643">
                  <c:v>4.6252137300653685E-13</c:v>
                </c:pt>
                <c:pt idx="5644">
                  <c:v>4.6252137300653685E-13</c:v>
                </c:pt>
                <c:pt idx="5645">
                  <c:v>4.6252137300653685E-13</c:v>
                </c:pt>
                <c:pt idx="5646">
                  <c:v>4.6252137300653685E-13</c:v>
                </c:pt>
                <c:pt idx="5647">
                  <c:v>4.6252137300653685E-13</c:v>
                </c:pt>
                <c:pt idx="5648">
                  <c:v>4.6252137300653685E-13</c:v>
                </c:pt>
                <c:pt idx="5649">
                  <c:v>4.6252137300653685E-13</c:v>
                </c:pt>
                <c:pt idx="5650">
                  <c:v>4.6252137300653685E-13</c:v>
                </c:pt>
                <c:pt idx="5651">
                  <c:v>4.6252137300653685E-13</c:v>
                </c:pt>
                <c:pt idx="5652">
                  <c:v>4.6252137300653685E-13</c:v>
                </c:pt>
                <c:pt idx="5653">
                  <c:v>4.6252137300653685E-13</c:v>
                </c:pt>
                <c:pt idx="5654">
                  <c:v>4.6252137300653685E-13</c:v>
                </c:pt>
                <c:pt idx="5655">
                  <c:v>4.6252137300653685E-13</c:v>
                </c:pt>
                <c:pt idx="5656">
                  <c:v>4.6252137300653685E-13</c:v>
                </c:pt>
                <c:pt idx="5657">
                  <c:v>4.6252137300653685E-13</c:v>
                </c:pt>
                <c:pt idx="5658">
                  <c:v>4.6252137300653685E-13</c:v>
                </c:pt>
                <c:pt idx="5659">
                  <c:v>4.6252137300653685E-13</c:v>
                </c:pt>
                <c:pt idx="5660">
                  <c:v>4.6252137300653685E-13</c:v>
                </c:pt>
                <c:pt idx="5661">
                  <c:v>4.6252137300653685E-13</c:v>
                </c:pt>
                <c:pt idx="5662">
                  <c:v>4.6252137300653685E-13</c:v>
                </c:pt>
                <c:pt idx="5663">
                  <c:v>4.6252137300653685E-13</c:v>
                </c:pt>
                <c:pt idx="5664">
                  <c:v>4.6252137300653685E-13</c:v>
                </c:pt>
                <c:pt idx="5665">
                  <c:v>4.6252137300653685E-13</c:v>
                </c:pt>
                <c:pt idx="5666">
                  <c:v>4.6252137300653685E-13</c:v>
                </c:pt>
                <c:pt idx="5667">
                  <c:v>4.6252137300653685E-13</c:v>
                </c:pt>
                <c:pt idx="5668">
                  <c:v>4.6252137300653685E-13</c:v>
                </c:pt>
                <c:pt idx="5669">
                  <c:v>4.6252137300653685E-13</c:v>
                </c:pt>
                <c:pt idx="5670">
                  <c:v>4.6252137300653685E-13</c:v>
                </c:pt>
                <c:pt idx="5671">
                  <c:v>4.6252137300653685E-13</c:v>
                </c:pt>
                <c:pt idx="5672">
                  <c:v>4.6252137300653685E-13</c:v>
                </c:pt>
                <c:pt idx="5673">
                  <c:v>4.6252137300653685E-13</c:v>
                </c:pt>
                <c:pt idx="5674">
                  <c:v>4.6252137300653685E-13</c:v>
                </c:pt>
                <c:pt idx="5675">
                  <c:v>4.6252137300653685E-13</c:v>
                </c:pt>
                <c:pt idx="5676">
                  <c:v>4.6252137300653685E-13</c:v>
                </c:pt>
                <c:pt idx="5677">
                  <c:v>4.6252137300653685E-13</c:v>
                </c:pt>
                <c:pt idx="5678">
                  <c:v>4.6252137300653685E-13</c:v>
                </c:pt>
                <c:pt idx="5679">
                  <c:v>4.6252137300653685E-13</c:v>
                </c:pt>
                <c:pt idx="5680">
                  <c:v>4.6252137300653685E-13</c:v>
                </c:pt>
                <c:pt idx="5681">
                  <c:v>4.6252137300653685E-13</c:v>
                </c:pt>
                <c:pt idx="5682">
                  <c:v>4.6252137300653685E-13</c:v>
                </c:pt>
                <c:pt idx="5683">
                  <c:v>4.6252137300653685E-13</c:v>
                </c:pt>
                <c:pt idx="5684">
                  <c:v>4.6252137300653685E-13</c:v>
                </c:pt>
                <c:pt idx="5685">
                  <c:v>4.6252137300653685E-13</c:v>
                </c:pt>
                <c:pt idx="5686">
                  <c:v>4.6252137300653685E-13</c:v>
                </c:pt>
                <c:pt idx="5687">
                  <c:v>4.6252137300653685E-13</c:v>
                </c:pt>
                <c:pt idx="5688">
                  <c:v>4.6252137300653685E-13</c:v>
                </c:pt>
                <c:pt idx="5689">
                  <c:v>4.6252137300653685E-13</c:v>
                </c:pt>
                <c:pt idx="5690">
                  <c:v>4.6252137300653685E-13</c:v>
                </c:pt>
                <c:pt idx="5691">
                  <c:v>4.6252137300653685E-13</c:v>
                </c:pt>
                <c:pt idx="5692">
                  <c:v>4.6252137300653685E-13</c:v>
                </c:pt>
                <c:pt idx="5693">
                  <c:v>4.6252137300653685E-13</c:v>
                </c:pt>
                <c:pt idx="5694">
                  <c:v>4.6252137300653685E-13</c:v>
                </c:pt>
                <c:pt idx="5695">
                  <c:v>4.6252137300653685E-13</c:v>
                </c:pt>
                <c:pt idx="5696">
                  <c:v>4.6252137300653685E-13</c:v>
                </c:pt>
                <c:pt idx="5697">
                  <c:v>4.6252137300653685E-13</c:v>
                </c:pt>
                <c:pt idx="5698">
                  <c:v>4.6252137300653685E-13</c:v>
                </c:pt>
                <c:pt idx="5699">
                  <c:v>4.6252137300653685E-13</c:v>
                </c:pt>
                <c:pt idx="5700">
                  <c:v>4.6252137300653685E-13</c:v>
                </c:pt>
                <c:pt idx="5701">
                  <c:v>4.6252137300653685E-13</c:v>
                </c:pt>
                <c:pt idx="5702">
                  <c:v>4.6252137300653685E-13</c:v>
                </c:pt>
                <c:pt idx="5703">
                  <c:v>4.6252137300653685E-13</c:v>
                </c:pt>
                <c:pt idx="5704">
                  <c:v>4.6252137300653685E-13</c:v>
                </c:pt>
                <c:pt idx="5705">
                  <c:v>4.6252137300653685E-13</c:v>
                </c:pt>
                <c:pt idx="5706">
                  <c:v>4.6252137300653685E-13</c:v>
                </c:pt>
                <c:pt idx="5707">
                  <c:v>4.6252137300653685E-13</c:v>
                </c:pt>
                <c:pt idx="5708">
                  <c:v>4.6252137300653685E-13</c:v>
                </c:pt>
                <c:pt idx="5709">
                  <c:v>4.6252137300653685E-13</c:v>
                </c:pt>
                <c:pt idx="5710">
                  <c:v>4.6252137300653685E-13</c:v>
                </c:pt>
                <c:pt idx="5711">
                  <c:v>4.6252137300653685E-13</c:v>
                </c:pt>
                <c:pt idx="5712">
                  <c:v>4.6252137300653685E-13</c:v>
                </c:pt>
                <c:pt idx="5713">
                  <c:v>4.6252137300653685E-13</c:v>
                </c:pt>
                <c:pt idx="5714">
                  <c:v>4.6252137300653685E-13</c:v>
                </c:pt>
                <c:pt idx="5715">
                  <c:v>4.6252137300653685E-13</c:v>
                </c:pt>
                <c:pt idx="5716">
                  <c:v>4.6252137300653685E-13</c:v>
                </c:pt>
                <c:pt idx="5717">
                  <c:v>4.6252137300653685E-13</c:v>
                </c:pt>
                <c:pt idx="5718">
                  <c:v>4.6252137300653685E-13</c:v>
                </c:pt>
                <c:pt idx="5719">
                  <c:v>4.6252137300653685E-13</c:v>
                </c:pt>
                <c:pt idx="5720">
                  <c:v>4.6252137300653685E-13</c:v>
                </c:pt>
                <c:pt idx="5721">
                  <c:v>4.6252137300653685E-13</c:v>
                </c:pt>
                <c:pt idx="5722">
                  <c:v>4.6252137300653685E-13</c:v>
                </c:pt>
                <c:pt idx="5723">
                  <c:v>4.6252137300653685E-13</c:v>
                </c:pt>
                <c:pt idx="5724">
                  <c:v>4.6252137300653685E-13</c:v>
                </c:pt>
                <c:pt idx="5725">
                  <c:v>4.6252137300653685E-13</c:v>
                </c:pt>
                <c:pt idx="5726">
                  <c:v>4.6252137300653685E-13</c:v>
                </c:pt>
                <c:pt idx="5727">
                  <c:v>4.6252137300653685E-13</c:v>
                </c:pt>
                <c:pt idx="5728">
                  <c:v>4.6252137300653685E-13</c:v>
                </c:pt>
                <c:pt idx="5729">
                  <c:v>4.6252137300653685E-13</c:v>
                </c:pt>
                <c:pt idx="5730">
                  <c:v>4.6252137300653685E-13</c:v>
                </c:pt>
                <c:pt idx="5731">
                  <c:v>4.6252137300653685E-13</c:v>
                </c:pt>
                <c:pt idx="5732">
                  <c:v>4.6252137300653685E-13</c:v>
                </c:pt>
                <c:pt idx="5733">
                  <c:v>4.6252137300653685E-13</c:v>
                </c:pt>
                <c:pt idx="5734">
                  <c:v>4.6252137300653685E-13</c:v>
                </c:pt>
                <c:pt idx="5735">
                  <c:v>4.6252137300653685E-13</c:v>
                </c:pt>
                <c:pt idx="5736">
                  <c:v>4.6252137300653685E-13</c:v>
                </c:pt>
                <c:pt idx="5737">
                  <c:v>4.6252137300653685E-13</c:v>
                </c:pt>
                <c:pt idx="5738">
                  <c:v>4.6252137300653685E-13</c:v>
                </c:pt>
                <c:pt idx="5739">
                  <c:v>4.6252137300653685E-13</c:v>
                </c:pt>
                <c:pt idx="5740">
                  <c:v>4.6252137300653685E-13</c:v>
                </c:pt>
                <c:pt idx="5741">
                  <c:v>4.6252137300653685E-13</c:v>
                </c:pt>
                <c:pt idx="5742">
                  <c:v>4.6252137300653685E-13</c:v>
                </c:pt>
                <c:pt idx="5743">
                  <c:v>4.6252137300653685E-13</c:v>
                </c:pt>
                <c:pt idx="5744">
                  <c:v>4.6252137300653685E-13</c:v>
                </c:pt>
                <c:pt idx="5745">
                  <c:v>4.6252137300653685E-13</c:v>
                </c:pt>
                <c:pt idx="5746">
                  <c:v>4.6252137300653685E-13</c:v>
                </c:pt>
                <c:pt idx="5747">
                  <c:v>4.6252137300653685E-13</c:v>
                </c:pt>
                <c:pt idx="5748">
                  <c:v>4.6252137300653685E-13</c:v>
                </c:pt>
                <c:pt idx="5749">
                  <c:v>4.6252137300653685E-13</c:v>
                </c:pt>
                <c:pt idx="5750">
                  <c:v>4.6252137300653685E-13</c:v>
                </c:pt>
                <c:pt idx="5751">
                  <c:v>4.6252137300653685E-13</c:v>
                </c:pt>
                <c:pt idx="5752">
                  <c:v>4.6252137300653685E-13</c:v>
                </c:pt>
                <c:pt idx="5753">
                  <c:v>4.6252137300653685E-13</c:v>
                </c:pt>
                <c:pt idx="5754">
                  <c:v>4.6252137300653685E-13</c:v>
                </c:pt>
                <c:pt idx="5755">
                  <c:v>4.6252137300653685E-13</c:v>
                </c:pt>
                <c:pt idx="5756">
                  <c:v>4.6252137300653685E-13</c:v>
                </c:pt>
                <c:pt idx="5757">
                  <c:v>4.6252137300653685E-13</c:v>
                </c:pt>
                <c:pt idx="5758">
                  <c:v>4.6252137300653685E-13</c:v>
                </c:pt>
                <c:pt idx="5759">
                  <c:v>4.6252137300653685E-13</c:v>
                </c:pt>
                <c:pt idx="5760">
                  <c:v>4.6252137300653685E-13</c:v>
                </c:pt>
                <c:pt idx="5761">
                  <c:v>4.6252137300653685E-13</c:v>
                </c:pt>
                <c:pt idx="5762">
                  <c:v>4.6252137300653685E-13</c:v>
                </c:pt>
                <c:pt idx="5763">
                  <c:v>4.6252137300653685E-13</c:v>
                </c:pt>
                <c:pt idx="5764">
                  <c:v>4.6252137300653685E-13</c:v>
                </c:pt>
                <c:pt idx="5765">
                  <c:v>4.6252137300653685E-13</c:v>
                </c:pt>
                <c:pt idx="5766">
                  <c:v>4.6252137300653685E-13</c:v>
                </c:pt>
                <c:pt idx="5767">
                  <c:v>4.6252137300653685E-13</c:v>
                </c:pt>
                <c:pt idx="5768">
                  <c:v>4.6252137300653685E-13</c:v>
                </c:pt>
                <c:pt idx="5769">
                  <c:v>4.6252137300653685E-13</c:v>
                </c:pt>
                <c:pt idx="5770">
                  <c:v>4.6252137300653685E-13</c:v>
                </c:pt>
                <c:pt idx="5771">
                  <c:v>4.6252137300653685E-13</c:v>
                </c:pt>
                <c:pt idx="5772">
                  <c:v>4.6252137300653685E-13</c:v>
                </c:pt>
                <c:pt idx="5773">
                  <c:v>4.6252137300653685E-13</c:v>
                </c:pt>
                <c:pt idx="5774">
                  <c:v>4.6252137300653685E-13</c:v>
                </c:pt>
                <c:pt idx="5775">
                  <c:v>4.6252137300653685E-13</c:v>
                </c:pt>
                <c:pt idx="5776">
                  <c:v>4.6252137300653685E-13</c:v>
                </c:pt>
                <c:pt idx="5777">
                  <c:v>4.6252137300653685E-13</c:v>
                </c:pt>
                <c:pt idx="5778">
                  <c:v>4.6252137300653685E-13</c:v>
                </c:pt>
                <c:pt idx="5779">
                  <c:v>4.6252137300653685E-13</c:v>
                </c:pt>
                <c:pt idx="5780">
                  <c:v>4.6252137300653685E-13</c:v>
                </c:pt>
                <c:pt idx="5781">
                  <c:v>4.6252137300653685E-13</c:v>
                </c:pt>
                <c:pt idx="5782">
                  <c:v>4.6252137300653685E-13</c:v>
                </c:pt>
                <c:pt idx="5783">
                  <c:v>4.6252137300653685E-13</c:v>
                </c:pt>
                <c:pt idx="5784">
                  <c:v>4.6252137300653685E-13</c:v>
                </c:pt>
                <c:pt idx="5785">
                  <c:v>4.6252137300653685E-13</c:v>
                </c:pt>
                <c:pt idx="5786">
                  <c:v>4.6252137300653685E-13</c:v>
                </c:pt>
                <c:pt idx="5787">
                  <c:v>4.6252137300653685E-13</c:v>
                </c:pt>
                <c:pt idx="5788">
                  <c:v>4.6252137300653685E-13</c:v>
                </c:pt>
                <c:pt idx="5789">
                  <c:v>4.6252137300653685E-13</c:v>
                </c:pt>
                <c:pt idx="5790">
                  <c:v>4.6252137300653685E-13</c:v>
                </c:pt>
                <c:pt idx="5791">
                  <c:v>4.6252137300653685E-13</c:v>
                </c:pt>
                <c:pt idx="5792">
                  <c:v>4.6252137300653685E-13</c:v>
                </c:pt>
                <c:pt idx="5793">
                  <c:v>4.6252137300653685E-13</c:v>
                </c:pt>
                <c:pt idx="5794">
                  <c:v>4.6252137300653685E-13</c:v>
                </c:pt>
                <c:pt idx="5795">
                  <c:v>4.6252137300653685E-13</c:v>
                </c:pt>
                <c:pt idx="5796">
                  <c:v>4.6252137300653685E-13</c:v>
                </c:pt>
                <c:pt idx="5797">
                  <c:v>4.6252137300653685E-13</c:v>
                </c:pt>
                <c:pt idx="5798">
                  <c:v>4.6252137300653685E-13</c:v>
                </c:pt>
                <c:pt idx="5799">
                  <c:v>4.6252137300653685E-13</c:v>
                </c:pt>
                <c:pt idx="5800">
                  <c:v>4.6252137300653685E-13</c:v>
                </c:pt>
                <c:pt idx="5801">
                  <c:v>4.6252137300653685E-13</c:v>
                </c:pt>
                <c:pt idx="5802">
                  <c:v>4.6252137300653685E-13</c:v>
                </c:pt>
                <c:pt idx="5803">
                  <c:v>4.6252137300653685E-13</c:v>
                </c:pt>
                <c:pt idx="5804">
                  <c:v>4.6252137300653685E-13</c:v>
                </c:pt>
                <c:pt idx="5805">
                  <c:v>4.6252137300653685E-13</c:v>
                </c:pt>
                <c:pt idx="5806">
                  <c:v>4.6252137300653685E-13</c:v>
                </c:pt>
                <c:pt idx="5807">
                  <c:v>4.6252137300653685E-13</c:v>
                </c:pt>
                <c:pt idx="5808">
                  <c:v>4.6252137300653685E-13</c:v>
                </c:pt>
                <c:pt idx="5809">
                  <c:v>4.6252137300653685E-13</c:v>
                </c:pt>
                <c:pt idx="5810">
                  <c:v>4.6252137300653685E-13</c:v>
                </c:pt>
                <c:pt idx="5811">
                  <c:v>4.6252137300653685E-13</c:v>
                </c:pt>
                <c:pt idx="5812">
                  <c:v>4.6252137300653685E-13</c:v>
                </c:pt>
                <c:pt idx="5813">
                  <c:v>4.6252137300653685E-13</c:v>
                </c:pt>
                <c:pt idx="5814">
                  <c:v>4.6252137300653685E-13</c:v>
                </c:pt>
                <c:pt idx="5815">
                  <c:v>4.6252137300653685E-13</c:v>
                </c:pt>
                <c:pt idx="5816">
                  <c:v>4.6252137300653685E-13</c:v>
                </c:pt>
                <c:pt idx="5817">
                  <c:v>4.6252137300653685E-13</c:v>
                </c:pt>
                <c:pt idx="5818">
                  <c:v>4.6252137300653685E-13</c:v>
                </c:pt>
                <c:pt idx="5819">
                  <c:v>4.6252137300653685E-13</c:v>
                </c:pt>
                <c:pt idx="5820">
                  <c:v>4.6252137300653685E-13</c:v>
                </c:pt>
                <c:pt idx="5821">
                  <c:v>4.6252137300653685E-13</c:v>
                </c:pt>
                <c:pt idx="5822">
                  <c:v>4.6252137300653685E-13</c:v>
                </c:pt>
                <c:pt idx="5823">
                  <c:v>4.6252137300653685E-13</c:v>
                </c:pt>
                <c:pt idx="5824">
                  <c:v>4.6252137300653685E-13</c:v>
                </c:pt>
                <c:pt idx="5825">
                  <c:v>4.6252137300653685E-13</c:v>
                </c:pt>
                <c:pt idx="5826">
                  <c:v>4.6252137300653685E-13</c:v>
                </c:pt>
                <c:pt idx="5827">
                  <c:v>4.6252137300653685E-13</c:v>
                </c:pt>
                <c:pt idx="5828">
                  <c:v>4.6252137300653685E-13</c:v>
                </c:pt>
                <c:pt idx="5829">
                  <c:v>4.6252137300653685E-13</c:v>
                </c:pt>
                <c:pt idx="5830">
                  <c:v>4.6252137300653685E-13</c:v>
                </c:pt>
                <c:pt idx="5831">
                  <c:v>4.6252137300653685E-13</c:v>
                </c:pt>
                <c:pt idx="5832">
                  <c:v>4.6252137300653685E-13</c:v>
                </c:pt>
                <c:pt idx="5833">
                  <c:v>4.6252137300653685E-13</c:v>
                </c:pt>
                <c:pt idx="5834">
                  <c:v>4.6252137300653685E-13</c:v>
                </c:pt>
                <c:pt idx="5835">
                  <c:v>4.6252137300653685E-13</c:v>
                </c:pt>
                <c:pt idx="5836">
                  <c:v>4.6252137300653685E-13</c:v>
                </c:pt>
                <c:pt idx="5837">
                  <c:v>4.6252137300653685E-13</c:v>
                </c:pt>
                <c:pt idx="5838">
                  <c:v>4.6252137300653685E-13</c:v>
                </c:pt>
                <c:pt idx="5839">
                  <c:v>4.6252137300653685E-13</c:v>
                </c:pt>
                <c:pt idx="5840">
                  <c:v>4.6252137300653685E-13</c:v>
                </c:pt>
                <c:pt idx="5841">
                  <c:v>4.6252137300653685E-13</c:v>
                </c:pt>
                <c:pt idx="5842">
                  <c:v>4.6252137300653685E-13</c:v>
                </c:pt>
                <c:pt idx="5843">
                  <c:v>4.6252137300653685E-13</c:v>
                </c:pt>
                <c:pt idx="5844">
                  <c:v>4.6252137300653685E-13</c:v>
                </c:pt>
                <c:pt idx="5845">
                  <c:v>4.6252137300653685E-13</c:v>
                </c:pt>
                <c:pt idx="5846">
                  <c:v>4.6252137300653685E-13</c:v>
                </c:pt>
                <c:pt idx="5847">
                  <c:v>4.6252137300653685E-13</c:v>
                </c:pt>
                <c:pt idx="5848">
                  <c:v>4.6252137300653685E-13</c:v>
                </c:pt>
                <c:pt idx="5849">
                  <c:v>4.6252137300653685E-13</c:v>
                </c:pt>
                <c:pt idx="5850">
                  <c:v>4.6252137300653685E-13</c:v>
                </c:pt>
                <c:pt idx="5851">
                  <c:v>4.6252137300653685E-13</c:v>
                </c:pt>
                <c:pt idx="5852">
                  <c:v>4.6252137300653685E-13</c:v>
                </c:pt>
                <c:pt idx="5853">
                  <c:v>4.6252137300653685E-13</c:v>
                </c:pt>
                <c:pt idx="5854">
                  <c:v>4.6252137300653685E-13</c:v>
                </c:pt>
                <c:pt idx="5855">
                  <c:v>4.6252137300653685E-13</c:v>
                </c:pt>
                <c:pt idx="5856">
                  <c:v>4.6252137300653685E-13</c:v>
                </c:pt>
                <c:pt idx="5857">
                  <c:v>4.6252137300653685E-13</c:v>
                </c:pt>
                <c:pt idx="5858">
                  <c:v>4.6252137300653685E-13</c:v>
                </c:pt>
                <c:pt idx="5859">
                  <c:v>4.6252137300653685E-13</c:v>
                </c:pt>
                <c:pt idx="5860">
                  <c:v>4.6252137300653685E-13</c:v>
                </c:pt>
                <c:pt idx="5861">
                  <c:v>4.6252137300653685E-13</c:v>
                </c:pt>
                <c:pt idx="5862">
                  <c:v>4.6252137300653685E-13</c:v>
                </c:pt>
                <c:pt idx="5863">
                  <c:v>4.6252137300653685E-13</c:v>
                </c:pt>
                <c:pt idx="5864">
                  <c:v>4.6252137300653685E-13</c:v>
                </c:pt>
                <c:pt idx="5865">
                  <c:v>4.6252137300653685E-13</c:v>
                </c:pt>
                <c:pt idx="5866">
                  <c:v>4.6252137300653685E-13</c:v>
                </c:pt>
                <c:pt idx="5867">
                  <c:v>4.6252137300653685E-13</c:v>
                </c:pt>
                <c:pt idx="5868">
                  <c:v>4.6252137300653685E-13</c:v>
                </c:pt>
                <c:pt idx="5869">
                  <c:v>4.6252137300653685E-13</c:v>
                </c:pt>
                <c:pt idx="5870">
                  <c:v>4.6252137300653685E-13</c:v>
                </c:pt>
                <c:pt idx="5871">
                  <c:v>4.6252137300653685E-13</c:v>
                </c:pt>
                <c:pt idx="5872">
                  <c:v>4.6252137300653685E-13</c:v>
                </c:pt>
                <c:pt idx="5873">
                  <c:v>4.6252137300653685E-13</c:v>
                </c:pt>
                <c:pt idx="5874">
                  <c:v>4.6252137300653685E-13</c:v>
                </c:pt>
                <c:pt idx="5875">
                  <c:v>4.6252137300653685E-13</c:v>
                </c:pt>
                <c:pt idx="5876">
                  <c:v>4.6252137300653685E-13</c:v>
                </c:pt>
                <c:pt idx="5877">
                  <c:v>4.6252137300653685E-13</c:v>
                </c:pt>
                <c:pt idx="5878">
                  <c:v>4.6252137300653685E-13</c:v>
                </c:pt>
                <c:pt idx="5879">
                  <c:v>4.6252137300653685E-13</c:v>
                </c:pt>
                <c:pt idx="5880">
                  <c:v>4.6252137300653685E-13</c:v>
                </c:pt>
                <c:pt idx="5881">
                  <c:v>4.6252137300653685E-13</c:v>
                </c:pt>
                <c:pt idx="5882">
                  <c:v>4.6252137300653685E-13</c:v>
                </c:pt>
                <c:pt idx="5883">
                  <c:v>4.6252137300653685E-13</c:v>
                </c:pt>
                <c:pt idx="5884">
                  <c:v>4.6252137300653685E-13</c:v>
                </c:pt>
                <c:pt idx="5885">
                  <c:v>4.6252137300653685E-13</c:v>
                </c:pt>
                <c:pt idx="5886">
                  <c:v>4.6252137300653685E-13</c:v>
                </c:pt>
                <c:pt idx="5887">
                  <c:v>4.6252137300653685E-13</c:v>
                </c:pt>
                <c:pt idx="5888">
                  <c:v>4.6252137300653685E-13</c:v>
                </c:pt>
                <c:pt idx="5889">
                  <c:v>4.6252137300653685E-13</c:v>
                </c:pt>
                <c:pt idx="5890">
                  <c:v>4.6252137300653685E-13</c:v>
                </c:pt>
                <c:pt idx="5891">
                  <c:v>4.6252137300653685E-13</c:v>
                </c:pt>
                <c:pt idx="5892">
                  <c:v>4.6252137300653685E-13</c:v>
                </c:pt>
                <c:pt idx="5893">
                  <c:v>4.6252137300653685E-13</c:v>
                </c:pt>
                <c:pt idx="5894">
                  <c:v>4.6252137300653685E-13</c:v>
                </c:pt>
                <c:pt idx="5895">
                  <c:v>4.6252137300653685E-13</c:v>
                </c:pt>
                <c:pt idx="5896">
                  <c:v>4.6252137300653685E-13</c:v>
                </c:pt>
                <c:pt idx="5897">
                  <c:v>4.6252137300653685E-13</c:v>
                </c:pt>
                <c:pt idx="5898">
                  <c:v>4.6252137300653685E-13</c:v>
                </c:pt>
                <c:pt idx="5899">
                  <c:v>4.6252137300653685E-13</c:v>
                </c:pt>
                <c:pt idx="5900">
                  <c:v>4.6252137300653685E-13</c:v>
                </c:pt>
                <c:pt idx="5901">
                  <c:v>4.6252137300653685E-13</c:v>
                </c:pt>
                <c:pt idx="5902">
                  <c:v>4.6252137300653685E-13</c:v>
                </c:pt>
                <c:pt idx="5903">
                  <c:v>4.6252137300653685E-13</c:v>
                </c:pt>
                <c:pt idx="5904">
                  <c:v>4.6252137300653685E-13</c:v>
                </c:pt>
                <c:pt idx="5905">
                  <c:v>4.6252137300653685E-13</c:v>
                </c:pt>
                <c:pt idx="5906">
                  <c:v>4.6252137300653685E-13</c:v>
                </c:pt>
                <c:pt idx="5907">
                  <c:v>4.6252137300653685E-13</c:v>
                </c:pt>
                <c:pt idx="5908">
                  <c:v>4.6252137300653685E-13</c:v>
                </c:pt>
                <c:pt idx="5909">
                  <c:v>4.6252137300653685E-13</c:v>
                </c:pt>
                <c:pt idx="5910">
                  <c:v>4.6252137300653685E-13</c:v>
                </c:pt>
                <c:pt idx="5911">
                  <c:v>4.6252137300653685E-13</c:v>
                </c:pt>
                <c:pt idx="5912">
                  <c:v>4.6252137300653685E-13</c:v>
                </c:pt>
                <c:pt idx="5913">
                  <c:v>4.6252137300653685E-13</c:v>
                </c:pt>
                <c:pt idx="5914">
                  <c:v>4.6252137300653685E-13</c:v>
                </c:pt>
                <c:pt idx="5915">
                  <c:v>4.6252137300653685E-13</c:v>
                </c:pt>
                <c:pt idx="5916">
                  <c:v>4.6252137300653685E-13</c:v>
                </c:pt>
                <c:pt idx="5917">
                  <c:v>4.6252137300653685E-13</c:v>
                </c:pt>
                <c:pt idx="5918">
                  <c:v>4.6252137300653685E-13</c:v>
                </c:pt>
                <c:pt idx="5919">
                  <c:v>4.6252137300653685E-13</c:v>
                </c:pt>
                <c:pt idx="5920">
                  <c:v>4.6252137300653685E-13</c:v>
                </c:pt>
                <c:pt idx="5921">
                  <c:v>4.6252137300653685E-13</c:v>
                </c:pt>
                <c:pt idx="5922">
                  <c:v>4.6252137300653685E-13</c:v>
                </c:pt>
                <c:pt idx="5923">
                  <c:v>4.6252137300653685E-13</c:v>
                </c:pt>
                <c:pt idx="5924">
                  <c:v>4.6252137300653685E-13</c:v>
                </c:pt>
                <c:pt idx="5925">
                  <c:v>4.6252137300653685E-13</c:v>
                </c:pt>
                <c:pt idx="5926">
                  <c:v>4.6252137300653685E-13</c:v>
                </c:pt>
                <c:pt idx="5927">
                  <c:v>4.6252137300653685E-13</c:v>
                </c:pt>
                <c:pt idx="5928">
                  <c:v>4.6252137300653685E-13</c:v>
                </c:pt>
                <c:pt idx="5929">
                  <c:v>4.6252137300653685E-13</c:v>
                </c:pt>
                <c:pt idx="5930">
                  <c:v>4.6252137300653685E-13</c:v>
                </c:pt>
                <c:pt idx="5931">
                  <c:v>4.6252137300653685E-13</c:v>
                </c:pt>
                <c:pt idx="5932">
                  <c:v>4.6252137300653685E-13</c:v>
                </c:pt>
                <c:pt idx="5933">
                  <c:v>4.6252137300653685E-13</c:v>
                </c:pt>
                <c:pt idx="5934">
                  <c:v>4.6252137300653685E-13</c:v>
                </c:pt>
                <c:pt idx="5935">
                  <c:v>4.6252137300653685E-13</c:v>
                </c:pt>
                <c:pt idx="5936">
                  <c:v>4.6252137300653685E-13</c:v>
                </c:pt>
                <c:pt idx="5937">
                  <c:v>4.6252137300653685E-13</c:v>
                </c:pt>
                <c:pt idx="5938">
                  <c:v>4.6252137300653685E-13</c:v>
                </c:pt>
                <c:pt idx="5939">
                  <c:v>4.6252137300653685E-13</c:v>
                </c:pt>
                <c:pt idx="5940">
                  <c:v>4.6252137300653685E-13</c:v>
                </c:pt>
                <c:pt idx="5941">
                  <c:v>4.6252137300653685E-13</c:v>
                </c:pt>
                <c:pt idx="5942">
                  <c:v>4.6252137300653685E-13</c:v>
                </c:pt>
                <c:pt idx="5943">
                  <c:v>4.6252137300653685E-13</c:v>
                </c:pt>
                <c:pt idx="5944">
                  <c:v>4.6252137300653685E-13</c:v>
                </c:pt>
                <c:pt idx="5945">
                  <c:v>4.6252137300653685E-13</c:v>
                </c:pt>
                <c:pt idx="5946">
                  <c:v>4.6252137300653685E-13</c:v>
                </c:pt>
                <c:pt idx="5947">
                  <c:v>4.6252137300653685E-13</c:v>
                </c:pt>
                <c:pt idx="5948">
                  <c:v>4.6252137300653685E-13</c:v>
                </c:pt>
                <c:pt idx="5949">
                  <c:v>4.6252137300653685E-13</c:v>
                </c:pt>
                <c:pt idx="5950">
                  <c:v>4.6252137300653685E-13</c:v>
                </c:pt>
                <c:pt idx="5951">
                  <c:v>4.6252137300653685E-13</c:v>
                </c:pt>
                <c:pt idx="5952">
                  <c:v>4.6252137300653685E-13</c:v>
                </c:pt>
                <c:pt idx="5953">
                  <c:v>4.6252137300653685E-13</c:v>
                </c:pt>
                <c:pt idx="5954">
                  <c:v>4.6252137300653685E-13</c:v>
                </c:pt>
                <c:pt idx="5955">
                  <c:v>4.6252137300653685E-13</c:v>
                </c:pt>
                <c:pt idx="5956">
                  <c:v>4.6252137300653685E-13</c:v>
                </c:pt>
                <c:pt idx="5957">
                  <c:v>4.6252137300653685E-13</c:v>
                </c:pt>
                <c:pt idx="5958">
                  <c:v>4.6252137300653685E-13</c:v>
                </c:pt>
                <c:pt idx="5959">
                  <c:v>4.6252137300653685E-13</c:v>
                </c:pt>
                <c:pt idx="5960">
                  <c:v>4.6252137300653685E-13</c:v>
                </c:pt>
                <c:pt idx="5961">
                  <c:v>4.6252137300653685E-13</c:v>
                </c:pt>
                <c:pt idx="5962">
                  <c:v>4.6252137300653685E-13</c:v>
                </c:pt>
                <c:pt idx="5963">
                  <c:v>4.6252137300653685E-13</c:v>
                </c:pt>
                <c:pt idx="5964">
                  <c:v>4.6252137300653685E-13</c:v>
                </c:pt>
                <c:pt idx="5965">
                  <c:v>4.6252137300653685E-13</c:v>
                </c:pt>
                <c:pt idx="5966">
                  <c:v>4.6252137300653685E-13</c:v>
                </c:pt>
                <c:pt idx="5967">
                  <c:v>4.6252137300653685E-13</c:v>
                </c:pt>
                <c:pt idx="5968">
                  <c:v>4.6252137300653685E-13</c:v>
                </c:pt>
                <c:pt idx="5969">
                  <c:v>4.6252137300653685E-13</c:v>
                </c:pt>
                <c:pt idx="5970">
                  <c:v>4.6252137300653685E-13</c:v>
                </c:pt>
                <c:pt idx="5971">
                  <c:v>4.6252137300653685E-13</c:v>
                </c:pt>
                <c:pt idx="5972">
                  <c:v>4.6252137300653685E-13</c:v>
                </c:pt>
                <c:pt idx="5973">
                  <c:v>4.6252137300653685E-13</c:v>
                </c:pt>
                <c:pt idx="5974">
                  <c:v>4.6252137300653685E-13</c:v>
                </c:pt>
                <c:pt idx="5975">
                  <c:v>4.6252137300653685E-13</c:v>
                </c:pt>
                <c:pt idx="5976">
                  <c:v>4.6252137300653685E-13</c:v>
                </c:pt>
                <c:pt idx="5977">
                  <c:v>4.6252137300653685E-13</c:v>
                </c:pt>
                <c:pt idx="5978">
                  <c:v>4.6252137300653685E-13</c:v>
                </c:pt>
                <c:pt idx="5979">
                  <c:v>4.6252137300653685E-13</c:v>
                </c:pt>
                <c:pt idx="5980">
                  <c:v>4.6252137300653685E-13</c:v>
                </c:pt>
                <c:pt idx="5981">
                  <c:v>4.6252137300653685E-13</c:v>
                </c:pt>
                <c:pt idx="5982">
                  <c:v>4.6252137300653685E-13</c:v>
                </c:pt>
                <c:pt idx="5983">
                  <c:v>4.6252137300653685E-13</c:v>
                </c:pt>
                <c:pt idx="5984">
                  <c:v>4.6252137300653685E-13</c:v>
                </c:pt>
                <c:pt idx="5985">
                  <c:v>4.6252137300653685E-13</c:v>
                </c:pt>
                <c:pt idx="5986">
                  <c:v>4.6252137300653685E-13</c:v>
                </c:pt>
                <c:pt idx="5987">
                  <c:v>4.6252137300653685E-13</c:v>
                </c:pt>
                <c:pt idx="5988">
                  <c:v>4.6252137300653685E-13</c:v>
                </c:pt>
                <c:pt idx="5989">
                  <c:v>4.6252137300653685E-13</c:v>
                </c:pt>
                <c:pt idx="5990">
                  <c:v>4.6252137300653685E-13</c:v>
                </c:pt>
                <c:pt idx="5991">
                  <c:v>4.6252137300653685E-13</c:v>
                </c:pt>
                <c:pt idx="5992">
                  <c:v>4.6252137300653685E-13</c:v>
                </c:pt>
                <c:pt idx="5993">
                  <c:v>4.6252137300653685E-13</c:v>
                </c:pt>
                <c:pt idx="5994">
                  <c:v>4.6252137300653685E-13</c:v>
                </c:pt>
                <c:pt idx="5995">
                  <c:v>4.6252137300653685E-13</c:v>
                </c:pt>
                <c:pt idx="5996">
                  <c:v>4.6252137300653685E-13</c:v>
                </c:pt>
                <c:pt idx="5997">
                  <c:v>4.6252137300653685E-13</c:v>
                </c:pt>
                <c:pt idx="5998">
                  <c:v>4.6252137300653685E-13</c:v>
                </c:pt>
                <c:pt idx="5999">
                  <c:v>4.6252137300653685E-13</c:v>
                </c:pt>
                <c:pt idx="6000">
                  <c:v>4.6252137300653685E-13</c:v>
                </c:pt>
                <c:pt idx="6001">
                  <c:v>4.6252137300653685E-13</c:v>
                </c:pt>
                <c:pt idx="6002">
                  <c:v>4.6252137300653685E-13</c:v>
                </c:pt>
                <c:pt idx="6003">
                  <c:v>4.6252137300653685E-13</c:v>
                </c:pt>
                <c:pt idx="6004">
                  <c:v>4.6252137300653685E-13</c:v>
                </c:pt>
                <c:pt idx="6005">
                  <c:v>4.6252137300653685E-13</c:v>
                </c:pt>
                <c:pt idx="6006">
                  <c:v>4.6252137300653685E-13</c:v>
                </c:pt>
                <c:pt idx="6007">
                  <c:v>4.6252137300653685E-13</c:v>
                </c:pt>
                <c:pt idx="6008">
                  <c:v>4.6252137300653685E-13</c:v>
                </c:pt>
                <c:pt idx="6009">
                  <c:v>4.6252137300653685E-13</c:v>
                </c:pt>
                <c:pt idx="6010">
                  <c:v>4.6252137300653685E-13</c:v>
                </c:pt>
                <c:pt idx="6011">
                  <c:v>4.6252137300653685E-13</c:v>
                </c:pt>
                <c:pt idx="6012">
                  <c:v>4.6252137300653685E-13</c:v>
                </c:pt>
                <c:pt idx="6013">
                  <c:v>4.6252137300653685E-13</c:v>
                </c:pt>
                <c:pt idx="6014">
                  <c:v>4.6252137300653685E-13</c:v>
                </c:pt>
                <c:pt idx="6015">
                  <c:v>4.6252137300653685E-13</c:v>
                </c:pt>
                <c:pt idx="6016">
                  <c:v>4.6252137300653685E-13</c:v>
                </c:pt>
                <c:pt idx="6017">
                  <c:v>4.6252137300653685E-13</c:v>
                </c:pt>
                <c:pt idx="6018">
                  <c:v>4.6252137300653685E-13</c:v>
                </c:pt>
                <c:pt idx="6019">
                  <c:v>4.6252137300653685E-13</c:v>
                </c:pt>
                <c:pt idx="6020">
                  <c:v>4.6252137300653685E-13</c:v>
                </c:pt>
                <c:pt idx="6021">
                  <c:v>4.6252137300653685E-13</c:v>
                </c:pt>
                <c:pt idx="6022">
                  <c:v>4.6252137300653685E-13</c:v>
                </c:pt>
                <c:pt idx="6023">
                  <c:v>4.6252137300653685E-13</c:v>
                </c:pt>
                <c:pt idx="6024">
                  <c:v>4.6252137300653685E-13</c:v>
                </c:pt>
                <c:pt idx="6025">
                  <c:v>4.6252137300653685E-13</c:v>
                </c:pt>
                <c:pt idx="6026">
                  <c:v>4.6252137300653685E-13</c:v>
                </c:pt>
                <c:pt idx="6027">
                  <c:v>4.6252137300653685E-13</c:v>
                </c:pt>
                <c:pt idx="6028">
                  <c:v>4.6252137300653685E-13</c:v>
                </c:pt>
                <c:pt idx="6029">
                  <c:v>4.6252137300653685E-13</c:v>
                </c:pt>
                <c:pt idx="6030">
                  <c:v>4.6252137300653685E-13</c:v>
                </c:pt>
                <c:pt idx="6031">
                  <c:v>4.6252137300653685E-13</c:v>
                </c:pt>
                <c:pt idx="6032">
                  <c:v>4.6252137300653685E-13</c:v>
                </c:pt>
                <c:pt idx="6033">
                  <c:v>4.6252137300653685E-13</c:v>
                </c:pt>
                <c:pt idx="6034">
                  <c:v>4.6252137300653685E-13</c:v>
                </c:pt>
                <c:pt idx="6035">
                  <c:v>4.6252137300653685E-13</c:v>
                </c:pt>
                <c:pt idx="6036">
                  <c:v>4.6252137300653685E-13</c:v>
                </c:pt>
                <c:pt idx="6037">
                  <c:v>4.6252137300653685E-13</c:v>
                </c:pt>
                <c:pt idx="6038">
                  <c:v>4.6252137300653685E-13</c:v>
                </c:pt>
                <c:pt idx="6039">
                  <c:v>4.6252137300653685E-13</c:v>
                </c:pt>
                <c:pt idx="6040">
                  <c:v>4.6252137300653685E-13</c:v>
                </c:pt>
                <c:pt idx="6041">
                  <c:v>4.6252137300653685E-13</c:v>
                </c:pt>
                <c:pt idx="6042">
                  <c:v>4.6252137300653685E-13</c:v>
                </c:pt>
                <c:pt idx="6043">
                  <c:v>4.6252137300653685E-13</c:v>
                </c:pt>
                <c:pt idx="6044">
                  <c:v>4.6252137300653685E-13</c:v>
                </c:pt>
                <c:pt idx="6045">
                  <c:v>4.6252137300653685E-13</c:v>
                </c:pt>
                <c:pt idx="6046">
                  <c:v>4.6252137300653685E-13</c:v>
                </c:pt>
                <c:pt idx="6047">
                  <c:v>4.6252137300653685E-13</c:v>
                </c:pt>
                <c:pt idx="6048">
                  <c:v>4.6252137300653685E-13</c:v>
                </c:pt>
                <c:pt idx="6049">
                  <c:v>4.6252137300653685E-13</c:v>
                </c:pt>
                <c:pt idx="6050">
                  <c:v>4.6252137300653685E-13</c:v>
                </c:pt>
                <c:pt idx="6051">
                  <c:v>4.6252137300653685E-13</c:v>
                </c:pt>
                <c:pt idx="6052">
                  <c:v>4.6252137300653685E-13</c:v>
                </c:pt>
                <c:pt idx="6053">
                  <c:v>4.6252137300653685E-13</c:v>
                </c:pt>
                <c:pt idx="6054">
                  <c:v>4.6252137300653685E-13</c:v>
                </c:pt>
                <c:pt idx="6055">
                  <c:v>4.6252137300653685E-13</c:v>
                </c:pt>
                <c:pt idx="6056">
                  <c:v>4.6252137300653685E-13</c:v>
                </c:pt>
                <c:pt idx="6057">
                  <c:v>4.6252137300653685E-13</c:v>
                </c:pt>
                <c:pt idx="6058">
                  <c:v>4.6252137300653685E-13</c:v>
                </c:pt>
                <c:pt idx="6059">
                  <c:v>4.6252137300653685E-13</c:v>
                </c:pt>
                <c:pt idx="6060">
                  <c:v>4.6252137300653685E-13</c:v>
                </c:pt>
                <c:pt idx="6061">
                  <c:v>4.6252137300653685E-13</c:v>
                </c:pt>
                <c:pt idx="6062">
                  <c:v>4.6252137300653685E-13</c:v>
                </c:pt>
                <c:pt idx="6063">
                  <c:v>4.6252137300653685E-13</c:v>
                </c:pt>
                <c:pt idx="6064">
                  <c:v>4.6252137300653685E-13</c:v>
                </c:pt>
                <c:pt idx="6065">
                  <c:v>4.6252137300653685E-13</c:v>
                </c:pt>
                <c:pt idx="6066">
                  <c:v>4.6252137300653685E-13</c:v>
                </c:pt>
                <c:pt idx="6067">
                  <c:v>4.6252137300653685E-13</c:v>
                </c:pt>
                <c:pt idx="6068">
                  <c:v>4.6252137300653685E-13</c:v>
                </c:pt>
                <c:pt idx="6069">
                  <c:v>4.6252137300653685E-13</c:v>
                </c:pt>
                <c:pt idx="6070">
                  <c:v>4.6252137300653685E-13</c:v>
                </c:pt>
                <c:pt idx="6071">
                  <c:v>4.6252137300653685E-13</c:v>
                </c:pt>
                <c:pt idx="6072">
                  <c:v>4.6252137300653685E-13</c:v>
                </c:pt>
                <c:pt idx="6073">
                  <c:v>4.6252137300653685E-13</c:v>
                </c:pt>
                <c:pt idx="6074">
                  <c:v>4.6252137300653685E-13</c:v>
                </c:pt>
                <c:pt idx="6075">
                  <c:v>4.6252137300653685E-13</c:v>
                </c:pt>
                <c:pt idx="6076">
                  <c:v>4.6252137300653685E-13</c:v>
                </c:pt>
                <c:pt idx="6077">
                  <c:v>4.6252137300653685E-13</c:v>
                </c:pt>
                <c:pt idx="6078">
                  <c:v>4.6252137300653685E-13</c:v>
                </c:pt>
                <c:pt idx="6079">
                  <c:v>4.6252137300653685E-13</c:v>
                </c:pt>
                <c:pt idx="6080">
                  <c:v>4.6252137300653685E-13</c:v>
                </c:pt>
                <c:pt idx="6081">
                  <c:v>4.6252137300653685E-13</c:v>
                </c:pt>
                <c:pt idx="6082">
                  <c:v>4.6252137300653685E-13</c:v>
                </c:pt>
                <c:pt idx="6083">
                  <c:v>4.6252137300653685E-13</c:v>
                </c:pt>
                <c:pt idx="6084">
                  <c:v>4.6252137300653685E-13</c:v>
                </c:pt>
                <c:pt idx="6085">
                  <c:v>4.6252137300653685E-13</c:v>
                </c:pt>
                <c:pt idx="6086">
                  <c:v>4.6252137300653685E-13</c:v>
                </c:pt>
                <c:pt idx="6087">
                  <c:v>4.6252137300653685E-13</c:v>
                </c:pt>
                <c:pt idx="6088">
                  <c:v>4.6252137300653685E-13</c:v>
                </c:pt>
                <c:pt idx="6089">
                  <c:v>4.6252137300653685E-13</c:v>
                </c:pt>
                <c:pt idx="6090">
                  <c:v>4.6252137300653685E-13</c:v>
                </c:pt>
                <c:pt idx="6091">
                  <c:v>4.6252137300653685E-13</c:v>
                </c:pt>
                <c:pt idx="6092">
                  <c:v>4.6252137300653685E-13</c:v>
                </c:pt>
                <c:pt idx="6093">
                  <c:v>4.6252137300653685E-13</c:v>
                </c:pt>
                <c:pt idx="6094">
                  <c:v>4.6252137300653685E-13</c:v>
                </c:pt>
                <c:pt idx="6095">
                  <c:v>4.6252137300653685E-13</c:v>
                </c:pt>
                <c:pt idx="6096">
                  <c:v>4.6252137300653685E-13</c:v>
                </c:pt>
                <c:pt idx="6097">
                  <c:v>4.6252137300653685E-13</c:v>
                </c:pt>
                <c:pt idx="6098">
                  <c:v>4.6252137300653685E-13</c:v>
                </c:pt>
                <c:pt idx="6099">
                  <c:v>4.6252137300653685E-13</c:v>
                </c:pt>
                <c:pt idx="6100">
                  <c:v>4.6252137300653685E-13</c:v>
                </c:pt>
                <c:pt idx="6101">
                  <c:v>4.6252137300653685E-13</c:v>
                </c:pt>
                <c:pt idx="6102">
                  <c:v>4.6252137300653685E-13</c:v>
                </c:pt>
                <c:pt idx="6103">
                  <c:v>4.6252137300653685E-13</c:v>
                </c:pt>
                <c:pt idx="6104">
                  <c:v>4.6252137300653685E-13</c:v>
                </c:pt>
                <c:pt idx="6105">
                  <c:v>4.6252137300653685E-13</c:v>
                </c:pt>
                <c:pt idx="6106">
                  <c:v>4.6252137300653685E-13</c:v>
                </c:pt>
                <c:pt idx="6107">
                  <c:v>4.6252137300653685E-13</c:v>
                </c:pt>
                <c:pt idx="6108">
                  <c:v>4.6252137300653685E-13</c:v>
                </c:pt>
                <c:pt idx="6109">
                  <c:v>4.6252137300653685E-13</c:v>
                </c:pt>
                <c:pt idx="6110">
                  <c:v>4.6252137300653685E-13</c:v>
                </c:pt>
                <c:pt idx="6111">
                  <c:v>4.6252137300653685E-13</c:v>
                </c:pt>
                <c:pt idx="6112">
                  <c:v>4.6252137300653685E-13</c:v>
                </c:pt>
                <c:pt idx="6113">
                  <c:v>4.6252137300653685E-13</c:v>
                </c:pt>
                <c:pt idx="6114">
                  <c:v>4.6252137300653685E-13</c:v>
                </c:pt>
                <c:pt idx="6115">
                  <c:v>4.6252137300653685E-13</c:v>
                </c:pt>
                <c:pt idx="6116">
                  <c:v>4.6252137300653685E-13</c:v>
                </c:pt>
                <c:pt idx="6117">
                  <c:v>4.6252137300653685E-13</c:v>
                </c:pt>
                <c:pt idx="6118">
                  <c:v>4.6252137300653685E-13</c:v>
                </c:pt>
                <c:pt idx="6119">
                  <c:v>4.6252137300653685E-13</c:v>
                </c:pt>
                <c:pt idx="6120">
                  <c:v>4.6252137300653685E-13</c:v>
                </c:pt>
                <c:pt idx="6121">
                  <c:v>4.6252137300653685E-13</c:v>
                </c:pt>
                <c:pt idx="6122">
                  <c:v>4.6252137300653685E-13</c:v>
                </c:pt>
                <c:pt idx="6123">
                  <c:v>4.6252137300653685E-13</c:v>
                </c:pt>
                <c:pt idx="6124">
                  <c:v>4.6252137300653685E-13</c:v>
                </c:pt>
                <c:pt idx="6125">
                  <c:v>4.6252137300653685E-13</c:v>
                </c:pt>
                <c:pt idx="6126">
                  <c:v>4.6252137300653685E-13</c:v>
                </c:pt>
                <c:pt idx="6127">
                  <c:v>4.6252137300653685E-13</c:v>
                </c:pt>
                <c:pt idx="6128">
                  <c:v>4.6252137300653685E-13</c:v>
                </c:pt>
                <c:pt idx="6129">
                  <c:v>4.6252137300653685E-13</c:v>
                </c:pt>
                <c:pt idx="6130">
                  <c:v>4.6252137300653685E-13</c:v>
                </c:pt>
                <c:pt idx="6131">
                  <c:v>4.6252137300653685E-13</c:v>
                </c:pt>
                <c:pt idx="6132">
                  <c:v>4.6252137300653685E-13</c:v>
                </c:pt>
                <c:pt idx="6133">
                  <c:v>4.6252137300653685E-13</c:v>
                </c:pt>
                <c:pt idx="6134">
                  <c:v>4.6252137300653685E-13</c:v>
                </c:pt>
                <c:pt idx="6135">
                  <c:v>4.6252137300653685E-13</c:v>
                </c:pt>
                <c:pt idx="6136">
                  <c:v>4.6252137300653685E-13</c:v>
                </c:pt>
                <c:pt idx="6137">
                  <c:v>4.6252137300653685E-13</c:v>
                </c:pt>
                <c:pt idx="6138">
                  <c:v>4.6252137300653685E-13</c:v>
                </c:pt>
                <c:pt idx="6139">
                  <c:v>4.6252137300653685E-13</c:v>
                </c:pt>
                <c:pt idx="6140">
                  <c:v>4.6252137300653685E-13</c:v>
                </c:pt>
                <c:pt idx="6141">
                  <c:v>4.6252137300653685E-13</c:v>
                </c:pt>
                <c:pt idx="6142">
                  <c:v>4.6252137300653685E-13</c:v>
                </c:pt>
                <c:pt idx="6143">
                  <c:v>4.6252137300653685E-13</c:v>
                </c:pt>
                <c:pt idx="6144">
                  <c:v>4.6252137300653685E-13</c:v>
                </c:pt>
                <c:pt idx="6145">
                  <c:v>4.6252137300653685E-13</c:v>
                </c:pt>
                <c:pt idx="6146">
                  <c:v>4.6252137300653685E-13</c:v>
                </c:pt>
                <c:pt idx="6147">
                  <c:v>4.6252137300653685E-13</c:v>
                </c:pt>
                <c:pt idx="6148">
                  <c:v>4.6252137300653685E-13</c:v>
                </c:pt>
                <c:pt idx="6149">
                  <c:v>4.6252137300653685E-13</c:v>
                </c:pt>
                <c:pt idx="6150">
                  <c:v>4.6252137300653685E-13</c:v>
                </c:pt>
                <c:pt idx="6151">
                  <c:v>4.6252137300653685E-13</c:v>
                </c:pt>
                <c:pt idx="6152">
                  <c:v>4.6252137300653685E-13</c:v>
                </c:pt>
                <c:pt idx="6153">
                  <c:v>4.6252137300653685E-13</c:v>
                </c:pt>
                <c:pt idx="6154">
                  <c:v>4.6252137300653685E-13</c:v>
                </c:pt>
                <c:pt idx="6155">
                  <c:v>4.6252137300653685E-13</c:v>
                </c:pt>
                <c:pt idx="6156">
                  <c:v>4.6252137300653685E-13</c:v>
                </c:pt>
                <c:pt idx="6157">
                  <c:v>4.6252137300653685E-13</c:v>
                </c:pt>
                <c:pt idx="6158">
                  <c:v>4.6252137300653685E-13</c:v>
                </c:pt>
                <c:pt idx="6159">
                  <c:v>4.6252137300653685E-13</c:v>
                </c:pt>
                <c:pt idx="6160">
                  <c:v>4.6252137300653685E-13</c:v>
                </c:pt>
                <c:pt idx="6161">
                  <c:v>4.6252137300653685E-13</c:v>
                </c:pt>
                <c:pt idx="6162">
                  <c:v>4.6252137300653685E-13</c:v>
                </c:pt>
                <c:pt idx="6163">
                  <c:v>4.6252137300653685E-13</c:v>
                </c:pt>
                <c:pt idx="6164">
                  <c:v>4.6252137300653685E-13</c:v>
                </c:pt>
                <c:pt idx="6165">
                  <c:v>4.6252137300653685E-13</c:v>
                </c:pt>
                <c:pt idx="6166">
                  <c:v>4.6252137300653685E-13</c:v>
                </c:pt>
                <c:pt idx="6167">
                  <c:v>4.6252137300653685E-13</c:v>
                </c:pt>
                <c:pt idx="6168">
                  <c:v>4.6252137300653685E-13</c:v>
                </c:pt>
                <c:pt idx="6169">
                  <c:v>4.6252137300653685E-13</c:v>
                </c:pt>
                <c:pt idx="6170">
                  <c:v>4.6252137300653685E-13</c:v>
                </c:pt>
                <c:pt idx="6171">
                  <c:v>4.6252137300653685E-13</c:v>
                </c:pt>
                <c:pt idx="6172">
                  <c:v>4.6252137300653685E-13</c:v>
                </c:pt>
                <c:pt idx="6173">
                  <c:v>4.6252137300653685E-13</c:v>
                </c:pt>
                <c:pt idx="6174">
                  <c:v>4.6252137300653685E-13</c:v>
                </c:pt>
                <c:pt idx="6175">
                  <c:v>4.6252137300653685E-13</c:v>
                </c:pt>
                <c:pt idx="6176">
                  <c:v>4.6252137300653685E-13</c:v>
                </c:pt>
                <c:pt idx="6177">
                  <c:v>4.6252137300653685E-13</c:v>
                </c:pt>
                <c:pt idx="6178">
                  <c:v>4.6252137300653685E-13</c:v>
                </c:pt>
                <c:pt idx="6179">
                  <c:v>4.6252137300653685E-13</c:v>
                </c:pt>
                <c:pt idx="6180">
                  <c:v>4.6252137300653685E-13</c:v>
                </c:pt>
                <c:pt idx="6181">
                  <c:v>4.6252137300653685E-13</c:v>
                </c:pt>
                <c:pt idx="6182">
                  <c:v>4.6252137300653685E-13</c:v>
                </c:pt>
                <c:pt idx="6183">
                  <c:v>4.6252137300653685E-13</c:v>
                </c:pt>
                <c:pt idx="6184">
                  <c:v>4.6252137300653685E-13</c:v>
                </c:pt>
                <c:pt idx="6185">
                  <c:v>4.6252137300653685E-13</c:v>
                </c:pt>
                <c:pt idx="6186">
                  <c:v>4.6252137300653685E-13</c:v>
                </c:pt>
                <c:pt idx="6187">
                  <c:v>4.6252137300653685E-13</c:v>
                </c:pt>
                <c:pt idx="6188">
                  <c:v>4.6252137300653685E-13</c:v>
                </c:pt>
                <c:pt idx="6189">
                  <c:v>4.6252137300653685E-13</c:v>
                </c:pt>
                <c:pt idx="6190">
                  <c:v>4.6252137300653685E-13</c:v>
                </c:pt>
                <c:pt idx="6191">
                  <c:v>4.6252137300653685E-13</c:v>
                </c:pt>
                <c:pt idx="6192">
                  <c:v>4.6252137300653685E-13</c:v>
                </c:pt>
                <c:pt idx="6193">
                  <c:v>4.6252137300653685E-13</c:v>
                </c:pt>
                <c:pt idx="6194">
                  <c:v>4.6252137300653685E-13</c:v>
                </c:pt>
                <c:pt idx="6195">
                  <c:v>4.6252137300653685E-13</c:v>
                </c:pt>
                <c:pt idx="6196">
                  <c:v>4.6252137300653685E-13</c:v>
                </c:pt>
                <c:pt idx="6197">
                  <c:v>4.6252137300653685E-13</c:v>
                </c:pt>
                <c:pt idx="6198">
                  <c:v>4.6252137300653685E-13</c:v>
                </c:pt>
                <c:pt idx="6199">
                  <c:v>4.6252137300653685E-13</c:v>
                </c:pt>
                <c:pt idx="6200">
                  <c:v>4.6252137300653685E-13</c:v>
                </c:pt>
                <c:pt idx="6201">
                  <c:v>4.6252137300653685E-13</c:v>
                </c:pt>
                <c:pt idx="6202">
                  <c:v>4.6252137300653685E-13</c:v>
                </c:pt>
                <c:pt idx="6203">
                  <c:v>4.6252137300653685E-13</c:v>
                </c:pt>
                <c:pt idx="6204">
                  <c:v>4.6252137300653685E-13</c:v>
                </c:pt>
                <c:pt idx="6205">
                  <c:v>4.6252137300653685E-13</c:v>
                </c:pt>
                <c:pt idx="6206">
                  <c:v>4.6252137300653685E-13</c:v>
                </c:pt>
                <c:pt idx="6207">
                  <c:v>4.6252137300653685E-13</c:v>
                </c:pt>
                <c:pt idx="6208">
                  <c:v>4.6252137300653685E-13</c:v>
                </c:pt>
                <c:pt idx="6209">
                  <c:v>4.6252137300653685E-13</c:v>
                </c:pt>
                <c:pt idx="6210">
                  <c:v>4.6252137300653685E-13</c:v>
                </c:pt>
                <c:pt idx="6211">
                  <c:v>4.6252137300653685E-13</c:v>
                </c:pt>
                <c:pt idx="6212">
                  <c:v>4.6252137300653685E-13</c:v>
                </c:pt>
                <c:pt idx="6213">
                  <c:v>4.6252137300653685E-13</c:v>
                </c:pt>
                <c:pt idx="6214">
                  <c:v>4.6252137300653685E-13</c:v>
                </c:pt>
                <c:pt idx="6215">
                  <c:v>4.6252137300653685E-13</c:v>
                </c:pt>
                <c:pt idx="6216">
                  <c:v>4.6252137300653685E-13</c:v>
                </c:pt>
                <c:pt idx="6217">
                  <c:v>4.6252137300653685E-13</c:v>
                </c:pt>
                <c:pt idx="6218">
                  <c:v>4.6252137300653685E-13</c:v>
                </c:pt>
                <c:pt idx="6219">
                  <c:v>4.6252137300653685E-13</c:v>
                </c:pt>
                <c:pt idx="6220">
                  <c:v>4.6252137300653685E-13</c:v>
                </c:pt>
                <c:pt idx="6221">
                  <c:v>4.6252137300653685E-13</c:v>
                </c:pt>
                <c:pt idx="6222">
                  <c:v>4.6252137300653685E-13</c:v>
                </c:pt>
                <c:pt idx="6223">
                  <c:v>4.6252137300653685E-13</c:v>
                </c:pt>
                <c:pt idx="6224">
                  <c:v>4.6252137300653685E-13</c:v>
                </c:pt>
                <c:pt idx="6225">
                  <c:v>4.6252137300653685E-13</c:v>
                </c:pt>
                <c:pt idx="6226">
                  <c:v>4.6252137300653685E-13</c:v>
                </c:pt>
                <c:pt idx="6227">
                  <c:v>4.6252137300653685E-13</c:v>
                </c:pt>
                <c:pt idx="6228">
                  <c:v>4.6252137300653685E-13</c:v>
                </c:pt>
                <c:pt idx="6229">
                  <c:v>4.6252137300653685E-13</c:v>
                </c:pt>
                <c:pt idx="6230">
                  <c:v>4.6252137300653685E-13</c:v>
                </c:pt>
                <c:pt idx="6231">
                  <c:v>4.6252137300653685E-13</c:v>
                </c:pt>
                <c:pt idx="6232">
                  <c:v>4.6252137300653685E-13</c:v>
                </c:pt>
                <c:pt idx="6233">
                  <c:v>4.6252137300653685E-13</c:v>
                </c:pt>
                <c:pt idx="6234">
                  <c:v>4.6252137300653685E-13</c:v>
                </c:pt>
                <c:pt idx="6235">
                  <c:v>4.6252137300653685E-13</c:v>
                </c:pt>
                <c:pt idx="6236">
                  <c:v>4.6252137300653685E-13</c:v>
                </c:pt>
                <c:pt idx="6237">
                  <c:v>4.6252137300653685E-13</c:v>
                </c:pt>
                <c:pt idx="6238">
                  <c:v>4.6252137300653685E-13</c:v>
                </c:pt>
                <c:pt idx="6239">
                  <c:v>4.6252137300653685E-13</c:v>
                </c:pt>
                <c:pt idx="6240">
                  <c:v>4.6252137300653685E-13</c:v>
                </c:pt>
                <c:pt idx="6241">
                  <c:v>4.6252137300653685E-13</c:v>
                </c:pt>
                <c:pt idx="6242">
                  <c:v>4.6252137300653685E-13</c:v>
                </c:pt>
                <c:pt idx="6243">
                  <c:v>4.6252137300653685E-13</c:v>
                </c:pt>
                <c:pt idx="6244">
                  <c:v>4.6252137300653685E-13</c:v>
                </c:pt>
                <c:pt idx="6245">
                  <c:v>4.6252137300653685E-13</c:v>
                </c:pt>
                <c:pt idx="6246">
                  <c:v>4.6252137300653685E-13</c:v>
                </c:pt>
                <c:pt idx="6247">
                  <c:v>4.6252137300653685E-13</c:v>
                </c:pt>
                <c:pt idx="6248">
                  <c:v>4.6252137300653685E-13</c:v>
                </c:pt>
                <c:pt idx="6249">
                  <c:v>4.6252137300653685E-13</c:v>
                </c:pt>
                <c:pt idx="6250">
                  <c:v>4.6252137300653685E-13</c:v>
                </c:pt>
                <c:pt idx="6251">
                  <c:v>4.6252137300653685E-13</c:v>
                </c:pt>
                <c:pt idx="6252">
                  <c:v>4.6252137300653685E-13</c:v>
                </c:pt>
                <c:pt idx="6253">
                  <c:v>4.6252137300653685E-13</c:v>
                </c:pt>
                <c:pt idx="6254">
                  <c:v>4.6252137300653685E-13</c:v>
                </c:pt>
                <c:pt idx="6255">
                  <c:v>4.6252137300653685E-13</c:v>
                </c:pt>
                <c:pt idx="6256">
                  <c:v>4.6252137300653685E-13</c:v>
                </c:pt>
                <c:pt idx="6257">
                  <c:v>4.6252137300653685E-13</c:v>
                </c:pt>
                <c:pt idx="6258">
                  <c:v>4.6252137300653685E-13</c:v>
                </c:pt>
                <c:pt idx="6259">
                  <c:v>4.6252137300653685E-13</c:v>
                </c:pt>
                <c:pt idx="6260">
                  <c:v>4.6252137300653685E-13</c:v>
                </c:pt>
                <c:pt idx="6261">
                  <c:v>4.6252137300653685E-13</c:v>
                </c:pt>
                <c:pt idx="6262">
                  <c:v>4.6252137300653685E-13</c:v>
                </c:pt>
                <c:pt idx="6263">
                  <c:v>4.6252137300653685E-13</c:v>
                </c:pt>
                <c:pt idx="6264">
                  <c:v>4.6252137300653685E-13</c:v>
                </c:pt>
                <c:pt idx="6265">
                  <c:v>4.6252137300653685E-13</c:v>
                </c:pt>
                <c:pt idx="6266">
                  <c:v>4.6252137300653685E-13</c:v>
                </c:pt>
                <c:pt idx="6267">
                  <c:v>4.6252137300653685E-13</c:v>
                </c:pt>
                <c:pt idx="6268">
                  <c:v>4.6252137300653685E-13</c:v>
                </c:pt>
                <c:pt idx="6269">
                  <c:v>4.6252137300653685E-13</c:v>
                </c:pt>
                <c:pt idx="6270">
                  <c:v>4.6252137300653685E-13</c:v>
                </c:pt>
                <c:pt idx="6271">
                  <c:v>4.6252137300653685E-13</c:v>
                </c:pt>
                <c:pt idx="6272">
                  <c:v>4.6252137300653685E-13</c:v>
                </c:pt>
                <c:pt idx="6273">
                  <c:v>4.6252137300653685E-13</c:v>
                </c:pt>
                <c:pt idx="6274">
                  <c:v>4.6252137300653685E-13</c:v>
                </c:pt>
                <c:pt idx="6275">
                  <c:v>4.6252137300653685E-13</c:v>
                </c:pt>
                <c:pt idx="6276">
                  <c:v>4.6252137300653685E-13</c:v>
                </c:pt>
                <c:pt idx="6277">
                  <c:v>4.6252137300653685E-13</c:v>
                </c:pt>
                <c:pt idx="6278">
                  <c:v>4.6252137300653685E-13</c:v>
                </c:pt>
                <c:pt idx="6279">
                  <c:v>4.6252137300653685E-13</c:v>
                </c:pt>
                <c:pt idx="6280">
                  <c:v>4.6252137300653685E-13</c:v>
                </c:pt>
                <c:pt idx="6281">
                  <c:v>4.6252137300653685E-13</c:v>
                </c:pt>
                <c:pt idx="6282">
                  <c:v>4.6252137300653685E-13</c:v>
                </c:pt>
                <c:pt idx="6283">
                  <c:v>4.6252137300653685E-13</c:v>
                </c:pt>
                <c:pt idx="6284">
                  <c:v>4.6252137300653685E-13</c:v>
                </c:pt>
                <c:pt idx="6285">
                  <c:v>4.6252137300653685E-13</c:v>
                </c:pt>
                <c:pt idx="6286">
                  <c:v>4.6252137300653685E-13</c:v>
                </c:pt>
                <c:pt idx="6287">
                  <c:v>4.6252137300653685E-13</c:v>
                </c:pt>
                <c:pt idx="6288">
                  <c:v>4.6252137300653685E-13</c:v>
                </c:pt>
                <c:pt idx="6289">
                  <c:v>4.6252137300653685E-13</c:v>
                </c:pt>
                <c:pt idx="6290">
                  <c:v>4.6252137300653685E-13</c:v>
                </c:pt>
                <c:pt idx="6291">
                  <c:v>4.6252137300653685E-13</c:v>
                </c:pt>
                <c:pt idx="6292">
                  <c:v>4.6252137300653685E-13</c:v>
                </c:pt>
                <c:pt idx="6293">
                  <c:v>4.6252137300653685E-13</c:v>
                </c:pt>
                <c:pt idx="6294">
                  <c:v>4.6252137300653685E-13</c:v>
                </c:pt>
                <c:pt idx="6295">
                  <c:v>4.6252137300653685E-13</c:v>
                </c:pt>
                <c:pt idx="6296">
                  <c:v>4.6252137300653685E-13</c:v>
                </c:pt>
                <c:pt idx="6297">
                  <c:v>4.6252137300653685E-13</c:v>
                </c:pt>
                <c:pt idx="6298">
                  <c:v>4.6252137300653685E-13</c:v>
                </c:pt>
                <c:pt idx="6299">
                  <c:v>4.6252137300653685E-13</c:v>
                </c:pt>
                <c:pt idx="6300">
                  <c:v>4.6252137300653685E-13</c:v>
                </c:pt>
                <c:pt idx="6301">
                  <c:v>4.6252137300653685E-13</c:v>
                </c:pt>
                <c:pt idx="6302">
                  <c:v>4.6252137300653685E-13</c:v>
                </c:pt>
                <c:pt idx="6303">
                  <c:v>4.6252137300653685E-13</c:v>
                </c:pt>
                <c:pt idx="6304">
                  <c:v>4.6252137300653685E-13</c:v>
                </c:pt>
                <c:pt idx="6305">
                  <c:v>4.6252137300653685E-13</c:v>
                </c:pt>
                <c:pt idx="6306">
                  <c:v>4.6252137300653685E-13</c:v>
                </c:pt>
                <c:pt idx="6307">
                  <c:v>4.6252137300653685E-13</c:v>
                </c:pt>
                <c:pt idx="6308">
                  <c:v>4.6252137300653685E-13</c:v>
                </c:pt>
                <c:pt idx="6309">
                  <c:v>4.6252137300653685E-13</c:v>
                </c:pt>
                <c:pt idx="6310">
                  <c:v>4.6252137300653685E-13</c:v>
                </c:pt>
                <c:pt idx="6311">
                  <c:v>4.6252137300653685E-13</c:v>
                </c:pt>
                <c:pt idx="6312">
                  <c:v>4.6252137300653685E-13</c:v>
                </c:pt>
                <c:pt idx="6313">
                  <c:v>4.6252137300653685E-13</c:v>
                </c:pt>
                <c:pt idx="6314">
                  <c:v>4.6252137300653685E-13</c:v>
                </c:pt>
                <c:pt idx="6315">
                  <c:v>4.6252137300653685E-13</c:v>
                </c:pt>
                <c:pt idx="6316">
                  <c:v>4.6252137300653685E-13</c:v>
                </c:pt>
                <c:pt idx="6317">
                  <c:v>4.6252137300653685E-13</c:v>
                </c:pt>
                <c:pt idx="6318">
                  <c:v>4.6252137300653685E-13</c:v>
                </c:pt>
                <c:pt idx="6319">
                  <c:v>4.6252137300653685E-13</c:v>
                </c:pt>
                <c:pt idx="6320">
                  <c:v>4.6252137300653685E-13</c:v>
                </c:pt>
                <c:pt idx="6321">
                  <c:v>4.6252137300653685E-13</c:v>
                </c:pt>
                <c:pt idx="6322">
                  <c:v>4.6252137300653685E-13</c:v>
                </c:pt>
                <c:pt idx="6323">
                  <c:v>4.6252137300653685E-13</c:v>
                </c:pt>
                <c:pt idx="6324">
                  <c:v>4.6252137300653685E-13</c:v>
                </c:pt>
                <c:pt idx="6325">
                  <c:v>4.6252137300653685E-13</c:v>
                </c:pt>
                <c:pt idx="6326">
                  <c:v>4.6252137300653685E-13</c:v>
                </c:pt>
                <c:pt idx="6327">
                  <c:v>4.6252137300653685E-13</c:v>
                </c:pt>
                <c:pt idx="6328">
                  <c:v>4.6252137300653685E-13</c:v>
                </c:pt>
                <c:pt idx="6329">
                  <c:v>4.6252137300653685E-13</c:v>
                </c:pt>
                <c:pt idx="6330">
                  <c:v>4.6252137300653685E-13</c:v>
                </c:pt>
                <c:pt idx="6331">
                  <c:v>4.6252137300653685E-13</c:v>
                </c:pt>
                <c:pt idx="6332">
                  <c:v>4.6252137300653685E-13</c:v>
                </c:pt>
                <c:pt idx="6333">
                  <c:v>4.6252137300653685E-13</c:v>
                </c:pt>
                <c:pt idx="6334">
                  <c:v>4.6252137300653685E-13</c:v>
                </c:pt>
                <c:pt idx="6335">
                  <c:v>4.6252137300653685E-13</c:v>
                </c:pt>
                <c:pt idx="6336">
                  <c:v>4.6252137300653685E-13</c:v>
                </c:pt>
                <c:pt idx="6337">
                  <c:v>4.6252137300653685E-13</c:v>
                </c:pt>
                <c:pt idx="6338">
                  <c:v>4.6252137300653685E-13</c:v>
                </c:pt>
                <c:pt idx="6339">
                  <c:v>4.6252137300653685E-13</c:v>
                </c:pt>
                <c:pt idx="6340">
                  <c:v>4.6252137300653685E-13</c:v>
                </c:pt>
                <c:pt idx="6341">
                  <c:v>4.6252137300653685E-13</c:v>
                </c:pt>
                <c:pt idx="6342">
                  <c:v>4.6252137300653685E-13</c:v>
                </c:pt>
                <c:pt idx="6343">
                  <c:v>4.6252137300653685E-13</c:v>
                </c:pt>
                <c:pt idx="6344">
                  <c:v>4.6252137300653685E-13</c:v>
                </c:pt>
                <c:pt idx="6345">
                  <c:v>4.6252137300653685E-13</c:v>
                </c:pt>
                <c:pt idx="6346">
                  <c:v>4.6252137300653685E-13</c:v>
                </c:pt>
                <c:pt idx="6347">
                  <c:v>4.6252137300653685E-13</c:v>
                </c:pt>
                <c:pt idx="6348">
                  <c:v>4.6252137300653685E-13</c:v>
                </c:pt>
                <c:pt idx="6349">
                  <c:v>4.6252137300653685E-13</c:v>
                </c:pt>
                <c:pt idx="6350">
                  <c:v>4.6252137300653685E-13</c:v>
                </c:pt>
                <c:pt idx="6351">
                  <c:v>4.6252137300653685E-13</c:v>
                </c:pt>
                <c:pt idx="6352">
                  <c:v>4.6252137300653685E-13</c:v>
                </c:pt>
                <c:pt idx="6353">
                  <c:v>4.6252137300653685E-13</c:v>
                </c:pt>
                <c:pt idx="6354">
                  <c:v>4.6252137300653685E-13</c:v>
                </c:pt>
                <c:pt idx="6355">
                  <c:v>4.6252137300653685E-13</c:v>
                </c:pt>
                <c:pt idx="6356">
                  <c:v>4.6252137300653685E-13</c:v>
                </c:pt>
                <c:pt idx="6357">
                  <c:v>4.6252137300653685E-13</c:v>
                </c:pt>
                <c:pt idx="6358">
                  <c:v>4.6252137300653685E-13</c:v>
                </c:pt>
                <c:pt idx="6359">
                  <c:v>4.6252137300653685E-13</c:v>
                </c:pt>
                <c:pt idx="6360">
                  <c:v>4.6252137300653685E-13</c:v>
                </c:pt>
                <c:pt idx="6361">
                  <c:v>4.6252137300653685E-13</c:v>
                </c:pt>
                <c:pt idx="6362">
                  <c:v>4.6252137300653685E-13</c:v>
                </c:pt>
                <c:pt idx="6363">
                  <c:v>4.6252137300653685E-13</c:v>
                </c:pt>
                <c:pt idx="6364">
                  <c:v>4.6252137300653685E-13</c:v>
                </c:pt>
                <c:pt idx="6365">
                  <c:v>4.6252137300653685E-13</c:v>
                </c:pt>
                <c:pt idx="6366">
                  <c:v>4.6252137300653685E-13</c:v>
                </c:pt>
                <c:pt idx="6367">
                  <c:v>4.6252137300653685E-13</c:v>
                </c:pt>
                <c:pt idx="6368">
                  <c:v>4.6252137300653685E-13</c:v>
                </c:pt>
                <c:pt idx="6369">
                  <c:v>4.6252137300653685E-13</c:v>
                </c:pt>
                <c:pt idx="6370">
                  <c:v>4.6252137300653685E-13</c:v>
                </c:pt>
                <c:pt idx="6371">
                  <c:v>4.6252137300653685E-13</c:v>
                </c:pt>
                <c:pt idx="6372">
                  <c:v>4.6252137300653685E-13</c:v>
                </c:pt>
                <c:pt idx="6373">
                  <c:v>4.6252137300653685E-13</c:v>
                </c:pt>
                <c:pt idx="6374">
                  <c:v>4.6252137300653685E-13</c:v>
                </c:pt>
                <c:pt idx="6375">
                  <c:v>4.6252137300653685E-13</c:v>
                </c:pt>
                <c:pt idx="6376">
                  <c:v>4.6252137300653685E-13</c:v>
                </c:pt>
                <c:pt idx="6377">
                  <c:v>4.6252137300653685E-13</c:v>
                </c:pt>
                <c:pt idx="6378">
                  <c:v>4.6252137300653685E-13</c:v>
                </c:pt>
                <c:pt idx="6379">
                  <c:v>4.6252137300653685E-13</c:v>
                </c:pt>
                <c:pt idx="6380">
                  <c:v>4.6252137300653685E-13</c:v>
                </c:pt>
                <c:pt idx="6381">
                  <c:v>4.6252137300653685E-13</c:v>
                </c:pt>
                <c:pt idx="6382">
                  <c:v>4.6252137300653685E-13</c:v>
                </c:pt>
                <c:pt idx="6383">
                  <c:v>4.6252137300653685E-13</c:v>
                </c:pt>
                <c:pt idx="6384">
                  <c:v>4.6252137300653685E-13</c:v>
                </c:pt>
                <c:pt idx="6385">
                  <c:v>4.6252137300653685E-13</c:v>
                </c:pt>
                <c:pt idx="6386">
                  <c:v>4.6252137300653685E-13</c:v>
                </c:pt>
                <c:pt idx="6387">
                  <c:v>4.6252137300653685E-13</c:v>
                </c:pt>
                <c:pt idx="6388">
                  <c:v>4.6252137300653685E-13</c:v>
                </c:pt>
                <c:pt idx="6389">
                  <c:v>4.6252137300653685E-13</c:v>
                </c:pt>
                <c:pt idx="6390">
                  <c:v>4.6252137300653685E-13</c:v>
                </c:pt>
                <c:pt idx="6391">
                  <c:v>4.6252137300653685E-13</c:v>
                </c:pt>
                <c:pt idx="6392">
                  <c:v>4.6252137300653685E-13</c:v>
                </c:pt>
                <c:pt idx="6393">
                  <c:v>4.6252137300653685E-13</c:v>
                </c:pt>
                <c:pt idx="6394">
                  <c:v>4.6252137300653685E-13</c:v>
                </c:pt>
                <c:pt idx="6395">
                  <c:v>4.6252137300653685E-13</c:v>
                </c:pt>
                <c:pt idx="6396">
                  <c:v>4.6252137300653685E-13</c:v>
                </c:pt>
                <c:pt idx="6397">
                  <c:v>4.6252137300653685E-13</c:v>
                </c:pt>
                <c:pt idx="6398">
                  <c:v>4.6252137300653685E-13</c:v>
                </c:pt>
                <c:pt idx="6399">
                  <c:v>4.6252137300653685E-13</c:v>
                </c:pt>
                <c:pt idx="6400">
                  <c:v>4.6252137300653685E-13</c:v>
                </c:pt>
                <c:pt idx="6401">
                  <c:v>4.6252137300653685E-13</c:v>
                </c:pt>
                <c:pt idx="6402">
                  <c:v>4.6252137300653685E-13</c:v>
                </c:pt>
                <c:pt idx="6403">
                  <c:v>4.6252137300653685E-13</c:v>
                </c:pt>
                <c:pt idx="6404">
                  <c:v>4.6252137300653685E-13</c:v>
                </c:pt>
                <c:pt idx="6405">
                  <c:v>4.6252137300653685E-13</c:v>
                </c:pt>
                <c:pt idx="6406">
                  <c:v>4.6252137300653685E-13</c:v>
                </c:pt>
                <c:pt idx="6407">
                  <c:v>4.6252137300653685E-13</c:v>
                </c:pt>
                <c:pt idx="6408">
                  <c:v>4.6252137300653685E-13</c:v>
                </c:pt>
                <c:pt idx="6409">
                  <c:v>4.6252137300653685E-13</c:v>
                </c:pt>
                <c:pt idx="6410">
                  <c:v>4.6252137300653685E-13</c:v>
                </c:pt>
                <c:pt idx="6411">
                  <c:v>4.6252137300653685E-13</c:v>
                </c:pt>
                <c:pt idx="6412">
                  <c:v>4.6252137300653685E-13</c:v>
                </c:pt>
                <c:pt idx="6413">
                  <c:v>4.6252137300653685E-13</c:v>
                </c:pt>
                <c:pt idx="6414">
                  <c:v>4.6252137300653685E-13</c:v>
                </c:pt>
                <c:pt idx="6415">
                  <c:v>4.6252137300653685E-13</c:v>
                </c:pt>
                <c:pt idx="6416">
                  <c:v>4.6252137300653685E-13</c:v>
                </c:pt>
                <c:pt idx="6417">
                  <c:v>4.6252137300653685E-13</c:v>
                </c:pt>
                <c:pt idx="6418">
                  <c:v>4.6252137300653685E-13</c:v>
                </c:pt>
                <c:pt idx="6419">
                  <c:v>4.6252137300653685E-13</c:v>
                </c:pt>
                <c:pt idx="6420">
                  <c:v>4.6252137300653685E-13</c:v>
                </c:pt>
                <c:pt idx="6421">
                  <c:v>4.6252137300653685E-13</c:v>
                </c:pt>
                <c:pt idx="6422">
                  <c:v>4.6252137300653685E-13</c:v>
                </c:pt>
                <c:pt idx="6423">
                  <c:v>4.6252137300653685E-13</c:v>
                </c:pt>
                <c:pt idx="6424">
                  <c:v>4.6252137300653685E-13</c:v>
                </c:pt>
                <c:pt idx="6425">
                  <c:v>4.6252137300653685E-13</c:v>
                </c:pt>
                <c:pt idx="6426">
                  <c:v>4.6252137300653685E-13</c:v>
                </c:pt>
                <c:pt idx="6427">
                  <c:v>4.6252137300653685E-13</c:v>
                </c:pt>
                <c:pt idx="6428">
                  <c:v>4.6252137300653685E-13</c:v>
                </c:pt>
                <c:pt idx="6429">
                  <c:v>4.6252137300653685E-13</c:v>
                </c:pt>
                <c:pt idx="6430">
                  <c:v>4.6252137300653685E-13</c:v>
                </c:pt>
                <c:pt idx="6431">
                  <c:v>4.6252137300653685E-13</c:v>
                </c:pt>
                <c:pt idx="6432">
                  <c:v>4.6252137300653685E-13</c:v>
                </c:pt>
                <c:pt idx="6433">
                  <c:v>4.6252137300653685E-13</c:v>
                </c:pt>
                <c:pt idx="6434">
                  <c:v>4.6252137300653685E-13</c:v>
                </c:pt>
                <c:pt idx="6435">
                  <c:v>4.6252137300653685E-13</c:v>
                </c:pt>
                <c:pt idx="6436">
                  <c:v>4.6252137300653685E-13</c:v>
                </c:pt>
                <c:pt idx="6437">
                  <c:v>4.6252137300653685E-13</c:v>
                </c:pt>
                <c:pt idx="6438">
                  <c:v>4.6252137300653685E-13</c:v>
                </c:pt>
                <c:pt idx="6439">
                  <c:v>4.6252137300653685E-13</c:v>
                </c:pt>
                <c:pt idx="6440">
                  <c:v>4.6252137300653685E-13</c:v>
                </c:pt>
                <c:pt idx="6441">
                  <c:v>4.6252137300653685E-13</c:v>
                </c:pt>
                <c:pt idx="6442">
                  <c:v>4.6252137300653685E-13</c:v>
                </c:pt>
                <c:pt idx="6443">
                  <c:v>4.6252137300653685E-13</c:v>
                </c:pt>
                <c:pt idx="6444">
                  <c:v>4.6252137300653685E-13</c:v>
                </c:pt>
                <c:pt idx="6445">
                  <c:v>4.6252137300653685E-13</c:v>
                </c:pt>
                <c:pt idx="6446">
                  <c:v>4.6252137300653685E-13</c:v>
                </c:pt>
                <c:pt idx="6447">
                  <c:v>4.6252137300653685E-13</c:v>
                </c:pt>
                <c:pt idx="6448">
                  <c:v>4.6252137300653685E-13</c:v>
                </c:pt>
                <c:pt idx="6449">
                  <c:v>4.6252137300653685E-13</c:v>
                </c:pt>
                <c:pt idx="6450">
                  <c:v>4.6252137300653685E-13</c:v>
                </c:pt>
                <c:pt idx="6451">
                  <c:v>4.6252137300653685E-13</c:v>
                </c:pt>
                <c:pt idx="6452">
                  <c:v>4.6252137300653685E-13</c:v>
                </c:pt>
                <c:pt idx="6453">
                  <c:v>4.6252137300653685E-13</c:v>
                </c:pt>
                <c:pt idx="6454">
                  <c:v>4.6252137300653685E-13</c:v>
                </c:pt>
                <c:pt idx="6455">
                  <c:v>4.6252137300653685E-13</c:v>
                </c:pt>
                <c:pt idx="6456">
                  <c:v>4.6252137300653685E-13</c:v>
                </c:pt>
                <c:pt idx="6457">
                  <c:v>4.6252137300653685E-13</c:v>
                </c:pt>
                <c:pt idx="6458">
                  <c:v>4.6252137300653685E-13</c:v>
                </c:pt>
                <c:pt idx="6459">
                  <c:v>4.6252137300653685E-13</c:v>
                </c:pt>
                <c:pt idx="6460">
                  <c:v>4.6252137300653685E-13</c:v>
                </c:pt>
                <c:pt idx="6461">
                  <c:v>4.6252137300653685E-13</c:v>
                </c:pt>
                <c:pt idx="6462">
                  <c:v>4.6252137300653685E-13</c:v>
                </c:pt>
                <c:pt idx="6463">
                  <c:v>4.6252137300653685E-13</c:v>
                </c:pt>
                <c:pt idx="6464">
                  <c:v>4.6252137300653685E-13</c:v>
                </c:pt>
                <c:pt idx="6465">
                  <c:v>4.6252137300653685E-13</c:v>
                </c:pt>
                <c:pt idx="6466">
                  <c:v>4.6252137300653685E-13</c:v>
                </c:pt>
                <c:pt idx="6467">
                  <c:v>4.6252137300653685E-13</c:v>
                </c:pt>
                <c:pt idx="6468">
                  <c:v>4.6252137300653685E-13</c:v>
                </c:pt>
                <c:pt idx="6469">
                  <c:v>4.6252137300653685E-13</c:v>
                </c:pt>
                <c:pt idx="6470">
                  <c:v>4.6252137300653685E-13</c:v>
                </c:pt>
                <c:pt idx="6471">
                  <c:v>4.6252137300653685E-13</c:v>
                </c:pt>
                <c:pt idx="6472">
                  <c:v>4.6252137300653685E-13</c:v>
                </c:pt>
                <c:pt idx="6473">
                  <c:v>4.6252137300653685E-13</c:v>
                </c:pt>
                <c:pt idx="6474">
                  <c:v>4.6252137300653685E-13</c:v>
                </c:pt>
                <c:pt idx="6475">
                  <c:v>4.6252137300653685E-13</c:v>
                </c:pt>
                <c:pt idx="6476">
                  <c:v>4.6252137300653685E-13</c:v>
                </c:pt>
                <c:pt idx="6477">
                  <c:v>4.6252137300653685E-13</c:v>
                </c:pt>
                <c:pt idx="6478">
                  <c:v>4.6252137300653685E-13</c:v>
                </c:pt>
                <c:pt idx="6479">
                  <c:v>4.6252137300653685E-13</c:v>
                </c:pt>
                <c:pt idx="6480">
                  <c:v>4.6252137300653685E-13</c:v>
                </c:pt>
                <c:pt idx="6481">
                  <c:v>4.6252137300653685E-13</c:v>
                </c:pt>
                <c:pt idx="6482">
                  <c:v>4.6252137300653685E-13</c:v>
                </c:pt>
                <c:pt idx="6483">
                  <c:v>4.6252137300653685E-13</c:v>
                </c:pt>
                <c:pt idx="6484">
                  <c:v>4.6252137300653685E-13</c:v>
                </c:pt>
                <c:pt idx="6485">
                  <c:v>4.6252137300653685E-13</c:v>
                </c:pt>
                <c:pt idx="6486">
                  <c:v>4.6252137300653685E-13</c:v>
                </c:pt>
                <c:pt idx="6487">
                  <c:v>4.6252137300653685E-13</c:v>
                </c:pt>
                <c:pt idx="6488">
                  <c:v>4.6252137300653685E-13</c:v>
                </c:pt>
                <c:pt idx="6489">
                  <c:v>4.6252137300653685E-13</c:v>
                </c:pt>
                <c:pt idx="6490">
                  <c:v>4.6252137300653685E-13</c:v>
                </c:pt>
                <c:pt idx="6491">
                  <c:v>4.6252137300653685E-13</c:v>
                </c:pt>
                <c:pt idx="6492">
                  <c:v>4.6252137300653685E-13</c:v>
                </c:pt>
                <c:pt idx="6493">
                  <c:v>4.6252137300653685E-13</c:v>
                </c:pt>
                <c:pt idx="6494">
                  <c:v>4.6252137300653685E-13</c:v>
                </c:pt>
                <c:pt idx="6495">
                  <c:v>4.6252137300653685E-13</c:v>
                </c:pt>
                <c:pt idx="6496">
                  <c:v>4.6252137300653685E-13</c:v>
                </c:pt>
                <c:pt idx="6497">
                  <c:v>4.6252137300653685E-13</c:v>
                </c:pt>
                <c:pt idx="6498">
                  <c:v>4.6252137300653685E-13</c:v>
                </c:pt>
                <c:pt idx="6499">
                  <c:v>4.6252137300653685E-13</c:v>
                </c:pt>
                <c:pt idx="6500">
                  <c:v>4.6252137300653685E-13</c:v>
                </c:pt>
                <c:pt idx="6501">
                  <c:v>4.6252137300653685E-13</c:v>
                </c:pt>
                <c:pt idx="6502">
                  <c:v>4.6252137300653685E-13</c:v>
                </c:pt>
                <c:pt idx="6503">
                  <c:v>4.6252137300653685E-13</c:v>
                </c:pt>
                <c:pt idx="6504">
                  <c:v>4.6252137300653685E-13</c:v>
                </c:pt>
                <c:pt idx="6505">
                  <c:v>4.6252137300653685E-13</c:v>
                </c:pt>
                <c:pt idx="6506">
                  <c:v>4.6252137300653685E-13</c:v>
                </c:pt>
                <c:pt idx="6507">
                  <c:v>4.6252137300653685E-13</c:v>
                </c:pt>
                <c:pt idx="6508">
                  <c:v>4.6252137300653685E-13</c:v>
                </c:pt>
                <c:pt idx="6509">
                  <c:v>4.6252137300653685E-13</c:v>
                </c:pt>
                <c:pt idx="6510">
                  <c:v>4.6252137300653685E-13</c:v>
                </c:pt>
                <c:pt idx="6511">
                  <c:v>4.6252137300653685E-13</c:v>
                </c:pt>
                <c:pt idx="6512">
                  <c:v>4.6252137300653685E-13</c:v>
                </c:pt>
                <c:pt idx="6513">
                  <c:v>4.6252137300653685E-13</c:v>
                </c:pt>
                <c:pt idx="6514">
                  <c:v>4.6252137300653685E-13</c:v>
                </c:pt>
                <c:pt idx="6515">
                  <c:v>4.6252137300653685E-13</c:v>
                </c:pt>
                <c:pt idx="6516">
                  <c:v>4.6252137300653685E-13</c:v>
                </c:pt>
                <c:pt idx="6517">
                  <c:v>4.6252137300653685E-13</c:v>
                </c:pt>
                <c:pt idx="6518">
                  <c:v>4.6252137300653685E-13</c:v>
                </c:pt>
                <c:pt idx="6519">
                  <c:v>4.6252137300653685E-13</c:v>
                </c:pt>
                <c:pt idx="6520">
                  <c:v>4.6252137300653685E-13</c:v>
                </c:pt>
                <c:pt idx="6521">
                  <c:v>4.6252137300653685E-13</c:v>
                </c:pt>
                <c:pt idx="6522">
                  <c:v>4.6252137300653685E-13</c:v>
                </c:pt>
                <c:pt idx="6523">
                  <c:v>4.6252137300653685E-13</c:v>
                </c:pt>
                <c:pt idx="6524">
                  <c:v>4.6252137300653685E-13</c:v>
                </c:pt>
                <c:pt idx="6525">
                  <c:v>4.6252137300653685E-13</c:v>
                </c:pt>
                <c:pt idx="6526">
                  <c:v>4.6252137300653685E-13</c:v>
                </c:pt>
                <c:pt idx="6527">
                  <c:v>4.6252137300653685E-13</c:v>
                </c:pt>
                <c:pt idx="6528">
                  <c:v>4.6252137300653685E-13</c:v>
                </c:pt>
                <c:pt idx="6529">
                  <c:v>4.6252137300653685E-13</c:v>
                </c:pt>
                <c:pt idx="6530">
                  <c:v>4.6252137300653685E-13</c:v>
                </c:pt>
                <c:pt idx="6531">
                  <c:v>4.6252137300653685E-13</c:v>
                </c:pt>
                <c:pt idx="6532">
                  <c:v>4.6252137300653685E-13</c:v>
                </c:pt>
                <c:pt idx="6533">
                  <c:v>4.6252137300653685E-13</c:v>
                </c:pt>
                <c:pt idx="6534">
                  <c:v>4.6252137300653685E-13</c:v>
                </c:pt>
                <c:pt idx="6535">
                  <c:v>4.6252137300653685E-13</c:v>
                </c:pt>
                <c:pt idx="6536">
                  <c:v>4.6252137300653685E-13</c:v>
                </c:pt>
                <c:pt idx="6537">
                  <c:v>4.6252137300653685E-13</c:v>
                </c:pt>
                <c:pt idx="6538">
                  <c:v>4.6252137300653685E-13</c:v>
                </c:pt>
                <c:pt idx="6539">
                  <c:v>4.6252137300653685E-13</c:v>
                </c:pt>
                <c:pt idx="6540">
                  <c:v>4.6252137300653685E-13</c:v>
                </c:pt>
                <c:pt idx="6541">
                  <c:v>4.6252137300653685E-13</c:v>
                </c:pt>
                <c:pt idx="6542">
                  <c:v>4.6252137300653685E-13</c:v>
                </c:pt>
                <c:pt idx="6543">
                  <c:v>4.6252137300653685E-13</c:v>
                </c:pt>
                <c:pt idx="6544">
                  <c:v>4.6252137300653685E-13</c:v>
                </c:pt>
                <c:pt idx="6545">
                  <c:v>4.6252137300653685E-13</c:v>
                </c:pt>
                <c:pt idx="6546">
                  <c:v>4.6252137300653685E-13</c:v>
                </c:pt>
                <c:pt idx="6547">
                  <c:v>4.6252137300653685E-13</c:v>
                </c:pt>
                <c:pt idx="6548">
                  <c:v>4.6252137300653685E-13</c:v>
                </c:pt>
                <c:pt idx="6549">
                  <c:v>4.6252137300653685E-13</c:v>
                </c:pt>
                <c:pt idx="6550">
                  <c:v>4.6252137300653685E-13</c:v>
                </c:pt>
                <c:pt idx="6551">
                  <c:v>4.6252137300653685E-13</c:v>
                </c:pt>
                <c:pt idx="6552">
                  <c:v>4.6252137300653685E-13</c:v>
                </c:pt>
                <c:pt idx="6553">
                  <c:v>4.6252137300653685E-13</c:v>
                </c:pt>
                <c:pt idx="6554">
                  <c:v>4.6252137300653685E-13</c:v>
                </c:pt>
                <c:pt idx="6555">
                  <c:v>4.6252137300653685E-13</c:v>
                </c:pt>
                <c:pt idx="6556">
                  <c:v>4.6252137300653685E-13</c:v>
                </c:pt>
                <c:pt idx="6557">
                  <c:v>4.6252137300653685E-13</c:v>
                </c:pt>
                <c:pt idx="6558">
                  <c:v>4.6252137300653685E-13</c:v>
                </c:pt>
                <c:pt idx="6559">
                  <c:v>4.6252137300653685E-13</c:v>
                </c:pt>
                <c:pt idx="6560">
                  <c:v>4.6252137300653685E-13</c:v>
                </c:pt>
                <c:pt idx="6561">
                  <c:v>4.6252137300653685E-13</c:v>
                </c:pt>
                <c:pt idx="6562">
                  <c:v>4.6252137300653685E-13</c:v>
                </c:pt>
                <c:pt idx="6563">
                  <c:v>4.6252137300653685E-13</c:v>
                </c:pt>
                <c:pt idx="6564">
                  <c:v>4.6252137300653685E-13</c:v>
                </c:pt>
                <c:pt idx="6565">
                  <c:v>4.6252137300653685E-13</c:v>
                </c:pt>
                <c:pt idx="6566">
                  <c:v>4.6252137300653685E-13</c:v>
                </c:pt>
                <c:pt idx="6567">
                  <c:v>4.6252137300653685E-13</c:v>
                </c:pt>
                <c:pt idx="6568">
                  <c:v>4.6252137300653685E-13</c:v>
                </c:pt>
                <c:pt idx="6569">
                  <c:v>4.6252137300653685E-13</c:v>
                </c:pt>
                <c:pt idx="6570">
                  <c:v>4.6252137300653685E-13</c:v>
                </c:pt>
                <c:pt idx="6571">
                  <c:v>4.6252137300653685E-13</c:v>
                </c:pt>
                <c:pt idx="6572">
                  <c:v>4.6252137300653685E-13</c:v>
                </c:pt>
                <c:pt idx="6573">
                  <c:v>4.6252137300653685E-13</c:v>
                </c:pt>
                <c:pt idx="6574">
                  <c:v>4.6252137300653685E-13</c:v>
                </c:pt>
                <c:pt idx="6575">
                  <c:v>4.6252137300653685E-13</c:v>
                </c:pt>
                <c:pt idx="6576">
                  <c:v>4.6252137300653685E-13</c:v>
                </c:pt>
                <c:pt idx="6577">
                  <c:v>4.6252137300653685E-13</c:v>
                </c:pt>
                <c:pt idx="6578">
                  <c:v>4.6252137300653685E-13</c:v>
                </c:pt>
                <c:pt idx="6579">
                  <c:v>4.6252137300653685E-13</c:v>
                </c:pt>
                <c:pt idx="6580">
                  <c:v>4.6252137300653685E-13</c:v>
                </c:pt>
                <c:pt idx="6581">
                  <c:v>4.6252137300653685E-13</c:v>
                </c:pt>
                <c:pt idx="6582">
                  <c:v>4.6252137300653685E-13</c:v>
                </c:pt>
                <c:pt idx="6583">
                  <c:v>4.6252137300653685E-13</c:v>
                </c:pt>
                <c:pt idx="6584">
                  <c:v>4.6252137300653685E-13</c:v>
                </c:pt>
                <c:pt idx="6585">
                  <c:v>4.6252137300653685E-13</c:v>
                </c:pt>
                <c:pt idx="6586">
                  <c:v>4.6252137300653685E-13</c:v>
                </c:pt>
                <c:pt idx="6587">
                  <c:v>4.6252137300653685E-13</c:v>
                </c:pt>
                <c:pt idx="6588">
                  <c:v>4.6252137300653685E-13</c:v>
                </c:pt>
                <c:pt idx="6589">
                  <c:v>4.6252137300653685E-13</c:v>
                </c:pt>
                <c:pt idx="6590">
                  <c:v>4.6252137300653685E-13</c:v>
                </c:pt>
                <c:pt idx="6591">
                  <c:v>4.6252137300653685E-13</c:v>
                </c:pt>
                <c:pt idx="6592">
                  <c:v>4.6252137300653685E-13</c:v>
                </c:pt>
                <c:pt idx="6593">
                  <c:v>4.6252137300653685E-13</c:v>
                </c:pt>
                <c:pt idx="6594">
                  <c:v>4.6252137300653685E-13</c:v>
                </c:pt>
                <c:pt idx="6595">
                  <c:v>4.6252137300653685E-13</c:v>
                </c:pt>
                <c:pt idx="6596">
                  <c:v>4.6252137300653685E-13</c:v>
                </c:pt>
                <c:pt idx="6597">
                  <c:v>4.6252137300653685E-13</c:v>
                </c:pt>
                <c:pt idx="6598">
                  <c:v>4.6252137300653685E-13</c:v>
                </c:pt>
                <c:pt idx="6599">
                  <c:v>4.6252137300653685E-13</c:v>
                </c:pt>
                <c:pt idx="6600">
                  <c:v>4.6252137300653685E-13</c:v>
                </c:pt>
                <c:pt idx="6601">
                  <c:v>4.6252137300653685E-13</c:v>
                </c:pt>
                <c:pt idx="6602">
                  <c:v>4.6252137300653685E-13</c:v>
                </c:pt>
                <c:pt idx="6603">
                  <c:v>4.6252137300653685E-13</c:v>
                </c:pt>
                <c:pt idx="6604">
                  <c:v>4.6252137300653685E-13</c:v>
                </c:pt>
                <c:pt idx="6605">
                  <c:v>4.6252137300653685E-13</c:v>
                </c:pt>
                <c:pt idx="6606">
                  <c:v>4.6252137300653685E-13</c:v>
                </c:pt>
                <c:pt idx="6607">
                  <c:v>4.6252137300653685E-13</c:v>
                </c:pt>
                <c:pt idx="6608">
                  <c:v>4.6252137300653685E-13</c:v>
                </c:pt>
                <c:pt idx="6609">
                  <c:v>4.6252137300653685E-13</c:v>
                </c:pt>
                <c:pt idx="6610">
                  <c:v>4.6252137300653685E-13</c:v>
                </c:pt>
                <c:pt idx="6611">
                  <c:v>4.6252137300653685E-13</c:v>
                </c:pt>
                <c:pt idx="6612">
                  <c:v>4.6252137300653685E-13</c:v>
                </c:pt>
                <c:pt idx="6613">
                  <c:v>4.6252137300653685E-13</c:v>
                </c:pt>
                <c:pt idx="6614">
                  <c:v>4.6252137300653685E-13</c:v>
                </c:pt>
                <c:pt idx="6615">
                  <c:v>4.6252137300653685E-13</c:v>
                </c:pt>
                <c:pt idx="6616">
                  <c:v>4.6252137300653685E-13</c:v>
                </c:pt>
                <c:pt idx="6617">
                  <c:v>4.6252137300653685E-13</c:v>
                </c:pt>
                <c:pt idx="6618">
                  <c:v>4.6252137300653685E-13</c:v>
                </c:pt>
                <c:pt idx="6619">
                  <c:v>4.6252137300653685E-13</c:v>
                </c:pt>
                <c:pt idx="6620">
                  <c:v>4.6252137300653685E-13</c:v>
                </c:pt>
                <c:pt idx="6621">
                  <c:v>4.6252137300653685E-13</c:v>
                </c:pt>
                <c:pt idx="6622">
                  <c:v>4.6252137300653685E-13</c:v>
                </c:pt>
                <c:pt idx="6623">
                  <c:v>4.6252137300653685E-13</c:v>
                </c:pt>
                <c:pt idx="6624">
                  <c:v>4.6252137300653685E-13</c:v>
                </c:pt>
                <c:pt idx="6625">
                  <c:v>4.6252137300653685E-13</c:v>
                </c:pt>
                <c:pt idx="6626">
                  <c:v>4.6252137300653685E-13</c:v>
                </c:pt>
                <c:pt idx="6627">
                  <c:v>4.6252137300653685E-13</c:v>
                </c:pt>
                <c:pt idx="6628">
                  <c:v>4.6252137300653685E-13</c:v>
                </c:pt>
                <c:pt idx="6629">
                  <c:v>4.6252137300653685E-13</c:v>
                </c:pt>
                <c:pt idx="6630">
                  <c:v>4.6252137300653685E-13</c:v>
                </c:pt>
                <c:pt idx="6631">
                  <c:v>4.6252137300653685E-13</c:v>
                </c:pt>
                <c:pt idx="6632">
                  <c:v>4.6252137300653685E-13</c:v>
                </c:pt>
                <c:pt idx="6633">
                  <c:v>4.6252137300653685E-13</c:v>
                </c:pt>
                <c:pt idx="6634">
                  <c:v>4.6252137300653685E-13</c:v>
                </c:pt>
                <c:pt idx="6635">
                  <c:v>4.6252137300653685E-13</c:v>
                </c:pt>
                <c:pt idx="6636">
                  <c:v>4.6252137300653685E-13</c:v>
                </c:pt>
                <c:pt idx="6637">
                  <c:v>4.6252137300653685E-13</c:v>
                </c:pt>
                <c:pt idx="6638">
                  <c:v>4.6252137300653685E-13</c:v>
                </c:pt>
                <c:pt idx="6639">
                  <c:v>4.6252137300653685E-13</c:v>
                </c:pt>
                <c:pt idx="6640">
                  <c:v>4.6252137300653685E-13</c:v>
                </c:pt>
                <c:pt idx="6641">
                  <c:v>4.6252137300653685E-13</c:v>
                </c:pt>
                <c:pt idx="6642">
                  <c:v>4.6252137300653685E-13</c:v>
                </c:pt>
                <c:pt idx="6643">
                  <c:v>4.6252137300653685E-13</c:v>
                </c:pt>
                <c:pt idx="6644">
                  <c:v>4.6252137300653685E-13</c:v>
                </c:pt>
                <c:pt idx="6645">
                  <c:v>4.6252137300653685E-13</c:v>
                </c:pt>
                <c:pt idx="6646">
                  <c:v>4.6252137300653685E-13</c:v>
                </c:pt>
                <c:pt idx="6647">
                  <c:v>4.6252137300653685E-13</c:v>
                </c:pt>
                <c:pt idx="6648">
                  <c:v>4.6252137300653685E-13</c:v>
                </c:pt>
                <c:pt idx="6649">
                  <c:v>4.6252137300653685E-13</c:v>
                </c:pt>
                <c:pt idx="6650">
                  <c:v>4.6252137300653685E-13</c:v>
                </c:pt>
                <c:pt idx="6651">
                  <c:v>4.6252137300653685E-13</c:v>
                </c:pt>
                <c:pt idx="6652">
                  <c:v>4.6252137300653685E-13</c:v>
                </c:pt>
                <c:pt idx="6653">
                  <c:v>4.6252137300653685E-13</c:v>
                </c:pt>
                <c:pt idx="6654">
                  <c:v>4.6252137300653685E-13</c:v>
                </c:pt>
                <c:pt idx="6655">
                  <c:v>4.6252137300653685E-13</c:v>
                </c:pt>
                <c:pt idx="6656">
                  <c:v>4.6252137300653685E-13</c:v>
                </c:pt>
                <c:pt idx="6657">
                  <c:v>4.6252137300653685E-13</c:v>
                </c:pt>
                <c:pt idx="6658">
                  <c:v>4.6252137300653685E-13</c:v>
                </c:pt>
                <c:pt idx="6659">
                  <c:v>4.6252137300653685E-13</c:v>
                </c:pt>
                <c:pt idx="6660">
                  <c:v>4.6252137300653685E-13</c:v>
                </c:pt>
                <c:pt idx="6661">
                  <c:v>4.6252137300653685E-13</c:v>
                </c:pt>
                <c:pt idx="6662">
                  <c:v>4.6252137300653685E-13</c:v>
                </c:pt>
                <c:pt idx="6663">
                  <c:v>4.6252137300653685E-13</c:v>
                </c:pt>
                <c:pt idx="6664">
                  <c:v>4.6252137300653685E-13</c:v>
                </c:pt>
                <c:pt idx="6665">
                  <c:v>4.6252137300653685E-13</c:v>
                </c:pt>
                <c:pt idx="6666">
                  <c:v>4.6252137300653685E-13</c:v>
                </c:pt>
                <c:pt idx="6667">
                  <c:v>4.6252137300653685E-13</c:v>
                </c:pt>
                <c:pt idx="6668">
                  <c:v>4.6252137300653685E-13</c:v>
                </c:pt>
                <c:pt idx="6669">
                  <c:v>4.6252137300653685E-13</c:v>
                </c:pt>
                <c:pt idx="6670">
                  <c:v>4.6252137300653685E-13</c:v>
                </c:pt>
                <c:pt idx="6671">
                  <c:v>4.6252137300653685E-13</c:v>
                </c:pt>
                <c:pt idx="6672">
                  <c:v>4.6252137300653685E-13</c:v>
                </c:pt>
                <c:pt idx="6673">
                  <c:v>4.6252137300653685E-13</c:v>
                </c:pt>
                <c:pt idx="6674">
                  <c:v>4.6252137300653685E-13</c:v>
                </c:pt>
                <c:pt idx="6675">
                  <c:v>4.6252137300653685E-13</c:v>
                </c:pt>
                <c:pt idx="6676">
                  <c:v>4.6252137300653685E-13</c:v>
                </c:pt>
                <c:pt idx="6677">
                  <c:v>4.6252137300653685E-13</c:v>
                </c:pt>
                <c:pt idx="6678">
                  <c:v>4.6252137300653685E-13</c:v>
                </c:pt>
                <c:pt idx="6679">
                  <c:v>4.6252137300653685E-13</c:v>
                </c:pt>
                <c:pt idx="6680">
                  <c:v>4.6252137300653685E-13</c:v>
                </c:pt>
                <c:pt idx="6681">
                  <c:v>4.6252137300653685E-13</c:v>
                </c:pt>
                <c:pt idx="6682">
                  <c:v>4.6252137300653685E-13</c:v>
                </c:pt>
                <c:pt idx="6683">
                  <c:v>4.6252137300653685E-13</c:v>
                </c:pt>
                <c:pt idx="6684">
                  <c:v>4.6252137300653685E-13</c:v>
                </c:pt>
                <c:pt idx="6685">
                  <c:v>4.6252137300653685E-13</c:v>
                </c:pt>
                <c:pt idx="6686">
                  <c:v>4.6252137300653685E-13</c:v>
                </c:pt>
                <c:pt idx="6687">
                  <c:v>4.6252137300653685E-13</c:v>
                </c:pt>
                <c:pt idx="6688">
                  <c:v>4.6252137300653685E-13</c:v>
                </c:pt>
                <c:pt idx="6689">
                  <c:v>4.6252137300653685E-13</c:v>
                </c:pt>
                <c:pt idx="6690">
                  <c:v>4.6252137300653685E-13</c:v>
                </c:pt>
                <c:pt idx="6691">
                  <c:v>4.6252137300653685E-13</c:v>
                </c:pt>
                <c:pt idx="6692">
                  <c:v>4.6252137300653685E-13</c:v>
                </c:pt>
                <c:pt idx="6693">
                  <c:v>4.6252137300653685E-13</c:v>
                </c:pt>
                <c:pt idx="6694">
                  <c:v>4.6252137300653685E-13</c:v>
                </c:pt>
                <c:pt idx="6695">
                  <c:v>4.6252137300653685E-13</c:v>
                </c:pt>
                <c:pt idx="6696">
                  <c:v>4.6252137300653685E-13</c:v>
                </c:pt>
                <c:pt idx="6697">
                  <c:v>4.6252137300653685E-13</c:v>
                </c:pt>
                <c:pt idx="6698">
                  <c:v>4.6252137300653685E-13</c:v>
                </c:pt>
                <c:pt idx="6699">
                  <c:v>4.6252137300653685E-13</c:v>
                </c:pt>
                <c:pt idx="6700">
                  <c:v>4.6252137300653685E-13</c:v>
                </c:pt>
                <c:pt idx="6701">
                  <c:v>4.6252137300653685E-13</c:v>
                </c:pt>
                <c:pt idx="6702">
                  <c:v>4.6252137300653685E-13</c:v>
                </c:pt>
                <c:pt idx="6703">
                  <c:v>4.6252137300653685E-13</c:v>
                </c:pt>
                <c:pt idx="6704">
                  <c:v>4.6252137300653685E-13</c:v>
                </c:pt>
                <c:pt idx="6705">
                  <c:v>4.6252137300653685E-13</c:v>
                </c:pt>
                <c:pt idx="6706">
                  <c:v>4.6252137300653685E-13</c:v>
                </c:pt>
                <c:pt idx="6707">
                  <c:v>4.6252137300653685E-13</c:v>
                </c:pt>
                <c:pt idx="6708">
                  <c:v>4.6252137300653685E-13</c:v>
                </c:pt>
                <c:pt idx="6709">
                  <c:v>4.6252137300653685E-13</c:v>
                </c:pt>
                <c:pt idx="6710">
                  <c:v>4.6252137300653685E-13</c:v>
                </c:pt>
                <c:pt idx="6711">
                  <c:v>4.6252137300653685E-13</c:v>
                </c:pt>
                <c:pt idx="6712">
                  <c:v>4.6252137300653685E-13</c:v>
                </c:pt>
                <c:pt idx="6713">
                  <c:v>4.6252137300653685E-13</c:v>
                </c:pt>
                <c:pt idx="6714">
                  <c:v>4.6252137300653685E-13</c:v>
                </c:pt>
                <c:pt idx="6715">
                  <c:v>4.6252137300653685E-13</c:v>
                </c:pt>
                <c:pt idx="6716">
                  <c:v>4.6252137300653685E-13</c:v>
                </c:pt>
                <c:pt idx="6717">
                  <c:v>4.6252137300653685E-13</c:v>
                </c:pt>
                <c:pt idx="6718">
                  <c:v>4.6252137300653685E-13</c:v>
                </c:pt>
                <c:pt idx="6719">
                  <c:v>4.6252137300653685E-13</c:v>
                </c:pt>
                <c:pt idx="6720">
                  <c:v>4.6252137300653685E-13</c:v>
                </c:pt>
                <c:pt idx="6721">
                  <c:v>4.6252137300653685E-13</c:v>
                </c:pt>
                <c:pt idx="6722">
                  <c:v>4.6252137300653685E-13</c:v>
                </c:pt>
                <c:pt idx="6723">
                  <c:v>4.6252137300653685E-13</c:v>
                </c:pt>
                <c:pt idx="6724">
                  <c:v>4.6252137300653685E-13</c:v>
                </c:pt>
                <c:pt idx="6725">
                  <c:v>4.6252137300653685E-13</c:v>
                </c:pt>
                <c:pt idx="6726">
                  <c:v>4.6252137300653685E-13</c:v>
                </c:pt>
                <c:pt idx="6727">
                  <c:v>4.6252137300653685E-13</c:v>
                </c:pt>
                <c:pt idx="6728">
                  <c:v>4.6252137300653685E-13</c:v>
                </c:pt>
                <c:pt idx="6729">
                  <c:v>4.6252137300653685E-13</c:v>
                </c:pt>
                <c:pt idx="6730">
                  <c:v>4.6252137300653685E-13</c:v>
                </c:pt>
                <c:pt idx="6731">
                  <c:v>4.6252137300653685E-13</c:v>
                </c:pt>
                <c:pt idx="6732">
                  <c:v>4.6252137300653685E-13</c:v>
                </c:pt>
                <c:pt idx="6733">
                  <c:v>4.6252137300653685E-13</c:v>
                </c:pt>
                <c:pt idx="6734">
                  <c:v>4.6252137300653685E-13</c:v>
                </c:pt>
                <c:pt idx="6735">
                  <c:v>4.6252137300653685E-13</c:v>
                </c:pt>
                <c:pt idx="6736">
                  <c:v>4.6252137300653685E-13</c:v>
                </c:pt>
                <c:pt idx="6737">
                  <c:v>4.6252137300653685E-13</c:v>
                </c:pt>
                <c:pt idx="6738">
                  <c:v>4.6252137300653685E-13</c:v>
                </c:pt>
                <c:pt idx="6739">
                  <c:v>4.6252137300653685E-13</c:v>
                </c:pt>
                <c:pt idx="6740">
                  <c:v>4.6252137300653685E-13</c:v>
                </c:pt>
                <c:pt idx="6741">
                  <c:v>4.6252137300653685E-13</c:v>
                </c:pt>
                <c:pt idx="6742">
                  <c:v>4.6252137300653685E-13</c:v>
                </c:pt>
                <c:pt idx="6743">
                  <c:v>4.6252137300653685E-13</c:v>
                </c:pt>
                <c:pt idx="6744">
                  <c:v>4.6252137300653685E-13</c:v>
                </c:pt>
                <c:pt idx="6745">
                  <c:v>4.6252137300653685E-13</c:v>
                </c:pt>
                <c:pt idx="6746">
                  <c:v>4.6252137300653685E-13</c:v>
                </c:pt>
                <c:pt idx="6747">
                  <c:v>4.6252137300653685E-13</c:v>
                </c:pt>
                <c:pt idx="6748">
                  <c:v>4.6252137300653685E-13</c:v>
                </c:pt>
                <c:pt idx="6749">
                  <c:v>4.6252137300653685E-13</c:v>
                </c:pt>
                <c:pt idx="6750">
                  <c:v>4.6252137300653685E-13</c:v>
                </c:pt>
                <c:pt idx="6751">
                  <c:v>4.6252137300653685E-13</c:v>
                </c:pt>
                <c:pt idx="6752">
                  <c:v>4.6252137300653685E-13</c:v>
                </c:pt>
                <c:pt idx="6753">
                  <c:v>4.6252137300653685E-13</c:v>
                </c:pt>
                <c:pt idx="6754">
                  <c:v>4.6252137300653685E-13</c:v>
                </c:pt>
                <c:pt idx="6755">
                  <c:v>4.6252137300653685E-13</c:v>
                </c:pt>
                <c:pt idx="6756">
                  <c:v>4.6252137300653685E-13</c:v>
                </c:pt>
                <c:pt idx="6757">
                  <c:v>4.6252137300653685E-13</c:v>
                </c:pt>
                <c:pt idx="6758">
                  <c:v>4.6252137300653685E-13</c:v>
                </c:pt>
                <c:pt idx="6759">
                  <c:v>4.6252137300653685E-13</c:v>
                </c:pt>
                <c:pt idx="6760">
                  <c:v>4.6252137300653685E-13</c:v>
                </c:pt>
                <c:pt idx="6761">
                  <c:v>4.6252137300653685E-13</c:v>
                </c:pt>
                <c:pt idx="6762">
                  <c:v>4.6252137300653685E-13</c:v>
                </c:pt>
                <c:pt idx="6763">
                  <c:v>4.6252137300653685E-13</c:v>
                </c:pt>
                <c:pt idx="6764">
                  <c:v>4.6252137300653685E-13</c:v>
                </c:pt>
                <c:pt idx="6765">
                  <c:v>4.6252137300653685E-13</c:v>
                </c:pt>
                <c:pt idx="6766">
                  <c:v>4.6252137300653685E-13</c:v>
                </c:pt>
                <c:pt idx="6767">
                  <c:v>4.6252137300653685E-13</c:v>
                </c:pt>
                <c:pt idx="6768">
                  <c:v>4.6252137300653685E-13</c:v>
                </c:pt>
                <c:pt idx="6769">
                  <c:v>4.6252137300653685E-13</c:v>
                </c:pt>
                <c:pt idx="6770">
                  <c:v>4.6252137300653685E-13</c:v>
                </c:pt>
                <c:pt idx="6771">
                  <c:v>4.6252137300653685E-13</c:v>
                </c:pt>
                <c:pt idx="6772">
                  <c:v>4.6252137300653685E-13</c:v>
                </c:pt>
                <c:pt idx="6773">
                  <c:v>4.6252137300653685E-13</c:v>
                </c:pt>
                <c:pt idx="6774">
                  <c:v>4.6252137300653685E-13</c:v>
                </c:pt>
                <c:pt idx="6775">
                  <c:v>4.6252137300653685E-13</c:v>
                </c:pt>
                <c:pt idx="6776">
                  <c:v>4.6252137300653685E-13</c:v>
                </c:pt>
                <c:pt idx="6777">
                  <c:v>4.6252137300653685E-13</c:v>
                </c:pt>
                <c:pt idx="6778">
                  <c:v>4.6252137300653685E-13</c:v>
                </c:pt>
                <c:pt idx="6779">
                  <c:v>4.6252137300653685E-13</c:v>
                </c:pt>
                <c:pt idx="6780">
                  <c:v>4.6252137300653685E-13</c:v>
                </c:pt>
                <c:pt idx="6781">
                  <c:v>4.6252137300653685E-13</c:v>
                </c:pt>
                <c:pt idx="6782">
                  <c:v>4.6252137300653685E-13</c:v>
                </c:pt>
                <c:pt idx="6783">
                  <c:v>4.6252137300653685E-13</c:v>
                </c:pt>
                <c:pt idx="6784">
                  <c:v>4.6252137300653685E-13</c:v>
                </c:pt>
                <c:pt idx="6785">
                  <c:v>4.6252137300653685E-13</c:v>
                </c:pt>
                <c:pt idx="6786">
                  <c:v>4.6252137300653685E-13</c:v>
                </c:pt>
                <c:pt idx="6787">
                  <c:v>4.6252137300653685E-13</c:v>
                </c:pt>
                <c:pt idx="6788">
                  <c:v>4.6252137300653685E-13</c:v>
                </c:pt>
                <c:pt idx="6789">
                  <c:v>4.6252137300653685E-13</c:v>
                </c:pt>
                <c:pt idx="6790">
                  <c:v>4.6252137300653685E-13</c:v>
                </c:pt>
                <c:pt idx="6791">
                  <c:v>4.6252137300653685E-13</c:v>
                </c:pt>
                <c:pt idx="6792">
                  <c:v>4.6252137300653685E-13</c:v>
                </c:pt>
                <c:pt idx="6793">
                  <c:v>4.6252137300653685E-13</c:v>
                </c:pt>
                <c:pt idx="6794">
                  <c:v>4.6252137300653685E-13</c:v>
                </c:pt>
                <c:pt idx="6795">
                  <c:v>4.6252137300653685E-13</c:v>
                </c:pt>
                <c:pt idx="6796">
                  <c:v>4.6252137300653685E-13</c:v>
                </c:pt>
                <c:pt idx="6797">
                  <c:v>4.6252137300653685E-13</c:v>
                </c:pt>
                <c:pt idx="6798">
                  <c:v>4.6252137300653685E-13</c:v>
                </c:pt>
                <c:pt idx="6799">
                  <c:v>4.6252137300653685E-13</c:v>
                </c:pt>
                <c:pt idx="6800">
                  <c:v>4.6252137300653685E-13</c:v>
                </c:pt>
                <c:pt idx="6801">
                  <c:v>4.6252137300653685E-13</c:v>
                </c:pt>
                <c:pt idx="6802">
                  <c:v>4.6252137300653685E-13</c:v>
                </c:pt>
                <c:pt idx="6803">
                  <c:v>4.6252137300653685E-13</c:v>
                </c:pt>
                <c:pt idx="6804">
                  <c:v>4.6252137300653685E-13</c:v>
                </c:pt>
                <c:pt idx="6805">
                  <c:v>4.6252137300653685E-13</c:v>
                </c:pt>
                <c:pt idx="6806">
                  <c:v>4.6252137300653685E-13</c:v>
                </c:pt>
                <c:pt idx="6807">
                  <c:v>4.6252137300653685E-13</c:v>
                </c:pt>
                <c:pt idx="6808">
                  <c:v>4.6252137300653685E-13</c:v>
                </c:pt>
                <c:pt idx="6809">
                  <c:v>4.6252137300653685E-13</c:v>
                </c:pt>
                <c:pt idx="6810">
                  <c:v>4.6252137300653685E-13</c:v>
                </c:pt>
                <c:pt idx="6811">
                  <c:v>4.6252137300653685E-13</c:v>
                </c:pt>
                <c:pt idx="6812">
                  <c:v>4.6252137300653685E-13</c:v>
                </c:pt>
                <c:pt idx="6813">
                  <c:v>4.6252137300653685E-13</c:v>
                </c:pt>
                <c:pt idx="6814">
                  <c:v>4.6252137300653685E-13</c:v>
                </c:pt>
                <c:pt idx="6815">
                  <c:v>4.6252137300653685E-13</c:v>
                </c:pt>
                <c:pt idx="6816">
                  <c:v>4.6252137300653685E-13</c:v>
                </c:pt>
                <c:pt idx="6817">
                  <c:v>4.6252137300653685E-13</c:v>
                </c:pt>
                <c:pt idx="6818">
                  <c:v>4.6252137300653685E-13</c:v>
                </c:pt>
                <c:pt idx="6819">
                  <c:v>4.6252137300653685E-13</c:v>
                </c:pt>
                <c:pt idx="6820">
                  <c:v>4.6252137300653685E-13</c:v>
                </c:pt>
                <c:pt idx="6821">
                  <c:v>4.6252137300653685E-13</c:v>
                </c:pt>
                <c:pt idx="6822">
                  <c:v>4.6252137300653685E-13</c:v>
                </c:pt>
                <c:pt idx="6823">
                  <c:v>4.6252137300653685E-13</c:v>
                </c:pt>
                <c:pt idx="6824">
                  <c:v>4.6252137300653685E-13</c:v>
                </c:pt>
                <c:pt idx="6825">
                  <c:v>4.6252137300653685E-13</c:v>
                </c:pt>
                <c:pt idx="6826">
                  <c:v>4.6252137300653685E-13</c:v>
                </c:pt>
                <c:pt idx="6827">
                  <c:v>4.6252137300653685E-13</c:v>
                </c:pt>
                <c:pt idx="6828">
                  <c:v>4.6252137300653685E-13</c:v>
                </c:pt>
                <c:pt idx="6829">
                  <c:v>4.6252137300653685E-13</c:v>
                </c:pt>
                <c:pt idx="6830">
                  <c:v>4.6252137300653685E-13</c:v>
                </c:pt>
                <c:pt idx="6831">
                  <c:v>4.6252137300653685E-13</c:v>
                </c:pt>
                <c:pt idx="6832">
                  <c:v>4.6252137300653685E-13</c:v>
                </c:pt>
                <c:pt idx="6833">
                  <c:v>4.6252137300653685E-13</c:v>
                </c:pt>
                <c:pt idx="6834">
                  <c:v>4.6252137300653685E-13</c:v>
                </c:pt>
                <c:pt idx="6835">
                  <c:v>4.6252137300653685E-13</c:v>
                </c:pt>
                <c:pt idx="6836">
                  <c:v>4.6252137300653685E-13</c:v>
                </c:pt>
                <c:pt idx="6837">
                  <c:v>4.6252137300653685E-13</c:v>
                </c:pt>
                <c:pt idx="6838">
                  <c:v>4.6252137300653685E-13</c:v>
                </c:pt>
                <c:pt idx="6839">
                  <c:v>4.6252137300653685E-13</c:v>
                </c:pt>
                <c:pt idx="6840">
                  <c:v>4.6252137300653685E-13</c:v>
                </c:pt>
                <c:pt idx="6841">
                  <c:v>4.6252137300653685E-13</c:v>
                </c:pt>
                <c:pt idx="6842">
                  <c:v>4.6252137300653685E-13</c:v>
                </c:pt>
                <c:pt idx="6843">
                  <c:v>4.6252137300653685E-13</c:v>
                </c:pt>
                <c:pt idx="6844">
                  <c:v>4.6252137300653685E-13</c:v>
                </c:pt>
                <c:pt idx="6845">
                  <c:v>4.6252137300653685E-13</c:v>
                </c:pt>
                <c:pt idx="6846">
                  <c:v>4.6252137300653685E-13</c:v>
                </c:pt>
                <c:pt idx="6847">
                  <c:v>4.6252137300653685E-13</c:v>
                </c:pt>
                <c:pt idx="6848">
                  <c:v>4.6252137300653685E-13</c:v>
                </c:pt>
                <c:pt idx="6849">
                  <c:v>4.6252137300653685E-13</c:v>
                </c:pt>
                <c:pt idx="6850">
                  <c:v>4.6252137300653685E-13</c:v>
                </c:pt>
                <c:pt idx="6851">
                  <c:v>4.6252137300653685E-13</c:v>
                </c:pt>
                <c:pt idx="6852">
                  <c:v>4.6252137300653685E-13</c:v>
                </c:pt>
                <c:pt idx="6853">
                  <c:v>4.6252137300653685E-13</c:v>
                </c:pt>
                <c:pt idx="6854">
                  <c:v>4.6252137300653685E-13</c:v>
                </c:pt>
                <c:pt idx="6855">
                  <c:v>4.6252137300653685E-13</c:v>
                </c:pt>
                <c:pt idx="6856">
                  <c:v>4.6252137300653685E-13</c:v>
                </c:pt>
                <c:pt idx="6857">
                  <c:v>4.6252137300653685E-13</c:v>
                </c:pt>
                <c:pt idx="6858">
                  <c:v>4.6252137300653685E-13</c:v>
                </c:pt>
                <c:pt idx="6859">
                  <c:v>4.6252137300653685E-13</c:v>
                </c:pt>
                <c:pt idx="6860">
                  <c:v>4.6252137300653685E-13</c:v>
                </c:pt>
                <c:pt idx="6861">
                  <c:v>4.6252137300653685E-13</c:v>
                </c:pt>
                <c:pt idx="6862">
                  <c:v>4.6252137300653685E-13</c:v>
                </c:pt>
                <c:pt idx="6863">
                  <c:v>4.6252137300653685E-13</c:v>
                </c:pt>
                <c:pt idx="6864">
                  <c:v>4.6252137300653685E-13</c:v>
                </c:pt>
                <c:pt idx="6865">
                  <c:v>4.6252137300653685E-13</c:v>
                </c:pt>
                <c:pt idx="6866">
                  <c:v>4.6252137300653685E-13</c:v>
                </c:pt>
                <c:pt idx="6867">
                  <c:v>4.6252137300653685E-13</c:v>
                </c:pt>
                <c:pt idx="6868">
                  <c:v>4.6252137300653685E-13</c:v>
                </c:pt>
                <c:pt idx="6869">
                  <c:v>4.6252137300653685E-13</c:v>
                </c:pt>
                <c:pt idx="6870">
                  <c:v>4.6252137300653685E-13</c:v>
                </c:pt>
                <c:pt idx="6871">
                  <c:v>4.6252137300653685E-13</c:v>
                </c:pt>
                <c:pt idx="6872">
                  <c:v>4.6252137300653685E-13</c:v>
                </c:pt>
                <c:pt idx="6873">
                  <c:v>4.6252137300653685E-13</c:v>
                </c:pt>
                <c:pt idx="6874">
                  <c:v>4.6252137300653685E-13</c:v>
                </c:pt>
                <c:pt idx="6875">
                  <c:v>4.6252137300653685E-13</c:v>
                </c:pt>
                <c:pt idx="6876">
                  <c:v>4.6252137300653685E-13</c:v>
                </c:pt>
                <c:pt idx="6877">
                  <c:v>4.6252137300653685E-13</c:v>
                </c:pt>
                <c:pt idx="6878">
                  <c:v>4.6252137300653685E-13</c:v>
                </c:pt>
                <c:pt idx="6879">
                  <c:v>4.6252137300653685E-13</c:v>
                </c:pt>
                <c:pt idx="6880">
                  <c:v>4.6252137300653685E-13</c:v>
                </c:pt>
                <c:pt idx="6881">
                  <c:v>4.6252137300653685E-13</c:v>
                </c:pt>
                <c:pt idx="6882">
                  <c:v>4.6252137300653685E-13</c:v>
                </c:pt>
                <c:pt idx="6883">
                  <c:v>4.6252137300653685E-13</c:v>
                </c:pt>
                <c:pt idx="6884">
                  <c:v>4.6252137300653685E-13</c:v>
                </c:pt>
                <c:pt idx="6885">
                  <c:v>4.6252137300653685E-13</c:v>
                </c:pt>
                <c:pt idx="6886">
                  <c:v>4.6252137300653685E-13</c:v>
                </c:pt>
                <c:pt idx="6887">
                  <c:v>4.6252137300653685E-13</c:v>
                </c:pt>
                <c:pt idx="6888">
                  <c:v>4.6252137300653685E-13</c:v>
                </c:pt>
                <c:pt idx="6889">
                  <c:v>4.6252137300653685E-13</c:v>
                </c:pt>
                <c:pt idx="6890">
                  <c:v>4.6252137300653685E-13</c:v>
                </c:pt>
                <c:pt idx="6891">
                  <c:v>4.6252137300653685E-13</c:v>
                </c:pt>
                <c:pt idx="6892">
                  <c:v>4.6252137300653685E-13</c:v>
                </c:pt>
                <c:pt idx="6893">
                  <c:v>4.6252137300653685E-13</c:v>
                </c:pt>
                <c:pt idx="6894">
                  <c:v>4.6252137300653685E-13</c:v>
                </c:pt>
                <c:pt idx="6895">
                  <c:v>4.6252137300653685E-13</c:v>
                </c:pt>
                <c:pt idx="6896">
                  <c:v>4.6252137300653685E-13</c:v>
                </c:pt>
                <c:pt idx="6897">
                  <c:v>4.6252137300653685E-13</c:v>
                </c:pt>
                <c:pt idx="6898">
                  <c:v>4.6252137300653685E-13</c:v>
                </c:pt>
                <c:pt idx="6899">
                  <c:v>4.6252137300653685E-13</c:v>
                </c:pt>
                <c:pt idx="6900">
                  <c:v>4.6252137300653685E-13</c:v>
                </c:pt>
                <c:pt idx="6901">
                  <c:v>4.6252137300653685E-13</c:v>
                </c:pt>
                <c:pt idx="6902">
                  <c:v>4.6252137300653685E-13</c:v>
                </c:pt>
                <c:pt idx="6903">
                  <c:v>4.6252137300653685E-13</c:v>
                </c:pt>
                <c:pt idx="6904">
                  <c:v>4.6252137300653685E-13</c:v>
                </c:pt>
                <c:pt idx="6905">
                  <c:v>4.6252137300653685E-13</c:v>
                </c:pt>
                <c:pt idx="6906">
                  <c:v>4.6252137300653685E-13</c:v>
                </c:pt>
                <c:pt idx="6907">
                  <c:v>4.6252137300653685E-13</c:v>
                </c:pt>
                <c:pt idx="6908">
                  <c:v>4.6252137300653685E-13</c:v>
                </c:pt>
                <c:pt idx="6909">
                  <c:v>4.6252137300653685E-13</c:v>
                </c:pt>
                <c:pt idx="6910">
                  <c:v>4.6252137300653685E-13</c:v>
                </c:pt>
                <c:pt idx="6911">
                  <c:v>4.6252137300653685E-13</c:v>
                </c:pt>
                <c:pt idx="6912">
                  <c:v>4.6252137300653685E-13</c:v>
                </c:pt>
                <c:pt idx="6913">
                  <c:v>4.6252137300653685E-13</c:v>
                </c:pt>
                <c:pt idx="6914">
                  <c:v>4.6252137300653685E-13</c:v>
                </c:pt>
                <c:pt idx="6915">
                  <c:v>4.6252137300653685E-13</c:v>
                </c:pt>
                <c:pt idx="6916">
                  <c:v>4.6252137300653685E-13</c:v>
                </c:pt>
                <c:pt idx="6917">
                  <c:v>4.6252137300653685E-13</c:v>
                </c:pt>
                <c:pt idx="6918">
                  <c:v>4.6252137300653685E-13</c:v>
                </c:pt>
                <c:pt idx="6919">
                  <c:v>4.6252137300653685E-13</c:v>
                </c:pt>
                <c:pt idx="6920">
                  <c:v>4.6252137300653685E-13</c:v>
                </c:pt>
                <c:pt idx="6921">
                  <c:v>4.6252137300653685E-13</c:v>
                </c:pt>
                <c:pt idx="6922">
                  <c:v>4.6252137300653685E-13</c:v>
                </c:pt>
                <c:pt idx="6923">
                  <c:v>4.6252137300653685E-13</c:v>
                </c:pt>
                <c:pt idx="6924">
                  <c:v>4.6252137300653685E-13</c:v>
                </c:pt>
                <c:pt idx="6925">
                  <c:v>4.6252137300653685E-13</c:v>
                </c:pt>
                <c:pt idx="6926">
                  <c:v>4.6252137300653685E-13</c:v>
                </c:pt>
                <c:pt idx="6927">
                  <c:v>4.6252137300653685E-13</c:v>
                </c:pt>
                <c:pt idx="6928">
                  <c:v>4.6252137300653685E-13</c:v>
                </c:pt>
                <c:pt idx="6929">
                  <c:v>4.6252137300653685E-13</c:v>
                </c:pt>
                <c:pt idx="6930">
                  <c:v>4.6252137300653685E-13</c:v>
                </c:pt>
                <c:pt idx="6931">
                  <c:v>4.6252137300653685E-13</c:v>
                </c:pt>
                <c:pt idx="6932">
                  <c:v>4.6252137300653685E-13</c:v>
                </c:pt>
                <c:pt idx="6933">
                  <c:v>4.6252137300653685E-13</c:v>
                </c:pt>
                <c:pt idx="6934">
                  <c:v>4.6252137300653685E-13</c:v>
                </c:pt>
                <c:pt idx="6935">
                  <c:v>4.6252137300653685E-13</c:v>
                </c:pt>
                <c:pt idx="6936">
                  <c:v>4.6252137300653685E-13</c:v>
                </c:pt>
                <c:pt idx="6937">
                  <c:v>4.6252137300653685E-13</c:v>
                </c:pt>
                <c:pt idx="6938">
                  <c:v>4.6252137300653685E-13</c:v>
                </c:pt>
                <c:pt idx="6939">
                  <c:v>4.6252137300653685E-13</c:v>
                </c:pt>
                <c:pt idx="6940">
                  <c:v>4.6252137300653685E-13</c:v>
                </c:pt>
                <c:pt idx="6941">
                  <c:v>4.6252137300653685E-13</c:v>
                </c:pt>
                <c:pt idx="6942">
                  <c:v>4.6252137300653685E-13</c:v>
                </c:pt>
                <c:pt idx="6943">
                  <c:v>4.6252137300653685E-13</c:v>
                </c:pt>
                <c:pt idx="6944">
                  <c:v>4.6252137300653685E-13</c:v>
                </c:pt>
                <c:pt idx="6945">
                  <c:v>4.6252137300653685E-13</c:v>
                </c:pt>
                <c:pt idx="6946">
                  <c:v>4.6252137300653685E-13</c:v>
                </c:pt>
                <c:pt idx="6947">
                  <c:v>4.6252137300653685E-13</c:v>
                </c:pt>
                <c:pt idx="6948">
                  <c:v>4.6252137300653685E-13</c:v>
                </c:pt>
                <c:pt idx="6949">
                  <c:v>4.6252137300653685E-13</c:v>
                </c:pt>
                <c:pt idx="6950">
                  <c:v>4.6252137300653685E-13</c:v>
                </c:pt>
                <c:pt idx="6951">
                  <c:v>4.6252137300653685E-13</c:v>
                </c:pt>
                <c:pt idx="6952">
                  <c:v>4.6252137300653685E-13</c:v>
                </c:pt>
                <c:pt idx="6953">
                  <c:v>4.6252137300653685E-13</c:v>
                </c:pt>
                <c:pt idx="6954">
                  <c:v>4.6252137300653685E-13</c:v>
                </c:pt>
                <c:pt idx="6955">
                  <c:v>4.6252137300653685E-13</c:v>
                </c:pt>
                <c:pt idx="6956">
                  <c:v>4.6252137300653685E-13</c:v>
                </c:pt>
                <c:pt idx="6957">
                  <c:v>4.6252137300653685E-13</c:v>
                </c:pt>
                <c:pt idx="6958">
                  <c:v>4.6252137300653685E-13</c:v>
                </c:pt>
                <c:pt idx="6959">
                  <c:v>4.6252137300653685E-13</c:v>
                </c:pt>
                <c:pt idx="6960">
                  <c:v>4.6252137300653685E-13</c:v>
                </c:pt>
                <c:pt idx="6961">
                  <c:v>4.6252137300653685E-13</c:v>
                </c:pt>
                <c:pt idx="6962">
                  <c:v>4.6252137300653685E-13</c:v>
                </c:pt>
                <c:pt idx="6963">
                  <c:v>4.6252137300653685E-13</c:v>
                </c:pt>
                <c:pt idx="6964">
                  <c:v>4.6252137300653685E-13</c:v>
                </c:pt>
                <c:pt idx="6965">
                  <c:v>4.6252137300653685E-13</c:v>
                </c:pt>
                <c:pt idx="6966">
                  <c:v>4.6252137300653685E-13</c:v>
                </c:pt>
                <c:pt idx="6967">
                  <c:v>4.6252137300653685E-13</c:v>
                </c:pt>
                <c:pt idx="6968">
                  <c:v>4.6252137300653685E-13</c:v>
                </c:pt>
                <c:pt idx="6969">
                  <c:v>4.6279660145874681E-13</c:v>
                </c:pt>
                <c:pt idx="6970">
                  <c:v>2.3154601750198507E-13</c:v>
                </c:pt>
                <c:pt idx="6971">
                  <c:v>2.3170499178607685E-13</c:v>
                </c:pt>
                <c:pt idx="6972">
                  <c:v>0</c:v>
                </c:pt>
                <c:pt idx="6973">
                  <c:v>0</c:v>
                </c:pt>
                <c:pt idx="6974">
                  <c:v>0</c:v>
                </c:pt>
                <c:pt idx="6975">
                  <c:v>0</c:v>
                </c:pt>
                <c:pt idx="6976">
                  <c:v>0</c:v>
                </c:pt>
                <c:pt idx="6977">
                  <c:v>0</c:v>
                </c:pt>
                <c:pt idx="6978">
                  <c:v>0</c:v>
                </c:pt>
                <c:pt idx="6979">
                  <c:v>0</c:v>
                </c:pt>
                <c:pt idx="6980">
                  <c:v>0</c:v>
                </c:pt>
                <c:pt idx="6981">
                  <c:v>0</c:v>
                </c:pt>
                <c:pt idx="6982">
                  <c:v>0</c:v>
                </c:pt>
                <c:pt idx="6983">
                  <c:v>0</c:v>
                </c:pt>
                <c:pt idx="6984">
                  <c:v>0</c:v>
                </c:pt>
                <c:pt idx="6985">
                  <c:v>0</c:v>
                </c:pt>
                <c:pt idx="6986">
                  <c:v>0</c:v>
                </c:pt>
                <c:pt idx="6987">
                  <c:v>0</c:v>
                </c:pt>
                <c:pt idx="6988">
                  <c:v>0</c:v>
                </c:pt>
                <c:pt idx="6989">
                  <c:v>0</c:v>
                </c:pt>
                <c:pt idx="6990">
                  <c:v>0</c:v>
                </c:pt>
                <c:pt idx="6991">
                  <c:v>0</c:v>
                </c:pt>
                <c:pt idx="6992">
                  <c:v>0</c:v>
                </c:pt>
                <c:pt idx="6993">
                  <c:v>0</c:v>
                </c:pt>
                <c:pt idx="6994">
                  <c:v>0</c:v>
                </c:pt>
                <c:pt idx="6995">
                  <c:v>0</c:v>
                </c:pt>
                <c:pt idx="6996">
                  <c:v>0</c:v>
                </c:pt>
              </c:numCache>
            </c:numRef>
          </c:val>
          <c:smooth val="0"/>
          <c:extLst>
            <c:ext xmlns:c16="http://schemas.microsoft.com/office/drawing/2014/chart" uri="{C3380CC4-5D6E-409C-BE32-E72D297353CC}">
              <c16:uniqueId val="{00000004-34E5-0744-AA2C-554353F9D891}"/>
            </c:ext>
          </c:extLst>
        </c:ser>
        <c:ser>
          <c:idx val="5"/>
          <c:order val="5"/>
          <c:tx>
            <c:strRef>
              <c:f>'Rolling Stdev Data'!$F$1:$F$2</c:f>
              <c:strCache>
                <c:ptCount val="2"/>
                <c:pt idx="0">
                  <c:v>m3/d</c:v>
                </c:pt>
                <c:pt idx="1">
                  <c:v>SURJEK_AMMONIA_FLOW_RATE</c:v>
                </c:pt>
              </c:strCache>
            </c:strRef>
          </c:tx>
          <c:spPr>
            <a:ln w="28575" cap="rnd">
              <a:solidFill>
                <a:schemeClr val="accent6"/>
              </a:solidFill>
              <a:round/>
            </a:ln>
            <a:effectLst/>
          </c:spPr>
          <c:marker>
            <c:symbol val="none"/>
          </c:marker>
          <c:val>
            <c:numRef>
              <c:f>'Rolling Stdev Data'!$F$3:$F$7000</c:f>
              <c:numCache>
                <c:formatCode>General</c:formatCode>
                <c:ptCount val="699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0</c:v>
                </c:pt>
                <c:pt idx="2254">
                  <c:v>0</c:v>
                </c:pt>
                <c:pt idx="2255">
                  <c:v>0</c:v>
                </c:pt>
                <c:pt idx="2256">
                  <c:v>0</c:v>
                </c:pt>
                <c:pt idx="2257">
                  <c:v>0</c:v>
                </c:pt>
                <c:pt idx="2258">
                  <c:v>0</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pt idx="2452">
                  <c:v>0</c:v>
                </c:pt>
                <c:pt idx="2453">
                  <c:v>0</c:v>
                </c:pt>
                <c:pt idx="2454">
                  <c:v>0</c:v>
                </c:pt>
                <c:pt idx="2455">
                  <c:v>0</c:v>
                </c:pt>
                <c:pt idx="2456">
                  <c:v>0</c:v>
                </c:pt>
                <c:pt idx="2457">
                  <c:v>0</c:v>
                </c:pt>
                <c:pt idx="2458">
                  <c:v>0</c:v>
                </c:pt>
                <c:pt idx="2459">
                  <c:v>0</c:v>
                </c:pt>
                <c:pt idx="2460">
                  <c:v>0</c:v>
                </c:pt>
                <c:pt idx="2461">
                  <c:v>0</c:v>
                </c:pt>
                <c:pt idx="2462">
                  <c:v>0</c:v>
                </c:pt>
                <c:pt idx="2463">
                  <c:v>0</c:v>
                </c:pt>
                <c:pt idx="2464">
                  <c:v>0</c:v>
                </c:pt>
                <c:pt idx="2465">
                  <c:v>0</c:v>
                </c:pt>
                <c:pt idx="2466">
                  <c:v>0</c:v>
                </c:pt>
                <c:pt idx="2467">
                  <c:v>0</c:v>
                </c:pt>
                <c:pt idx="2468">
                  <c:v>0</c:v>
                </c:pt>
                <c:pt idx="2469">
                  <c:v>0</c:v>
                </c:pt>
                <c:pt idx="2470">
                  <c:v>0</c:v>
                </c:pt>
                <c:pt idx="2471">
                  <c:v>0</c:v>
                </c:pt>
                <c:pt idx="2472">
                  <c:v>0</c:v>
                </c:pt>
                <c:pt idx="2473">
                  <c:v>0</c:v>
                </c:pt>
                <c:pt idx="2474">
                  <c:v>0</c:v>
                </c:pt>
                <c:pt idx="2475">
                  <c:v>0</c:v>
                </c:pt>
                <c:pt idx="2476">
                  <c:v>0</c:v>
                </c:pt>
                <c:pt idx="2477">
                  <c:v>0</c:v>
                </c:pt>
                <c:pt idx="2478">
                  <c:v>0</c:v>
                </c:pt>
                <c:pt idx="2479">
                  <c:v>0</c:v>
                </c:pt>
                <c:pt idx="2480">
                  <c:v>0</c:v>
                </c:pt>
                <c:pt idx="2481">
                  <c:v>0</c:v>
                </c:pt>
                <c:pt idx="2482">
                  <c:v>0</c:v>
                </c:pt>
                <c:pt idx="2483">
                  <c:v>0</c:v>
                </c:pt>
                <c:pt idx="2484">
                  <c:v>0</c:v>
                </c:pt>
                <c:pt idx="2485">
                  <c:v>0</c:v>
                </c:pt>
                <c:pt idx="2486">
                  <c:v>0</c:v>
                </c:pt>
                <c:pt idx="2487">
                  <c:v>0</c:v>
                </c:pt>
                <c:pt idx="2488">
                  <c:v>0</c:v>
                </c:pt>
                <c:pt idx="2489">
                  <c:v>0</c:v>
                </c:pt>
                <c:pt idx="2490">
                  <c:v>0</c:v>
                </c:pt>
                <c:pt idx="2491">
                  <c:v>0</c:v>
                </c:pt>
                <c:pt idx="2492">
                  <c:v>0</c:v>
                </c:pt>
                <c:pt idx="2493">
                  <c:v>0</c:v>
                </c:pt>
                <c:pt idx="2494">
                  <c:v>0</c:v>
                </c:pt>
                <c:pt idx="2495">
                  <c:v>0</c:v>
                </c:pt>
                <c:pt idx="2496">
                  <c:v>0</c:v>
                </c:pt>
                <c:pt idx="2497">
                  <c:v>0</c:v>
                </c:pt>
                <c:pt idx="2498">
                  <c:v>0</c:v>
                </c:pt>
                <c:pt idx="2499">
                  <c:v>0</c:v>
                </c:pt>
                <c:pt idx="2500">
                  <c:v>0</c:v>
                </c:pt>
                <c:pt idx="2501">
                  <c:v>0</c:v>
                </c:pt>
                <c:pt idx="2502">
                  <c:v>0</c:v>
                </c:pt>
                <c:pt idx="2503">
                  <c:v>0</c:v>
                </c:pt>
                <c:pt idx="2504">
                  <c:v>0</c:v>
                </c:pt>
                <c:pt idx="2505">
                  <c:v>0</c:v>
                </c:pt>
                <c:pt idx="2506">
                  <c:v>0</c:v>
                </c:pt>
                <c:pt idx="2507">
                  <c:v>0</c:v>
                </c:pt>
                <c:pt idx="2508">
                  <c:v>0</c:v>
                </c:pt>
                <c:pt idx="2509">
                  <c:v>0</c:v>
                </c:pt>
                <c:pt idx="2510">
                  <c:v>0</c:v>
                </c:pt>
                <c:pt idx="2511">
                  <c:v>0</c:v>
                </c:pt>
                <c:pt idx="2512">
                  <c:v>0</c:v>
                </c:pt>
                <c:pt idx="2513">
                  <c:v>0</c:v>
                </c:pt>
                <c:pt idx="2514">
                  <c:v>0</c:v>
                </c:pt>
                <c:pt idx="2515">
                  <c:v>0</c:v>
                </c:pt>
                <c:pt idx="2516">
                  <c:v>0</c:v>
                </c:pt>
                <c:pt idx="2517">
                  <c:v>0</c:v>
                </c:pt>
                <c:pt idx="2518">
                  <c:v>0</c:v>
                </c:pt>
                <c:pt idx="2519">
                  <c:v>0</c:v>
                </c:pt>
                <c:pt idx="2520">
                  <c:v>0</c:v>
                </c:pt>
                <c:pt idx="2521">
                  <c:v>0</c:v>
                </c:pt>
                <c:pt idx="2522">
                  <c:v>0</c:v>
                </c:pt>
                <c:pt idx="2523">
                  <c:v>0</c:v>
                </c:pt>
                <c:pt idx="2524">
                  <c:v>0</c:v>
                </c:pt>
                <c:pt idx="2525">
                  <c:v>0</c:v>
                </c:pt>
                <c:pt idx="2526">
                  <c:v>0</c:v>
                </c:pt>
                <c:pt idx="2527">
                  <c:v>0</c:v>
                </c:pt>
                <c:pt idx="2528">
                  <c:v>0</c:v>
                </c:pt>
                <c:pt idx="2529">
                  <c:v>0</c:v>
                </c:pt>
                <c:pt idx="2530">
                  <c:v>0</c:v>
                </c:pt>
                <c:pt idx="2531">
                  <c:v>0</c:v>
                </c:pt>
                <c:pt idx="2532">
                  <c:v>0</c:v>
                </c:pt>
                <c:pt idx="2533">
                  <c:v>0</c:v>
                </c:pt>
                <c:pt idx="2534">
                  <c:v>0</c:v>
                </c:pt>
                <c:pt idx="2535">
                  <c:v>0</c:v>
                </c:pt>
                <c:pt idx="2536">
                  <c:v>0</c:v>
                </c:pt>
                <c:pt idx="2537">
                  <c:v>0</c:v>
                </c:pt>
                <c:pt idx="2538">
                  <c:v>0</c:v>
                </c:pt>
                <c:pt idx="2539">
                  <c:v>0</c:v>
                </c:pt>
                <c:pt idx="2540">
                  <c:v>0</c:v>
                </c:pt>
                <c:pt idx="2541">
                  <c:v>0</c:v>
                </c:pt>
                <c:pt idx="2542">
                  <c:v>0</c:v>
                </c:pt>
                <c:pt idx="2543">
                  <c:v>0</c:v>
                </c:pt>
                <c:pt idx="2544">
                  <c:v>0</c:v>
                </c:pt>
                <c:pt idx="2545">
                  <c:v>0</c:v>
                </c:pt>
                <c:pt idx="2546">
                  <c:v>0</c:v>
                </c:pt>
                <c:pt idx="2547">
                  <c:v>0</c:v>
                </c:pt>
                <c:pt idx="2548">
                  <c:v>0</c:v>
                </c:pt>
                <c:pt idx="2549">
                  <c:v>0</c:v>
                </c:pt>
                <c:pt idx="2550">
                  <c:v>0</c:v>
                </c:pt>
                <c:pt idx="2551">
                  <c:v>0</c:v>
                </c:pt>
                <c:pt idx="2552">
                  <c:v>0</c:v>
                </c:pt>
                <c:pt idx="2553">
                  <c:v>0</c:v>
                </c:pt>
                <c:pt idx="2554">
                  <c:v>0</c:v>
                </c:pt>
                <c:pt idx="2555">
                  <c:v>0</c:v>
                </c:pt>
                <c:pt idx="2556">
                  <c:v>0</c:v>
                </c:pt>
                <c:pt idx="2557">
                  <c:v>0</c:v>
                </c:pt>
                <c:pt idx="2558">
                  <c:v>0</c:v>
                </c:pt>
                <c:pt idx="2559">
                  <c:v>0</c:v>
                </c:pt>
                <c:pt idx="2560">
                  <c:v>0</c:v>
                </c:pt>
                <c:pt idx="2561">
                  <c:v>0</c:v>
                </c:pt>
                <c:pt idx="2562">
                  <c:v>0</c:v>
                </c:pt>
                <c:pt idx="2563">
                  <c:v>0</c:v>
                </c:pt>
                <c:pt idx="2564">
                  <c:v>0</c:v>
                </c:pt>
                <c:pt idx="2565">
                  <c:v>0</c:v>
                </c:pt>
                <c:pt idx="2566">
                  <c:v>0</c:v>
                </c:pt>
                <c:pt idx="2567">
                  <c:v>0</c:v>
                </c:pt>
                <c:pt idx="2568">
                  <c:v>0</c:v>
                </c:pt>
                <c:pt idx="2569">
                  <c:v>0</c:v>
                </c:pt>
                <c:pt idx="2570">
                  <c:v>0</c:v>
                </c:pt>
                <c:pt idx="2571">
                  <c:v>0</c:v>
                </c:pt>
                <c:pt idx="2572">
                  <c:v>0</c:v>
                </c:pt>
                <c:pt idx="2573">
                  <c:v>0</c:v>
                </c:pt>
                <c:pt idx="2574">
                  <c:v>0</c:v>
                </c:pt>
                <c:pt idx="2575">
                  <c:v>0</c:v>
                </c:pt>
                <c:pt idx="2576">
                  <c:v>0</c:v>
                </c:pt>
                <c:pt idx="2577">
                  <c:v>0</c:v>
                </c:pt>
                <c:pt idx="2578">
                  <c:v>0</c:v>
                </c:pt>
                <c:pt idx="2579">
                  <c:v>0</c:v>
                </c:pt>
                <c:pt idx="2580">
                  <c:v>0</c:v>
                </c:pt>
                <c:pt idx="2581">
                  <c:v>0</c:v>
                </c:pt>
                <c:pt idx="2582">
                  <c:v>0</c:v>
                </c:pt>
                <c:pt idx="2583">
                  <c:v>0</c:v>
                </c:pt>
                <c:pt idx="2584">
                  <c:v>0</c:v>
                </c:pt>
                <c:pt idx="2585">
                  <c:v>0</c:v>
                </c:pt>
                <c:pt idx="2586">
                  <c:v>0</c:v>
                </c:pt>
                <c:pt idx="2587">
                  <c:v>0</c:v>
                </c:pt>
                <c:pt idx="2588">
                  <c:v>0</c:v>
                </c:pt>
                <c:pt idx="2589">
                  <c:v>0</c:v>
                </c:pt>
                <c:pt idx="2590">
                  <c:v>0</c:v>
                </c:pt>
                <c:pt idx="2591">
                  <c:v>0</c:v>
                </c:pt>
                <c:pt idx="2592">
                  <c:v>0</c:v>
                </c:pt>
                <c:pt idx="2593">
                  <c:v>0</c:v>
                </c:pt>
                <c:pt idx="2594">
                  <c:v>0</c:v>
                </c:pt>
                <c:pt idx="2595">
                  <c:v>0</c:v>
                </c:pt>
                <c:pt idx="2596">
                  <c:v>0</c:v>
                </c:pt>
                <c:pt idx="2597">
                  <c:v>0</c:v>
                </c:pt>
                <c:pt idx="2598">
                  <c:v>0</c:v>
                </c:pt>
                <c:pt idx="2599">
                  <c:v>0</c:v>
                </c:pt>
                <c:pt idx="2600">
                  <c:v>0</c:v>
                </c:pt>
                <c:pt idx="2601">
                  <c:v>0</c:v>
                </c:pt>
                <c:pt idx="2602">
                  <c:v>0</c:v>
                </c:pt>
                <c:pt idx="2603">
                  <c:v>0</c:v>
                </c:pt>
                <c:pt idx="2604">
                  <c:v>0</c:v>
                </c:pt>
                <c:pt idx="2605">
                  <c:v>0</c:v>
                </c:pt>
                <c:pt idx="2606">
                  <c:v>0</c:v>
                </c:pt>
                <c:pt idx="2607">
                  <c:v>0</c:v>
                </c:pt>
                <c:pt idx="2608">
                  <c:v>0</c:v>
                </c:pt>
                <c:pt idx="2609">
                  <c:v>0</c:v>
                </c:pt>
                <c:pt idx="2610">
                  <c:v>0</c:v>
                </c:pt>
                <c:pt idx="2611">
                  <c:v>0</c:v>
                </c:pt>
                <c:pt idx="2612">
                  <c:v>0</c:v>
                </c:pt>
                <c:pt idx="2613">
                  <c:v>0</c:v>
                </c:pt>
                <c:pt idx="2614">
                  <c:v>0</c:v>
                </c:pt>
                <c:pt idx="2615">
                  <c:v>0</c:v>
                </c:pt>
                <c:pt idx="2616">
                  <c:v>0</c:v>
                </c:pt>
                <c:pt idx="2617">
                  <c:v>0</c:v>
                </c:pt>
                <c:pt idx="2618">
                  <c:v>0</c:v>
                </c:pt>
                <c:pt idx="2619">
                  <c:v>0</c:v>
                </c:pt>
                <c:pt idx="2620">
                  <c:v>0</c:v>
                </c:pt>
                <c:pt idx="2621">
                  <c:v>0</c:v>
                </c:pt>
                <c:pt idx="2622">
                  <c:v>0</c:v>
                </c:pt>
                <c:pt idx="2623">
                  <c:v>0</c:v>
                </c:pt>
                <c:pt idx="2624">
                  <c:v>0</c:v>
                </c:pt>
                <c:pt idx="2625">
                  <c:v>0</c:v>
                </c:pt>
                <c:pt idx="2626">
                  <c:v>0</c:v>
                </c:pt>
                <c:pt idx="2627">
                  <c:v>0</c:v>
                </c:pt>
                <c:pt idx="2628">
                  <c:v>0</c:v>
                </c:pt>
                <c:pt idx="2629">
                  <c:v>0</c:v>
                </c:pt>
                <c:pt idx="2630">
                  <c:v>0</c:v>
                </c:pt>
                <c:pt idx="2631">
                  <c:v>0</c:v>
                </c:pt>
                <c:pt idx="2632">
                  <c:v>0</c:v>
                </c:pt>
                <c:pt idx="2633">
                  <c:v>0</c:v>
                </c:pt>
                <c:pt idx="2634">
                  <c:v>0</c:v>
                </c:pt>
                <c:pt idx="2635">
                  <c:v>0</c:v>
                </c:pt>
                <c:pt idx="2636">
                  <c:v>0</c:v>
                </c:pt>
                <c:pt idx="2637">
                  <c:v>0</c:v>
                </c:pt>
                <c:pt idx="2638">
                  <c:v>0</c:v>
                </c:pt>
                <c:pt idx="2639">
                  <c:v>0</c:v>
                </c:pt>
                <c:pt idx="2640">
                  <c:v>0</c:v>
                </c:pt>
                <c:pt idx="2641">
                  <c:v>0</c:v>
                </c:pt>
                <c:pt idx="2642">
                  <c:v>0</c:v>
                </c:pt>
                <c:pt idx="2643">
                  <c:v>0</c:v>
                </c:pt>
                <c:pt idx="2644">
                  <c:v>0</c:v>
                </c:pt>
                <c:pt idx="2645">
                  <c:v>0</c:v>
                </c:pt>
                <c:pt idx="2646">
                  <c:v>0</c:v>
                </c:pt>
                <c:pt idx="2647">
                  <c:v>0</c:v>
                </c:pt>
                <c:pt idx="2648">
                  <c:v>0</c:v>
                </c:pt>
                <c:pt idx="2649">
                  <c:v>0</c:v>
                </c:pt>
                <c:pt idx="2650">
                  <c:v>0</c:v>
                </c:pt>
                <c:pt idx="2651">
                  <c:v>0</c:v>
                </c:pt>
                <c:pt idx="2652">
                  <c:v>0</c:v>
                </c:pt>
                <c:pt idx="2653">
                  <c:v>0</c:v>
                </c:pt>
                <c:pt idx="2654">
                  <c:v>0</c:v>
                </c:pt>
                <c:pt idx="2655">
                  <c:v>0</c:v>
                </c:pt>
                <c:pt idx="2656">
                  <c:v>0</c:v>
                </c:pt>
                <c:pt idx="2657">
                  <c:v>0</c:v>
                </c:pt>
                <c:pt idx="2658">
                  <c:v>0</c:v>
                </c:pt>
                <c:pt idx="2659">
                  <c:v>0</c:v>
                </c:pt>
                <c:pt idx="2660">
                  <c:v>0</c:v>
                </c:pt>
                <c:pt idx="2661">
                  <c:v>0</c:v>
                </c:pt>
                <c:pt idx="2662">
                  <c:v>0</c:v>
                </c:pt>
                <c:pt idx="2663">
                  <c:v>0</c:v>
                </c:pt>
                <c:pt idx="2664">
                  <c:v>0</c:v>
                </c:pt>
                <c:pt idx="2665">
                  <c:v>0</c:v>
                </c:pt>
                <c:pt idx="2666">
                  <c:v>0</c:v>
                </c:pt>
                <c:pt idx="2667">
                  <c:v>0</c:v>
                </c:pt>
                <c:pt idx="2668">
                  <c:v>0</c:v>
                </c:pt>
                <c:pt idx="2669">
                  <c:v>0</c:v>
                </c:pt>
                <c:pt idx="2670">
                  <c:v>0</c:v>
                </c:pt>
                <c:pt idx="2671">
                  <c:v>0</c:v>
                </c:pt>
                <c:pt idx="2672">
                  <c:v>0</c:v>
                </c:pt>
                <c:pt idx="2673">
                  <c:v>0</c:v>
                </c:pt>
                <c:pt idx="2674">
                  <c:v>0</c:v>
                </c:pt>
                <c:pt idx="2675">
                  <c:v>0</c:v>
                </c:pt>
                <c:pt idx="2676">
                  <c:v>0</c:v>
                </c:pt>
                <c:pt idx="2677">
                  <c:v>0</c:v>
                </c:pt>
                <c:pt idx="2678">
                  <c:v>0</c:v>
                </c:pt>
                <c:pt idx="2679">
                  <c:v>0</c:v>
                </c:pt>
                <c:pt idx="2680">
                  <c:v>0</c:v>
                </c:pt>
                <c:pt idx="2681">
                  <c:v>0</c:v>
                </c:pt>
                <c:pt idx="2682">
                  <c:v>0</c:v>
                </c:pt>
                <c:pt idx="2683">
                  <c:v>0</c:v>
                </c:pt>
                <c:pt idx="2684">
                  <c:v>0</c:v>
                </c:pt>
                <c:pt idx="2685">
                  <c:v>0</c:v>
                </c:pt>
                <c:pt idx="2686">
                  <c:v>0</c:v>
                </c:pt>
                <c:pt idx="2687">
                  <c:v>0</c:v>
                </c:pt>
                <c:pt idx="2688">
                  <c:v>0</c:v>
                </c:pt>
                <c:pt idx="2689">
                  <c:v>0</c:v>
                </c:pt>
                <c:pt idx="2690">
                  <c:v>0</c:v>
                </c:pt>
                <c:pt idx="2691">
                  <c:v>0</c:v>
                </c:pt>
                <c:pt idx="2692">
                  <c:v>0</c:v>
                </c:pt>
                <c:pt idx="2693">
                  <c:v>0</c:v>
                </c:pt>
                <c:pt idx="2694">
                  <c:v>0</c:v>
                </c:pt>
                <c:pt idx="2695">
                  <c:v>0</c:v>
                </c:pt>
                <c:pt idx="2696">
                  <c:v>0</c:v>
                </c:pt>
                <c:pt idx="2697">
                  <c:v>0</c:v>
                </c:pt>
                <c:pt idx="2698">
                  <c:v>0</c:v>
                </c:pt>
                <c:pt idx="2699">
                  <c:v>0</c:v>
                </c:pt>
                <c:pt idx="2700">
                  <c:v>0</c:v>
                </c:pt>
                <c:pt idx="2701">
                  <c:v>0</c:v>
                </c:pt>
                <c:pt idx="2702">
                  <c:v>0</c:v>
                </c:pt>
                <c:pt idx="2703">
                  <c:v>0</c:v>
                </c:pt>
                <c:pt idx="2704">
                  <c:v>0</c:v>
                </c:pt>
                <c:pt idx="2705">
                  <c:v>0</c:v>
                </c:pt>
                <c:pt idx="2706">
                  <c:v>0</c:v>
                </c:pt>
                <c:pt idx="2707">
                  <c:v>0</c:v>
                </c:pt>
                <c:pt idx="2708">
                  <c:v>0</c:v>
                </c:pt>
                <c:pt idx="2709">
                  <c:v>0</c:v>
                </c:pt>
                <c:pt idx="2710">
                  <c:v>0</c:v>
                </c:pt>
                <c:pt idx="2711">
                  <c:v>0</c:v>
                </c:pt>
                <c:pt idx="2712">
                  <c:v>0</c:v>
                </c:pt>
                <c:pt idx="2713">
                  <c:v>0</c:v>
                </c:pt>
                <c:pt idx="2714">
                  <c:v>0</c:v>
                </c:pt>
                <c:pt idx="2715">
                  <c:v>0</c:v>
                </c:pt>
                <c:pt idx="2716">
                  <c:v>0</c:v>
                </c:pt>
                <c:pt idx="2717">
                  <c:v>0</c:v>
                </c:pt>
                <c:pt idx="2718">
                  <c:v>0</c:v>
                </c:pt>
                <c:pt idx="2719">
                  <c:v>0</c:v>
                </c:pt>
                <c:pt idx="2720">
                  <c:v>0</c:v>
                </c:pt>
                <c:pt idx="2721">
                  <c:v>0</c:v>
                </c:pt>
                <c:pt idx="2722">
                  <c:v>0</c:v>
                </c:pt>
                <c:pt idx="2723">
                  <c:v>0</c:v>
                </c:pt>
                <c:pt idx="2724">
                  <c:v>0</c:v>
                </c:pt>
                <c:pt idx="2725">
                  <c:v>0</c:v>
                </c:pt>
                <c:pt idx="2726">
                  <c:v>0</c:v>
                </c:pt>
                <c:pt idx="2727">
                  <c:v>0</c:v>
                </c:pt>
                <c:pt idx="2728">
                  <c:v>0</c:v>
                </c:pt>
                <c:pt idx="2729">
                  <c:v>0</c:v>
                </c:pt>
                <c:pt idx="2730">
                  <c:v>0</c:v>
                </c:pt>
                <c:pt idx="2731">
                  <c:v>0</c:v>
                </c:pt>
                <c:pt idx="2732">
                  <c:v>0</c:v>
                </c:pt>
                <c:pt idx="2733">
                  <c:v>0</c:v>
                </c:pt>
                <c:pt idx="2734">
                  <c:v>0</c:v>
                </c:pt>
                <c:pt idx="2735">
                  <c:v>0</c:v>
                </c:pt>
                <c:pt idx="2736">
                  <c:v>0</c:v>
                </c:pt>
                <c:pt idx="2737">
                  <c:v>0</c:v>
                </c:pt>
                <c:pt idx="2738">
                  <c:v>0</c:v>
                </c:pt>
                <c:pt idx="2739">
                  <c:v>0</c:v>
                </c:pt>
                <c:pt idx="2740">
                  <c:v>0</c:v>
                </c:pt>
                <c:pt idx="2741">
                  <c:v>0</c:v>
                </c:pt>
                <c:pt idx="2742">
                  <c:v>0</c:v>
                </c:pt>
                <c:pt idx="2743">
                  <c:v>0</c:v>
                </c:pt>
                <c:pt idx="2744">
                  <c:v>0</c:v>
                </c:pt>
                <c:pt idx="2745">
                  <c:v>0</c:v>
                </c:pt>
                <c:pt idx="2746">
                  <c:v>0</c:v>
                </c:pt>
                <c:pt idx="2747">
                  <c:v>0</c:v>
                </c:pt>
                <c:pt idx="2748">
                  <c:v>0</c:v>
                </c:pt>
                <c:pt idx="2749">
                  <c:v>0</c:v>
                </c:pt>
                <c:pt idx="2750">
                  <c:v>0</c:v>
                </c:pt>
                <c:pt idx="2751">
                  <c:v>0</c:v>
                </c:pt>
                <c:pt idx="2752">
                  <c:v>0</c:v>
                </c:pt>
                <c:pt idx="2753">
                  <c:v>0</c:v>
                </c:pt>
                <c:pt idx="2754">
                  <c:v>0</c:v>
                </c:pt>
                <c:pt idx="2755">
                  <c:v>0</c:v>
                </c:pt>
                <c:pt idx="2756">
                  <c:v>0</c:v>
                </c:pt>
                <c:pt idx="2757">
                  <c:v>0</c:v>
                </c:pt>
                <c:pt idx="2758">
                  <c:v>0</c:v>
                </c:pt>
                <c:pt idx="2759">
                  <c:v>0</c:v>
                </c:pt>
                <c:pt idx="2760">
                  <c:v>0</c:v>
                </c:pt>
                <c:pt idx="2761">
                  <c:v>0</c:v>
                </c:pt>
                <c:pt idx="2762">
                  <c:v>0</c:v>
                </c:pt>
                <c:pt idx="2763">
                  <c:v>0</c:v>
                </c:pt>
                <c:pt idx="2764">
                  <c:v>0</c:v>
                </c:pt>
                <c:pt idx="2765">
                  <c:v>0</c:v>
                </c:pt>
                <c:pt idx="2766">
                  <c:v>0</c:v>
                </c:pt>
                <c:pt idx="2767">
                  <c:v>0</c:v>
                </c:pt>
                <c:pt idx="2768">
                  <c:v>0</c:v>
                </c:pt>
                <c:pt idx="2769">
                  <c:v>0</c:v>
                </c:pt>
                <c:pt idx="2770">
                  <c:v>0</c:v>
                </c:pt>
                <c:pt idx="2771">
                  <c:v>0</c:v>
                </c:pt>
                <c:pt idx="2772">
                  <c:v>0</c:v>
                </c:pt>
                <c:pt idx="2773">
                  <c:v>0</c:v>
                </c:pt>
                <c:pt idx="2774">
                  <c:v>0</c:v>
                </c:pt>
                <c:pt idx="2775">
                  <c:v>0</c:v>
                </c:pt>
                <c:pt idx="2776">
                  <c:v>0</c:v>
                </c:pt>
                <c:pt idx="2777">
                  <c:v>0</c:v>
                </c:pt>
                <c:pt idx="2778">
                  <c:v>0</c:v>
                </c:pt>
                <c:pt idx="2779">
                  <c:v>0</c:v>
                </c:pt>
                <c:pt idx="2780">
                  <c:v>0</c:v>
                </c:pt>
                <c:pt idx="2781">
                  <c:v>0</c:v>
                </c:pt>
                <c:pt idx="2782">
                  <c:v>0</c:v>
                </c:pt>
                <c:pt idx="2783">
                  <c:v>0</c:v>
                </c:pt>
                <c:pt idx="2784">
                  <c:v>0</c:v>
                </c:pt>
                <c:pt idx="2785">
                  <c:v>0</c:v>
                </c:pt>
                <c:pt idx="2786">
                  <c:v>0</c:v>
                </c:pt>
                <c:pt idx="2787">
                  <c:v>0</c:v>
                </c:pt>
                <c:pt idx="2788">
                  <c:v>0</c:v>
                </c:pt>
                <c:pt idx="2789">
                  <c:v>0</c:v>
                </c:pt>
                <c:pt idx="2790">
                  <c:v>0</c:v>
                </c:pt>
                <c:pt idx="2791">
                  <c:v>0</c:v>
                </c:pt>
                <c:pt idx="2792">
                  <c:v>0</c:v>
                </c:pt>
                <c:pt idx="2793">
                  <c:v>0</c:v>
                </c:pt>
                <c:pt idx="2794">
                  <c:v>0</c:v>
                </c:pt>
                <c:pt idx="2795">
                  <c:v>0</c:v>
                </c:pt>
                <c:pt idx="2796">
                  <c:v>0</c:v>
                </c:pt>
                <c:pt idx="2797">
                  <c:v>0</c:v>
                </c:pt>
                <c:pt idx="2798">
                  <c:v>0</c:v>
                </c:pt>
                <c:pt idx="2799">
                  <c:v>0</c:v>
                </c:pt>
                <c:pt idx="2800">
                  <c:v>0</c:v>
                </c:pt>
                <c:pt idx="2801">
                  <c:v>0</c:v>
                </c:pt>
                <c:pt idx="2802">
                  <c:v>0</c:v>
                </c:pt>
                <c:pt idx="2803">
                  <c:v>0</c:v>
                </c:pt>
                <c:pt idx="2804">
                  <c:v>0</c:v>
                </c:pt>
                <c:pt idx="2805">
                  <c:v>0</c:v>
                </c:pt>
                <c:pt idx="2806">
                  <c:v>0</c:v>
                </c:pt>
                <c:pt idx="2807">
                  <c:v>0</c:v>
                </c:pt>
                <c:pt idx="2808">
                  <c:v>0</c:v>
                </c:pt>
                <c:pt idx="2809">
                  <c:v>0</c:v>
                </c:pt>
                <c:pt idx="2810">
                  <c:v>0</c:v>
                </c:pt>
                <c:pt idx="2811">
                  <c:v>0</c:v>
                </c:pt>
                <c:pt idx="2812">
                  <c:v>0</c:v>
                </c:pt>
                <c:pt idx="2813">
                  <c:v>0</c:v>
                </c:pt>
                <c:pt idx="2814">
                  <c:v>0</c:v>
                </c:pt>
                <c:pt idx="2815">
                  <c:v>0</c:v>
                </c:pt>
                <c:pt idx="2816">
                  <c:v>0</c:v>
                </c:pt>
                <c:pt idx="2817">
                  <c:v>0</c:v>
                </c:pt>
                <c:pt idx="2818">
                  <c:v>0</c:v>
                </c:pt>
                <c:pt idx="2819">
                  <c:v>0</c:v>
                </c:pt>
                <c:pt idx="2820">
                  <c:v>0</c:v>
                </c:pt>
                <c:pt idx="2821">
                  <c:v>0</c:v>
                </c:pt>
                <c:pt idx="2822">
                  <c:v>0</c:v>
                </c:pt>
                <c:pt idx="2823">
                  <c:v>0</c:v>
                </c:pt>
                <c:pt idx="2824">
                  <c:v>0</c:v>
                </c:pt>
                <c:pt idx="2825">
                  <c:v>0</c:v>
                </c:pt>
                <c:pt idx="2826">
                  <c:v>0</c:v>
                </c:pt>
                <c:pt idx="2827">
                  <c:v>0</c:v>
                </c:pt>
                <c:pt idx="2828">
                  <c:v>0</c:v>
                </c:pt>
                <c:pt idx="2829">
                  <c:v>0</c:v>
                </c:pt>
                <c:pt idx="2830">
                  <c:v>0</c:v>
                </c:pt>
                <c:pt idx="2831">
                  <c:v>0</c:v>
                </c:pt>
                <c:pt idx="2832">
                  <c:v>0</c:v>
                </c:pt>
                <c:pt idx="2833">
                  <c:v>0</c:v>
                </c:pt>
                <c:pt idx="2834">
                  <c:v>0</c:v>
                </c:pt>
                <c:pt idx="2835">
                  <c:v>0</c:v>
                </c:pt>
                <c:pt idx="2836">
                  <c:v>0</c:v>
                </c:pt>
                <c:pt idx="2837">
                  <c:v>0</c:v>
                </c:pt>
                <c:pt idx="2838">
                  <c:v>0</c:v>
                </c:pt>
                <c:pt idx="2839">
                  <c:v>0</c:v>
                </c:pt>
                <c:pt idx="2840">
                  <c:v>0</c:v>
                </c:pt>
                <c:pt idx="2841">
                  <c:v>0</c:v>
                </c:pt>
                <c:pt idx="2842">
                  <c:v>0</c:v>
                </c:pt>
                <c:pt idx="2843">
                  <c:v>0</c:v>
                </c:pt>
                <c:pt idx="2844">
                  <c:v>0</c:v>
                </c:pt>
                <c:pt idx="2845">
                  <c:v>0</c:v>
                </c:pt>
                <c:pt idx="2846">
                  <c:v>0</c:v>
                </c:pt>
                <c:pt idx="2847">
                  <c:v>0</c:v>
                </c:pt>
                <c:pt idx="2848">
                  <c:v>0</c:v>
                </c:pt>
                <c:pt idx="2849">
                  <c:v>0</c:v>
                </c:pt>
                <c:pt idx="2850">
                  <c:v>0</c:v>
                </c:pt>
                <c:pt idx="2851">
                  <c:v>0</c:v>
                </c:pt>
                <c:pt idx="2852">
                  <c:v>0</c:v>
                </c:pt>
                <c:pt idx="2853">
                  <c:v>0</c:v>
                </c:pt>
                <c:pt idx="2854">
                  <c:v>0</c:v>
                </c:pt>
                <c:pt idx="2855">
                  <c:v>0</c:v>
                </c:pt>
                <c:pt idx="2856">
                  <c:v>0</c:v>
                </c:pt>
                <c:pt idx="2857">
                  <c:v>0</c:v>
                </c:pt>
                <c:pt idx="2858">
                  <c:v>0</c:v>
                </c:pt>
                <c:pt idx="2859">
                  <c:v>0</c:v>
                </c:pt>
                <c:pt idx="2860">
                  <c:v>0</c:v>
                </c:pt>
                <c:pt idx="2861">
                  <c:v>0</c:v>
                </c:pt>
                <c:pt idx="2862">
                  <c:v>0</c:v>
                </c:pt>
                <c:pt idx="2863">
                  <c:v>0</c:v>
                </c:pt>
                <c:pt idx="2864">
                  <c:v>0</c:v>
                </c:pt>
                <c:pt idx="2865">
                  <c:v>0</c:v>
                </c:pt>
                <c:pt idx="2866">
                  <c:v>0</c:v>
                </c:pt>
                <c:pt idx="2867">
                  <c:v>0</c:v>
                </c:pt>
                <c:pt idx="2868">
                  <c:v>0</c:v>
                </c:pt>
                <c:pt idx="2869">
                  <c:v>0</c:v>
                </c:pt>
                <c:pt idx="2870">
                  <c:v>0</c:v>
                </c:pt>
                <c:pt idx="2871">
                  <c:v>0</c:v>
                </c:pt>
                <c:pt idx="2872">
                  <c:v>0</c:v>
                </c:pt>
                <c:pt idx="2873">
                  <c:v>0</c:v>
                </c:pt>
                <c:pt idx="2874">
                  <c:v>0</c:v>
                </c:pt>
                <c:pt idx="2875">
                  <c:v>0</c:v>
                </c:pt>
                <c:pt idx="2876">
                  <c:v>0</c:v>
                </c:pt>
                <c:pt idx="2877">
                  <c:v>0</c:v>
                </c:pt>
                <c:pt idx="2878">
                  <c:v>0</c:v>
                </c:pt>
                <c:pt idx="2879">
                  <c:v>0</c:v>
                </c:pt>
                <c:pt idx="2880">
                  <c:v>0</c:v>
                </c:pt>
                <c:pt idx="2881">
                  <c:v>0</c:v>
                </c:pt>
                <c:pt idx="2882">
                  <c:v>0</c:v>
                </c:pt>
                <c:pt idx="2883">
                  <c:v>0</c:v>
                </c:pt>
                <c:pt idx="2884">
                  <c:v>0</c:v>
                </c:pt>
                <c:pt idx="2885">
                  <c:v>0</c:v>
                </c:pt>
                <c:pt idx="2886">
                  <c:v>0</c:v>
                </c:pt>
                <c:pt idx="2887">
                  <c:v>0</c:v>
                </c:pt>
                <c:pt idx="2888">
                  <c:v>0</c:v>
                </c:pt>
                <c:pt idx="2889">
                  <c:v>0</c:v>
                </c:pt>
                <c:pt idx="2890">
                  <c:v>0</c:v>
                </c:pt>
                <c:pt idx="2891">
                  <c:v>0</c:v>
                </c:pt>
                <c:pt idx="2892">
                  <c:v>0</c:v>
                </c:pt>
                <c:pt idx="2893">
                  <c:v>0</c:v>
                </c:pt>
                <c:pt idx="2894">
                  <c:v>0</c:v>
                </c:pt>
                <c:pt idx="2895">
                  <c:v>0</c:v>
                </c:pt>
                <c:pt idx="2896">
                  <c:v>0</c:v>
                </c:pt>
                <c:pt idx="2897">
                  <c:v>0</c:v>
                </c:pt>
                <c:pt idx="2898">
                  <c:v>0</c:v>
                </c:pt>
                <c:pt idx="2899">
                  <c:v>0</c:v>
                </c:pt>
                <c:pt idx="2900">
                  <c:v>0</c:v>
                </c:pt>
                <c:pt idx="2901">
                  <c:v>0</c:v>
                </c:pt>
                <c:pt idx="2902">
                  <c:v>0</c:v>
                </c:pt>
                <c:pt idx="2903">
                  <c:v>0</c:v>
                </c:pt>
                <c:pt idx="2904">
                  <c:v>0</c:v>
                </c:pt>
                <c:pt idx="2905">
                  <c:v>0</c:v>
                </c:pt>
                <c:pt idx="2906">
                  <c:v>0</c:v>
                </c:pt>
                <c:pt idx="2907">
                  <c:v>0</c:v>
                </c:pt>
                <c:pt idx="2908">
                  <c:v>0</c:v>
                </c:pt>
                <c:pt idx="2909">
                  <c:v>0</c:v>
                </c:pt>
                <c:pt idx="2910">
                  <c:v>0</c:v>
                </c:pt>
                <c:pt idx="2911">
                  <c:v>0</c:v>
                </c:pt>
                <c:pt idx="2912">
                  <c:v>0</c:v>
                </c:pt>
                <c:pt idx="2913">
                  <c:v>0</c:v>
                </c:pt>
                <c:pt idx="2914">
                  <c:v>0</c:v>
                </c:pt>
                <c:pt idx="2915">
                  <c:v>0</c:v>
                </c:pt>
                <c:pt idx="2916">
                  <c:v>0</c:v>
                </c:pt>
                <c:pt idx="2917">
                  <c:v>0</c:v>
                </c:pt>
                <c:pt idx="2918">
                  <c:v>0</c:v>
                </c:pt>
                <c:pt idx="2919">
                  <c:v>0</c:v>
                </c:pt>
                <c:pt idx="2920">
                  <c:v>0</c:v>
                </c:pt>
                <c:pt idx="2921">
                  <c:v>0</c:v>
                </c:pt>
                <c:pt idx="2922">
                  <c:v>0</c:v>
                </c:pt>
                <c:pt idx="2923">
                  <c:v>0</c:v>
                </c:pt>
                <c:pt idx="2924">
                  <c:v>0</c:v>
                </c:pt>
                <c:pt idx="2925">
                  <c:v>0</c:v>
                </c:pt>
                <c:pt idx="2926">
                  <c:v>0</c:v>
                </c:pt>
                <c:pt idx="2927">
                  <c:v>0</c:v>
                </c:pt>
                <c:pt idx="2928">
                  <c:v>0</c:v>
                </c:pt>
                <c:pt idx="2929">
                  <c:v>0</c:v>
                </c:pt>
                <c:pt idx="2930">
                  <c:v>0</c:v>
                </c:pt>
                <c:pt idx="2931">
                  <c:v>0</c:v>
                </c:pt>
                <c:pt idx="2932">
                  <c:v>0</c:v>
                </c:pt>
                <c:pt idx="2933">
                  <c:v>0</c:v>
                </c:pt>
                <c:pt idx="2934">
                  <c:v>0</c:v>
                </c:pt>
                <c:pt idx="2935">
                  <c:v>0</c:v>
                </c:pt>
                <c:pt idx="2936">
                  <c:v>0</c:v>
                </c:pt>
                <c:pt idx="2937">
                  <c:v>0</c:v>
                </c:pt>
                <c:pt idx="2938">
                  <c:v>0</c:v>
                </c:pt>
                <c:pt idx="2939">
                  <c:v>0</c:v>
                </c:pt>
                <c:pt idx="2940">
                  <c:v>0</c:v>
                </c:pt>
                <c:pt idx="2941">
                  <c:v>0</c:v>
                </c:pt>
                <c:pt idx="2942">
                  <c:v>0</c:v>
                </c:pt>
                <c:pt idx="2943">
                  <c:v>0</c:v>
                </c:pt>
                <c:pt idx="2944">
                  <c:v>0</c:v>
                </c:pt>
                <c:pt idx="2945">
                  <c:v>0</c:v>
                </c:pt>
                <c:pt idx="2946">
                  <c:v>0</c:v>
                </c:pt>
                <c:pt idx="2947">
                  <c:v>0</c:v>
                </c:pt>
                <c:pt idx="2948">
                  <c:v>0</c:v>
                </c:pt>
                <c:pt idx="2949">
                  <c:v>0</c:v>
                </c:pt>
                <c:pt idx="2950">
                  <c:v>0</c:v>
                </c:pt>
                <c:pt idx="2951">
                  <c:v>0</c:v>
                </c:pt>
                <c:pt idx="2952">
                  <c:v>0</c:v>
                </c:pt>
                <c:pt idx="2953">
                  <c:v>0</c:v>
                </c:pt>
                <c:pt idx="2954">
                  <c:v>0</c:v>
                </c:pt>
                <c:pt idx="2955">
                  <c:v>0</c:v>
                </c:pt>
                <c:pt idx="2956">
                  <c:v>0</c:v>
                </c:pt>
                <c:pt idx="2957">
                  <c:v>0</c:v>
                </c:pt>
                <c:pt idx="2958">
                  <c:v>0</c:v>
                </c:pt>
                <c:pt idx="2959">
                  <c:v>0</c:v>
                </c:pt>
                <c:pt idx="2960">
                  <c:v>0</c:v>
                </c:pt>
                <c:pt idx="2961">
                  <c:v>0</c:v>
                </c:pt>
                <c:pt idx="2962">
                  <c:v>0</c:v>
                </c:pt>
                <c:pt idx="2963">
                  <c:v>0</c:v>
                </c:pt>
                <c:pt idx="2964">
                  <c:v>0</c:v>
                </c:pt>
                <c:pt idx="2965">
                  <c:v>0</c:v>
                </c:pt>
                <c:pt idx="2966">
                  <c:v>0</c:v>
                </c:pt>
                <c:pt idx="2967">
                  <c:v>0</c:v>
                </c:pt>
                <c:pt idx="2968">
                  <c:v>0</c:v>
                </c:pt>
                <c:pt idx="2969">
                  <c:v>0</c:v>
                </c:pt>
                <c:pt idx="2970">
                  <c:v>0</c:v>
                </c:pt>
                <c:pt idx="2971">
                  <c:v>0</c:v>
                </c:pt>
                <c:pt idx="2972">
                  <c:v>0</c:v>
                </c:pt>
                <c:pt idx="2973">
                  <c:v>0</c:v>
                </c:pt>
                <c:pt idx="2974">
                  <c:v>0</c:v>
                </c:pt>
                <c:pt idx="2975">
                  <c:v>0</c:v>
                </c:pt>
                <c:pt idx="2976">
                  <c:v>0</c:v>
                </c:pt>
                <c:pt idx="2977">
                  <c:v>0</c:v>
                </c:pt>
                <c:pt idx="2978">
                  <c:v>0</c:v>
                </c:pt>
                <c:pt idx="2979">
                  <c:v>0</c:v>
                </c:pt>
                <c:pt idx="2980">
                  <c:v>0</c:v>
                </c:pt>
                <c:pt idx="2981">
                  <c:v>0</c:v>
                </c:pt>
                <c:pt idx="2982">
                  <c:v>0</c:v>
                </c:pt>
                <c:pt idx="2983">
                  <c:v>0</c:v>
                </c:pt>
                <c:pt idx="2984">
                  <c:v>0</c:v>
                </c:pt>
                <c:pt idx="2985">
                  <c:v>0</c:v>
                </c:pt>
                <c:pt idx="2986">
                  <c:v>0</c:v>
                </c:pt>
                <c:pt idx="2987">
                  <c:v>0</c:v>
                </c:pt>
                <c:pt idx="2988">
                  <c:v>0</c:v>
                </c:pt>
                <c:pt idx="2989">
                  <c:v>0</c:v>
                </c:pt>
                <c:pt idx="2990">
                  <c:v>0</c:v>
                </c:pt>
                <c:pt idx="2991">
                  <c:v>0</c:v>
                </c:pt>
                <c:pt idx="2992">
                  <c:v>0</c:v>
                </c:pt>
                <c:pt idx="2993">
                  <c:v>0</c:v>
                </c:pt>
                <c:pt idx="2994">
                  <c:v>0</c:v>
                </c:pt>
                <c:pt idx="2995">
                  <c:v>0</c:v>
                </c:pt>
                <c:pt idx="2996">
                  <c:v>0</c:v>
                </c:pt>
                <c:pt idx="2997">
                  <c:v>0</c:v>
                </c:pt>
                <c:pt idx="2998">
                  <c:v>0</c:v>
                </c:pt>
                <c:pt idx="2999">
                  <c:v>0</c:v>
                </c:pt>
                <c:pt idx="3000">
                  <c:v>0</c:v>
                </c:pt>
                <c:pt idx="3001">
                  <c:v>0</c:v>
                </c:pt>
                <c:pt idx="3002">
                  <c:v>0</c:v>
                </c:pt>
                <c:pt idx="3003">
                  <c:v>0</c:v>
                </c:pt>
                <c:pt idx="3004">
                  <c:v>0</c:v>
                </c:pt>
                <c:pt idx="3005">
                  <c:v>0</c:v>
                </c:pt>
                <c:pt idx="3006">
                  <c:v>0</c:v>
                </c:pt>
                <c:pt idx="3007">
                  <c:v>0</c:v>
                </c:pt>
                <c:pt idx="3008">
                  <c:v>0</c:v>
                </c:pt>
                <c:pt idx="3009">
                  <c:v>0</c:v>
                </c:pt>
                <c:pt idx="3010">
                  <c:v>0</c:v>
                </c:pt>
                <c:pt idx="3011">
                  <c:v>0</c:v>
                </c:pt>
                <c:pt idx="3012">
                  <c:v>0</c:v>
                </c:pt>
                <c:pt idx="3013">
                  <c:v>0</c:v>
                </c:pt>
                <c:pt idx="3014">
                  <c:v>0</c:v>
                </c:pt>
                <c:pt idx="3015">
                  <c:v>0</c:v>
                </c:pt>
                <c:pt idx="3016">
                  <c:v>0</c:v>
                </c:pt>
                <c:pt idx="3017">
                  <c:v>0</c:v>
                </c:pt>
                <c:pt idx="3018">
                  <c:v>0</c:v>
                </c:pt>
                <c:pt idx="3019">
                  <c:v>0</c:v>
                </c:pt>
                <c:pt idx="3020">
                  <c:v>0</c:v>
                </c:pt>
                <c:pt idx="3021">
                  <c:v>0</c:v>
                </c:pt>
                <c:pt idx="3022">
                  <c:v>0</c:v>
                </c:pt>
                <c:pt idx="3023">
                  <c:v>0</c:v>
                </c:pt>
                <c:pt idx="3024">
                  <c:v>0</c:v>
                </c:pt>
                <c:pt idx="3025">
                  <c:v>0</c:v>
                </c:pt>
                <c:pt idx="3026">
                  <c:v>0</c:v>
                </c:pt>
                <c:pt idx="3027">
                  <c:v>0</c:v>
                </c:pt>
                <c:pt idx="3028">
                  <c:v>0</c:v>
                </c:pt>
                <c:pt idx="3029">
                  <c:v>0</c:v>
                </c:pt>
                <c:pt idx="3030">
                  <c:v>0</c:v>
                </c:pt>
                <c:pt idx="3031">
                  <c:v>0</c:v>
                </c:pt>
                <c:pt idx="3032">
                  <c:v>0</c:v>
                </c:pt>
                <c:pt idx="3033">
                  <c:v>0</c:v>
                </c:pt>
                <c:pt idx="3034">
                  <c:v>0</c:v>
                </c:pt>
                <c:pt idx="3035">
                  <c:v>0</c:v>
                </c:pt>
                <c:pt idx="3036">
                  <c:v>0</c:v>
                </c:pt>
                <c:pt idx="3037">
                  <c:v>0</c:v>
                </c:pt>
                <c:pt idx="3038">
                  <c:v>0</c:v>
                </c:pt>
                <c:pt idx="3039">
                  <c:v>0</c:v>
                </c:pt>
                <c:pt idx="3040">
                  <c:v>0</c:v>
                </c:pt>
                <c:pt idx="3041">
                  <c:v>0</c:v>
                </c:pt>
                <c:pt idx="3042">
                  <c:v>0</c:v>
                </c:pt>
                <c:pt idx="3043">
                  <c:v>0</c:v>
                </c:pt>
                <c:pt idx="3044">
                  <c:v>0</c:v>
                </c:pt>
                <c:pt idx="3045">
                  <c:v>0</c:v>
                </c:pt>
                <c:pt idx="3046">
                  <c:v>0</c:v>
                </c:pt>
                <c:pt idx="3047">
                  <c:v>0</c:v>
                </c:pt>
                <c:pt idx="3048">
                  <c:v>0</c:v>
                </c:pt>
                <c:pt idx="3049">
                  <c:v>0</c:v>
                </c:pt>
                <c:pt idx="3050">
                  <c:v>0</c:v>
                </c:pt>
                <c:pt idx="3051">
                  <c:v>0</c:v>
                </c:pt>
                <c:pt idx="3052">
                  <c:v>0</c:v>
                </c:pt>
                <c:pt idx="3053">
                  <c:v>0</c:v>
                </c:pt>
                <c:pt idx="3054">
                  <c:v>0</c:v>
                </c:pt>
                <c:pt idx="3055">
                  <c:v>0</c:v>
                </c:pt>
                <c:pt idx="3056">
                  <c:v>0</c:v>
                </c:pt>
                <c:pt idx="3057">
                  <c:v>0</c:v>
                </c:pt>
                <c:pt idx="3058">
                  <c:v>0</c:v>
                </c:pt>
                <c:pt idx="3059">
                  <c:v>0</c:v>
                </c:pt>
                <c:pt idx="3060">
                  <c:v>0</c:v>
                </c:pt>
                <c:pt idx="3061">
                  <c:v>0</c:v>
                </c:pt>
                <c:pt idx="3062">
                  <c:v>0</c:v>
                </c:pt>
                <c:pt idx="3063">
                  <c:v>0</c:v>
                </c:pt>
                <c:pt idx="3064">
                  <c:v>0</c:v>
                </c:pt>
                <c:pt idx="3065">
                  <c:v>0</c:v>
                </c:pt>
                <c:pt idx="3066">
                  <c:v>0</c:v>
                </c:pt>
                <c:pt idx="3067">
                  <c:v>0</c:v>
                </c:pt>
                <c:pt idx="3068">
                  <c:v>0</c:v>
                </c:pt>
                <c:pt idx="3069">
                  <c:v>0</c:v>
                </c:pt>
                <c:pt idx="3070">
                  <c:v>0</c:v>
                </c:pt>
                <c:pt idx="3071">
                  <c:v>0</c:v>
                </c:pt>
                <c:pt idx="3072">
                  <c:v>0</c:v>
                </c:pt>
                <c:pt idx="3073">
                  <c:v>0</c:v>
                </c:pt>
                <c:pt idx="3074">
                  <c:v>0</c:v>
                </c:pt>
                <c:pt idx="3075">
                  <c:v>0</c:v>
                </c:pt>
                <c:pt idx="3076">
                  <c:v>0</c:v>
                </c:pt>
                <c:pt idx="3077">
                  <c:v>0</c:v>
                </c:pt>
                <c:pt idx="3078">
                  <c:v>0</c:v>
                </c:pt>
                <c:pt idx="3079">
                  <c:v>0</c:v>
                </c:pt>
                <c:pt idx="3080">
                  <c:v>0</c:v>
                </c:pt>
                <c:pt idx="3081">
                  <c:v>0</c:v>
                </c:pt>
                <c:pt idx="3082">
                  <c:v>0</c:v>
                </c:pt>
                <c:pt idx="3083">
                  <c:v>0</c:v>
                </c:pt>
                <c:pt idx="3084">
                  <c:v>0</c:v>
                </c:pt>
                <c:pt idx="3085">
                  <c:v>0</c:v>
                </c:pt>
                <c:pt idx="3086">
                  <c:v>0</c:v>
                </c:pt>
                <c:pt idx="3087">
                  <c:v>0</c:v>
                </c:pt>
                <c:pt idx="3088">
                  <c:v>0</c:v>
                </c:pt>
                <c:pt idx="3089">
                  <c:v>0</c:v>
                </c:pt>
                <c:pt idx="3090">
                  <c:v>0</c:v>
                </c:pt>
                <c:pt idx="3091">
                  <c:v>0</c:v>
                </c:pt>
                <c:pt idx="3092">
                  <c:v>0</c:v>
                </c:pt>
                <c:pt idx="3093">
                  <c:v>0</c:v>
                </c:pt>
                <c:pt idx="3094">
                  <c:v>0</c:v>
                </c:pt>
                <c:pt idx="3095">
                  <c:v>0</c:v>
                </c:pt>
                <c:pt idx="3096">
                  <c:v>0</c:v>
                </c:pt>
                <c:pt idx="3097">
                  <c:v>0</c:v>
                </c:pt>
                <c:pt idx="3098">
                  <c:v>0</c:v>
                </c:pt>
                <c:pt idx="3099">
                  <c:v>0</c:v>
                </c:pt>
                <c:pt idx="3100">
                  <c:v>0</c:v>
                </c:pt>
                <c:pt idx="3101">
                  <c:v>0</c:v>
                </c:pt>
                <c:pt idx="3102">
                  <c:v>0</c:v>
                </c:pt>
                <c:pt idx="3103">
                  <c:v>0</c:v>
                </c:pt>
                <c:pt idx="3104">
                  <c:v>0</c:v>
                </c:pt>
                <c:pt idx="3105">
                  <c:v>0</c:v>
                </c:pt>
                <c:pt idx="3106">
                  <c:v>0</c:v>
                </c:pt>
                <c:pt idx="3107">
                  <c:v>0</c:v>
                </c:pt>
                <c:pt idx="3108">
                  <c:v>0</c:v>
                </c:pt>
                <c:pt idx="3109">
                  <c:v>0</c:v>
                </c:pt>
                <c:pt idx="3110">
                  <c:v>0</c:v>
                </c:pt>
                <c:pt idx="3111">
                  <c:v>0</c:v>
                </c:pt>
                <c:pt idx="3112">
                  <c:v>0</c:v>
                </c:pt>
                <c:pt idx="3113">
                  <c:v>0</c:v>
                </c:pt>
                <c:pt idx="3114">
                  <c:v>0</c:v>
                </c:pt>
                <c:pt idx="3115">
                  <c:v>0</c:v>
                </c:pt>
                <c:pt idx="3116">
                  <c:v>0</c:v>
                </c:pt>
                <c:pt idx="3117">
                  <c:v>0</c:v>
                </c:pt>
                <c:pt idx="3118">
                  <c:v>0</c:v>
                </c:pt>
                <c:pt idx="3119">
                  <c:v>0</c:v>
                </c:pt>
                <c:pt idx="3120">
                  <c:v>0</c:v>
                </c:pt>
                <c:pt idx="3121">
                  <c:v>0</c:v>
                </c:pt>
                <c:pt idx="3122">
                  <c:v>0</c:v>
                </c:pt>
                <c:pt idx="3123">
                  <c:v>0</c:v>
                </c:pt>
                <c:pt idx="3124">
                  <c:v>0</c:v>
                </c:pt>
                <c:pt idx="3125">
                  <c:v>0</c:v>
                </c:pt>
                <c:pt idx="3126">
                  <c:v>0</c:v>
                </c:pt>
                <c:pt idx="3127">
                  <c:v>0</c:v>
                </c:pt>
                <c:pt idx="3128">
                  <c:v>0</c:v>
                </c:pt>
                <c:pt idx="3129">
                  <c:v>0</c:v>
                </c:pt>
                <c:pt idx="3130">
                  <c:v>0</c:v>
                </c:pt>
                <c:pt idx="3131">
                  <c:v>0</c:v>
                </c:pt>
                <c:pt idx="3132">
                  <c:v>0</c:v>
                </c:pt>
                <c:pt idx="3133">
                  <c:v>0</c:v>
                </c:pt>
                <c:pt idx="3134">
                  <c:v>0</c:v>
                </c:pt>
                <c:pt idx="3135">
                  <c:v>0</c:v>
                </c:pt>
                <c:pt idx="3136">
                  <c:v>0</c:v>
                </c:pt>
                <c:pt idx="3137">
                  <c:v>0</c:v>
                </c:pt>
                <c:pt idx="3138">
                  <c:v>0</c:v>
                </c:pt>
                <c:pt idx="3139">
                  <c:v>0</c:v>
                </c:pt>
                <c:pt idx="3140">
                  <c:v>0</c:v>
                </c:pt>
                <c:pt idx="3141">
                  <c:v>0</c:v>
                </c:pt>
                <c:pt idx="3142">
                  <c:v>0</c:v>
                </c:pt>
                <c:pt idx="3143">
                  <c:v>0</c:v>
                </c:pt>
                <c:pt idx="3144">
                  <c:v>0</c:v>
                </c:pt>
                <c:pt idx="3145">
                  <c:v>0</c:v>
                </c:pt>
                <c:pt idx="3146">
                  <c:v>0</c:v>
                </c:pt>
                <c:pt idx="3147">
                  <c:v>0</c:v>
                </c:pt>
                <c:pt idx="3148">
                  <c:v>0</c:v>
                </c:pt>
                <c:pt idx="3149">
                  <c:v>0</c:v>
                </c:pt>
                <c:pt idx="3150">
                  <c:v>0</c:v>
                </c:pt>
                <c:pt idx="3151">
                  <c:v>0</c:v>
                </c:pt>
                <c:pt idx="3152">
                  <c:v>0</c:v>
                </c:pt>
                <c:pt idx="3153">
                  <c:v>0</c:v>
                </c:pt>
                <c:pt idx="3154">
                  <c:v>0</c:v>
                </c:pt>
                <c:pt idx="3155">
                  <c:v>0</c:v>
                </c:pt>
                <c:pt idx="3156">
                  <c:v>0</c:v>
                </c:pt>
                <c:pt idx="3157">
                  <c:v>0</c:v>
                </c:pt>
                <c:pt idx="3158">
                  <c:v>0</c:v>
                </c:pt>
                <c:pt idx="3159">
                  <c:v>0</c:v>
                </c:pt>
                <c:pt idx="3160">
                  <c:v>0</c:v>
                </c:pt>
                <c:pt idx="3161">
                  <c:v>0</c:v>
                </c:pt>
                <c:pt idx="3162">
                  <c:v>0</c:v>
                </c:pt>
                <c:pt idx="3163">
                  <c:v>0</c:v>
                </c:pt>
                <c:pt idx="3164">
                  <c:v>0</c:v>
                </c:pt>
                <c:pt idx="3165">
                  <c:v>0</c:v>
                </c:pt>
                <c:pt idx="3166">
                  <c:v>0</c:v>
                </c:pt>
                <c:pt idx="3167">
                  <c:v>0</c:v>
                </c:pt>
                <c:pt idx="3168">
                  <c:v>0</c:v>
                </c:pt>
                <c:pt idx="3169">
                  <c:v>0</c:v>
                </c:pt>
                <c:pt idx="3170">
                  <c:v>0</c:v>
                </c:pt>
                <c:pt idx="3171">
                  <c:v>0</c:v>
                </c:pt>
                <c:pt idx="3172">
                  <c:v>0</c:v>
                </c:pt>
                <c:pt idx="3173">
                  <c:v>0</c:v>
                </c:pt>
                <c:pt idx="3174">
                  <c:v>0</c:v>
                </c:pt>
                <c:pt idx="3175">
                  <c:v>0</c:v>
                </c:pt>
                <c:pt idx="3176">
                  <c:v>0</c:v>
                </c:pt>
                <c:pt idx="3177">
                  <c:v>0</c:v>
                </c:pt>
                <c:pt idx="3178">
                  <c:v>0</c:v>
                </c:pt>
                <c:pt idx="3179">
                  <c:v>0</c:v>
                </c:pt>
                <c:pt idx="3180">
                  <c:v>0</c:v>
                </c:pt>
                <c:pt idx="3181">
                  <c:v>0</c:v>
                </c:pt>
                <c:pt idx="3182">
                  <c:v>0</c:v>
                </c:pt>
                <c:pt idx="3183">
                  <c:v>0</c:v>
                </c:pt>
                <c:pt idx="3184">
                  <c:v>0</c:v>
                </c:pt>
                <c:pt idx="3185">
                  <c:v>0</c:v>
                </c:pt>
                <c:pt idx="3186">
                  <c:v>0</c:v>
                </c:pt>
                <c:pt idx="3187">
                  <c:v>0</c:v>
                </c:pt>
                <c:pt idx="3188">
                  <c:v>0</c:v>
                </c:pt>
                <c:pt idx="3189">
                  <c:v>0</c:v>
                </c:pt>
                <c:pt idx="3190">
                  <c:v>0</c:v>
                </c:pt>
                <c:pt idx="3191">
                  <c:v>0</c:v>
                </c:pt>
                <c:pt idx="3192">
                  <c:v>0</c:v>
                </c:pt>
                <c:pt idx="3193">
                  <c:v>0</c:v>
                </c:pt>
                <c:pt idx="3194">
                  <c:v>0</c:v>
                </c:pt>
                <c:pt idx="3195">
                  <c:v>0</c:v>
                </c:pt>
                <c:pt idx="3196">
                  <c:v>0</c:v>
                </c:pt>
                <c:pt idx="3197">
                  <c:v>0</c:v>
                </c:pt>
                <c:pt idx="3198">
                  <c:v>0</c:v>
                </c:pt>
                <c:pt idx="3199">
                  <c:v>0</c:v>
                </c:pt>
                <c:pt idx="3200">
                  <c:v>0</c:v>
                </c:pt>
                <c:pt idx="3201">
                  <c:v>0</c:v>
                </c:pt>
                <c:pt idx="3202">
                  <c:v>0</c:v>
                </c:pt>
                <c:pt idx="3203">
                  <c:v>0</c:v>
                </c:pt>
                <c:pt idx="3204">
                  <c:v>0</c:v>
                </c:pt>
                <c:pt idx="3205">
                  <c:v>0</c:v>
                </c:pt>
                <c:pt idx="3206">
                  <c:v>0</c:v>
                </c:pt>
                <c:pt idx="3207">
                  <c:v>0</c:v>
                </c:pt>
                <c:pt idx="3208">
                  <c:v>0</c:v>
                </c:pt>
                <c:pt idx="3209">
                  <c:v>0</c:v>
                </c:pt>
                <c:pt idx="3210">
                  <c:v>0</c:v>
                </c:pt>
                <c:pt idx="3211">
                  <c:v>0</c:v>
                </c:pt>
                <c:pt idx="3212">
                  <c:v>0</c:v>
                </c:pt>
                <c:pt idx="3213">
                  <c:v>0</c:v>
                </c:pt>
                <c:pt idx="3214">
                  <c:v>0</c:v>
                </c:pt>
                <c:pt idx="3215">
                  <c:v>0</c:v>
                </c:pt>
                <c:pt idx="3216">
                  <c:v>0</c:v>
                </c:pt>
                <c:pt idx="3217">
                  <c:v>0</c:v>
                </c:pt>
                <c:pt idx="3218">
                  <c:v>0</c:v>
                </c:pt>
                <c:pt idx="3219">
                  <c:v>0</c:v>
                </c:pt>
                <c:pt idx="3220">
                  <c:v>0</c:v>
                </c:pt>
                <c:pt idx="3221">
                  <c:v>0</c:v>
                </c:pt>
                <c:pt idx="3222">
                  <c:v>0</c:v>
                </c:pt>
                <c:pt idx="3223">
                  <c:v>0</c:v>
                </c:pt>
                <c:pt idx="3224">
                  <c:v>0</c:v>
                </c:pt>
                <c:pt idx="3225">
                  <c:v>0</c:v>
                </c:pt>
                <c:pt idx="3226">
                  <c:v>0</c:v>
                </c:pt>
                <c:pt idx="3227">
                  <c:v>0</c:v>
                </c:pt>
                <c:pt idx="3228">
                  <c:v>0</c:v>
                </c:pt>
                <c:pt idx="3229">
                  <c:v>0</c:v>
                </c:pt>
                <c:pt idx="3230">
                  <c:v>0</c:v>
                </c:pt>
                <c:pt idx="3231">
                  <c:v>0</c:v>
                </c:pt>
                <c:pt idx="3232">
                  <c:v>0</c:v>
                </c:pt>
                <c:pt idx="3233">
                  <c:v>0</c:v>
                </c:pt>
                <c:pt idx="3234">
                  <c:v>0</c:v>
                </c:pt>
                <c:pt idx="3235">
                  <c:v>0</c:v>
                </c:pt>
                <c:pt idx="3236">
                  <c:v>0</c:v>
                </c:pt>
                <c:pt idx="3237">
                  <c:v>0</c:v>
                </c:pt>
                <c:pt idx="3238">
                  <c:v>0</c:v>
                </c:pt>
                <c:pt idx="3239">
                  <c:v>0</c:v>
                </c:pt>
                <c:pt idx="3240">
                  <c:v>0</c:v>
                </c:pt>
                <c:pt idx="3241">
                  <c:v>0</c:v>
                </c:pt>
                <c:pt idx="3242">
                  <c:v>0</c:v>
                </c:pt>
                <c:pt idx="3243">
                  <c:v>0</c:v>
                </c:pt>
                <c:pt idx="3244">
                  <c:v>0</c:v>
                </c:pt>
                <c:pt idx="3245">
                  <c:v>0</c:v>
                </c:pt>
                <c:pt idx="3246">
                  <c:v>0</c:v>
                </c:pt>
                <c:pt idx="3247">
                  <c:v>0</c:v>
                </c:pt>
                <c:pt idx="3248">
                  <c:v>0</c:v>
                </c:pt>
                <c:pt idx="3249">
                  <c:v>0</c:v>
                </c:pt>
                <c:pt idx="3250">
                  <c:v>0</c:v>
                </c:pt>
                <c:pt idx="3251">
                  <c:v>0</c:v>
                </c:pt>
                <c:pt idx="3252">
                  <c:v>0</c:v>
                </c:pt>
                <c:pt idx="3253">
                  <c:v>0</c:v>
                </c:pt>
                <c:pt idx="3254">
                  <c:v>0</c:v>
                </c:pt>
                <c:pt idx="3255">
                  <c:v>0</c:v>
                </c:pt>
                <c:pt idx="3256">
                  <c:v>0</c:v>
                </c:pt>
                <c:pt idx="3257">
                  <c:v>0</c:v>
                </c:pt>
                <c:pt idx="3258">
                  <c:v>0</c:v>
                </c:pt>
                <c:pt idx="3259">
                  <c:v>0</c:v>
                </c:pt>
                <c:pt idx="3260">
                  <c:v>0</c:v>
                </c:pt>
                <c:pt idx="3261">
                  <c:v>0</c:v>
                </c:pt>
                <c:pt idx="3262">
                  <c:v>0</c:v>
                </c:pt>
                <c:pt idx="3263">
                  <c:v>0</c:v>
                </c:pt>
                <c:pt idx="3264">
                  <c:v>0</c:v>
                </c:pt>
                <c:pt idx="3265">
                  <c:v>0</c:v>
                </c:pt>
                <c:pt idx="3266">
                  <c:v>0</c:v>
                </c:pt>
                <c:pt idx="3267">
                  <c:v>0</c:v>
                </c:pt>
                <c:pt idx="3268">
                  <c:v>0</c:v>
                </c:pt>
                <c:pt idx="3269">
                  <c:v>0</c:v>
                </c:pt>
                <c:pt idx="3270">
                  <c:v>0</c:v>
                </c:pt>
                <c:pt idx="3271">
                  <c:v>0</c:v>
                </c:pt>
                <c:pt idx="3272">
                  <c:v>0</c:v>
                </c:pt>
                <c:pt idx="3273">
                  <c:v>0</c:v>
                </c:pt>
                <c:pt idx="3274">
                  <c:v>0</c:v>
                </c:pt>
                <c:pt idx="3275">
                  <c:v>0</c:v>
                </c:pt>
                <c:pt idx="3276">
                  <c:v>0</c:v>
                </c:pt>
                <c:pt idx="3277">
                  <c:v>0</c:v>
                </c:pt>
                <c:pt idx="3278">
                  <c:v>0</c:v>
                </c:pt>
                <c:pt idx="3279">
                  <c:v>0</c:v>
                </c:pt>
                <c:pt idx="3280">
                  <c:v>0</c:v>
                </c:pt>
                <c:pt idx="3281">
                  <c:v>0</c:v>
                </c:pt>
                <c:pt idx="3282">
                  <c:v>0</c:v>
                </c:pt>
                <c:pt idx="3283">
                  <c:v>0</c:v>
                </c:pt>
                <c:pt idx="3284">
                  <c:v>0</c:v>
                </c:pt>
                <c:pt idx="3285">
                  <c:v>0</c:v>
                </c:pt>
                <c:pt idx="3286">
                  <c:v>0</c:v>
                </c:pt>
                <c:pt idx="3287">
                  <c:v>0</c:v>
                </c:pt>
                <c:pt idx="3288">
                  <c:v>0</c:v>
                </c:pt>
                <c:pt idx="3289">
                  <c:v>0</c:v>
                </c:pt>
                <c:pt idx="3290">
                  <c:v>0</c:v>
                </c:pt>
                <c:pt idx="3291">
                  <c:v>0</c:v>
                </c:pt>
                <c:pt idx="3292">
                  <c:v>0</c:v>
                </c:pt>
                <c:pt idx="3293">
                  <c:v>0</c:v>
                </c:pt>
                <c:pt idx="3294">
                  <c:v>0</c:v>
                </c:pt>
                <c:pt idx="3295">
                  <c:v>0</c:v>
                </c:pt>
                <c:pt idx="3296">
                  <c:v>0</c:v>
                </c:pt>
                <c:pt idx="3297">
                  <c:v>0</c:v>
                </c:pt>
                <c:pt idx="3298">
                  <c:v>0</c:v>
                </c:pt>
                <c:pt idx="3299">
                  <c:v>0</c:v>
                </c:pt>
                <c:pt idx="3300">
                  <c:v>0</c:v>
                </c:pt>
                <c:pt idx="3301">
                  <c:v>0</c:v>
                </c:pt>
                <c:pt idx="3302">
                  <c:v>0</c:v>
                </c:pt>
                <c:pt idx="3303">
                  <c:v>0</c:v>
                </c:pt>
                <c:pt idx="3304">
                  <c:v>0</c:v>
                </c:pt>
                <c:pt idx="3305">
                  <c:v>0</c:v>
                </c:pt>
                <c:pt idx="3306">
                  <c:v>0</c:v>
                </c:pt>
                <c:pt idx="3307">
                  <c:v>0</c:v>
                </c:pt>
                <c:pt idx="3308">
                  <c:v>0</c:v>
                </c:pt>
                <c:pt idx="3309">
                  <c:v>0</c:v>
                </c:pt>
                <c:pt idx="3310">
                  <c:v>0</c:v>
                </c:pt>
                <c:pt idx="3311">
                  <c:v>0</c:v>
                </c:pt>
                <c:pt idx="3312">
                  <c:v>0</c:v>
                </c:pt>
                <c:pt idx="3313">
                  <c:v>0</c:v>
                </c:pt>
                <c:pt idx="3314">
                  <c:v>0</c:v>
                </c:pt>
                <c:pt idx="3315">
                  <c:v>0</c:v>
                </c:pt>
                <c:pt idx="3316">
                  <c:v>0</c:v>
                </c:pt>
                <c:pt idx="3317">
                  <c:v>0</c:v>
                </c:pt>
                <c:pt idx="3318">
                  <c:v>0</c:v>
                </c:pt>
                <c:pt idx="3319">
                  <c:v>0</c:v>
                </c:pt>
                <c:pt idx="3320">
                  <c:v>0</c:v>
                </c:pt>
                <c:pt idx="3321">
                  <c:v>0</c:v>
                </c:pt>
                <c:pt idx="3322">
                  <c:v>0</c:v>
                </c:pt>
                <c:pt idx="3323">
                  <c:v>0</c:v>
                </c:pt>
                <c:pt idx="3324">
                  <c:v>0</c:v>
                </c:pt>
                <c:pt idx="3325">
                  <c:v>0</c:v>
                </c:pt>
                <c:pt idx="3326">
                  <c:v>0</c:v>
                </c:pt>
                <c:pt idx="3327">
                  <c:v>0</c:v>
                </c:pt>
                <c:pt idx="3328">
                  <c:v>0</c:v>
                </c:pt>
                <c:pt idx="3329">
                  <c:v>0</c:v>
                </c:pt>
                <c:pt idx="3330">
                  <c:v>0</c:v>
                </c:pt>
                <c:pt idx="3331">
                  <c:v>0</c:v>
                </c:pt>
                <c:pt idx="3332">
                  <c:v>0</c:v>
                </c:pt>
                <c:pt idx="3333">
                  <c:v>0</c:v>
                </c:pt>
                <c:pt idx="3334">
                  <c:v>0</c:v>
                </c:pt>
                <c:pt idx="3335">
                  <c:v>0</c:v>
                </c:pt>
                <c:pt idx="3336">
                  <c:v>0</c:v>
                </c:pt>
                <c:pt idx="3337">
                  <c:v>0</c:v>
                </c:pt>
                <c:pt idx="3338">
                  <c:v>0</c:v>
                </c:pt>
                <c:pt idx="3339">
                  <c:v>0</c:v>
                </c:pt>
                <c:pt idx="3340">
                  <c:v>0</c:v>
                </c:pt>
                <c:pt idx="3341">
                  <c:v>0</c:v>
                </c:pt>
                <c:pt idx="3342">
                  <c:v>0</c:v>
                </c:pt>
                <c:pt idx="3343">
                  <c:v>0</c:v>
                </c:pt>
                <c:pt idx="3344">
                  <c:v>0</c:v>
                </c:pt>
                <c:pt idx="3345">
                  <c:v>0</c:v>
                </c:pt>
                <c:pt idx="3346">
                  <c:v>0</c:v>
                </c:pt>
                <c:pt idx="3347">
                  <c:v>0</c:v>
                </c:pt>
                <c:pt idx="3348">
                  <c:v>0</c:v>
                </c:pt>
                <c:pt idx="3349">
                  <c:v>0</c:v>
                </c:pt>
                <c:pt idx="3350">
                  <c:v>0</c:v>
                </c:pt>
                <c:pt idx="3351">
                  <c:v>0</c:v>
                </c:pt>
                <c:pt idx="3352">
                  <c:v>0</c:v>
                </c:pt>
                <c:pt idx="3353">
                  <c:v>0</c:v>
                </c:pt>
                <c:pt idx="3354">
                  <c:v>0</c:v>
                </c:pt>
                <c:pt idx="3355">
                  <c:v>0</c:v>
                </c:pt>
                <c:pt idx="3356">
                  <c:v>0</c:v>
                </c:pt>
                <c:pt idx="3357">
                  <c:v>0</c:v>
                </c:pt>
                <c:pt idx="3358">
                  <c:v>0</c:v>
                </c:pt>
                <c:pt idx="3359">
                  <c:v>0</c:v>
                </c:pt>
                <c:pt idx="3360">
                  <c:v>0</c:v>
                </c:pt>
                <c:pt idx="3361">
                  <c:v>0</c:v>
                </c:pt>
                <c:pt idx="3362">
                  <c:v>0</c:v>
                </c:pt>
                <c:pt idx="3363">
                  <c:v>0</c:v>
                </c:pt>
                <c:pt idx="3364">
                  <c:v>0</c:v>
                </c:pt>
                <c:pt idx="3365">
                  <c:v>0</c:v>
                </c:pt>
                <c:pt idx="3366">
                  <c:v>0</c:v>
                </c:pt>
                <c:pt idx="3367">
                  <c:v>0</c:v>
                </c:pt>
                <c:pt idx="3368">
                  <c:v>0</c:v>
                </c:pt>
                <c:pt idx="3369">
                  <c:v>0</c:v>
                </c:pt>
                <c:pt idx="3370">
                  <c:v>0</c:v>
                </c:pt>
                <c:pt idx="3371">
                  <c:v>0</c:v>
                </c:pt>
                <c:pt idx="3372">
                  <c:v>0</c:v>
                </c:pt>
                <c:pt idx="3373">
                  <c:v>0</c:v>
                </c:pt>
                <c:pt idx="3374">
                  <c:v>0</c:v>
                </c:pt>
                <c:pt idx="3375">
                  <c:v>0</c:v>
                </c:pt>
                <c:pt idx="3376">
                  <c:v>0</c:v>
                </c:pt>
                <c:pt idx="3377">
                  <c:v>0</c:v>
                </c:pt>
                <c:pt idx="3378">
                  <c:v>0</c:v>
                </c:pt>
                <c:pt idx="3379">
                  <c:v>0</c:v>
                </c:pt>
                <c:pt idx="3380">
                  <c:v>0</c:v>
                </c:pt>
                <c:pt idx="3381">
                  <c:v>0</c:v>
                </c:pt>
                <c:pt idx="3382">
                  <c:v>0</c:v>
                </c:pt>
                <c:pt idx="3383">
                  <c:v>0</c:v>
                </c:pt>
                <c:pt idx="3384">
                  <c:v>0</c:v>
                </c:pt>
                <c:pt idx="3385">
                  <c:v>0</c:v>
                </c:pt>
                <c:pt idx="3386">
                  <c:v>0</c:v>
                </c:pt>
                <c:pt idx="3387">
                  <c:v>0</c:v>
                </c:pt>
                <c:pt idx="3388">
                  <c:v>0</c:v>
                </c:pt>
                <c:pt idx="3389">
                  <c:v>0</c:v>
                </c:pt>
                <c:pt idx="3390">
                  <c:v>0</c:v>
                </c:pt>
                <c:pt idx="3391">
                  <c:v>0</c:v>
                </c:pt>
                <c:pt idx="3392">
                  <c:v>0</c:v>
                </c:pt>
                <c:pt idx="3393">
                  <c:v>0</c:v>
                </c:pt>
                <c:pt idx="3394">
                  <c:v>0</c:v>
                </c:pt>
                <c:pt idx="3395">
                  <c:v>0</c:v>
                </c:pt>
                <c:pt idx="3396">
                  <c:v>0</c:v>
                </c:pt>
                <c:pt idx="3397">
                  <c:v>0</c:v>
                </c:pt>
                <c:pt idx="3398">
                  <c:v>0</c:v>
                </c:pt>
                <c:pt idx="3399">
                  <c:v>0</c:v>
                </c:pt>
                <c:pt idx="3400">
                  <c:v>0</c:v>
                </c:pt>
                <c:pt idx="3401">
                  <c:v>0</c:v>
                </c:pt>
                <c:pt idx="3402">
                  <c:v>0</c:v>
                </c:pt>
                <c:pt idx="3403">
                  <c:v>0</c:v>
                </c:pt>
                <c:pt idx="3404">
                  <c:v>0</c:v>
                </c:pt>
                <c:pt idx="3405">
                  <c:v>0</c:v>
                </c:pt>
                <c:pt idx="3406">
                  <c:v>0</c:v>
                </c:pt>
                <c:pt idx="3407">
                  <c:v>0</c:v>
                </c:pt>
                <c:pt idx="3408">
                  <c:v>0</c:v>
                </c:pt>
                <c:pt idx="3409">
                  <c:v>0</c:v>
                </c:pt>
                <c:pt idx="3410">
                  <c:v>0</c:v>
                </c:pt>
                <c:pt idx="3411">
                  <c:v>0</c:v>
                </c:pt>
                <c:pt idx="3412">
                  <c:v>0</c:v>
                </c:pt>
                <c:pt idx="3413">
                  <c:v>0</c:v>
                </c:pt>
                <c:pt idx="3414">
                  <c:v>0</c:v>
                </c:pt>
                <c:pt idx="3415">
                  <c:v>0</c:v>
                </c:pt>
                <c:pt idx="3416">
                  <c:v>0</c:v>
                </c:pt>
                <c:pt idx="3417">
                  <c:v>0</c:v>
                </c:pt>
                <c:pt idx="3418">
                  <c:v>0</c:v>
                </c:pt>
                <c:pt idx="3419">
                  <c:v>0</c:v>
                </c:pt>
                <c:pt idx="3420">
                  <c:v>0</c:v>
                </c:pt>
                <c:pt idx="3421">
                  <c:v>0</c:v>
                </c:pt>
                <c:pt idx="3422">
                  <c:v>0</c:v>
                </c:pt>
                <c:pt idx="3423">
                  <c:v>0</c:v>
                </c:pt>
                <c:pt idx="3424">
                  <c:v>0</c:v>
                </c:pt>
                <c:pt idx="3425">
                  <c:v>0</c:v>
                </c:pt>
                <c:pt idx="3426">
                  <c:v>0</c:v>
                </c:pt>
                <c:pt idx="3427">
                  <c:v>0</c:v>
                </c:pt>
                <c:pt idx="3428">
                  <c:v>0</c:v>
                </c:pt>
                <c:pt idx="3429">
                  <c:v>0</c:v>
                </c:pt>
                <c:pt idx="3430">
                  <c:v>0</c:v>
                </c:pt>
                <c:pt idx="3431">
                  <c:v>0</c:v>
                </c:pt>
                <c:pt idx="3432">
                  <c:v>0</c:v>
                </c:pt>
                <c:pt idx="3433">
                  <c:v>0</c:v>
                </c:pt>
                <c:pt idx="3434">
                  <c:v>0</c:v>
                </c:pt>
                <c:pt idx="3435">
                  <c:v>0</c:v>
                </c:pt>
                <c:pt idx="3436">
                  <c:v>0</c:v>
                </c:pt>
                <c:pt idx="3437">
                  <c:v>0</c:v>
                </c:pt>
                <c:pt idx="3438">
                  <c:v>0</c:v>
                </c:pt>
                <c:pt idx="3439">
                  <c:v>0</c:v>
                </c:pt>
                <c:pt idx="3440">
                  <c:v>0</c:v>
                </c:pt>
                <c:pt idx="3441">
                  <c:v>0</c:v>
                </c:pt>
                <c:pt idx="3442">
                  <c:v>0</c:v>
                </c:pt>
                <c:pt idx="3443">
                  <c:v>0</c:v>
                </c:pt>
                <c:pt idx="3444">
                  <c:v>0</c:v>
                </c:pt>
                <c:pt idx="3445">
                  <c:v>0</c:v>
                </c:pt>
                <c:pt idx="3446">
                  <c:v>0</c:v>
                </c:pt>
                <c:pt idx="3447">
                  <c:v>0</c:v>
                </c:pt>
                <c:pt idx="3448">
                  <c:v>0</c:v>
                </c:pt>
                <c:pt idx="3449">
                  <c:v>0</c:v>
                </c:pt>
                <c:pt idx="3450">
                  <c:v>0</c:v>
                </c:pt>
                <c:pt idx="3451">
                  <c:v>0</c:v>
                </c:pt>
                <c:pt idx="3452">
                  <c:v>0</c:v>
                </c:pt>
                <c:pt idx="3453">
                  <c:v>0</c:v>
                </c:pt>
                <c:pt idx="3454">
                  <c:v>0</c:v>
                </c:pt>
                <c:pt idx="3455">
                  <c:v>0</c:v>
                </c:pt>
                <c:pt idx="3456">
                  <c:v>0</c:v>
                </c:pt>
                <c:pt idx="3457">
                  <c:v>0</c:v>
                </c:pt>
                <c:pt idx="3458">
                  <c:v>0</c:v>
                </c:pt>
                <c:pt idx="3459">
                  <c:v>0</c:v>
                </c:pt>
                <c:pt idx="3460">
                  <c:v>0</c:v>
                </c:pt>
                <c:pt idx="3461">
                  <c:v>0</c:v>
                </c:pt>
                <c:pt idx="3462">
                  <c:v>0</c:v>
                </c:pt>
                <c:pt idx="3463">
                  <c:v>0</c:v>
                </c:pt>
                <c:pt idx="3464">
                  <c:v>0</c:v>
                </c:pt>
                <c:pt idx="3465">
                  <c:v>0</c:v>
                </c:pt>
                <c:pt idx="3466">
                  <c:v>0</c:v>
                </c:pt>
                <c:pt idx="3467">
                  <c:v>0</c:v>
                </c:pt>
                <c:pt idx="3468">
                  <c:v>0</c:v>
                </c:pt>
                <c:pt idx="3469">
                  <c:v>0</c:v>
                </c:pt>
                <c:pt idx="3470">
                  <c:v>0</c:v>
                </c:pt>
                <c:pt idx="3471">
                  <c:v>0</c:v>
                </c:pt>
                <c:pt idx="3472">
                  <c:v>0</c:v>
                </c:pt>
                <c:pt idx="3473">
                  <c:v>0</c:v>
                </c:pt>
                <c:pt idx="3474">
                  <c:v>0</c:v>
                </c:pt>
                <c:pt idx="3475">
                  <c:v>0</c:v>
                </c:pt>
                <c:pt idx="3476">
                  <c:v>0</c:v>
                </c:pt>
                <c:pt idx="3477">
                  <c:v>0</c:v>
                </c:pt>
                <c:pt idx="3478">
                  <c:v>0</c:v>
                </c:pt>
                <c:pt idx="3479">
                  <c:v>0</c:v>
                </c:pt>
                <c:pt idx="3480">
                  <c:v>0</c:v>
                </c:pt>
                <c:pt idx="3481">
                  <c:v>0</c:v>
                </c:pt>
                <c:pt idx="3482">
                  <c:v>0</c:v>
                </c:pt>
                <c:pt idx="3483">
                  <c:v>0</c:v>
                </c:pt>
                <c:pt idx="3484">
                  <c:v>0</c:v>
                </c:pt>
                <c:pt idx="3485">
                  <c:v>0</c:v>
                </c:pt>
                <c:pt idx="3486">
                  <c:v>0</c:v>
                </c:pt>
                <c:pt idx="3487">
                  <c:v>0</c:v>
                </c:pt>
                <c:pt idx="3488">
                  <c:v>0</c:v>
                </c:pt>
                <c:pt idx="3489">
                  <c:v>0</c:v>
                </c:pt>
                <c:pt idx="3490">
                  <c:v>0</c:v>
                </c:pt>
                <c:pt idx="3491">
                  <c:v>0</c:v>
                </c:pt>
                <c:pt idx="3492">
                  <c:v>0</c:v>
                </c:pt>
                <c:pt idx="3493">
                  <c:v>0</c:v>
                </c:pt>
                <c:pt idx="3494">
                  <c:v>0</c:v>
                </c:pt>
                <c:pt idx="3495">
                  <c:v>0</c:v>
                </c:pt>
                <c:pt idx="3496">
                  <c:v>0</c:v>
                </c:pt>
                <c:pt idx="3497">
                  <c:v>0</c:v>
                </c:pt>
                <c:pt idx="3498">
                  <c:v>0</c:v>
                </c:pt>
                <c:pt idx="3499">
                  <c:v>0</c:v>
                </c:pt>
                <c:pt idx="3500">
                  <c:v>0</c:v>
                </c:pt>
                <c:pt idx="3501">
                  <c:v>0</c:v>
                </c:pt>
                <c:pt idx="3502">
                  <c:v>0</c:v>
                </c:pt>
                <c:pt idx="3503">
                  <c:v>0</c:v>
                </c:pt>
                <c:pt idx="3504">
                  <c:v>0</c:v>
                </c:pt>
                <c:pt idx="3505">
                  <c:v>0</c:v>
                </c:pt>
                <c:pt idx="3506">
                  <c:v>0</c:v>
                </c:pt>
                <c:pt idx="3507">
                  <c:v>0</c:v>
                </c:pt>
                <c:pt idx="3508">
                  <c:v>0</c:v>
                </c:pt>
                <c:pt idx="3509">
                  <c:v>0</c:v>
                </c:pt>
                <c:pt idx="3510">
                  <c:v>0</c:v>
                </c:pt>
                <c:pt idx="3511">
                  <c:v>0</c:v>
                </c:pt>
                <c:pt idx="3512">
                  <c:v>0</c:v>
                </c:pt>
                <c:pt idx="3513">
                  <c:v>0</c:v>
                </c:pt>
                <c:pt idx="3514">
                  <c:v>0</c:v>
                </c:pt>
                <c:pt idx="3515">
                  <c:v>0</c:v>
                </c:pt>
                <c:pt idx="3516">
                  <c:v>0</c:v>
                </c:pt>
                <c:pt idx="3517">
                  <c:v>0</c:v>
                </c:pt>
                <c:pt idx="3518">
                  <c:v>0</c:v>
                </c:pt>
                <c:pt idx="3519">
                  <c:v>0</c:v>
                </c:pt>
                <c:pt idx="3520">
                  <c:v>0</c:v>
                </c:pt>
                <c:pt idx="3521">
                  <c:v>0</c:v>
                </c:pt>
                <c:pt idx="3522">
                  <c:v>0</c:v>
                </c:pt>
                <c:pt idx="3523">
                  <c:v>0</c:v>
                </c:pt>
                <c:pt idx="3524">
                  <c:v>0</c:v>
                </c:pt>
                <c:pt idx="3525">
                  <c:v>0</c:v>
                </c:pt>
                <c:pt idx="3526">
                  <c:v>0</c:v>
                </c:pt>
                <c:pt idx="3527">
                  <c:v>0</c:v>
                </c:pt>
                <c:pt idx="3528">
                  <c:v>0</c:v>
                </c:pt>
                <c:pt idx="3529">
                  <c:v>0</c:v>
                </c:pt>
                <c:pt idx="3530">
                  <c:v>0</c:v>
                </c:pt>
                <c:pt idx="3531">
                  <c:v>0</c:v>
                </c:pt>
                <c:pt idx="3532">
                  <c:v>0</c:v>
                </c:pt>
                <c:pt idx="3533">
                  <c:v>0</c:v>
                </c:pt>
                <c:pt idx="3534">
                  <c:v>0</c:v>
                </c:pt>
                <c:pt idx="3535">
                  <c:v>0</c:v>
                </c:pt>
                <c:pt idx="3536">
                  <c:v>0</c:v>
                </c:pt>
                <c:pt idx="3537">
                  <c:v>0</c:v>
                </c:pt>
                <c:pt idx="3538">
                  <c:v>0</c:v>
                </c:pt>
                <c:pt idx="3539">
                  <c:v>0</c:v>
                </c:pt>
                <c:pt idx="3540">
                  <c:v>0</c:v>
                </c:pt>
                <c:pt idx="3541">
                  <c:v>0</c:v>
                </c:pt>
                <c:pt idx="3542">
                  <c:v>0</c:v>
                </c:pt>
                <c:pt idx="3543">
                  <c:v>0</c:v>
                </c:pt>
                <c:pt idx="3544">
                  <c:v>0</c:v>
                </c:pt>
                <c:pt idx="3545">
                  <c:v>0</c:v>
                </c:pt>
                <c:pt idx="3546">
                  <c:v>0</c:v>
                </c:pt>
                <c:pt idx="3547">
                  <c:v>0</c:v>
                </c:pt>
                <c:pt idx="3548">
                  <c:v>0</c:v>
                </c:pt>
                <c:pt idx="3549">
                  <c:v>0</c:v>
                </c:pt>
                <c:pt idx="3550">
                  <c:v>0</c:v>
                </c:pt>
                <c:pt idx="3551">
                  <c:v>0</c:v>
                </c:pt>
                <c:pt idx="3552">
                  <c:v>0</c:v>
                </c:pt>
                <c:pt idx="3553">
                  <c:v>0</c:v>
                </c:pt>
                <c:pt idx="3554">
                  <c:v>0</c:v>
                </c:pt>
                <c:pt idx="3555">
                  <c:v>0</c:v>
                </c:pt>
                <c:pt idx="3556">
                  <c:v>0</c:v>
                </c:pt>
                <c:pt idx="3557">
                  <c:v>0</c:v>
                </c:pt>
                <c:pt idx="3558">
                  <c:v>0</c:v>
                </c:pt>
                <c:pt idx="3559">
                  <c:v>0</c:v>
                </c:pt>
                <c:pt idx="3560">
                  <c:v>0</c:v>
                </c:pt>
                <c:pt idx="3561">
                  <c:v>0</c:v>
                </c:pt>
                <c:pt idx="3562">
                  <c:v>0</c:v>
                </c:pt>
                <c:pt idx="3563">
                  <c:v>0</c:v>
                </c:pt>
                <c:pt idx="3564">
                  <c:v>0</c:v>
                </c:pt>
                <c:pt idx="3565">
                  <c:v>0</c:v>
                </c:pt>
                <c:pt idx="3566">
                  <c:v>0</c:v>
                </c:pt>
                <c:pt idx="3567">
                  <c:v>0</c:v>
                </c:pt>
                <c:pt idx="3568">
                  <c:v>0</c:v>
                </c:pt>
                <c:pt idx="3569">
                  <c:v>0</c:v>
                </c:pt>
                <c:pt idx="3570">
                  <c:v>0</c:v>
                </c:pt>
                <c:pt idx="3571">
                  <c:v>0</c:v>
                </c:pt>
                <c:pt idx="3572">
                  <c:v>0</c:v>
                </c:pt>
                <c:pt idx="3573">
                  <c:v>0</c:v>
                </c:pt>
                <c:pt idx="3574">
                  <c:v>0</c:v>
                </c:pt>
                <c:pt idx="3575">
                  <c:v>0</c:v>
                </c:pt>
                <c:pt idx="3576">
                  <c:v>0</c:v>
                </c:pt>
                <c:pt idx="3577">
                  <c:v>0</c:v>
                </c:pt>
                <c:pt idx="3578">
                  <c:v>0</c:v>
                </c:pt>
                <c:pt idx="3579">
                  <c:v>0</c:v>
                </c:pt>
                <c:pt idx="3580">
                  <c:v>0</c:v>
                </c:pt>
                <c:pt idx="3581">
                  <c:v>0</c:v>
                </c:pt>
                <c:pt idx="3582">
                  <c:v>0</c:v>
                </c:pt>
                <c:pt idx="3583">
                  <c:v>0</c:v>
                </c:pt>
                <c:pt idx="3584">
                  <c:v>0</c:v>
                </c:pt>
                <c:pt idx="3585">
                  <c:v>0</c:v>
                </c:pt>
                <c:pt idx="3586">
                  <c:v>0</c:v>
                </c:pt>
                <c:pt idx="3587">
                  <c:v>0</c:v>
                </c:pt>
                <c:pt idx="3588">
                  <c:v>0</c:v>
                </c:pt>
                <c:pt idx="3589">
                  <c:v>0</c:v>
                </c:pt>
                <c:pt idx="3590">
                  <c:v>0</c:v>
                </c:pt>
                <c:pt idx="3591">
                  <c:v>0</c:v>
                </c:pt>
                <c:pt idx="3592">
                  <c:v>0</c:v>
                </c:pt>
                <c:pt idx="3593">
                  <c:v>0</c:v>
                </c:pt>
                <c:pt idx="3594">
                  <c:v>0</c:v>
                </c:pt>
                <c:pt idx="3595">
                  <c:v>0</c:v>
                </c:pt>
                <c:pt idx="3596">
                  <c:v>0</c:v>
                </c:pt>
                <c:pt idx="3597">
                  <c:v>0</c:v>
                </c:pt>
                <c:pt idx="3598">
                  <c:v>0</c:v>
                </c:pt>
                <c:pt idx="3599">
                  <c:v>0</c:v>
                </c:pt>
                <c:pt idx="3600">
                  <c:v>0</c:v>
                </c:pt>
                <c:pt idx="3601">
                  <c:v>0</c:v>
                </c:pt>
                <c:pt idx="3602">
                  <c:v>0</c:v>
                </c:pt>
                <c:pt idx="3603">
                  <c:v>0</c:v>
                </c:pt>
                <c:pt idx="3604">
                  <c:v>0</c:v>
                </c:pt>
                <c:pt idx="3605">
                  <c:v>0</c:v>
                </c:pt>
                <c:pt idx="3606">
                  <c:v>0</c:v>
                </c:pt>
                <c:pt idx="3607">
                  <c:v>0</c:v>
                </c:pt>
                <c:pt idx="3608">
                  <c:v>0</c:v>
                </c:pt>
                <c:pt idx="3609">
                  <c:v>0</c:v>
                </c:pt>
                <c:pt idx="3610">
                  <c:v>0</c:v>
                </c:pt>
                <c:pt idx="3611">
                  <c:v>0</c:v>
                </c:pt>
                <c:pt idx="3612">
                  <c:v>0</c:v>
                </c:pt>
                <c:pt idx="3613">
                  <c:v>0</c:v>
                </c:pt>
                <c:pt idx="3614">
                  <c:v>0</c:v>
                </c:pt>
                <c:pt idx="3615">
                  <c:v>0</c:v>
                </c:pt>
                <c:pt idx="3616">
                  <c:v>0</c:v>
                </c:pt>
                <c:pt idx="3617">
                  <c:v>0</c:v>
                </c:pt>
                <c:pt idx="3618">
                  <c:v>0</c:v>
                </c:pt>
                <c:pt idx="3619">
                  <c:v>0</c:v>
                </c:pt>
                <c:pt idx="3620">
                  <c:v>0</c:v>
                </c:pt>
                <c:pt idx="3621">
                  <c:v>0</c:v>
                </c:pt>
                <c:pt idx="3622">
                  <c:v>0</c:v>
                </c:pt>
                <c:pt idx="3623">
                  <c:v>0</c:v>
                </c:pt>
                <c:pt idx="3624">
                  <c:v>0</c:v>
                </c:pt>
                <c:pt idx="3625">
                  <c:v>0</c:v>
                </c:pt>
                <c:pt idx="3626">
                  <c:v>0</c:v>
                </c:pt>
                <c:pt idx="3627">
                  <c:v>0</c:v>
                </c:pt>
                <c:pt idx="3628">
                  <c:v>0</c:v>
                </c:pt>
                <c:pt idx="3629">
                  <c:v>0</c:v>
                </c:pt>
                <c:pt idx="3630">
                  <c:v>0</c:v>
                </c:pt>
                <c:pt idx="3631">
                  <c:v>0</c:v>
                </c:pt>
                <c:pt idx="3632">
                  <c:v>0</c:v>
                </c:pt>
                <c:pt idx="3633">
                  <c:v>0</c:v>
                </c:pt>
                <c:pt idx="3634">
                  <c:v>0</c:v>
                </c:pt>
                <c:pt idx="3635">
                  <c:v>0</c:v>
                </c:pt>
                <c:pt idx="3636">
                  <c:v>0</c:v>
                </c:pt>
                <c:pt idx="3637">
                  <c:v>0</c:v>
                </c:pt>
                <c:pt idx="3638">
                  <c:v>0</c:v>
                </c:pt>
                <c:pt idx="3639">
                  <c:v>0</c:v>
                </c:pt>
                <c:pt idx="3640">
                  <c:v>0</c:v>
                </c:pt>
                <c:pt idx="3641">
                  <c:v>0</c:v>
                </c:pt>
                <c:pt idx="3642">
                  <c:v>0</c:v>
                </c:pt>
                <c:pt idx="3643">
                  <c:v>0</c:v>
                </c:pt>
                <c:pt idx="3644">
                  <c:v>0</c:v>
                </c:pt>
                <c:pt idx="3645">
                  <c:v>0</c:v>
                </c:pt>
                <c:pt idx="3646">
                  <c:v>0</c:v>
                </c:pt>
                <c:pt idx="3647">
                  <c:v>0</c:v>
                </c:pt>
                <c:pt idx="3648">
                  <c:v>0</c:v>
                </c:pt>
                <c:pt idx="3649">
                  <c:v>0</c:v>
                </c:pt>
                <c:pt idx="3650">
                  <c:v>0</c:v>
                </c:pt>
                <c:pt idx="3651">
                  <c:v>0</c:v>
                </c:pt>
                <c:pt idx="3652">
                  <c:v>0</c:v>
                </c:pt>
                <c:pt idx="3653">
                  <c:v>0</c:v>
                </c:pt>
                <c:pt idx="3654">
                  <c:v>0</c:v>
                </c:pt>
                <c:pt idx="3655">
                  <c:v>0</c:v>
                </c:pt>
                <c:pt idx="3656">
                  <c:v>0</c:v>
                </c:pt>
                <c:pt idx="3657">
                  <c:v>0</c:v>
                </c:pt>
                <c:pt idx="3658">
                  <c:v>0</c:v>
                </c:pt>
                <c:pt idx="3659">
                  <c:v>0</c:v>
                </c:pt>
                <c:pt idx="3660">
                  <c:v>0</c:v>
                </c:pt>
                <c:pt idx="3661">
                  <c:v>0</c:v>
                </c:pt>
                <c:pt idx="3662">
                  <c:v>0</c:v>
                </c:pt>
                <c:pt idx="3663">
                  <c:v>0</c:v>
                </c:pt>
                <c:pt idx="3664">
                  <c:v>0</c:v>
                </c:pt>
                <c:pt idx="3665">
                  <c:v>0</c:v>
                </c:pt>
                <c:pt idx="3666">
                  <c:v>0</c:v>
                </c:pt>
                <c:pt idx="3667">
                  <c:v>0</c:v>
                </c:pt>
                <c:pt idx="3668">
                  <c:v>0</c:v>
                </c:pt>
                <c:pt idx="3669">
                  <c:v>0</c:v>
                </c:pt>
                <c:pt idx="3670">
                  <c:v>0</c:v>
                </c:pt>
                <c:pt idx="3671">
                  <c:v>0</c:v>
                </c:pt>
                <c:pt idx="3672">
                  <c:v>0</c:v>
                </c:pt>
                <c:pt idx="3673">
                  <c:v>0</c:v>
                </c:pt>
                <c:pt idx="3674">
                  <c:v>0</c:v>
                </c:pt>
                <c:pt idx="3675">
                  <c:v>0</c:v>
                </c:pt>
                <c:pt idx="3676">
                  <c:v>0</c:v>
                </c:pt>
                <c:pt idx="3677">
                  <c:v>0</c:v>
                </c:pt>
                <c:pt idx="3678">
                  <c:v>0</c:v>
                </c:pt>
                <c:pt idx="3679">
                  <c:v>0</c:v>
                </c:pt>
                <c:pt idx="3680">
                  <c:v>0</c:v>
                </c:pt>
                <c:pt idx="3681">
                  <c:v>0</c:v>
                </c:pt>
                <c:pt idx="3682">
                  <c:v>0</c:v>
                </c:pt>
                <c:pt idx="3683">
                  <c:v>0</c:v>
                </c:pt>
                <c:pt idx="3684">
                  <c:v>0</c:v>
                </c:pt>
                <c:pt idx="3685">
                  <c:v>0</c:v>
                </c:pt>
                <c:pt idx="3686">
                  <c:v>0</c:v>
                </c:pt>
                <c:pt idx="3687">
                  <c:v>0</c:v>
                </c:pt>
                <c:pt idx="3688">
                  <c:v>0</c:v>
                </c:pt>
                <c:pt idx="3689">
                  <c:v>0</c:v>
                </c:pt>
                <c:pt idx="3690">
                  <c:v>0</c:v>
                </c:pt>
                <c:pt idx="3691">
                  <c:v>0</c:v>
                </c:pt>
                <c:pt idx="3692">
                  <c:v>0</c:v>
                </c:pt>
                <c:pt idx="3693">
                  <c:v>0</c:v>
                </c:pt>
                <c:pt idx="3694">
                  <c:v>0</c:v>
                </c:pt>
                <c:pt idx="3695">
                  <c:v>0</c:v>
                </c:pt>
                <c:pt idx="3696">
                  <c:v>0</c:v>
                </c:pt>
                <c:pt idx="3697">
                  <c:v>0</c:v>
                </c:pt>
                <c:pt idx="3698">
                  <c:v>0</c:v>
                </c:pt>
                <c:pt idx="3699">
                  <c:v>0</c:v>
                </c:pt>
                <c:pt idx="3700">
                  <c:v>0</c:v>
                </c:pt>
                <c:pt idx="3701">
                  <c:v>0</c:v>
                </c:pt>
                <c:pt idx="3702">
                  <c:v>0</c:v>
                </c:pt>
                <c:pt idx="3703">
                  <c:v>0</c:v>
                </c:pt>
                <c:pt idx="3704">
                  <c:v>0</c:v>
                </c:pt>
                <c:pt idx="3705">
                  <c:v>0</c:v>
                </c:pt>
                <c:pt idx="3706">
                  <c:v>0</c:v>
                </c:pt>
                <c:pt idx="3707">
                  <c:v>0</c:v>
                </c:pt>
                <c:pt idx="3708">
                  <c:v>0</c:v>
                </c:pt>
                <c:pt idx="3709">
                  <c:v>0</c:v>
                </c:pt>
                <c:pt idx="3710">
                  <c:v>0</c:v>
                </c:pt>
                <c:pt idx="3711">
                  <c:v>0</c:v>
                </c:pt>
                <c:pt idx="3712">
                  <c:v>0</c:v>
                </c:pt>
                <c:pt idx="3713">
                  <c:v>0</c:v>
                </c:pt>
                <c:pt idx="3714">
                  <c:v>0</c:v>
                </c:pt>
                <c:pt idx="3715">
                  <c:v>0</c:v>
                </c:pt>
                <c:pt idx="3716">
                  <c:v>0</c:v>
                </c:pt>
                <c:pt idx="3717">
                  <c:v>0</c:v>
                </c:pt>
                <c:pt idx="3718">
                  <c:v>0</c:v>
                </c:pt>
                <c:pt idx="3719">
                  <c:v>0</c:v>
                </c:pt>
                <c:pt idx="3720">
                  <c:v>0</c:v>
                </c:pt>
                <c:pt idx="3721">
                  <c:v>0</c:v>
                </c:pt>
                <c:pt idx="3722">
                  <c:v>0</c:v>
                </c:pt>
                <c:pt idx="3723">
                  <c:v>0</c:v>
                </c:pt>
                <c:pt idx="3724">
                  <c:v>0</c:v>
                </c:pt>
                <c:pt idx="3725">
                  <c:v>0</c:v>
                </c:pt>
                <c:pt idx="3726">
                  <c:v>0</c:v>
                </c:pt>
                <c:pt idx="3727">
                  <c:v>0</c:v>
                </c:pt>
                <c:pt idx="3728">
                  <c:v>0</c:v>
                </c:pt>
                <c:pt idx="3729">
                  <c:v>0</c:v>
                </c:pt>
                <c:pt idx="3730">
                  <c:v>0</c:v>
                </c:pt>
                <c:pt idx="3731">
                  <c:v>0</c:v>
                </c:pt>
                <c:pt idx="3732">
                  <c:v>0</c:v>
                </c:pt>
                <c:pt idx="3733">
                  <c:v>0</c:v>
                </c:pt>
                <c:pt idx="3734">
                  <c:v>0</c:v>
                </c:pt>
                <c:pt idx="3735">
                  <c:v>0</c:v>
                </c:pt>
                <c:pt idx="3736">
                  <c:v>0</c:v>
                </c:pt>
                <c:pt idx="3737">
                  <c:v>0</c:v>
                </c:pt>
                <c:pt idx="3738">
                  <c:v>0</c:v>
                </c:pt>
                <c:pt idx="3739">
                  <c:v>0</c:v>
                </c:pt>
                <c:pt idx="3740">
                  <c:v>0</c:v>
                </c:pt>
                <c:pt idx="3741">
                  <c:v>0</c:v>
                </c:pt>
                <c:pt idx="3742">
                  <c:v>0</c:v>
                </c:pt>
                <c:pt idx="3743">
                  <c:v>0</c:v>
                </c:pt>
                <c:pt idx="3744">
                  <c:v>0</c:v>
                </c:pt>
                <c:pt idx="3745">
                  <c:v>0</c:v>
                </c:pt>
                <c:pt idx="3746">
                  <c:v>0</c:v>
                </c:pt>
                <c:pt idx="3747">
                  <c:v>0</c:v>
                </c:pt>
                <c:pt idx="3748">
                  <c:v>0</c:v>
                </c:pt>
                <c:pt idx="3749">
                  <c:v>0</c:v>
                </c:pt>
                <c:pt idx="3750">
                  <c:v>0</c:v>
                </c:pt>
                <c:pt idx="3751">
                  <c:v>0</c:v>
                </c:pt>
                <c:pt idx="3752">
                  <c:v>0</c:v>
                </c:pt>
                <c:pt idx="3753">
                  <c:v>0</c:v>
                </c:pt>
                <c:pt idx="3754">
                  <c:v>0</c:v>
                </c:pt>
                <c:pt idx="3755">
                  <c:v>0</c:v>
                </c:pt>
                <c:pt idx="3756">
                  <c:v>0</c:v>
                </c:pt>
                <c:pt idx="3757">
                  <c:v>0</c:v>
                </c:pt>
                <c:pt idx="3758">
                  <c:v>0</c:v>
                </c:pt>
                <c:pt idx="3759">
                  <c:v>0</c:v>
                </c:pt>
                <c:pt idx="3760">
                  <c:v>0</c:v>
                </c:pt>
                <c:pt idx="3761">
                  <c:v>0</c:v>
                </c:pt>
                <c:pt idx="3762">
                  <c:v>0</c:v>
                </c:pt>
                <c:pt idx="3763">
                  <c:v>0</c:v>
                </c:pt>
                <c:pt idx="3764">
                  <c:v>0</c:v>
                </c:pt>
                <c:pt idx="3765">
                  <c:v>0</c:v>
                </c:pt>
                <c:pt idx="3766">
                  <c:v>0</c:v>
                </c:pt>
                <c:pt idx="3767">
                  <c:v>0</c:v>
                </c:pt>
                <c:pt idx="3768">
                  <c:v>0</c:v>
                </c:pt>
                <c:pt idx="3769">
                  <c:v>0</c:v>
                </c:pt>
                <c:pt idx="3770">
                  <c:v>0</c:v>
                </c:pt>
                <c:pt idx="3771">
                  <c:v>0</c:v>
                </c:pt>
                <c:pt idx="3772">
                  <c:v>0</c:v>
                </c:pt>
                <c:pt idx="3773">
                  <c:v>0</c:v>
                </c:pt>
                <c:pt idx="3774">
                  <c:v>0</c:v>
                </c:pt>
                <c:pt idx="3775">
                  <c:v>0</c:v>
                </c:pt>
                <c:pt idx="3776">
                  <c:v>0</c:v>
                </c:pt>
                <c:pt idx="3777">
                  <c:v>0</c:v>
                </c:pt>
                <c:pt idx="3778">
                  <c:v>0</c:v>
                </c:pt>
                <c:pt idx="3779">
                  <c:v>0</c:v>
                </c:pt>
                <c:pt idx="3780">
                  <c:v>0</c:v>
                </c:pt>
                <c:pt idx="3781">
                  <c:v>0</c:v>
                </c:pt>
                <c:pt idx="3782">
                  <c:v>0</c:v>
                </c:pt>
                <c:pt idx="3783">
                  <c:v>0</c:v>
                </c:pt>
                <c:pt idx="3784">
                  <c:v>0</c:v>
                </c:pt>
                <c:pt idx="3785">
                  <c:v>0</c:v>
                </c:pt>
                <c:pt idx="3786">
                  <c:v>0</c:v>
                </c:pt>
                <c:pt idx="3787">
                  <c:v>0</c:v>
                </c:pt>
                <c:pt idx="3788">
                  <c:v>0</c:v>
                </c:pt>
                <c:pt idx="3789">
                  <c:v>0</c:v>
                </c:pt>
                <c:pt idx="3790">
                  <c:v>0</c:v>
                </c:pt>
                <c:pt idx="3791">
                  <c:v>0</c:v>
                </c:pt>
                <c:pt idx="3792">
                  <c:v>0</c:v>
                </c:pt>
                <c:pt idx="3793">
                  <c:v>0</c:v>
                </c:pt>
                <c:pt idx="3794">
                  <c:v>0</c:v>
                </c:pt>
                <c:pt idx="3795">
                  <c:v>0</c:v>
                </c:pt>
                <c:pt idx="3796">
                  <c:v>0</c:v>
                </c:pt>
                <c:pt idx="3797">
                  <c:v>0</c:v>
                </c:pt>
                <c:pt idx="3798">
                  <c:v>0</c:v>
                </c:pt>
                <c:pt idx="3799">
                  <c:v>0</c:v>
                </c:pt>
                <c:pt idx="3800">
                  <c:v>0</c:v>
                </c:pt>
                <c:pt idx="3801">
                  <c:v>0</c:v>
                </c:pt>
                <c:pt idx="3802">
                  <c:v>0</c:v>
                </c:pt>
                <c:pt idx="3803">
                  <c:v>0</c:v>
                </c:pt>
                <c:pt idx="3804">
                  <c:v>0</c:v>
                </c:pt>
                <c:pt idx="3805">
                  <c:v>0</c:v>
                </c:pt>
                <c:pt idx="3806">
                  <c:v>0</c:v>
                </c:pt>
                <c:pt idx="3807">
                  <c:v>0</c:v>
                </c:pt>
                <c:pt idx="3808">
                  <c:v>0</c:v>
                </c:pt>
                <c:pt idx="3809">
                  <c:v>0</c:v>
                </c:pt>
                <c:pt idx="3810">
                  <c:v>0</c:v>
                </c:pt>
                <c:pt idx="3811">
                  <c:v>0</c:v>
                </c:pt>
                <c:pt idx="3812">
                  <c:v>0</c:v>
                </c:pt>
                <c:pt idx="3813">
                  <c:v>0</c:v>
                </c:pt>
                <c:pt idx="3814">
                  <c:v>0</c:v>
                </c:pt>
                <c:pt idx="3815">
                  <c:v>0</c:v>
                </c:pt>
                <c:pt idx="3816">
                  <c:v>0</c:v>
                </c:pt>
                <c:pt idx="3817">
                  <c:v>0</c:v>
                </c:pt>
                <c:pt idx="3818">
                  <c:v>0</c:v>
                </c:pt>
                <c:pt idx="3819">
                  <c:v>0</c:v>
                </c:pt>
                <c:pt idx="3820">
                  <c:v>0</c:v>
                </c:pt>
                <c:pt idx="3821">
                  <c:v>0</c:v>
                </c:pt>
                <c:pt idx="3822">
                  <c:v>0</c:v>
                </c:pt>
                <c:pt idx="3823">
                  <c:v>0</c:v>
                </c:pt>
                <c:pt idx="3824">
                  <c:v>0</c:v>
                </c:pt>
                <c:pt idx="3825">
                  <c:v>0</c:v>
                </c:pt>
                <c:pt idx="3826">
                  <c:v>0</c:v>
                </c:pt>
                <c:pt idx="3827">
                  <c:v>0</c:v>
                </c:pt>
                <c:pt idx="3828">
                  <c:v>0</c:v>
                </c:pt>
                <c:pt idx="3829">
                  <c:v>0</c:v>
                </c:pt>
                <c:pt idx="3830">
                  <c:v>0</c:v>
                </c:pt>
                <c:pt idx="3831">
                  <c:v>0</c:v>
                </c:pt>
                <c:pt idx="3832">
                  <c:v>0</c:v>
                </c:pt>
                <c:pt idx="3833">
                  <c:v>0</c:v>
                </c:pt>
                <c:pt idx="3834">
                  <c:v>0</c:v>
                </c:pt>
                <c:pt idx="3835">
                  <c:v>0</c:v>
                </c:pt>
                <c:pt idx="3836">
                  <c:v>0</c:v>
                </c:pt>
                <c:pt idx="3837">
                  <c:v>0</c:v>
                </c:pt>
                <c:pt idx="3838">
                  <c:v>0</c:v>
                </c:pt>
                <c:pt idx="3839">
                  <c:v>0</c:v>
                </c:pt>
                <c:pt idx="3840">
                  <c:v>0</c:v>
                </c:pt>
                <c:pt idx="3841">
                  <c:v>0</c:v>
                </c:pt>
                <c:pt idx="3842">
                  <c:v>0</c:v>
                </c:pt>
                <c:pt idx="3843">
                  <c:v>0</c:v>
                </c:pt>
                <c:pt idx="3844">
                  <c:v>0</c:v>
                </c:pt>
                <c:pt idx="3845">
                  <c:v>0</c:v>
                </c:pt>
                <c:pt idx="3846">
                  <c:v>0</c:v>
                </c:pt>
                <c:pt idx="3847">
                  <c:v>0</c:v>
                </c:pt>
                <c:pt idx="3848">
                  <c:v>0</c:v>
                </c:pt>
                <c:pt idx="3849">
                  <c:v>0</c:v>
                </c:pt>
                <c:pt idx="3850">
                  <c:v>0</c:v>
                </c:pt>
                <c:pt idx="3851">
                  <c:v>0</c:v>
                </c:pt>
                <c:pt idx="3852">
                  <c:v>0</c:v>
                </c:pt>
                <c:pt idx="3853">
                  <c:v>0</c:v>
                </c:pt>
                <c:pt idx="3854">
                  <c:v>0</c:v>
                </c:pt>
                <c:pt idx="3855">
                  <c:v>0</c:v>
                </c:pt>
                <c:pt idx="3856">
                  <c:v>0</c:v>
                </c:pt>
                <c:pt idx="3857">
                  <c:v>0</c:v>
                </c:pt>
                <c:pt idx="3858">
                  <c:v>0</c:v>
                </c:pt>
                <c:pt idx="3859">
                  <c:v>0</c:v>
                </c:pt>
                <c:pt idx="3860">
                  <c:v>0</c:v>
                </c:pt>
                <c:pt idx="3861">
                  <c:v>0</c:v>
                </c:pt>
                <c:pt idx="3862">
                  <c:v>0</c:v>
                </c:pt>
                <c:pt idx="3863">
                  <c:v>0</c:v>
                </c:pt>
                <c:pt idx="3864">
                  <c:v>0</c:v>
                </c:pt>
                <c:pt idx="3865">
                  <c:v>0</c:v>
                </c:pt>
                <c:pt idx="3866">
                  <c:v>0</c:v>
                </c:pt>
                <c:pt idx="3867">
                  <c:v>0</c:v>
                </c:pt>
                <c:pt idx="3868">
                  <c:v>0</c:v>
                </c:pt>
                <c:pt idx="3869">
                  <c:v>0</c:v>
                </c:pt>
                <c:pt idx="3870">
                  <c:v>0</c:v>
                </c:pt>
                <c:pt idx="3871">
                  <c:v>0</c:v>
                </c:pt>
                <c:pt idx="3872">
                  <c:v>0</c:v>
                </c:pt>
                <c:pt idx="3873">
                  <c:v>0</c:v>
                </c:pt>
                <c:pt idx="3874">
                  <c:v>0</c:v>
                </c:pt>
                <c:pt idx="3875">
                  <c:v>0</c:v>
                </c:pt>
                <c:pt idx="3876">
                  <c:v>0</c:v>
                </c:pt>
                <c:pt idx="3877">
                  <c:v>0</c:v>
                </c:pt>
                <c:pt idx="3878">
                  <c:v>0</c:v>
                </c:pt>
                <c:pt idx="3879">
                  <c:v>0</c:v>
                </c:pt>
                <c:pt idx="3880">
                  <c:v>0</c:v>
                </c:pt>
                <c:pt idx="3881">
                  <c:v>0</c:v>
                </c:pt>
                <c:pt idx="3882">
                  <c:v>0</c:v>
                </c:pt>
                <c:pt idx="3883">
                  <c:v>0</c:v>
                </c:pt>
                <c:pt idx="3884">
                  <c:v>0</c:v>
                </c:pt>
                <c:pt idx="3885">
                  <c:v>0</c:v>
                </c:pt>
                <c:pt idx="3886">
                  <c:v>0</c:v>
                </c:pt>
                <c:pt idx="3887">
                  <c:v>0</c:v>
                </c:pt>
                <c:pt idx="3888">
                  <c:v>0</c:v>
                </c:pt>
                <c:pt idx="3889">
                  <c:v>0</c:v>
                </c:pt>
                <c:pt idx="3890">
                  <c:v>0</c:v>
                </c:pt>
                <c:pt idx="3891">
                  <c:v>0</c:v>
                </c:pt>
                <c:pt idx="3892">
                  <c:v>0</c:v>
                </c:pt>
                <c:pt idx="3893">
                  <c:v>0</c:v>
                </c:pt>
                <c:pt idx="3894">
                  <c:v>0</c:v>
                </c:pt>
                <c:pt idx="3895">
                  <c:v>0</c:v>
                </c:pt>
                <c:pt idx="3896">
                  <c:v>0</c:v>
                </c:pt>
                <c:pt idx="3897">
                  <c:v>0</c:v>
                </c:pt>
                <c:pt idx="3898">
                  <c:v>0</c:v>
                </c:pt>
                <c:pt idx="3899">
                  <c:v>0</c:v>
                </c:pt>
                <c:pt idx="3900">
                  <c:v>0</c:v>
                </c:pt>
                <c:pt idx="3901">
                  <c:v>0</c:v>
                </c:pt>
                <c:pt idx="3902">
                  <c:v>0</c:v>
                </c:pt>
                <c:pt idx="3903">
                  <c:v>0</c:v>
                </c:pt>
                <c:pt idx="3904">
                  <c:v>0</c:v>
                </c:pt>
                <c:pt idx="3905">
                  <c:v>0</c:v>
                </c:pt>
                <c:pt idx="3906">
                  <c:v>0</c:v>
                </c:pt>
                <c:pt idx="3907">
                  <c:v>0</c:v>
                </c:pt>
                <c:pt idx="3908">
                  <c:v>0</c:v>
                </c:pt>
                <c:pt idx="3909">
                  <c:v>0</c:v>
                </c:pt>
                <c:pt idx="3910">
                  <c:v>0</c:v>
                </c:pt>
                <c:pt idx="3911">
                  <c:v>0</c:v>
                </c:pt>
                <c:pt idx="3912">
                  <c:v>0</c:v>
                </c:pt>
                <c:pt idx="3913">
                  <c:v>0</c:v>
                </c:pt>
                <c:pt idx="3914">
                  <c:v>0</c:v>
                </c:pt>
                <c:pt idx="3915">
                  <c:v>0</c:v>
                </c:pt>
                <c:pt idx="3916">
                  <c:v>0</c:v>
                </c:pt>
                <c:pt idx="3917">
                  <c:v>0</c:v>
                </c:pt>
                <c:pt idx="3918">
                  <c:v>0</c:v>
                </c:pt>
                <c:pt idx="3919">
                  <c:v>0</c:v>
                </c:pt>
                <c:pt idx="3920">
                  <c:v>0</c:v>
                </c:pt>
                <c:pt idx="3921">
                  <c:v>0</c:v>
                </c:pt>
                <c:pt idx="3922">
                  <c:v>0</c:v>
                </c:pt>
                <c:pt idx="3923">
                  <c:v>0</c:v>
                </c:pt>
                <c:pt idx="3924">
                  <c:v>0</c:v>
                </c:pt>
                <c:pt idx="3925">
                  <c:v>0</c:v>
                </c:pt>
                <c:pt idx="3926">
                  <c:v>0</c:v>
                </c:pt>
                <c:pt idx="3927">
                  <c:v>0</c:v>
                </c:pt>
                <c:pt idx="3928">
                  <c:v>0</c:v>
                </c:pt>
                <c:pt idx="3929">
                  <c:v>0</c:v>
                </c:pt>
                <c:pt idx="3930">
                  <c:v>0</c:v>
                </c:pt>
                <c:pt idx="3931">
                  <c:v>0</c:v>
                </c:pt>
                <c:pt idx="3932">
                  <c:v>0</c:v>
                </c:pt>
                <c:pt idx="3933">
                  <c:v>0</c:v>
                </c:pt>
                <c:pt idx="3934">
                  <c:v>0</c:v>
                </c:pt>
                <c:pt idx="3935">
                  <c:v>0</c:v>
                </c:pt>
                <c:pt idx="3936">
                  <c:v>0</c:v>
                </c:pt>
                <c:pt idx="3937">
                  <c:v>0</c:v>
                </c:pt>
                <c:pt idx="3938">
                  <c:v>0</c:v>
                </c:pt>
                <c:pt idx="3939">
                  <c:v>0</c:v>
                </c:pt>
                <c:pt idx="3940">
                  <c:v>0</c:v>
                </c:pt>
                <c:pt idx="3941">
                  <c:v>0</c:v>
                </c:pt>
                <c:pt idx="3942">
                  <c:v>0</c:v>
                </c:pt>
                <c:pt idx="3943">
                  <c:v>0</c:v>
                </c:pt>
                <c:pt idx="3944">
                  <c:v>0</c:v>
                </c:pt>
                <c:pt idx="3945">
                  <c:v>0</c:v>
                </c:pt>
                <c:pt idx="3946">
                  <c:v>0</c:v>
                </c:pt>
                <c:pt idx="3947">
                  <c:v>0</c:v>
                </c:pt>
                <c:pt idx="3948">
                  <c:v>0</c:v>
                </c:pt>
                <c:pt idx="3949">
                  <c:v>0</c:v>
                </c:pt>
                <c:pt idx="3950">
                  <c:v>0</c:v>
                </c:pt>
                <c:pt idx="3951">
                  <c:v>0</c:v>
                </c:pt>
                <c:pt idx="3952">
                  <c:v>0</c:v>
                </c:pt>
                <c:pt idx="3953">
                  <c:v>0</c:v>
                </c:pt>
                <c:pt idx="3954">
                  <c:v>0</c:v>
                </c:pt>
                <c:pt idx="3955">
                  <c:v>0</c:v>
                </c:pt>
                <c:pt idx="3956">
                  <c:v>0</c:v>
                </c:pt>
                <c:pt idx="3957">
                  <c:v>0</c:v>
                </c:pt>
                <c:pt idx="3958">
                  <c:v>0</c:v>
                </c:pt>
                <c:pt idx="3959">
                  <c:v>0</c:v>
                </c:pt>
                <c:pt idx="3960">
                  <c:v>0</c:v>
                </c:pt>
                <c:pt idx="3961">
                  <c:v>0</c:v>
                </c:pt>
                <c:pt idx="3962">
                  <c:v>0</c:v>
                </c:pt>
                <c:pt idx="3963">
                  <c:v>0</c:v>
                </c:pt>
                <c:pt idx="3964">
                  <c:v>0</c:v>
                </c:pt>
                <c:pt idx="3965">
                  <c:v>0</c:v>
                </c:pt>
                <c:pt idx="3966">
                  <c:v>0</c:v>
                </c:pt>
                <c:pt idx="3967">
                  <c:v>0</c:v>
                </c:pt>
                <c:pt idx="3968">
                  <c:v>0</c:v>
                </c:pt>
                <c:pt idx="3969">
                  <c:v>0</c:v>
                </c:pt>
                <c:pt idx="3970">
                  <c:v>0</c:v>
                </c:pt>
                <c:pt idx="3971">
                  <c:v>0</c:v>
                </c:pt>
                <c:pt idx="3972">
                  <c:v>0</c:v>
                </c:pt>
                <c:pt idx="3973">
                  <c:v>0</c:v>
                </c:pt>
                <c:pt idx="3974">
                  <c:v>0</c:v>
                </c:pt>
                <c:pt idx="3975">
                  <c:v>0</c:v>
                </c:pt>
                <c:pt idx="3976">
                  <c:v>0</c:v>
                </c:pt>
                <c:pt idx="3977">
                  <c:v>0</c:v>
                </c:pt>
                <c:pt idx="3978">
                  <c:v>0</c:v>
                </c:pt>
                <c:pt idx="3979">
                  <c:v>0</c:v>
                </c:pt>
                <c:pt idx="3980">
                  <c:v>0</c:v>
                </c:pt>
                <c:pt idx="3981">
                  <c:v>0</c:v>
                </c:pt>
                <c:pt idx="3982">
                  <c:v>0</c:v>
                </c:pt>
                <c:pt idx="3983">
                  <c:v>0</c:v>
                </c:pt>
                <c:pt idx="3984">
                  <c:v>0</c:v>
                </c:pt>
                <c:pt idx="3985">
                  <c:v>0</c:v>
                </c:pt>
                <c:pt idx="3986">
                  <c:v>0</c:v>
                </c:pt>
                <c:pt idx="3987">
                  <c:v>0</c:v>
                </c:pt>
                <c:pt idx="3988">
                  <c:v>0</c:v>
                </c:pt>
                <c:pt idx="3989">
                  <c:v>0</c:v>
                </c:pt>
                <c:pt idx="3990">
                  <c:v>0</c:v>
                </c:pt>
                <c:pt idx="3991">
                  <c:v>0</c:v>
                </c:pt>
                <c:pt idx="3992">
                  <c:v>0</c:v>
                </c:pt>
                <c:pt idx="3993">
                  <c:v>0</c:v>
                </c:pt>
                <c:pt idx="3994">
                  <c:v>0</c:v>
                </c:pt>
                <c:pt idx="3995">
                  <c:v>0</c:v>
                </c:pt>
                <c:pt idx="3996">
                  <c:v>0</c:v>
                </c:pt>
                <c:pt idx="3997">
                  <c:v>0</c:v>
                </c:pt>
                <c:pt idx="3998">
                  <c:v>0</c:v>
                </c:pt>
                <c:pt idx="3999">
                  <c:v>0</c:v>
                </c:pt>
                <c:pt idx="4000">
                  <c:v>0</c:v>
                </c:pt>
                <c:pt idx="4001">
                  <c:v>0</c:v>
                </c:pt>
                <c:pt idx="4002">
                  <c:v>0</c:v>
                </c:pt>
                <c:pt idx="4003">
                  <c:v>0</c:v>
                </c:pt>
                <c:pt idx="4004">
                  <c:v>0</c:v>
                </c:pt>
                <c:pt idx="4005">
                  <c:v>0</c:v>
                </c:pt>
                <c:pt idx="4006">
                  <c:v>0</c:v>
                </c:pt>
                <c:pt idx="4007">
                  <c:v>0</c:v>
                </c:pt>
                <c:pt idx="4008">
                  <c:v>0</c:v>
                </c:pt>
                <c:pt idx="4009">
                  <c:v>0</c:v>
                </c:pt>
                <c:pt idx="4010">
                  <c:v>0</c:v>
                </c:pt>
                <c:pt idx="4011">
                  <c:v>0</c:v>
                </c:pt>
                <c:pt idx="4012">
                  <c:v>0</c:v>
                </c:pt>
                <c:pt idx="4013">
                  <c:v>0</c:v>
                </c:pt>
                <c:pt idx="4014">
                  <c:v>0</c:v>
                </c:pt>
                <c:pt idx="4015">
                  <c:v>0</c:v>
                </c:pt>
                <c:pt idx="4016">
                  <c:v>0</c:v>
                </c:pt>
                <c:pt idx="4017">
                  <c:v>0</c:v>
                </c:pt>
                <c:pt idx="4018">
                  <c:v>0</c:v>
                </c:pt>
                <c:pt idx="4019">
                  <c:v>0</c:v>
                </c:pt>
                <c:pt idx="4020">
                  <c:v>0</c:v>
                </c:pt>
                <c:pt idx="4021">
                  <c:v>0</c:v>
                </c:pt>
                <c:pt idx="4022">
                  <c:v>0</c:v>
                </c:pt>
                <c:pt idx="4023">
                  <c:v>0</c:v>
                </c:pt>
                <c:pt idx="4024">
                  <c:v>0</c:v>
                </c:pt>
                <c:pt idx="4025">
                  <c:v>0</c:v>
                </c:pt>
                <c:pt idx="4026">
                  <c:v>0</c:v>
                </c:pt>
                <c:pt idx="4027">
                  <c:v>0</c:v>
                </c:pt>
                <c:pt idx="4028">
                  <c:v>0</c:v>
                </c:pt>
                <c:pt idx="4029">
                  <c:v>0</c:v>
                </c:pt>
                <c:pt idx="4030">
                  <c:v>0</c:v>
                </c:pt>
                <c:pt idx="4031">
                  <c:v>0</c:v>
                </c:pt>
                <c:pt idx="4032">
                  <c:v>0</c:v>
                </c:pt>
                <c:pt idx="4033">
                  <c:v>0</c:v>
                </c:pt>
                <c:pt idx="4034">
                  <c:v>0</c:v>
                </c:pt>
                <c:pt idx="4035">
                  <c:v>0</c:v>
                </c:pt>
                <c:pt idx="4036">
                  <c:v>0</c:v>
                </c:pt>
                <c:pt idx="4037">
                  <c:v>0</c:v>
                </c:pt>
                <c:pt idx="4038">
                  <c:v>0</c:v>
                </c:pt>
                <c:pt idx="4039">
                  <c:v>0</c:v>
                </c:pt>
                <c:pt idx="4040">
                  <c:v>0</c:v>
                </c:pt>
                <c:pt idx="4041">
                  <c:v>0</c:v>
                </c:pt>
                <c:pt idx="4042">
                  <c:v>0</c:v>
                </c:pt>
                <c:pt idx="4043">
                  <c:v>0</c:v>
                </c:pt>
                <c:pt idx="4044">
                  <c:v>0</c:v>
                </c:pt>
                <c:pt idx="4045">
                  <c:v>0</c:v>
                </c:pt>
                <c:pt idx="4046">
                  <c:v>0</c:v>
                </c:pt>
                <c:pt idx="4047">
                  <c:v>0</c:v>
                </c:pt>
                <c:pt idx="4048">
                  <c:v>0</c:v>
                </c:pt>
                <c:pt idx="4049">
                  <c:v>0</c:v>
                </c:pt>
                <c:pt idx="4050">
                  <c:v>0</c:v>
                </c:pt>
                <c:pt idx="4051">
                  <c:v>0</c:v>
                </c:pt>
                <c:pt idx="4052">
                  <c:v>0</c:v>
                </c:pt>
                <c:pt idx="4053">
                  <c:v>0</c:v>
                </c:pt>
                <c:pt idx="4054">
                  <c:v>0</c:v>
                </c:pt>
                <c:pt idx="4055">
                  <c:v>0</c:v>
                </c:pt>
                <c:pt idx="4056">
                  <c:v>0</c:v>
                </c:pt>
                <c:pt idx="4057">
                  <c:v>0</c:v>
                </c:pt>
                <c:pt idx="4058">
                  <c:v>0</c:v>
                </c:pt>
                <c:pt idx="4059">
                  <c:v>0</c:v>
                </c:pt>
                <c:pt idx="4060">
                  <c:v>0</c:v>
                </c:pt>
                <c:pt idx="4061">
                  <c:v>0</c:v>
                </c:pt>
                <c:pt idx="4062">
                  <c:v>0</c:v>
                </c:pt>
                <c:pt idx="4063">
                  <c:v>0</c:v>
                </c:pt>
                <c:pt idx="4064">
                  <c:v>0</c:v>
                </c:pt>
                <c:pt idx="4065">
                  <c:v>0</c:v>
                </c:pt>
                <c:pt idx="4066">
                  <c:v>0</c:v>
                </c:pt>
                <c:pt idx="4067">
                  <c:v>0</c:v>
                </c:pt>
                <c:pt idx="4068">
                  <c:v>0</c:v>
                </c:pt>
                <c:pt idx="4069">
                  <c:v>0</c:v>
                </c:pt>
                <c:pt idx="4070">
                  <c:v>0</c:v>
                </c:pt>
                <c:pt idx="4071">
                  <c:v>0</c:v>
                </c:pt>
                <c:pt idx="4072">
                  <c:v>0</c:v>
                </c:pt>
                <c:pt idx="4073">
                  <c:v>0</c:v>
                </c:pt>
                <c:pt idx="4074">
                  <c:v>0</c:v>
                </c:pt>
                <c:pt idx="4075">
                  <c:v>0</c:v>
                </c:pt>
                <c:pt idx="4076">
                  <c:v>0</c:v>
                </c:pt>
                <c:pt idx="4077">
                  <c:v>0</c:v>
                </c:pt>
                <c:pt idx="4078">
                  <c:v>0</c:v>
                </c:pt>
                <c:pt idx="4079">
                  <c:v>0</c:v>
                </c:pt>
                <c:pt idx="4080">
                  <c:v>0</c:v>
                </c:pt>
                <c:pt idx="4081">
                  <c:v>0</c:v>
                </c:pt>
                <c:pt idx="4082">
                  <c:v>0</c:v>
                </c:pt>
                <c:pt idx="4083">
                  <c:v>0</c:v>
                </c:pt>
                <c:pt idx="4084">
                  <c:v>0</c:v>
                </c:pt>
                <c:pt idx="4085">
                  <c:v>0</c:v>
                </c:pt>
                <c:pt idx="4086">
                  <c:v>0</c:v>
                </c:pt>
                <c:pt idx="4087">
                  <c:v>0</c:v>
                </c:pt>
                <c:pt idx="4088">
                  <c:v>0</c:v>
                </c:pt>
                <c:pt idx="4089">
                  <c:v>0</c:v>
                </c:pt>
                <c:pt idx="4090">
                  <c:v>0</c:v>
                </c:pt>
                <c:pt idx="4091">
                  <c:v>0</c:v>
                </c:pt>
                <c:pt idx="4092">
                  <c:v>0</c:v>
                </c:pt>
                <c:pt idx="4093">
                  <c:v>0</c:v>
                </c:pt>
                <c:pt idx="4094">
                  <c:v>0</c:v>
                </c:pt>
                <c:pt idx="4095">
                  <c:v>0</c:v>
                </c:pt>
                <c:pt idx="4096">
                  <c:v>0</c:v>
                </c:pt>
                <c:pt idx="4097">
                  <c:v>0</c:v>
                </c:pt>
                <c:pt idx="4098">
                  <c:v>0</c:v>
                </c:pt>
                <c:pt idx="4099">
                  <c:v>0</c:v>
                </c:pt>
                <c:pt idx="4100">
                  <c:v>0</c:v>
                </c:pt>
                <c:pt idx="4101">
                  <c:v>0</c:v>
                </c:pt>
                <c:pt idx="4102">
                  <c:v>0</c:v>
                </c:pt>
                <c:pt idx="4103">
                  <c:v>0</c:v>
                </c:pt>
                <c:pt idx="4104">
                  <c:v>0</c:v>
                </c:pt>
                <c:pt idx="4105">
                  <c:v>0</c:v>
                </c:pt>
                <c:pt idx="4106">
                  <c:v>0</c:v>
                </c:pt>
                <c:pt idx="4107">
                  <c:v>0</c:v>
                </c:pt>
                <c:pt idx="4108">
                  <c:v>0</c:v>
                </c:pt>
                <c:pt idx="4109">
                  <c:v>0</c:v>
                </c:pt>
                <c:pt idx="4110">
                  <c:v>0</c:v>
                </c:pt>
                <c:pt idx="4111">
                  <c:v>0</c:v>
                </c:pt>
                <c:pt idx="4112">
                  <c:v>0</c:v>
                </c:pt>
                <c:pt idx="4113">
                  <c:v>0</c:v>
                </c:pt>
                <c:pt idx="4114">
                  <c:v>0</c:v>
                </c:pt>
                <c:pt idx="4115">
                  <c:v>0</c:v>
                </c:pt>
                <c:pt idx="4116">
                  <c:v>0</c:v>
                </c:pt>
                <c:pt idx="4117">
                  <c:v>0</c:v>
                </c:pt>
                <c:pt idx="4118">
                  <c:v>0</c:v>
                </c:pt>
                <c:pt idx="4119">
                  <c:v>0</c:v>
                </c:pt>
                <c:pt idx="4120">
                  <c:v>0</c:v>
                </c:pt>
                <c:pt idx="4121">
                  <c:v>0</c:v>
                </c:pt>
                <c:pt idx="4122">
                  <c:v>0</c:v>
                </c:pt>
                <c:pt idx="4123">
                  <c:v>0</c:v>
                </c:pt>
                <c:pt idx="4124">
                  <c:v>0</c:v>
                </c:pt>
                <c:pt idx="4125">
                  <c:v>0</c:v>
                </c:pt>
                <c:pt idx="4126">
                  <c:v>0</c:v>
                </c:pt>
                <c:pt idx="4127">
                  <c:v>0</c:v>
                </c:pt>
                <c:pt idx="4128">
                  <c:v>0</c:v>
                </c:pt>
                <c:pt idx="4129">
                  <c:v>0</c:v>
                </c:pt>
                <c:pt idx="4130">
                  <c:v>0</c:v>
                </c:pt>
                <c:pt idx="4131">
                  <c:v>0</c:v>
                </c:pt>
                <c:pt idx="4132">
                  <c:v>0</c:v>
                </c:pt>
                <c:pt idx="4133">
                  <c:v>0</c:v>
                </c:pt>
                <c:pt idx="4134">
                  <c:v>0</c:v>
                </c:pt>
                <c:pt idx="4135">
                  <c:v>0</c:v>
                </c:pt>
                <c:pt idx="4136">
                  <c:v>0</c:v>
                </c:pt>
                <c:pt idx="4137">
                  <c:v>0</c:v>
                </c:pt>
                <c:pt idx="4138">
                  <c:v>0</c:v>
                </c:pt>
                <c:pt idx="4139">
                  <c:v>0</c:v>
                </c:pt>
                <c:pt idx="4140">
                  <c:v>0</c:v>
                </c:pt>
                <c:pt idx="4141">
                  <c:v>0</c:v>
                </c:pt>
                <c:pt idx="4142">
                  <c:v>0</c:v>
                </c:pt>
                <c:pt idx="4143">
                  <c:v>0</c:v>
                </c:pt>
                <c:pt idx="4144">
                  <c:v>0</c:v>
                </c:pt>
                <c:pt idx="4145">
                  <c:v>0</c:v>
                </c:pt>
                <c:pt idx="4146">
                  <c:v>0</c:v>
                </c:pt>
                <c:pt idx="4147">
                  <c:v>0</c:v>
                </c:pt>
                <c:pt idx="4148">
                  <c:v>0</c:v>
                </c:pt>
                <c:pt idx="4149">
                  <c:v>0</c:v>
                </c:pt>
                <c:pt idx="4150">
                  <c:v>0</c:v>
                </c:pt>
                <c:pt idx="4151">
                  <c:v>0</c:v>
                </c:pt>
                <c:pt idx="4152">
                  <c:v>0</c:v>
                </c:pt>
                <c:pt idx="4153">
                  <c:v>0</c:v>
                </c:pt>
                <c:pt idx="4154">
                  <c:v>0</c:v>
                </c:pt>
                <c:pt idx="4155">
                  <c:v>0</c:v>
                </c:pt>
                <c:pt idx="4156">
                  <c:v>0</c:v>
                </c:pt>
                <c:pt idx="4157">
                  <c:v>0</c:v>
                </c:pt>
                <c:pt idx="4158">
                  <c:v>0</c:v>
                </c:pt>
                <c:pt idx="4159">
                  <c:v>0</c:v>
                </c:pt>
                <c:pt idx="4160">
                  <c:v>0</c:v>
                </c:pt>
                <c:pt idx="4161">
                  <c:v>0</c:v>
                </c:pt>
                <c:pt idx="4162">
                  <c:v>0</c:v>
                </c:pt>
                <c:pt idx="4163">
                  <c:v>0</c:v>
                </c:pt>
                <c:pt idx="4164">
                  <c:v>0</c:v>
                </c:pt>
                <c:pt idx="4165">
                  <c:v>0</c:v>
                </c:pt>
                <c:pt idx="4166">
                  <c:v>0</c:v>
                </c:pt>
                <c:pt idx="4167">
                  <c:v>0</c:v>
                </c:pt>
                <c:pt idx="4168">
                  <c:v>0</c:v>
                </c:pt>
                <c:pt idx="4169">
                  <c:v>0</c:v>
                </c:pt>
                <c:pt idx="4170">
                  <c:v>0</c:v>
                </c:pt>
                <c:pt idx="4171">
                  <c:v>0</c:v>
                </c:pt>
                <c:pt idx="4172">
                  <c:v>0</c:v>
                </c:pt>
                <c:pt idx="4173">
                  <c:v>0</c:v>
                </c:pt>
                <c:pt idx="4174">
                  <c:v>0</c:v>
                </c:pt>
                <c:pt idx="4175">
                  <c:v>0</c:v>
                </c:pt>
                <c:pt idx="4176">
                  <c:v>0</c:v>
                </c:pt>
                <c:pt idx="4177">
                  <c:v>0</c:v>
                </c:pt>
                <c:pt idx="4178">
                  <c:v>0</c:v>
                </c:pt>
                <c:pt idx="4179">
                  <c:v>0</c:v>
                </c:pt>
                <c:pt idx="4180">
                  <c:v>0</c:v>
                </c:pt>
                <c:pt idx="4181">
                  <c:v>0</c:v>
                </c:pt>
                <c:pt idx="4182">
                  <c:v>0</c:v>
                </c:pt>
                <c:pt idx="4183">
                  <c:v>0</c:v>
                </c:pt>
                <c:pt idx="4184">
                  <c:v>0</c:v>
                </c:pt>
                <c:pt idx="4185">
                  <c:v>0</c:v>
                </c:pt>
                <c:pt idx="4186">
                  <c:v>0</c:v>
                </c:pt>
                <c:pt idx="4187">
                  <c:v>0</c:v>
                </c:pt>
                <c:pt idx="4188">
                  <c:v>0</c:v>
                </c:pt>
                <c:pt idx="4189">
                  <c:v>0</c:v>
                </c:pt>
                <c:pt idx="4190">
                  <c:v>0</c:v>
                </c:pt>
                <c:pt idx="4191">
                  <c:v>0</c:v>
                </c:pt>
                <c:pt idx="4192">
                  <c:v>0</c:v>
                </c:pt>
                <c:pt idx="4193">
                  <c:v>0</c:v>
                </c:pt>
                <c:pt idx="4194">
                  <c:v>0</c:v>
                </c:pt>
                <c:pt idx="4195">
                  <c:v>0</c:v>
                </c:pt>
                <c:pt idx="4196">
                  <c:v>0</c:v>
                </c:pt>
                <c:pt idx="4197">
                  <c:v>0</c:v>
                </c:pt>
                <c:pt idx="4198">
                  <c:v>0</c:v>
                </c:pt>
                <c:pt idx="4199">
                  <c:v>0</c:v>
                </c:pt>
                <c:pt idx="4200">
                  <c:v>0</c:v>
                </c:pt>
                <c:pt idx="4201">
                  <c:v>0</c:v>
                </c:pt>
                <c:pt idx="4202">
                  <c:v>0</c:v>
                </c:pt>
                <c:pt idx="4203">
                  <c:v>0</c:v>
                </c:pt>
                <c:pt idx="4204">
                  <c:v>0</c:v>
                </c:pt>
                <c:pt idx="4205">
                  <c:v>0</c:v>
                </c:pt>
                <c:pt idx="4206">
                  <c:v>0</c:v>
                </c:pt>
                <c:pt idx="4207">
                  <c:v>0</c:v>
                </c:pt>
                <c:pt idx="4208">
                  <c:v>0</c:v>
                </c:pt>
                <c:pt idx="4209">
                  <c:v>0</c:v>
                </c:pt>
                <c:pt idx="4210">
                  <c:v>0</c:v>
                </c:pt>
                <c:pt idx="4211">
                  <c:v>0</c:v>
                </c:pt>
                <c:pt idx="4212">
                  <c:v>0</c:v>
                </c:pt>
                <c:pt idx="4213">
                  <c:v>0</c:v>
                </c:pt>
                <c:pt idx="4214">
                  <c:v>0</c:v>
                </c:pt>
                <c:pt idx="4215">
                  <c:v>0</c:v>
                </c:pt>
                <c:pt idx="4216">
                  <c:v>0</c:v>
                </c:pt>
                <c:pt idx="4217">
                  <c:v>0</c:v>
                </c:pt>
                <c:pt idx="4218">
                  <c:v>0</c:v>
                </c:pt>
                <c:pt idx="4219">
                  <c:v>0</c:v>
                </c:pt>
                <c:pt idx="4220">
                  <c:v>0</c:v>
                </c:pt>
                <c:pt idx="4221">
                  <c:v>0</c:v>
                </c:pt>
                <c:pt idx="4222">
                  <c:v>0</c:v>
                </c:pt>
                <c:pt idx="4223">
                  <c:v>0</c:v>
                </c:pt>
                <c:pt idx="4224">
                  <c:v>0</c:v>
                </c:pt>
                <c:pt idx="4225">
                  <c:v>0</c:v>
                </c:pt>
                <c:pt idx="4226">
                  <c:v>0</c:v>
                </c:pt>
                <c:pt idx="4227">
                  <c:v>0</c:v>
                </c:pt>
                <c:pt idx="4228">
                  <c:v>0</c:v>
                </c:pt>
                <c:pt idx="4229">
                  <c:v>0</c:v>
                </c:pt>
                <c:pt idx="4230">
                  <c:v>0</c:v>
                </c:pt>
                <c:pt idx="4231">
                  <c:v>0</c:v>
                </c:pt>
                <c:pt idx="4232">
                  <c:v>0</c:v>
                </c:pt>
                <c:pt idx="4233">
                  <c:v>0</c:v>
                </c:pt>
                <c:pt idx="4234">
                  <c:v>0</c:v>
                </c:pt>
                <c:pt idx="4235">
                  <c:v>0</c:v>
                </c:pt>
                <c:pt idx="4236">
                  <c:v>0</c:v>
                </c:pt>
                <c:pt idx="4237">
                  <c:v>0</c:v>
                </c:pt>
                <c:pt idx="4238">
                  <c:v>0</c:v>
                </c:pt>
                <c:pt idx="4239">
                  <c:v>0</c:v>
                </c:pt>
                <c:pt idx="4240">
                  <c:v>0</c:v>
                </c:pt>
                <c:pt idx="4241">
                  <c:v>0</c:v>
                </c:pt>
                <c:pt idx="4242">
                  <c:v>0</c:v>
                </c:pt>
                <c:pt idx="4243">
                  <c:v>0</c:v>
                </c:pt>
                <c:pt idx="4244">
                  <c:v>0</c:v>
                </c:pt>
                <c:pt idx="4245">
                  <c:v>0</c:v>
                </c:pt>
                <c:pt idx="4246">
                  <c:v>0</c:v>
                </c:pt>
                <c:pt idx="4247">
                  <c:v>0</c:v>
                </c:pt>
                <c:pt idx="4248">
                  <c:v>0</c:v>
                </c:pt>
                <c:pt idx="4249">
                  <c:v>0</c:v>
                </c:pt>
                <c:pt idx="4250">
                  <c:v>0</c:v>
                </c:pt>
                <c:pt idx="4251">
                  <c:v>0</c:v>
                </c:pt>
                <c:pt idx="4252">
                  <c:v>0</c:v>
                </c:pt>
                <c:pt idx="4253">
                  <c:v>0</c:v>
                </c:pt>
                <c:pt idx="4254">
                  <c:v>0</c:v>
                </c:pt>
                <c:pt idx="4255">
                  <c:v>0</c:v>
                </c:pt>
                <c:pt idx="4256">
                  <c:v>0</c:v>
                </c:pt>
                <c:pt idx="4257">
                  <c:v>0</c:v>
                </c:pt>
                <c:pt idx="4258">
                  <c:v>0</c:v>
                </c:pt>
                <c:pt idx="4259">
                  <c:v>0</c:v>
                </c:pt>
                <c:pt idx="4260">
                  <c:v>0</c:v>
                </c:pt>
                <c:pt idx="4261">
                  <c:v>0</c:v>
                </c:pt>
                <c:pt idx="4262">
                  <c:v>0</c:v>
                </c:pt>
                <c:pt idx="4263">
                  <c:v>0</c:v>
                </c:pt>
                <c:pt idx="4264">
                  <c:v>0</c:v>
                </c:pt>
                <c:pt idx="4265">
                  <c:v>0</c:v>
                </c:pt>
                <c:pt idx="4266">
                  <c:v>0</c:v>
                </c:pt>
                <c:pt idx="4267">
                  <c:v>0</c:v>
                </c:pt>
                <c:pt idx="4268">
                  <c:v>0</c:v>
                </c:pt>
                <c:pt idx="4269">
                  <c:v>0</c:v>
                </c:pt>
                <c:pt idx="4270">
                  <c:v>0</c:v>
                </c:pt>
                <c:pt idx="4271">
                  <c:v>0</c:v>
                </c:pt>
                <c:pt idx="4272">
                  <c:v>0</c:v>
                </c:pt>
                <c:pt idx="4273">
                  <c:v>0</c:v>
                </c:pt>
                <c:pt idx="4274">
                  <c:v>0</c:v>
                </c:pt>
                <c:pt idx="4275">
                  <c:v>0</c:v>
                </c:pt>
                <c:pt idx="4276">
                  <c:v>0</c:v>
                </c:pt>
                <c:pt idx="4277">
                  <c:v>0</c:v>
                </c:pt>
                <c:pt idx="4278">
                  <c:v>0</c:v>
                </c:pt>
                <c:pt idx="4279">
                  <c:v>0</c:v>
                </c:pt>
                <c:pt idx="4280">
                  <c:v>0</c:v>
                </c:pt>
                <c:pt idx="4281">
                  <c:v>0</c:v>
                </c:pt>
                <c:pt idx="4282">
                  <c:v>0</c:v>
                </c:pt>
                <c:pt idx="4283">
                  <c:v>0</c:v>
                </c:pt>
                <c:pt idx="4284">
                  <c:v>0</c:v>
                </c:pt>
                <c:pt idx="4285">
                  <c:v>0</c:v>
                </c:pt>
                <c:pt idx="4286">
                  <c:v>0</c:v>
                </c:pt>
                <c:pt idx="4287">
                  <c:v>0</c:v>
                </c:pt>
                <c:pt idx="4288">
                  <c:v>0</c:v>
                </c:pt>
                <c:pt idx="4289">
                  <c:v>0</c:v>
                </c:pt>
                <c:pt idx="4290">
                  <c:v>0</c:v>
                </c:pt>
                <c:pt idx="4291">
                  <c:v>0</c:v>
                </c:pt>
                <c:pt idx="4292">
                  <c:v>0</c:v>
                </c:pt>
                <c:pt idx="4293">
                  <c:v>0</c:v>
                </c:pt>
                <c:pt idx="4294">
                  <c:v>0</c:v>
                </c:pt>
                <c:pt idx="4295">
                  <c:v>0</c:v>
                </c:pt>
                <c:pt idx="4296">
                  <c:v>0</c:v>
                </c:pt>
                <c:pt idx="4297">
                  <c:v>0</c:v>
                </c:pt>
                <c:pt idx="4298">
                  <c:v>0</c:v>
                </c:pt>
                <c:pt idx="4299">
                  <c:v>0</c:v>
                </c:pt>
                <c:pt idx="4300">
                  <c:v>0</c:v>
                </c:pt>
                <c:pt idx="4301">
                  <c:v>0</c:v>
                </c:pt>
                <c:pt idx="4302">
                  <c:v>0</c:v>
                </c:pt>
                <c:pt idx="4303">
                  <c:v>0</c:v>
                </c:pt>
                <c:pt idx="4304">
                  <c:v>0</c:v>
                </c:pt>
                <c:pt idx="4305">
                  <c:v>0</c:v>
                </c:pt>
                <c:pt idx="4306">
                  <c:v>0</c:v>
                </c:pt>
                <c:pt idx="4307">
                  <c:v>0</c:v>
                </c:pt>
                <c:pt idx="4308">
                  <c:v>0</c:v>
                </c:pt>
                <c:pt idx="4309">
                  <c:v>0</c:v>
                </c:pt>
                <c:pt idx="4310">
                  <c:v>0</c:v>
                </c:pt>
                <c:pt idx="4311">
                  <c:v>0</c:v>
                </c:pt>
                <c:pt idx="4312">
                  <c:v>0</c:v>
                </c:pt>
                <c:pt idx="4313">
                  <c:v>0</c:v>
                </c:pt>
                <c:pt idx="4314">
                  <c:v>0</c:v>
                </c:pt>
                <c:pt idx="4315">
                  <c:v>0</c:v>
                </c:pt>
                <c:pt idx="4316">
                  <c:v>0</c:v>
                </c:pt>
                <c:pt idx="4317">
                  <c:v>0</c:v>
                </c:pt>
                <c:pt idx="4318">
                  <c:v>0</c:v>
                </c:pt>
                <c:pt idx="4319">
                  <c:v>0</c:v>
                </c:pt>
                <c:pt idx="4320">
                  <c:v>0</c:v>
                </c:pt>
                <c:pt idx="4321">
                  <c:v>0</c:v>
                </c:pt>
                <c:pt idx="4322">
                  <c:v>0</c:v>
                </c:pt>
                <c:pt idx="4323">
                  <c:v>0</c:v>
                </c:pt>
                <c:pt idx="4324">
                  <c:v>0</c:v>
                </c:pt>
                <c:pt idx="4325">
                  <c:v>0</c:v>
                </c:pt>
                <c:pt idx="4326">
                  <c:v>0</c:v>
                </c:pt>
                <c:pt idx="4327">
                  <c:v>0</c:v>
                </c:pt>
                <c:pt idx="4328">
                  <c:v>0</c:v>
                </c:pt>
                <c:pt idx="4329">
                  <c:v>0</c:v>
                </c:pt>
                <c:pt idx="4330">
                  <c:v>0</c:v>
                </c:pt>
                <c:pt idx="4331">
                  <c:v>0</c:v>
                </c:pt>
                <c:pt idx="4332">
                  <c:v>0</c:v>
                </c:pt>
                <c:pt idx="4333">
                  <c:v>0</c:v>
                </c:pt>
                <c:pt idx="4334">
                  <c:v>0</c:v>
                </c:pt>
                <c:pt idx="4335">
                  <c:v>0</c:v>
                </c:pt>
                <c:pt idx="4336">
                  <c:v>0</c:v>
                </c:pt>
                <c:pt idx="4337">
                  <c:v>0</c:v>
                </c:pt>
                <c:pt idx="4338">
                  <c:v>0</c:v>
                </c:pt>
                <c:pt idx="4339">
                  <c:v>0</c:v>
                </c:pt>
                <c:pt idx="4340">
                  <c:v>0</c:v>
                </c:pt>
                <c:pt idx="4341">
                  <c:v>0</c:v>
                </c:pt>
                <c:pt idx="4342">
                  <c:v>0</c:v>
                </c:pt>
                <c:pt idx="4343">
                  <c:v>0</c:v>
                </c:pt>
                <c:pt idx="4344">
                  <c:v>0</c:v>
                </c:pt>
                <c:pt idx="4345">
                  <c:v>0</c:v>
                </c:pt>
                <c:pt idx="4346">
                  <c:v>0</c:v>
                </c:pt>
                <c:pt idx="4347">
                  <c:v>0</c:v>
                </c:pt>
                <c:pt idx="4348">
                  <c:v>0</c:v>
                </c:pt>
                <c:pt idx="4349">
                  <c:v>0</c:v>
                </c:pt>
                <c:pt idx="4350">
                  <c:v>0</c:v>
                </c:pt>
                <c:pt idx="4351">
                  <c:v>0</c:v>
                </c:pt>
                <c:pt idx="4352">
                  <c:v>0</c:v>
                </c:pt>
                <c:pt idx="4353">
                  <c:v>0</c:v>
                </c:pt>
                <c:pt idx="4354">
                  <c:v>0</c:v>
                </c:pt>
                <c:pt idx="4355">
                  <c:v>0</c:v>
                </c:pt>
                <c:pt idx="4356">
                  <c:v>0</c:v>
                </c:pt>
                <c:pt idx="4357">
                  <c:v>0</c:v>
                </c:pt>
                <c:pt idx="4358">
                  <c:v>0</c:v>
                </c:pt>
                <c:pt idx="4359">
                  <c:v>0</c:v>
                </c:pt>
                <c:pt idx="4360">
                  <c:v>0</c:v>
                </c:pt>
                <c:pt idx="4361">
                  <c:v>0</c:v>
                </c:pt>
                <c:pt idx="4362">
                  <c:v>0</c:v>
                </c:pt>
                <c:pt idx="4363">
                  <c:v>0</c:v>
                </c:pt>
                <c:pt idx="4364">
                  <c:v>0</c:v>
                </c:pt>
                <c:pt idx="4365">
                  <c:v>0</c:v>
                </c:pt>
                <c:pt idx="4366">
                  <c:v>0</c:v>
                </c:pt>
                <c:pt idx="4367">
                  <c:v>0</c:v>
                </c:pt>
                <c:pt idx="4368">
                  <c:v>0</c:v>
                </c:pt>
                <c:pt idx="4369">
                  <c:v>0</c:v>
                </c:pt>
                <c:pt idx="4370">
                  <c:v>0</c:v>
                </c:pt>
                <c:pt idx="4371">
                  <c:v>0</c:v>
                </c:pt>
                <c:pt idx="4372">
                  <c:v>0</c:v>
                </c:pt>
                <c:pt idx="4373">
                  <c:v>0</c:v>
                </c:pt>
                <c:pt idx="4374">
                  <c:v>0</c:v>
                </c:pt>
                <c:pt idx="4375">
                  <c:v>0</c:v>
                </c:pt>
                <c:pt idx="4376">
                  <c:v>0</c:v>
                </c:pt>
                <c:pt idx="4377">
                  <c:v>0</c:v>
                </c:pt>
                <c:pt idx="4378">
                  <c:v>0</c:v>
                </c:pt>
                <c:pt idx="4379">
                  <c:v>0</c:v>
                </c:pt>
                <c:pt idx="4380">
                  <c:v>0</c:v>
                </c:pt>
                <c:pt idx="4381">
                  <c:v>0</c:v>
                </c:pt>
                <c:pt idx="4382">
                  <c:v>0</c:v>
                </c:pt>
                <c:pt idx="4383">
                  <c:v>0</c:v>
                </c:pt>
                <c:pt idx="4384">
                  <c:v>0</c:v>
                </c:pt>
                <c:pt idx="4385">
                  <c:v>0</c:v>
                </c:pt>
                <c:pt idx="4386">
                  <c:v>0</c:v>
                </c:pt>
                <c:pt idx="4387">
                  <c:v>0</c:v>
                </c:pt>
                <c:pt idx="4388">
                  <c:v>0</c:v>
                </c:pt>
                <c:pt idx="4389">
                  <c:v>0</c:v>
                </c:pt>
                <c:pt idx="4390">
                  <c:v>0</c:v>
                </c:pt>
                <c:pt idx="4391">
                  <c:v>0</c:v>
                </c:pt>
                <c:pt idx="4392">
                  <c:v>0</c:v>
                </c:pt>
                <c:pt idx="4393">
                  <c:v>0</c:v>
                </c:pt>
                <c:pt idx="4394">
                  <c:v>0</c:v>
                </c:pt>
                <c:pt idx="4395">
                  <c:v>0</c:v>
                </c:pt>
                <c:pt idx="4396">
                  <c:v>0</c:v>
                </c:pt>
                <c:pt idx="4397">
                  <c:v>0</c:v>
                </c:pt>
                <c:pt idx="4398">
                  <c:v>0</c:v>
                </c:pt>
                <c:pt idx="4399">
                  <c:v>0</c:v>
                </c:pt>
                <c:pt idx="4400">
                  <c:v>0</c:v>
                </c:pt>
                <c:pt idx="4401">
                  <c:v>0</c:v>
                </c:pt>
                <c:pt idx="4402">
                  <c:v>0</c:v>
                </c:pt>
                <c:pt idx="4403">
                  <c:v>0</c:v>
                </c:pt>
                <c:pt idx="4404">
                  <c:v>0</c:v>
                </c:pt>
                <c:pt idx="4405">
                  <c:v>0</c:v>
                </c:pt>
                <c:pt idx="4406">
                  <c:v>0</c:v>
                </c:pt>
                <c:pt idx="4407">
                  <c:v>0</c:v>
                </c:pt>
                <c:pt idx="4408">
                  <c:v>0</c:v>
                </c:pt>
                <c:pt idx="4409">
                  <c:v>0</c:v>
                </c:pt>
                <c:pt idx="4410">
                  <c:v>0</c:v>
                </c:pt>
                <c:pt idx="4411">
                  <c:v>0</c:v>
                </c:pt>
                <c:pt idx="4412">
                  <c:v>0</c:v>
                </c:pt>
                <c:pt idx="4413">
                  <c:v>0</c:v>
                </c:pt>
                <c:pt idx="4414">
                  <c:v>0</c:v>
                </c:pt>
                <c:pt idx="4415">
                  <c:v>0</c:v>
                </c:pt>
                <c:pt idx="4416">
                  <c:v>0</c:v>
                </c:pt>
                <c:pt idx="4417">
                  <c:v>0</c:v>
                </c:pt>
                <c:pt idx="4418">
                  <c:v>0</c:v>
                </c:pt>
                <c:pt idx="4419">
                  <c:v>0</c:v>
                </c:pt>
                <c:pt idx="4420">
                  <c:v>0</c:v>
                </c:pt>
                <c:pt idx="4421">
                  <c:v>0</c:v>
                </c:pt>
                <c:pt idx="4422">
                  <c:v>0</c:v>
                </c:pt>
                <c:pt idx="4423">
                  <c:v>0</c:v>
                </c:pt>
                <c:pt idx="4424">
                  <c:v>0</c:v>
                </c:pt>
                <c:pt idx="4425">
                  <c:v>0</c:v>
                </c:pt>
                <c:pt idx="4426">
                  <c:v>0</c:v>
                </c:pt>
                <c:pt idx="4427">
                  <c:v>0</c:v>
                </c:pt>
                <c:pt idx="4428">
                  <c:v>0</c:v>
                </c:pt>
                <c:pt idx="4429">
                  <c:v>0</c:v>
                </c:pt>
                <c:pt idx="4430">
                  <c:v>0</c:v>
                </c:pt>
                <c:pt idx="4431">
                  <c:v>0</c:v>
                </c:pt>
                <c:pt idx="4432">
                  <c:v>0</c:v>
                </c:pt>
                <c:pt idx="4433">
                  <c:v>0</c:v>
                </c:pt>
                <c:pt idx="4434">
                  <c:v>0</c:v>
                </c:pt>
                <c:pt idx="4435">
                  <c:v>0</c:v>
                </c:pt>
                <c:pt idx="4436">
                  <c:v>0</c:v>
                </c:pt>
                <c:pt idx="4437">
                  <c:v>0</c:v>
                </c:pt>
                <c:pt idx="4438">
                  <c:v>0</c:v>
                </c:pt>
                <c:pt idx="4439">
                  <c:v>0</c:v>
                </c:pt>
                <c:pt idx="4440">
                  <c:v>0</c:v>
                </c:pt>
                <c:pt idx="4441">
                  <c:v>0</c:v>
                </c:pt>
                <c:pt idx="4442">
                  <c:v>0</c:v>
                </c:pt>
                <c:pt idx="4443">
                  <c:v>0</c:v>
                </c:pt>
                <c:pt idx="4444">
                  <c:v>0</c:v>
                </c:pt>
                <c:pt idx="4445">
                  <c:v>0</c:v>
                </c:pt>
                <c:pt idx="4446">
                  <c:v>0</c:v>
                </c:pt>
                <c:pt idx="4447">
                  <c:v>0</c:v>
                </c:pt>
                <c:pt idx="4448">
                  <c:v>0</c:v>
                </c:pt>
                <c:pt idx="4449">
                  <c:v>0</c:v>
                </c:pt>
                <c:pt idx="4450">
                  <c:v>0</c:v>
                </c:pt>
                <c:pt idx="4451">
                  <c:v>0</c:v>
                </c:pt>
                <c:pt idx="4452">
                  <c:v>0</c:v>
                </c:pt>
                <c:pt idx="4453">
                  <c:v>0</c:v>
                </c:pt>
                <c:pt idx="4454">
                  <c:v>0</c:v>
                </c:pt>
                <c:pt idx="4455">
                  <c:v>0</c:v>
                </c:pt>
                <c:pt idx="4456">
                  <c:v>0</c:v>
                </c:pt>
                <c:pt idx="4457">
                  <c:v>0</c:v>
                </c:pt>
                <c:pt idx="4458">
                  <c:v>0</c:v>
                </c:pt>
                <c:pt idx="4459">
                  <c:v>0</c:v>
                </c:pt>
                <c:pt idx="4460">
                  <c:v>0</c:v>
                </c:pt>
                <c:pt idx="4461">
                  <c:v>0</c:v>
                </c:pt>
                <c:pt idx="4462">
                  <c:v>0</c:v>
                </c:pt>
                <c:pt idx="4463">
                  <c:v>0</c:v>
                </c:pt>
                <c:pt idx="4464">
                  <c:v>0</c:v>
                </c:pt>
                <c:pt idx="4465">
                  <c:v>0</c:v>
                </c:pt>
                <c:pt idx="4466">
                  <c:v>0</c:v>
                </c:pt>
                <c:pt idx="4467">
                  <c:v>0</c:v>
                </c:pt>
                <c:pt idx="4468">
                  <c:v>0</c:v>
                </c:pt>
                <c:pt idx="4469">
                  <c:v>0</c:v>
                </c:pt>
                <c:pt idx="4470">
                  <c:v>0</c:v>
                </c:pt>
                <c:pt idx="4471">
                  <c:v>0</c:v>
                </c:pt>
                <c:pt idx="4472">
                  <c:v>0</c:v>
                </c:pt>
                <c:pt idx="4473">
                  <c:v>0</c:v>
                </c:pt>
                <c:pt idx="4474">
                  <c:v>0</c:v>
                </c:pt>
                <c:pt idx="4475">
                  <c:v>0</c:v>
                </c:pt>
                <c:pt idx="4476">
                  <c:v>0</c:v>
                </c:pt>
                <c:pt idx="4477">
                  <c:v>0</c:v>
                </c:pt>
                <c:pt idx="4478">
                  <c:v>0</c:v>
                </c:pt>
                <c:pt idx="4479">
                  <c:v>0</c:v>
                </c:pt>
                <c:pt idx="4480">
                  <c:v>0</c:v>
                </c:pt>
                <c:pt idx="4481">
                  <c:v>0</c:v>
                </c:pt>
                <c:pt idx="4482">
                  <c:v>0</c:v>
                </c:pt>
                <c:pt idx="4483">
                  <c:v>0</c:v>
                </c:pt>
                <c:pt idx="4484">
                  <c:v>0</c:v>
                </c:pt>
                <c:pt idx="4485">
                  <c:v>0</c:v>
                </c:pt>
                <c:pt idx="4486">
                  <c:v>0</c:v>
                </c:pt>
                <c:pt idx="4487">
                  <c:v>0</c:v>
                </c:pt>
                <c:pt idx="4488">
                  <c:v>0</c:v>
                </c:pt>
                <c:pt idx="4489">
                  <c:v>0</c:v>
                </c:pt>
                <c:pt idx="4490">
                  <c:v>0</c:v>
                </c:pt>
                <c:pt idx="4491">
                  <c:v>0</c:v>
                </c:pt>
                <c:pt idx="4492">
                  <c:v>0</c:v>
                </c:pt>
                <c:pt idx="4493">
                  <c:v>0</c:v>
                </c:pt>
                <c:pt idx="4494">
                  <c:v>0</c:v>
                </c:pt>
                <c:pt idx="4495">
                  <c:v>0</c:v>
                </c:pt>
                <c:pt idx="4496">
                  <c:v>0</c:v>
                </c:pt>
                <c:pt idx="4497">
                  <c:v>0</c:v>
                </c:pt>
                <c:pt idx="4498">
                  <c:v>0</c:v>
                </c:pt>
                <c:pt idx="4499">
                  <c:v>0</c:v>
                </c:pt>
                <c:pt idx="4500">
                  <c:v>0</c:v>
                </c:pt>
                <c:pt idx="4501">
                  <c:v>0</c:v>
                </c:pt>
                <c:pt idx="4502">
                  <c:v>0</c:v>
                </c:pt>
                <c:pt idx="4503">
                  <c:v>0</c:v>
                </c:pt>
                <c:pt idx="4504">
                  <c:v>0</c:v>
                </c:pt>
                <c:pt idx="4505">
                  <c:v>0</c:v>
                </c:pt>
                <c:pt idx="4506">
                  <c:v>0</c:v>
                </c:pt>
                <c:pt idx="4507">
                  <c:v>0</c:v>
                </c:pt>
                <c:pt idx="4508">
                  <c:v>0</c:v>
                </c:pt>
                <c:pt idx="4509">
                  <c:v>0</c:v>
                </c:pt>
                <c:pt idx="4510">
                  <c:v>0</c:v>
                </c:pt>
                <c:pt idx="4511">
                  <c:v>0</c:v>
                </c:pt>
                <c:pt idx="4512">
                  <c:v>0</c:v>
                </c:pt>
                <c:pt idx="4513">
                  <c:v>0</c:v>
                </c:pt>
                <c:pt idx="4514">
                  <c:v>0</c:v>
                </c:pt>
                <c:pt idx="4515">
                  <c:v>0</c:v>
                </c:pt>
                <c:pt idx="4516">
                  <c:v>0</c:v>
                </c:pt>
                <c:pt idx="4517">
                  <c:v>0</c:v>
                </c:pt>
                <c:pt idx="4518">
                  <c:v>0</c:v>
                </c:pt>
                <c:pt idx="4519">
                  <c:v>0</c:v>
                </c:pt>
                <c:pt idx="4520">
                  <c:v>0</c:v>
                </c:pt>
                <c:pt idx="4521">
                  <c:v>0</c:v>
                </c:pt>
                <c:pt idx="4522">
                  <c:v>0</c:v>
                </c:pt>
                <c:pt idx="4523">
                  <c:v>0</c:v>
                </c:pt>
                <c:pt idx="4524">
                  <c:v>0</c:v>
                </c:pt>
                <c:pt idx="4525">
                  <c:v>0</c:v>
                </c:pt>
                <c:pt idx="4526">
                  <c:v>0</c:v>
                </c:pt>
                <c:pt idx="4527">
                  <c:v>0</c:v>
                </c:pt>
                <c:pt idx="4528">
                  <c:v>0</c:v>
                </c:pt>
                <c:pt idx="4529">
                  <c:v>0</c:v>
                </c:pt>
                <c:pt idx="4530">
                  <c:v>0</c:v>
                </c:pt>
                <c:pt idx="4531">
                  <c:v>0</c:v>
                </c:pt>
                <c:pt idx="4532">
                  <c:v>0</c:v>
                </c:pt>
                <c:pt idx="4533">
                  <c:v>0</c:v>
                </c:pt>
                <c:pt idx="4534">
                  <c:v>0</c:v>
                </c:pt>
                <c:pt idx="4535">
                  <c:v>0</c:v>
                </c:pt>
                <c:pt idx="4536">
                  <c:v>0</c:v>
                </c:pt>
                <c:pt idx="4537">
                  <c:v>0</c:v>
                </c:pt>
                <c:pt idx="4538">
                  <c:v>0</c:v>
                </c:pt>
                <c:pt idx="4539">
                  <c:v>0</c:v>
                </c:pt>
                <c:pt idx="4540">
                  <c:v>0</c:v>
                </c:pt>
                <c:pt idx="4541">
                  <c:v>0</c:v>
                </c:pt>
                <c:pt idx="4542">
                  <c:v>0</c:v>
                </c:pt>
                <c:pt idx="4543">
                  <c:v>0</c:v>
                </c:pt>
                <c:pt idx="4544">
                  <c:v>0</c:v>
                </c:pt>
                <c:pt idx="4545">
                  <c:v>0</c:v>
                </c:pt>
                <c:pt idx="4546">
                  <c:v>0</c:v>
                </c:pt>
                <c:pt idx="4547">
                  <c:v>0</c:v>
                </c:pt>
                <c:pt idx="4548">
                  <c:v>0</c:v>
                </c:pt>
                <c:pt idx="4549">
                  <c:v>0</c:v>
                </c:pt>
                <c:pt idx="4550">
                  <c:v>0</c:v>
                </c:pt>
                <c:pt idx="4551">
                  <c:v>0</c:v>
                </c:pt>
                <c:pt idx="4552">
                  <c:v>0</c:v>
                </c:pt>
                <c:pt idx="4553">
                  <c:v>0</c:v>
                </c:pt>
                <c:pt idx="4554">
                  <c:v>0</c:v>
                </c:pt>
                <c:pt idx="4555">
                  <c:v>0</c:v>
                </c:pt>
                <c:pt idx="4556">
                  <c:v>0</c:v>
                </c:pt>
                <c:pt idx="4557">
                  <c:v>0</c:v>
                </c:pt>
                <c:pt idx="4558">
                  <c:v>0</c:v>
                </c:pt>
                <c:pt idx="4559">
                  <c:v>0</c:v>
                </c:pt>
                <c:pt idx="4560">
                  <c:v>0</c:v>
                </c:pt>
                <c:pt idx="4561">
                  <c:v>0</c:v>
                </c:pt>
                <c:pt idx="4562">
                  <c:v>0</c:v>
                </c:pt>
                <c:pt idx="4563">
                  <c:v>0</c:v>
                </c:pt>
                <c:pt idx="4564">
                  <c:v>0</c:v>
                </c:pt>
                <c:pt idx="4565">
                  <c:v>0</c:v>
                </c:pt>
                <c:pt idx="4566">
                  <c:v>0</c:v>
                </c:pt>
                <c:pt idx="4567">
                  <c:v>0</c:v>
                </c:pt>
                <c:pt idx="4568">
                  <c:v>0</c:v>
                </c:pt>
                <c:pt idx="4569">
                  <c:v>0</c:v>
                </c:pt>
                <c:pt idx="4570">
                  <c:v>0</c:v>
                </c:pt>
                <c:pt idx="4571">
                  <c:v>0</c:v>
                </c:pt>
                <c:pt idx="4572">
                  <c:v>0</c:v>
                </c:pt>
                <c:pt idx="4573">
                  <c:v>0</c:v>
                </c:pt>
                <c:pt idx="4574">
                  <c:v>0</c:v>
                </c:pt>
                <c:pt idx="4575">
                  <c:v>0</c:v>
                </c:pt>
                <c:pt idx="4576">
                  <c:v>0</c:v>
                </c:pt>
                <c:pt idx="4577">
                  <c:v>0</c:v>
                </c:pt>
                <c:pt idx="4578">
                  <c:v>0</c:v>
                </c:pt>
                <c:pt idx="4579">
                  <c:v>0</c:v>
                </c:pt>
                <c:pt idx="4580">
                  <c:v>0</c:v>
                </c:pt>
                <c:pt idx="4581">
                  <c:v>0</c:v>
                </c:pt>
                <c:pt idx="4582">
                  <c:v>0</c:v>
                </c:pt>
                <c:pt idx="4583">
                  <c:v>0</c:v>
                </c:pt>
                <c:pt idx="4584">
                  <c:v>0</c:v>
                </c:pt>
                <c:pt idx="4585">
                  <c:v>0</c:v>
                </c:pt>
                <c:pt idx="4586">
                  <c:v>0</c:v>
                </c:pt>
                <c:pt idx="4587">
                  <c:v>0</c:v>
                </c:pt>
                <c:pt idx="4588">
                  <c:v>0</c:v>
                </c:pt>
                <c:pt idx="4589">
                  <c:v>0</c:v>
                </c:pt>
                <c:pt idx="4590">
                  <c:v>0</c:v>
                </c:pt>
                <c:pt idx="4591">
                  <c:v>0</c:v>
                </c:pt>
                <c:pt idx="4592">
                  <c:v>0</c:v>
                </c:pt>
                <c:pt idx="4593">
                  <c:v>0</c:v>
                </c:pt>
                <c:pt idx="4594">
                  <c:v>0</c:v>
                </c:pt>
                <c:pt idx="4595">
                  <c:v>0</c:v>
                </c:pt>
                <c:pt idx="4596">
                  <c:v>0</c:v>
                </c:pt>
                <c:pt idx="4597">
                  <c:v>0</c:v>
                </c:pt>
                <c:pt idx="4598">
                  <c:v>0</c:v>
                </c:pt>
                <c:pt idx="4599">
                  <c:v>0</c:v>
                </c:pt>
                <c:pt idx="4600">
                  <c:v>0</c:v>
                </c:pt>
                <c:pt idx="4601">
                  <c:v>0</c:v>
                </c:pt>
                <c:pt idx="4602">
                  <c:v>0</c:v>
                </c:pt>
                <c:pt idx="4603">
                  <c:v>0</c:v>
                </c:pt>
                <c:pt idx="4604">
                  <c:v>0</c:v>
                </c:pt>
                <c:pt idx="4605">
                  <c:v>0</c:v>
                </c:pt>
                <c:pt idx="4606">
                  <c:v>0</c:v>
                </c:pt>
                <c:pt idx="4607">
                  <c:v>0</c:v>
                </c:pt>
                <c:pt idx="4608">
                  <c:v>0</c:v>
                </c:pt>
                <c:pt idx="4609">
                  <c:v>0</c:v>
                </c:pt>
                <c:pt idx="4610">
                  <c:v>0</c:v>
                </c:pt>
                <c:pt idx="4611">
                  <c:v>0</c:v>
                </c:pt>
                <c:pt idx="4612">
                  <c:v>0</c:v>
                </c:pt>
                <c:pt idx="4613">
                  <c:v>0</c:v>
                </c:pt>
                <c:pt idx="4614">
                  <c:v>0</c:v>
                </c:pt>
                <c:pt idx="4615">
                  <c:v>0</c:v>
                </c:pt>
                <c:pt idx="4616">
                  <c:v>0</c:v>
                </c:pt>
                <c:pt idx="4617">
                  <c:v>0</c:v>
                </c:pt>
                <c:pt idx="4618">
                  <c:v>0</c:v>
                </c:pt>
                <c:pt idx="4619">
                  <c:v>0</c:v>
                </c:pt>
                <c:pt idx="4620">
                  <c:v>0</c:v>
                </c:pt>
                <c:pt idx="4621">
                  <c:v>0</c:v>
                </c:pt>
                <c:pt idx="4622">
                  <c:v>0</c:v>
                </c:pt>
                <c:pt idx="4623">
                  <c:v>0</c:v>
                </c:pt>
                <c:pt idx="4624">
                  <c:v>0</c:v>
                </c:pt>
                <c:pt idx="4625">
                  <c:v>0</c:v>
                </c:pt>
                <c:pt idx="4626">
                  <c:v>0</c:v>
                </c:pt>
                <c:pt idx="4627">
                  <c:v>0</c:v>
                </c:pt>
                <c:pt idx="4628">
                  <c:v>0</c:v>
                </c:pt>
                <c:pt idx="4629">
                  <c:v>0</c:v>
                </c:pt>
                <c:pt idx="4630">
                  <c:v>0</c:v>
                </c:pt>
                <c:pt idx="4631">
                  <c:v>0</c:v>
                </c:pt>
                <c:pt idx="4632">
                  <c:v>0</c:v>
                </c:pt>
                <c:pt idx="4633">
                  <c:v>0</c:v>
                </c:pt>
                <c:pt idx="4634">
                  <c:v>0</c:v>
                </c:pt>
                <c:pt idx="4635">
                  <c:v>0</c:v>
                </c:pt>
                <c:pt idx="4636">
                  <c:v>0</c:v>
                </c:pt>
                <c:pt idx="4637">
                  <c:v>0</c:v>
                </c:pt>
                <c:pt idx="4638">
                  <c:v>0</c:v>
                </c:pt>
                <c:pt idx="4639">
                  <c:v>0</c:v>
                </c:pt>
                <c:pt idx="4640">
                  <c:v>0</c:v>
                </c:pt>
                <c:pt idx="4641">
                  <c:v>0</c:v>
                </c:pt>
                <c:pt idx="4642">
                  <c:v>0</c:v>
                </c:pt>
                <c:pt idx="4643">
                  <c:v>0</c:v>
                </c:pt>
                <c:pt idx="4644">
                  <c:v>0</c:v>
                </c:pt>
                <c:pt idx="4645">
                  <c:v>0</c:v>
                </c:pt>
                <c:pt idx="4646">
                  <c:v>0</c:v>
                </c:pt>
                <c:pt idx="4647">
                  <c:v>0</c:v>
                </c:pt>
                <c:pt idx="4648">
                  <c:v>0</c:v>
                </c:pt>
                <c:pt idx="4649">
                  <c:v>0</c:v>
                </c:pt>
                <c:pt idx="4650">
                  <c:v>0</c:v>
                </c:pt>
                <c:pt idx="4651">
                  <c:v>0</c:v>
                </c:pt>
                <c:pt idx="4652">
                  <c:v>0</c:v>
                </c:pt>
                <c:pt idx="4653">
                  <c:v>0</c:v>
                </c:pt>
                <c:pt idx="4654">
                  <c:v>0</c:v>
                </c:pt>
                <c:pt idx="4655">
                  <c:v>0</c:v>
                </c:pt>
                <c:pt idx="4656">
                  <c:v>0</c:v>
                </c:pt>
                <c:pt idx="4657">
                  <c:v>0</c:v>
                </c:pt>
                <c:pt idx="4658">
                  <c:v>0</c:v>
                </c:pt>
                <c:pt idx="4659">
                  <c:v>0</c:v>
                </c:pt>
                <c:pt idx="4660">
                  <c:v>0</c:v>
                </c:pt>
                <c:pt idx="4661">
                  <c:v>0</c:v>
                </c:pt>
                <c:pt idx="4662">
                  <c:v>0</c:v>
                </c:pt>
                <c:pt idx="4663">
                  <c:v>0</c:v>
                </c:pt>
                <c:pt idx="4664">
                  <c:v>0</c:v>
                </c:pt>
                <c:pt idx="4665">
                  <c:v>0</c:v>
                </c:pt>
                <c:pt idx="4666">
                  <c:v>0</c:v>
                </c:pt>
                <c:pt idx="4667">
                  <c:v>0</c:v>
                </c:pt>
                <c:pt idx="4668">
                  <c:v>0</c:v>
                </c:pt>
                <c:pt idx="4669">
                  <c:v>0</c:v>
                </c:pt>
                <c:pt idx="4670">
                  <c:v>0</c:v>
                </c:pt>
                <c:pt idx="4671">
                  <c:v>0</c:v>
                </c:pt>
                <c:pt idx="4672">
                  <c:v>0</c:v>
                </c:pt>
                <c:pt idx="4673">
                  <c:v>0</c:v>
                </c:pt>
                <c:pt idx="4674">
                  <c:v>0</c:v>
                </c:pt>
                <c:pt idx="4675">
                  <c:v>0</c:v>
                </c:pt>
                <c:pt idx="4676">
                  <c:v>0</c:v>
                </c:pt>
                <c:pt idx="4677">
                  <c:v>0</c:v>
                </c:pt>
                <c:pt idx="4678">
                  <c:v>0</c:v>
                </c:pt>
                <c:pt idx="4679">
                  <c:v>0</c:v>
                </c:pt>
                <c:pt idx="4680">
                  <c:v>0</c:v>
                </c:pt>
                <c:pt idx="4681">
                  <c:v>0</c:v>
                </c:pt>
                <c:pt idx="4682">
                  <c:v>0</c:v>
                </c:pt>
                <c:pt idx="4683">
                  <c:v>0</c:v>
                </c:pt>
                <c:pt idx="4684">
                  <c:v>0</c:v>
                </c:pt>
                <c:pt idx="4685">
                  <c:v>0</c:v>
                </c:pt>
                <c:pt idx="4686">
                  <c:v>0</c:v>
                </c:pt>
                <c:pt idx="4687">
                  <c:v>0</c:v>
                </c:pt>
                <c:pt idx="4688">
                  <c:v>0</c:v>
                </c:pt>
                <c:pt idx="4689">
                  <c:v>0</c:v>
                </c:pt>
                <c:pt idx="4690">
                  <c:v>0</c:v>
                </c:pt>
                <c:pt idx="4691">
                  <c:v>0</c:v>
                </c:pt>
                <c:pt idx="4692">
                  <c:v>0</c:v>
                </c:pt>
                <c:pt idx="4693">
                  <c:v>0</c:v>
                </c:pt>
                <c:pt idx="4694">
                  <c:v>0</c:v>
                </c:pt>
                <c:pt idx="4695">
                  <c:v>0</c:v>
                </c:pt>
                <c:pt idx="4696">
                  <c:v>0</c:v>
                </c:pt>
                <c:pt idx="4697">
                  <c:v>0</c:v>
                </c:pt>
                <c:pt idx="4698">
                  <c:v>0</c:v>
                </c:pt>
                <c:pt idx="4699">
                  <c:v>0</c:v>
                </c:pt>
                <c:pt idx="4700">
                  <c:v>0</c:v>
                </c:pt>
                <c:pt idx="4701">
                  <c:v>0</c:v>
                </c:pt>
                <c:pt idx="4702">
                  <c:v>0</c:v>
                </c:pt>
                <c:pt idx="4703">
                  <c:v>0</c:v>
                </c:pt>
                <c:pt idx="4704">
                  <c:v>0</c:v>
                </c:pt>
                <c:pt idx="4705">
                  <c:v>0</c:v>
                </c:pt>
                <c:pt idx="4706">
                  <c:v>0</c:v>
                </c:pt>
                <c:pt idx="4707">
                  <c:v>0</c:v>
                </c:pt>
                <c:pt idx="4708">
                  <c:v>0</c:v>
                </c:pt>
                <c:pt idx="4709">
                  <c:v>0</c:v>
                </c:pt>
                <c:pt idx="4710">
                  <c:v>0</c:v>
                </c:pt>
                <c:pt idx="4711">
                  <c:v>0</c:v>
                </c:pt>
                <c:pt idx="4712">
                  <c:v>0</c:v>
                </c:pt>
                <c:pt idx="4713">
                  <c:v>0</c:v>
                </c:pt>
                <c:pt idx="4714">
                  <c:v>0</c:v>
                </c:pt>
                <c:pt idx="4715">
                  <c:v>0</c:v>
                </c:pt>
                <c:pt idx="4716">
                  <c:v>0</c:v>
                </c:pt>
                <c:pt idx="4717">
                  <c:v>0</c:v>
                </c:pt>
                <c:pt idx="4718">
                  <c:v>0</c:v>
                </c:pt>
                <c:pt idx="4719">
                  <c:v>0</c:v>
                </c:pt>
                <c:pt idx="4720">
                  <c:v>0</c:v>
                </c:pt>
                <c:pt idx="4721">
                  <c:v>0</c:v>
                </c:pt>
                <c:pt idx="4722">
                  <c:v>0</c:v>
                </c:pt>
                <c:pt idx="4723">
                  <c:v>0</c:v>
                </c:pt>
                <c:pt idx="4724">
                  <c:v>0</c:v>
                </c:pt>
                <c:pt idx="4725">
                  <c:v>0</c:v>
                </c:pt>
                <c:pt idx="4726">
                  <c:v>0</c:v>
                </c:pt>
                <c:pt idx="4727">
                  <c:v>0</c:v>
                </c:pt>
                <c:pt idx="4728">
                  <c:v>0</c:v>
                </c:pt>
                <c:pt idx="4729">
                  <c:v>0</c:v>
                </c:pt>
                <c:pt idx="4730">
                  <c:v>0</c:v>
                </c:pt>
                <c:pt idx="4731">
                  <c:v>0</c:v>
                </c:pt>
                <c:pt idx="4732">
                  <c:v>0</c:v>
                </c:pt>
                <c:pt idx="4733">
                  <c:v>0</c:v>
                </c:pt>
                <c:pt idx="4734">
                  <c:v>0</c:v>
                </c:pt>
                <c:pt idx="4735">
                  <c:v>0</c:v>
                </c:pt>
                <c:pt idx="4736">
                  <c:v>0</c:v>
                </c:pt>
                <c:pt idx="4737">
                  <c:v>0</c:v>
                </c:pt>
                <c:pt idx="4738">
                  <c:v>0</c:v>
                </c:pt>
                <c:pt idx="4739">
                  <c:v>0</c:v>
                </c:pt>
                <c:pt idx="4740">
                  <c:v>0</c:v>
                </c:pt>
                <c:pt idx="4741">
                  <c:v>0</c:v>
                </c:pt>
                <c:pt idx="4742">
                  <c:v>0</c:v>
                </c:pt>
                <c:pt idx="4743">
                  <c:v>0</c:v>
                </c:pt>
                <c:pt idx="4744">
                  <c:v>0</c:v>
                </c:pt>
                <c:pt idx="4745">
                  <c:v>0</c:v>
                </c:pt>
                <c:pt idx="4746">
                  <c:v>0</c:v>
                </c:pt>
                <c:pt idx="4747">
                  <c:v>0</c:v>
                </c:pt>
                <c:pt idx="4748">
                  <c:v>0</c:v>
                </c:pt>
                <c:pt idx="4749">
                  <c:v>0</c:v>
                </c:pt>
                <c:pt idx="4750">
                  <c:v>0</c:v>
                </c:pt>
                <c:pt idx="4751">
                  <c:v>0</c:v>
                </c:pt>
                <c:pt idx="4752">
                  <c:v>0</c:v>
                </c:pt>
                <c:pt idx="4753">
                  <c:v>0</c:v>
                </c:pt>
                <c:pt idx="4754">
                  <c:v>0</c:v>
                </c:pt>
                <c:pt idx="4755">
                  <c:v>0</c:v>
                </c:pt>
                <c:pt idx="4756">
                  <c:v>0</c:v>
                </c:pt>
                <c:pt idx="4757">
                  <c:v>0</c:v>
                </c:pt>
                <c:pt idx="4758">
                  <c:v>0</c:v>
                </c:pt>
                <c:pt idx="4759">
                  <c:v>0</c:v>
                </c:pt>
                <c:pt idx="4760">
                  <c:v>0</c:v>
                </c:pt>
                <c:pt idx="4761">
                  <c:v>0</c:v>
                </c:pt>
                <c:pt idx="4762">
                  <c:v>0</c:v>
                </c:pt>
                <c:pt idx="4763">
                  <c:v>0</c:v>
                </c:pt>
                <c:pt idx="4764">
                  <c:v>0</c:v>
                </c:pt>
                <c:pt idx="4765">
                  <c:v>0</c:v>
                </c:pt>
                <c:pt idx="4766">
                  <c:v>0</c:v>
                </c:pt>
                <c:pt idx="4767">
                  <c:v>0</c:v>
                </c:pt>
                <c:pt idx="4768">
                  <c:v>0</c:v>
                </c:pt>
                <c:pt idx="4769">
                  <c:v>0</c:v>
                </c:pt>
                <c:pt idx="4770">
                  <c:v>0</c:v>
                </c:pt>
                <c:pt idx="4771">
                  <c:v>0</c:v>
                </c:pt>
                <c:pt idx="4772">
                  <c:v>0</c:v>
                </c:pt>
                <c:pt idx="4773">
                  <c:v>0</c:v>
                </c:pt>
                <c:pt idx="4774">
                  <c:v>0</c:v>
                </c:pt>
                <c:pt idx="4775">
                  <c:v>0</c:v>
                </c:pt>
                <c:pt idx="4776">
                  <c:v>0</c:v>
                </c:pt>
                <c:pt idx="4777">
                  <c:v>0</c:v>
                </c:pt>
                <c:pt idx="4778">
                  <c:v>0</c:v>
                </c:pt>
                <c:pt idx="4779">
                  <c:v>0</c:v>
                </c:pt>
                <c:pt idx="4780">
                  <c:v>0</c:v>
                </c:pt>
                <c:pt idx="4781">
                  <c:v>0</c:v>
                </c:pt>
                <c:pt idx="4782">
                  <c:v>0</c:v>
                </c:pt>
                <c:pt idx="4783">
                  <c:v>0</c:v>
                </c:pt>
                <c:pt idx="4784">
                  <c:v>0</c:v>
                </c:pt>
                <c:pt idx="4785">
                  <c:v>0</c:v>
                </c:pt>
                <c:pt idx="4786">
                  <c:v>0</c:v>
                </c:pt>
                <c:pt idx="4787">
                  <c:v>0</c:v>
                </c:pt>
                <c:pt idx="4788">
                  <c:v>0</c:v>
                </c:pt>
                <c:pt idx="4789">
                  <c:v>0</c:v>
                </c:pt>
                <c:pt idx="4790">
                  <c:v>0</c:v>
                </c:pt>
                <c:pt idx="4791">
                  <c:v>0</c:v>
                </c:pt>
                <c:pt idx="4792">
                  <c:v>0</c:v>
                </c:pt>
                <c:pt idx="4793">
                  <c:v>0</c:v>
                </c:pt>
                <c:pt idx="4794">
                  <c:v>0</c:v>
                </c:pt>
                <c:pt idx="4795">
                  <c:v>0</c:v>
                </c:pt>
                <c:pt idx="4796">
                  <c:v>0</c:v>
                </c:pt>
                <c:pt idx="4797">
                  <c:v>0</c:v>
                </c:pt>
                <c:pt idx="4798">
                  <c:v>0</c:v>
                </c:pt>
                <c:pt idx="4799">
                  <c:v>0</c:v>
                </c:pt>
                <c:pt idx="4800">
                  <c:v>0</c:v>
                </c:pt>
                <c:pt idx="4801">
                  <c:v>0</c:v>
                </c:pt>
                <c:pt idx="4802">
                  <c:v>0</c:v>
                </c:pt>
                <c:pt idx="4803">
                  <c:v>0</c:v>
                </c:pt>
                <c:pt idx="4804">
                  <c:v>0</c:v>
                </c:pt>
                <c:pt idx="4805">
                  <c:v>0</c:v>
                </c:pt>
                <c:pt idx="4806">
                  <c:v>0</c:v>
                </c:pt>
                <c:pt idx="4807">
                  <c:v>0</c:v>
                </c:pt>
                <c:pt idx="4808">
                  <c:v>0</c:v>
                </c:pt>
                <c:pt idx="4809">
                  <c:v>0</c:v>
                </c:pt>
                <c:pt idx="4810">
                  <c:v>0</c:v>
                </c:pt>
                <c:pt idx="4811">
                  <c:v>0</c:v>
                </c:pt>
                <c:pt idx="4812">
                  <c:v>0</c:v>
                </c:pt>
                <c:pt idx="4813">
                  <c:v>0</c:v>
                </c:pt>
                <c:pt idx="4814">
                  <c:v>0</c:v>
                </c:pt>
                <c:pt idx="4815">
                  <c:v>0</c:v>
                </c:pt>
                <c:pt idx="4816">
                  <c:v>0</c:v>
                </c:pt>
                <c:pt idx="4817">
                  <c:v>0</c:v>
                </c:pt>
                <c:pt idx="4818">
                  <c:v>0</c:v>
                </c:pt>
                <c:pt idx="4819">
                  <c:v>0</c:v>
                </c:pt>
                <c:pt idx="4820">
                  <c:v>0</c:v>
                </c:pt>
                <c:pt idx="4821">
                  <c:v>0</c:v>
                </c:pt>
                <c:pt idx="4822">
                  <c:v>0</c:v>
                </c:pt>
                <c:pt idx="4823">
                  <c:v>0</c:v>
                </c:pt>
                <c:pt idx="4824">
                  <c:v>0</c:v>
                </c:pt>
                <c:pt idx="4825">
                  <c:v>0</c:v>
                </c:pt>
                <c:pt idx="4826">
                  <c:v>0</c:v>
                </c:pt>
                <c:pt idx="4827">
                  <c:v>0</c:v>
                </c:pt>
                <c:pt idx="4828">
                  <c:v>0</c:v>
                </c:pt>
                <c:pt idx="4829">
                  <c:v>0</c:v>
                </c:pt>
                <c:pt idx="4830">
                  <c:v>0</c:v>
                </c:pt>
                <c:pt idx="4831">
                  <c:v>0</c:v>
                </c:pt>
                <c:pt idx="4832">
                  <c:v>0</c:v>
                </c:pt>
                <c:pt idx="4833">
                  <c:v>0</c:v>
                </c:pt>
                <c:pt idx="4834">
                  <c:v>0</c:v>
                </c:pt>
                <c:pt idx="4835">
                  <c:v>0</c:v>
                </c:pt>
                <c:pt idx="4836">
                  <c:v>0</c:v>
                </c:pt>
                <c:pt idx="4837">
                  <c:v>0</c:v>
                </c:pt>
                <c:pt idx="4838">
                  <c:v>0</c:v>
                </c:pt>
                <c:pt idx="4839">
                  <c:v>0</c:v>
                </c:pt>
                <c:pt idx="4840">
                  <c:v>0</c:v>
                </c:pt>
                <c:pt idx="4841">
                  <c:v>0</c:v>
                </c:pt>
                <c:pt idx="4842">
                  <c:v>0</c:v>
                </c:pt>
                <c:pt idx="4843">
                  <c:v>0</c:v>
                </c:pt>
                <c:pt idx="4844">
                  <c:v>0</c:v>
                </c:pt>
                <c:pt idx="4845">
                  <c:v>0</c:v>
                </c:pt>
                <c:pt idx="4846">
                  <c:v>0</c:v>
                </c:pt>
                <c:pt idx="4847">
                  <c:v>0</c:v>
                </c:pt>
                <c:pt idx="4848">
                  <c:v>0</c:v>
                </c:pt>
                <c:pt idx="4849">
                  <c:v>0</c:v>
                </c:pt>
                <c:pt idx="4850">
                  <c:v>0</c:v>
                </c:pt>
                <c:pt idx="4851">
                  <c:v>0</c:v>
                </c:pt>
                <c:pt idx="4852">
                  <c:v>0</c:v>
                </c:pt>
                <c:pt idx="4853">
                  <c:v>0</c:v>
                </c:pt>
                <c:pt idx="4854">
                  <c:v>0</c:v>
                </c:pt>
                <c:pt idx="4855">
                  <c:v>0</c:v>
                </c:pt>
                <c:pt idx="4856">
                  <c:v>0</c:v>
                </c:pt>
                <c:pt idx="4857">
                  <c:v>0</c:v>
                </c:pt>
                <c:pt idx="4858">
                  <c:v>0</c:v>
                </c:pt>
                <c:pt idx="4859">
                  <c:v>0</c:v>
                </c:pt>
                <c:pt idx="4860">
                  <c:v>0</c:v>
                </c:pt>
                <c:pt idx="4861">
                  <c:v>0</c:v>
                </c:pt>
                <c:pt idx="4862">
                  <c:v>0</c:v>
                </c:pt>
                <c:pt idx="4863">
                  <c:v>0</c:v>
                </c:pt>
                <c:pt idx="4864">
                  <c:v>0</c:v>
                </c:pt>
                <c:pt idx="4865">
                  <c:v>0</c:v>
                </c:pt>
                <c:pt idx="4866">
                  <c:v>0</c:v>
                </c:pt>
                <c:pt idx="4867">
                  <c:v>0</c:v>
                </c:pt>
                <c:pt idx="4868">
                  <c:v>0</c:v>
                </c:pt>
                <c:pt idx="4869">
                  <c:v>0</c:v>
                </c:pt>
                <c:pt idx="4870">
                  <c:v>0</c:v>
                </c:pt>
                <c:pt idx="4871">
                  <c:v>0</c:v>
                </c:pt>
                <c:pt idx="4872">
                  <c:v>0</c:v>
                </c:pt>
                <c:pt idx="4873">
                  <c:v>0</c:v>
                </c:pt>
                <c:pt idx="4874">
                  <c:v>0</c:v>
                </c:pt>
                <c:pt idx="4875">
                  <c:v>0</c:v>
                </c:pt>
                <c:pt idx="4876">
                  <c:v>0</c:v>
                </c:pt>
                <c:pt idx="4877">
                  <c:v>0</c:v>
                </c:pt>
                <c:pt idx="4878">
                  <c:v>0</c:v>
                </c:pt>
                <c:pt idx="4879">
                  <c:v>0</c:v>
                </c:pt>
                <c:pt idx="4880">
                  <c:v>0</c:v>
                </c:pt>
                <c:pt idx="4881">
                  <c:v>0</c:v>
                </c:pt>
                <c:pt idx="4882">
                  <c:v>0</c:v>
                </c:pt>
                <c:pt idx="4883">
                  <c:v>0</c:v>
                </c:pt>
                <c:pt idx="4884">
                  <c:v>0</c:v>
                </c:pt>
                <c:pt idx="4885">
                  <c:v>0</c:v>
                </c:pt>
                <c:pt idx="4886">
                  <c:v>0</c:v>
                </c:pt>
                <c:pt idx="4887">
                  <c:v>0</c:v>
                </c:pt>
                <c:pt idx="4888">
                  <c:v>0</c:v>
                </c:pt>
                <c:pt idx="4889">
                  <c:v>0</c:v>
                </c:pt>
                <c:pt idx="4890">
                  <c:v>0</c:v>
                </c:pt>
                <c:pt idx="4891">
                  <c:v>0</c:v>
                </c:pt>
                <c:pt idx="4892">
                  <c:v>0</c:v>
                </c:pt>
                <c:pt idx="4893">
                  <c:v>0</c:v>
                </c:pt>
                <c:pt idx="4894">
                  <c:v>0</c:v>
                </c:pt>
                <c:pt idx="4895">
                  <c:v>0</c:v>
                </c:pt>
                <c:pt idx="4896">
                  <c:v>0</c:v>
                </c:pt>
                <c:pt idx="4897">
                  <c:v>0</c:v>
                </c:pt>
                <c:pt idx="4898">
                  <c:v>0</c:v>
                </c:pt>
                <c:pt idx="4899">
                  <c:v>0</c:v>
                </c:pt>
                <c:pt idx="4900">
                  <c:v>0</c:v>
                </c:pt>
                <c:pt idx="4901">
                  <c:v>0</c:v>
                </c:pt>
                <c:pt idx="4902">
                  <c:v>0</c:v>
                </c:pt>
                <c:pt idx="4903">
                  <c:v>0</c:v>
                </c:pt>
                <c:pt idx="4904">
                  <c:v>0</c:v>
                </c:pt>
                <c:pt idx="4905">
                  <c:v>0</c:v>
                </c:pt>
                <c:pt idx="4906">
                  <c:v>0</c:v>
                </c:pt>
                <c:pt idx="4907">
                  <c:v>0</c:v>
                </c:pt>
                <c:pt idx="4908">
                  <c:v>0</c:v>
                </c:pt>
                <c:pt idx="4909">
                  <c:v>0</c:v>
                </c:pt>
                <c:pt idx="4910">
                  <c:v>0</c:v>
                </c:pt>
                <c:pt idx="4911">
                  <c:v>0</c:v>
                </c:pt>
                <c:pt idx="4912">
                  <c:v>0</c:v>
                </c:pt>
                <c:pt idx="4913">
                  <c:v>0</c:v>
                </c:pt>
                <c:pt idx="4914">
                  <c:v>0</c:v>
                </c:pt>
                <c:pt idx="4915">
                  <c:v>0</c:v>
                </c:pt>
                <c:pt idx="4916">
                  <c:v>0</c:v>
                </c:pt>
                <c:pt idx="4917">
                  <c:v>0</c:v>
                </c:pt>
                <c:pt idx="4918">
                  <c:v>0</c:v>
                </c:pt>
                <c:pt idx="4919">
                  <c:v>0</c:v>
                </c:pt>
                <c:pt idx="4920">
                  <c:v>0</c:v>
                </c:pt>
                <c:pt idx="4921">
                  <c:v>0</c:v>
                </c:pt>
                <c:pt idx="4922">
                  <c:v>0</c:v>
                </c:pt>
                <c:pt idx="4923">
                  <c:v>0</c:v>
                </c:pt>
                <c:pt idx="4924">
                  <c:v>0</c:v>
                </c:pt>
                <c:pt idx="4925">
                  <c:v>0</c:v>
                </c:pt>
                <c:pt idx="4926">
                  <c:v>0</c:v>
                </c:pt>
                <c:pt idx="4927">
                  <c:v>0</c:v>
                </c:pt>
                <c:pt idx="4928">
                  <c:v>0</c:v>
                </c:pt>
                <c:pt idx="4929">
                  <c:v>0</c:v>
                </c:pt>
                <c:pt idx="4930">
                  <c:v>0</c:v>
                </c:pt>
                <c:pt idx="4931">
                  <c:v>0</c:v>
                </c:pt>
                <c:pt idx="4932">
                  <c:v>0</c:v>
                </c:pt>
                <c:pt idx="4933">
                  <c:v>0</c:v>
                </c:pt>
                <c:pt idx="4934">
                  <c:v>0</c:v>
                </c:pt>
                <c:pt idx="4935">
                  <c:v>0</c:v>
                </c:pt>
                <c:pt idx="4936">
                  <c:v>0</c:v>
                </c:pt>
                <c:pt idx="4937">
                  <c:v>0</c:v>
                </c:pt>
                <c:pt idx="4938">
                  <c:v>0</c:v>
                </c:pt>
                <c:pt idx="4939">
                  <c:v>0</c:v>
                </c:pt>
                <c:pt idx="4940">
                  <c:v>0</c:v>
                </c:pt>
                <c:pt idx="4941">
                  <c:v>0</c:v>
                </c:pt>
                <c:pt idx="4942">
                  <c:v>0</c:v>
                </c:pt>
                <c:pt idx="4943">
                  <c:v>0</c:v>
                </c:pt>
                <c:pt idx="4944">
                  <c:v>0</c:v>
                </c:pt>
                <c:pt idx="4945">
                  <c:v>0</c:v>
                </c:pt>
                <c:pt idx="4946">
                  <c:v>0</c:v>
                </c:pt>
                <c:pt idx="4947">
                  <c:v>0</c:v>
                </c:pt>
                <c:pt idx="4948">
                  <c:v>0</c:v>
                </c:pt>
                <c:pt idx="4949">
                  <c:v>0</c:v>
                </c:pt>
                <c:pt idx="4950">
                  <c:v>0</c:v>
                </c:pt>
                <c:pt idx="4951">
                  <c:v>0</c:v>
                </c:pt>
                <c:pt idx="4952">
                  <c:v>0</c:v>
                </c:pt>
                <c:pt idx="4953">
                  <c:v>0</c:v>
                </c:pt>
                <c:pt idx="4954">
                  <c:v>0</c:v>
                </c:pt>
                <c:pt idx="4955">
                  <c:v>0</c:v>
                </c:pt>
                <c:pt idx="4956">
                  <c:v>0</c:v>
                </c:pt>
                <c:pt idx="4957">
                  <c:v>0</c:v>
                </c:pt>
                <c:pt idx="4958">
                  <c:v>0</c:v>
                </c:pt>
                <c:pt idx="4959">
                  <c:v>0</c:v>
                </c:pt>
                <c:pt idx="4960">
                  <c:v>0</c:v>
                </c:pt>
                <c:pt idx="4961">
                  <c:v>0</c:v>
                </c:pt>
                <c:pt idx="4962">
                  <c:v>0</c:v>
                </c:pt>
                <c:pt idx="4963">
                  <c:v>0</c:v>
                </c:pt>
                <c:pt idx="4964">
                  <c:v>0</c:v>
                </c:pt>
                <c:pt idx="4965">
                  <c:v>0</c:v>
                </c:pt>
                <c:pt idx="4966">
                  <c:v>0</c:v>
                </c:pt>
                <c:pt idx="4967">
                  <c:v>0</c:v>
                </c:pt>
                <c:pt idx="4968">
                  <c:v>0</c:v>
                </c:pt>
                <c:pt idx="4969">
                  <c:v>0</c:v>
                </c:pt>
                <c:pt idx="4970">
                  <c:v>0</c:v>
                </c:pt>
                <c:pt idx="4971">
                  <c:v>0</c:v>
                </c:pt>
                <c:pt idx="4972">
                  <c:v>0</c:v>
                </c:pt>
                <c:pt idx="4973">
                  <c:v>0</c:v>
                </c:pt>
                <c:pt idx="4974">
                  <c:v>0</c:v>
                </c:pt>
                <c:pt idx="4975">
                  <c:v>0</c:v>
                </c:pt>
                <c:pt idx="4976">
                  <c:v>0</c:v>
                </c:pt>
                <c:pt idx="4977">
                  <c:v>0</c:v>
                </c:pt>
                <c:pt idx="4978">
                  <c:v>0</c:v>
                </c:pt>
                <c:pt idx="4979">
                  <c:v>0</c:v>
                </c:pt>
                <c:pt idx="4980">
                  <c:v>0</c:v>
                </c:pt>
                <c:pt idx="4981">
                  <c:v>0</c:v>
                </c:pt>
                <c:pt idx="4982">
                  <c:v>0</c:v>
                </c:pt>
                <c:pt idx="4983">
                  <c:v>0</c:v>
                </c:pt>
                <c:pt idx="4984">
                  <c:v>0</c:v>
                </c:pt>
                <c:pt idx="4985">
                  <c:v>0</c:v>
                </c:pt>
                <c:pt idx="4986">
                  <c:v>0</c:v>
                </c:pt>
                <c:pt idx="4987">
                  <c:v>0</c:v>
                </c:pt>
                <c:pt idx="4988">
                  <c:v>0</c:v>
                </c:pt>
                <c:pt idx="4989">
                  <c:v>0</c:v>
                </c:pt>
                <c:pt idx="4990">
                  <c:v>0</c:v>
                </c:pt>
                <c:pt idx="4991">
                  <c:v>0</c:v>
                </c:pt>
                <c:pt idx="4992">
                  <c:v>0</c:v>
                </c:pt>
                <c:pt idx="4993">
                  <c:v>0</c:v>
                </c:pt>
                <c:pt idx="4994">
                  <c:v>0</c:v>
                </c:pt>
                <c:pt idx="4995">
                  <c:v>0</c:v>
                </c:pt>
                <c:pt idx="4996">
                  <c:v>0</c:v>
                </c:pt>
                <c:pt idx="4997">
                  <c:v>0</c:v>
                </c:pt>
                <c:pt idx="4998">
                  <c:v>0</c:v>
                </c:pt>
                <c:pt idx="4999">
                  <c:v>0</c:v>
                </c:pt>
                <c:pt idx="5000">
                  <c:v>0</c:v>
                </c:pt>
                <c:pt idx="5001">
                  <c:v>0</c:v>
                </c:pt>
                <c:pt idx="5002">
                  <c:v>0</c:v>
                </c:pt>
                <c:pt idx="5003">
                  <c:v>0</c:v>
                </c:pt>
                <c:pt idx="5004">
                  <c:v>0</c:v>
                </c:pt>
                <c:pt idx="5005">
                  <c:v>0</c:v>
                </c:pt>
                <c:pt idx="5006">
                  <c:v>0</c:v>
                </c:pt>
                <c:pt idx="5007">
                  <c:v>0</c:v>
                </c:pt>
                <c:pt idx="5008">
                  <c:v>0</c:v>
                </c:pt>
                <c:pt idx="5009">
                  <c:v>0</c:v>
                </c:pt>
                <c:pt idx="5010">
                  <c:v>0</c:v>
                </c:pt>
                <c:pt idx="5011">
                  <c:v>0</c:v>
                </c:pt>
                <c:pt idx="5012">
                  <c:v>0</c:v>
                </c:pt>
                <c:pt idx="5013">
                  <c:v>0</c:v>
                </c:pt>
                <c:pt idx="5014">
                  <c:v>0</c:v>
                </c:pt>
                <c:pt idx="5015">
                  <c:v>0</c:v>
                </c:pt>
                <c:pt idx="5016">
                  <c:v>0</c:v>
                </c:pt>
                <c:pt idx="5017">
                  <c:v>0</c:v>
                </c:pt>
                <c:pt idx="5018">
                  <c:v>0</c:v>
                </c:pt>
                <c:pt idx="5019">
                  <c:v>0</c:v>
                </c:pt>
                <c:pt idx="5020">
                  <c:v>0</c:v>
                </c:pt>
                <c:pt idx="5021">
                  <c:v>0</c:v>
                </c:pt>
                <c:pt idx="5022">
                  <c:v>0</c:v>
                </c:pt>
                <c:pt idx="5023">
                  <c:v>0</c:v>
                </c:pt>
                <c:pt idx="5024">
                  <c:v>0</c:v>
                </c:pt>
                <c:pt idx="5025">
                  <c:v>0</c:v>
                </c:pt>
                <c:pt idx="5026">
                  <c:v>0</c:v>
                </c:pt>
                <c:pt idx="5027">
                  <c:v>0</c:v>
                </c:pt>
                <c:pt idx="5028">
                  <c:v>0</c:v>
                </c:pt>
                <c:pt idx="5029">
                  <c:v>0</c:v>
                </c:pt>
                <c:pt idx="5030">
                  <c:v>0</c:v>
                </c:pt>
                <c:pt idx="5031">
                  <c:v>0</c:v>
                </c:pt>
                <c:pt idx="5032">
                  <c:v>0</c:v>
                </c:pt>
                <c:pt idx="5033">
                  <c:v>0</c:v>
                </c:pt>
                <c:pt idx="5034">
                  <c:v>0</c:v>
                </c:pt>
                <c:pt idx="5035">
                  <c:v>0</c:v>
                </c:pt>
                <c:pt idx="5036">
                  <c:v>0</c:v>
                </c:pt>
                <c:pt idx="5037">
                  <c:v>0</c:v>
                </c:pt>
                <c:pt idx="5038">
                  <c:v>0</c:v>
                </c:pt>
                <c:pt idx="5039">
                  <c:v>0</c:v>
                </c:pt>
                <c:pt idx="5040">
                  <c:v>0</c:v>
                </c:pt>
                <c:pt idx="5041">
                  <c:v>0</c:v>
                </c:pt>
                <c:pt idx="5042">
                  <c:v>0</c:v>
                </c:pt>
                <c:pt idx="5043">
                  <c:v>0</c:v>
                </c:pt>
                <c:pt idx="5044">
                  <c:v>0</c:v>
                </c:pt>
                <c:pt idx="5045">
                  <c:v>0</c:v>
                </c:pt>
                <c:pt idx="5046">
                  <c:v>0</c:v>
                </c:pt>
                <c:pt idx="5047">
                  <c:v>0</c:v>
                </c:pt>
                <c:pt idx="5048">
                  <c:v>0</c:v>
                </c:pt>
                <c:pt idx="5049">
                  <c:v>0</c:v>
                </c:pt>
                <c:pt idx="5050">
                  <c:v>0</c:v>
                </c:pt>
                <c:pt idx="5051">
                  <c:v>0</c:v>
                </c:pt>
                <c:pt idx="5052">
                  <c:v>0</c:v>
                </c:pt>
                <c:pt idx="5053">
                  <c:v>0</c:v>
                </c:pt>
                <c:pt idx="5054">
                  <c:v>0</c:v>
                </c:pt>
                <c:pt idx="5055">
                  <c:v>0</c:v>
                </c:pt>
                <c:pt idx="5056">
                  <c:v>0</c:v>
                </c:pt>
                <c:pt idx="5057">
                  <c:v>0</c:v>
                </c:pt>
                <c:pt idx="5058">
                  <c:v>0</c:v>
                </c:pt>
                <c:pt idx="5059">
                  <c:v>0</c:v>
                </c:pt>
                <c:pt idx="5060">
                  <c:v>0</c:v>
                </c:pt>
                <c:pt idx="5061">
                  <c:v>0</c:v>
                </c:pt>
                <c:pt idx="5062">
                  <c:v>0</c:v>
                </c:pt>
                <c:pt idx="5063">
                  <c:v>0</c:v>
                </c:pt>
                <c:pt idx="5064">
                  <c:v>0</c:v>
                </c:pt>
                <c:pt idx="5065">
                  <c:v>0</c:v>
                </c:pt>
                <c:pt idx="5066">
                  <c:v>0</c:v>
                </c:pt>
                <c:pt idx="5067">
                  <c:v>0</c:v>
                </c:pt>
                <c:pt idx="5068">
                  <c:v>0</c:v>
                </c:pt>
                <c:pt idx="5069">
                  <c:v>0</c:v>
                </c:pt>
                <c:pt idx="5070">
                  <c:v>0</c:v>
                </c:pt>
                <c:pt idx="5071">
                  <c:v>0</c:v>
                </c:pt>
                <c:pt idx="5072">
                  <c:v>0</c:v>
                </c:pt>
                <c:pt idx="5073">
                  <c:v>0</c:v>
                </c:pt>
                <c:pt idx="5074">
                  <c:v>0</c:v>
                </c:pt>
                <c:pt idx="5075">
                  <c:v>0</c:v>
                </c:pt>
                <c:pt idx="5076">
                  <c:v>0</c:v>
                </c:pt>
                <c:pt idx="5077">
                  <c:v>0</c:v>
                </c:pt>
                <c:pt idx="5078">
                  <c:v>0</c:v>
                </c:pt>
                <c:pt idx="5079">
                  <c:v>0</c:v>
                </c:pt>
                <c:pt idx="5080">
                  <c:v>0</c:v>
                </c:pt>
                <c:pt idx="5081">
                  <c:v>0</c:v>
                </c:pt>
                <c:pt idx="5082">
                  <c:v>0</c:v>
                </c:pt>
                <c:pt idx="5083">
                  <c:v>0</c:v>
                </c:pt>
                <c:pt idx="5084">
                  <c:v>0</c:v>
                </c:pt>
                <c:pt idx="5085">
                  <c:v>0</c:v>
                </c:pt>
                <c:pt idx="5086">
                  <c:v>0</c:v>
                </c:pt>
                <c:pt idx="5087">
                  <c:v>0</c:v>
                </c:pt>
                <c:pt idx="5088">
                  <c:v>0</c:v>
                </c:pt>
                <c:pt idx="5089">
                  <c:v>0</c:v>
                </c:pt>
                <c:pt idx="5090">
                  <c:v>0</c:v>
                </c:pt>
                <c:pt idx="5091">
                  <c:v>0</c:v>
                </c:pt>
                <c:pt idx="5092">
                  <c:v>0</c:v>
                </c:pt>
                <c:pt idx="5093">
                  <c:v>0</c:v>
                </c:pt>
                <c:pt idx="5094">
                  <c:v>0</c:v>
                </c:pt>
                <c:pt idx="5095">
                  <c:v>0</c:v>
                </c:pt>
                <c:pt idx="5096">
                  <c:v>0</c:v>
                </c:pt>
                <c:pt idx="5097">
                  <c:v>0</c:v>
                </c:pt>
                <c:pt idx="5098">
                  <c:v>0</c:v>
                </c:pt>
                <c:pt idx="5099">
                  <c:v>0</c:v>
                </c:pt>
                <c:pt idx="5100">
                  <c:v>0</c:v>
                </c:pt>
                <c:pt idx="5101">
                  <c:v>0</c:v>
                </c:pt>
                <c:pt idx="5102">
                  <c:v>0</c:v>
                </c:pt>
                <c:pt idx="5103">
                  <c:v>0</c:v>
                </c:pt>
                <c:pt idx="5104">
                  <c:v>0</c:v>
                </c:pt>
                <c:pt idx="5105">
                  <c:v>0</c:v>
                </c:pt>
                <c:pt idx="5106">
                  <c:v>0</c:v>
                </c:pt>
                <c:pt idx="5107">
                  <c:v>0</c:v>
                </c:pt>
                <c:pt idx="5108">
                  <c:v>0</c:v>
                </c:pt>
                <c:pt idx="5109">
                  <c:v>0</c:v>
                </c:pt>
                <c:pt idx="5110">
                  <c:v>0</c:v>
                </c:pt>
                <c:pt idx="5111">
                  <c:v>0</c:v>
                </c:pt>
                <c:pt idx="5112">
                  <c:v>0</c:v>
                </c:pt>
                <c:pt idx="5113">
                  <c:v>0</c:v>
                </c:pt>
                <c:pt idx="5114">
                  <c:v>0</c:v>
                </c:pt>
                <c:pt idx="5115">
                  <c:v>0</c:v>
                </c:pt>
                <c:pt idx="5116">
                  <c:v>0</c:v>
                </c:pt>
                <c:pt idx="5117">
                  <c:v>0</c:v>
                </c:pt>
                <c:pt idx="5118">
                  <c:v>0</c:v>
                </c:pt>
                <c:pt idx="5119">
                  <c:v>0</c:v>
                </c:pt>
                <c:pt idx="5120">
                  <c:v>0</c:v>
                </c:pt>
                <c:pt idx="5121">
                  <c:v>0</c:v>
                </c:pt>
                <c:pt idx="5122">
                  <c:v>0</c:v>
                </c:pt>
                <c:pt idx="5123">
                  <c:v>0</c:v>
                </c:pt>
                <c:pt idx="5124">
                  <c:v>0</c:v>
                </c:pt>
                <c:pt idx="5125">
                  <c:v>0</c:v>
                </c:pt>
                <c:pt idx="5126">
                  <c:v>0</c:v>
                </c:pt>
                <c:pt idx="5127">
                  <c:v>0</c:v>
                </c:pt>
                <c:pt idx="5128">
                  <c:v>0</c:v>
                </c:pt>
                <c:pt idx="5129">
                  <c:v>0</c:v>
                </c:pt>
                <c:pt idx="5130">
                  <c:v>0</c:v>
                </c:pt>
                <c:pt idx="5131">
                  <c:v>0</c:v>
                </c:pt>
                <c:pt idx="5132">
                  <c:v>0</c:v>
                </c:pt>
                <c:pt idx="5133">
                  <c:v>0</c:v>
                </c:pt>
                <c:pt idx="5134">
                  <c:v>0</c:v>
                </c:pt>
                <c:pt idx="5135">
                  <c:v>0</c:v>
                </c:pt>
                <c:pt idx="5136">
                  <c:v>0</c:v>
                </c:pt>
                <c:pt idx="5137">
                  <c:v>0</c:v>
                </c:pt>
                <c:pt idx="5138">
                  <c:v>0</c:v>
                </c:pt>
                <c:pt idx="5139">
                  <c:v>0</c:v>
                </c:pt>
                <c:pt idx="5140">
                  <c:v>0</c:v>
                </c:pt>
                <c:pt idx="5141">
                  <c:v>0</c:v>
                </c:pt>
                <c:pt idx="5142">
                  <c:v>0</c:v>
                </c:pt>
                <c:pt idx="5143">
                  <c:v>0</c:v>
                </c:pt>
                <c:pt idx="5144">
                  <c:v>0</c:v>
                </c:pt>
                <c:pt idx="5145">
                  <c:v>0</c:v>
                </c:pt>
                <c:pt idx="5146">
                  <c:v>0</c:v>
                </c:pt>
                <c:pt idx="5147">
                  <c:v>0</c:v>
                </c:pt>
                <c:pt idx="5148">
                  <c:v>0</c:v>
                </c:pt>
                <c:pt idx="5149">
                  <c:v>0</c:v>
                </c:pt>
                <c:pt idx="5150">
                  <c:v>0</c:v>
                </c:pt>
                <c:pt idx="5151">
                  <c:v>0</c:v>
                </c:pt>
                <c:pt idx="5152">
                  <c:v>0</c:v>
                </c:pt>
                <c:pt idx="5153">
                  <c:v>0</c:v>
                </c:pt>
                <c:pt idx="5154">
                  <c:v>0</c:v>
                </c:pt>
                <c:pt idx="5155">
                  <c:v>0</c:v>
                </c:pt>
                <c:pt idx="5156">
                  <c:v>0</c:v>
                </c:pt>
                <c:pt idx="5157">
                  <c:v>0</c:v>
                </c:pt>
                <c:pt idx="5158">
                  <c:v>0</c:v>
                </c:pt>
                <c:pt idx="5159">
                  <c:v>0</c:v>
                </c:pt>
                <c:pt idx="5160">
                  <c:v>0</c:v>
                </c:pt>
                <c:pt idx="5161">
                  <c:v>0</c:v>
                </c:pt>
                <c:pt idx="5162">
                  <c:v>0</c:v>
                </c:pt>
                <c:pt idx="5163">
                  <c:v>0</c:v>
                </c:pt>
                <c:pt idx="5164">
                  <c:v>0</c:v>
                </c:pt>
                <c:pt idx="5165">
                  <c:v>0</c:v>
                </c:pt>
                <c:pt idx="5166">
                  <c:v>0</c:v>
                </c:pt>
                <c:pt idx="5167">
                  <c:v>0</c:v>
                </c:pt>
                <c:pt idx="5168">
                  <c:v>0</c:v>
                </c:pt>
                <c:pt idx="5169">
                  <c:v>0</c:v>
                </c:pt>
                <c:pt idx="5170">
                  <c:v>0</c:v>
                </c:pt>
                <c:pt idx="5171">
                  <c:v>0</c:v>
                </c:pt>
                <c:pt idx="5172">
                  <c:v>0</c:v>
                </c:pt>
                <c:pt idx="5173">
                  <c:v>0</c:v>
                </c:pt>
                <c:pt idx="5174">
                  <c:v>0</c:v>
                </c:pt>
                <c:pt idx="5175">
                  <c:v>0</c:v>
                </c:pt>
                <c:pt idx="5176">
                  <c:v>0</c:v>
                </c:pt>
                <c:pt idx="5177">
                  <c:v>0</c:v>
                </c:pt>
                <c:pt idx="5178">
                  <c:v>0</c:v>
                </c:pt>
                <c:pt idx="5179">
                  <c:v>0</c:v>
                </c:pt>
                <c:pt idx="5180">
                  <c:v>0</c:v>
                </c:pt>
                <c:pt idx="5181">
                  <c:v>0</c:v>
                </c:pt>
                <c:pt idx="5182">
                  <c:v>0</c:v>
                </c:pt>
                <c:pt idx="5183">
                  <c:v>0</c:v>
                </c:pt>
                <c:pt idx="5184">
                  <c:v>0</c:v>
                </c:pt>
                <c:pt idx="5185">
                  <c:v>0</c:v>
                </c:pt>
                <c:pt idx="5186">
                  <c:v>0</c:v>
                </c:pt>
                <c:pt idx="5187">
                  <c:v>0</c:v>
                </c:pt>
                <c:pt idx="5188">
                  <c:v>0</c:v>
                </c:pt>
                <c:pt idx="5189">
                  <c:v>0</c:v>
                </c:pt>
                <c:pt idx="5190">
                  <c:v>0</c:v>
                </c:pt>
                <c:pt idx="5191">
                  <c:v>0</c:v>
                </c:pt>
                <c:pt idx="5192">
                  <c:v>0</c:v>
                </c:pt>
                <c:pt idx="5193">
                  <c:v>0</c:v>
                </c:pt>
                <c:pt idx="5194">
                  <c:v>0</c:v>
                </c:pt>
                <c:pt idx="5195">
                  <c:v>0</c:v>
                </c:pt>
                <c:pt idx="5196">
                  <c:v>0</c:v>
                </c:pt>
                <c:pt idx="5197">
                  <c:v>0</c:v>
                </c:pt>
                <c:pt idx="5198">
                  <c:v>0</c:v>
                </c:pt>
                <c:pt idx="5199">
                  <c:v>0</c:v>
                </c:pt>
                <c:pt idx="5200">
                  <c:v>0</c:v>
                </c:pt>
                <c:pt idx="5201">
                  <c:v>0</c:v>
                </c:pt>
                <c:pt idx="5202">
                  <c:v>0</c:v>
                </c:pt>
                <c:pt idx="5203">
                  <c:v>0</c:v>
                </c:pt>
                <c:pt idx="5204">
                  <c:v>0</c:v>
                </c:pt>
                <c:pt idx="5205">
                  <c:v>0</c:v>
                </c:pt>
                <c:pt idx="5206">
                  <c:v>0</c:v>
                </c:pt>
                <c:pt idx="5207">
                  <c:v>0</c:v>
                </c:pt>
                <c:pt idx="5208">
                  <c:v>0</c:v>
                </c:pt>
                <c:pt idx="5209">
                  <c:v>0</c:v>
                </c:pt>
                <c:pt idx="5210">
                  <c:v>0</c:v>
                </c:pt>
                <c:pt idx="5211">
                  <c:v>0</c:v>
                </c:pt>
                <c:pt idx="5212">
                  <c:v>0</c:v>
                </c:pt>
                <c:pt idx="5213">
                  <c:v>0</c:v>
                </c:pt>
                <c:pt idx="5214">
                  <c:v>0</c:v>
                </c:pt>
                <c:pt idx="5215">
                  <c:v>0</c:v>
                </c:pt>
                <c:pt idx="5216">
                  <c:v>0</c:v>
                </c:pt>
                <c:pt idx="5217">
                  <c:v>0</c:v>
                </c:pt>
                <c:pt idx="5218">
                  <c:v>0</c:v>
                </c:pt>
                <c:pt idx="5219">
                  <c:v>0</c:v>
                </c:pt>
                <c:pt idx="5220">
                  <c:v>0</c:v>
                </c:pt>
                <c:pt idx="5221">
                  <c:v>0</c:v>
                </c:pt>
                <c:pt idx="5222">
                  <c:v>0</c:v>
                </c:pt>
                <c:pt idx="5223">
                  <c:v>0</c:v>
                </c:pt>
                <c:pt idx="5224">
                  <c:v>0</c:v>
                </c:pt>
                <c:pt idx="5225">
                  <c:v>0</c:v>
                </c:pt>
                <c:pt idx="5226">
                  <c:v>0</c:v>
                </c:pt>
                <c:pt idx="5227">
                  <c:v>0</c:v>
                </c:pt>
                <c:pt idx="5228">
                  <c:v>0</c:v>
                </c:pt>
                <c:pt idx="5229">
                  <c:v>0</c:v>
                </c:pt>
                <c:pt idx="5230">
                  <c:v>0</c:v>
                </c:pt>
                <c:pt idx="5231">
                  <c:v>0</c:v>
                </c:pt>
                <c:pt idx="5232">
                  <c:v>0</c:v>
                </c:pt>
                <c:pt idx="5233">
                  <c:v>0</c:v>
                </c:pt>
                <c:pt idx="5234">
                  <c:v>0</c:v>
                </c:pt>
                <c:pt idx="5235">
                  <c:v>0</c:v>
                </c:pt>
                <c:pt idx="5236">
                  <c:v>0</c:v>
                </c:pt>
                <c:pt idx="5237">
                  <c:v>0</c:v>
                </c:pt>
                <c:pt idx="5238">
                  <c:v>0</c:v>
                </c:pt>
                <c:pt idx="5239">
                  <c:v>0</c:v>
                </c:pt>
                <c:pt idx="5240">
                  <c:v>0</c:v>
                </c:pt>
                <c:pt idx="5241">
                  <c:v>0</c:v>
                </c:pt>
                <c:pt idx="5242">
                  <c:v>0</c:v>
                </c:pt>
                <c:pt idx="5243">
                  <c:v>0</c:v>
                </c:pt>
                <c:pt idx="5244">
                  <c:v>0</c:v>
                </c:pt>
                <c:pt idx="5245">
                  <c:v>0</c:v>
                </c:pt>
                <c:pt idx="5246">
                  <c:v>0</c:v>
                </c:pt>
                <c:pt idx="5247">
                  <c:v>0</c:v>
                </c:pt>
                <c:pt idx="5248">
                  <c:v>0</c:v>
                </c:pt>
                <c:pt idx="5249">
                  <c:v>0</c:v>
                </c:pt>
                <c:pt idx="5250">
                  <c:v>0</c:v>
                </c:pt>
                <c:pt idx="5251">
                  <c:v>0</c:v>
                </c:pt>
                <c:pt idx="5252">
                  <c:v>0</c:v>
                </c:pt>
                <c:pt idx="5253">
                  <c:v>0</c:v>
                </c:pt>
                <c:pt idx="5254">
                  <c:v>0</c:v>
                </c:pt>
                <c:pt idx="5255">
                  <c:v>0</c:v>
                </c:pt>
                <c:pt idx="5256">
                  <c:v>0</c:v>
                </c:pt>
                <c:pt idx="5257">
                  <c:v>0</c:v>
                </c:pt>
                <c:pt idx="5258">
                  <c:v>0</c:v>
                </c:pt>
                <c:pt idx="5259">
                  <c:v>0</c:v>
                </c:pt>
                <c:pt idx="5260">
                  <c:v>0</c:v>
                </c:pt>
                <c:pt idx="5261">
                  <c:v>0</c:v>
                </c:pt>
                <c:pt idx="5262">
                  <c:v>0</c:v>
                </c:pt>
                <c:pt idx="5263">
                  <c:v>0</c:v>
                </c:pt>
                <c:pt idx="5264">
                  <c:v>0</c:v>
                </c:pt>
                <c:pt idx="5265">
                  <c:v>0</c:v>
                </c:pt>
                <c:pt idx="5266">
                  <c:v>0</c:v>
                </c:pt>
                <c:pt idx="5267">
                  <c:v>0</c:v>
                </c:pt>
                <c:pt idx="5268">
                  <c:v>0</c:v>
                </c:pt>
                <c:pt idx="5269">
                  <c:v>0</c:v>
                </c:pt>
                <c:pt idx="5270">
                  <c:v>0</c:v>
                </c:pt>
                <c:pt idx="5271">
                  <c:v>0</c:v>
                </c:pt>
                <c:pt idx="5272">
                  <c:v>0</c:v>
                </c:pt>
                <c:pt idx="5273">
                  <c:v>0</c:v>
                </c:pt>
                <c:pt idx="5274">
                  <c:v>0</c:v>
                </c:pt>
                <c:pt idx="5275">
                  <c:v>0</c:v>
                </c:pt>
                <c:pt idx="5276">
                  <c:v>0</c:v>
                </c:pt>
                <c:pt idx="5277">
                  <c:v>0</c:v>
                </c:pt>
                <c:pt idx="5278">
                  <c:v>0</c:v>
                </c:pt>
                <c:pt idx="5279">
                  <c:v>0</c:v>
                </c:pt>
                <c:pt idx="5280">
                  <c:v>0</c:v>
                </c:pt>
                <c:pt idx="5281">
                  <c:v>0</c:v>
                </c:pt>
                <c:pt idx="5282">
                  <c:v>0</c:v>
                </c:pt>
                <c:pt idx="5283">
                  <c:v>0</c:v>
                </c:pt>
                <c:pt idx="5284">
                  <c:v>0</c:v>
                </c:pt>
                <c:pt idx="5285">
                  <c:v>0</c:v>
                </c:pt>
                <c:pt idx="5286">
                  <c:v>0</c:v>
                </c:pt>
                <c:pt idx="5287">
                  <c:v>0</c:v>
                </c:pt>
                <c:pt idx="5288">
                  <c:v>0</c:v>
                </c:pt>
                <c:pt idx="5289">
                  <c:v>0</c:v>
                </c:pt>
                <c:pt idx="5290">
                  <c:v>0</c:v>
                </c:pt>
                <c:pt idx="5291">
                  <c:v>0</c:v>
                </c:pt>
                <c:pt idx="5292">
                  <c:v>0</c:v>
                </c:pt>
                <c:pt idx="5293">
                  <c:v>0</c:v>
                </c:pt>
                <c:pt idx="5294">
                  <c:v>0</c:v>
                </c:pt>
                <c:pt idx="5295">
                  <c:v>0</c:v>
                </c:pt>
                <c:pt idx="5296">
                  <c:v>0</c:v>
                </c:pt>
                <c:pt idx="5297">
                  <c:v>0</c:v>
                </c:pt>
                <c:pt idx="5298">
                  <c:v>0</c:v>
                </c:pt>
                <c:pt idx="5299">
                  <c:v>0</c:v>
                </c:pt>
                <c:pt idx="5300">
                  <c:v>0</c:v>
                </c:pt>
                <c:pt idx="5301">
                  <c:v>0</c:v>
                </c:pt>
                <c:pt idx="5302">
                  <c:v>0</c:v>
                </c:pt>
                <c:pt idx="5303">
                  <c:v>0</c:v>
                </c:pt>
                <c:pt idx="5304">
                  <c:v>0</c:v>
                </c:pt>
                <c:pt idx="5305">
                  <c:v>0</c:v>
                </c:pt>
                <c:pt idx="5306">
                  <c:v>0</c:v>
                </c:pt>
                <c:pt idx="5307">
                  <c:v>0</c:v>
                </c:pt>
                <c:pt idx="5308">
                  <c:v>0</c:v>
                </c:pt>
                <c:pt idx="5309">
                  <c:v>0</c:v>
                </c:pt>
                <c:pt idx="5310">
                  <c:v>0</c:v>
                </c:pt>
                <c:pt idx="5311">
                  <c:v>0</c:v>
                </c:pt>
                <c:pt idx="5312">
                  <c:v>0</c:v>
                </c:pt>
                <c:pt idx="5313">
                  <c:v>0</c:v>
                </c:pt>
                <c:pt idx="5314">
                  <c:v>0</c:v>
                </c:pt>
                <c:pt idx="5315">
                  <c:v>0</c:v>
                </c:pt>
                <c:pt idx="5316">
                  <c:v>0</c:v>
                </c:pt>
                <c:pt idx="5317">
                  <c:v>0</c:v>
                </c:pt>
                <c:pt idx="5318">
                  <c:v>0</c:v>
                </c:pt>
                <c:pt idx="5319">
                  <c:v>0</c:v>
                </c:pt>
                <c:pt idx="5320">
                  <c:v>0</c:v>
                </c:pt>
                <c:pt idx="5321">
                  <c:v>0</c:v>
                </c:pt>
                <c:pt idx="5322">
                  <c:v>0</c:v>
                </c:pt>
                <c:pt idx="5323">
                  <c:v>0</c:v>
                </c:pt>
                <c:pt idx="5324">
                  <c:v>0</c:v>
                </c:pt>
                <c:pt idx="5325">
                  <c:v>0</c:v>
                </c:pt>
                <c:pt idx="5326">
                  <c:v>0</c:v>
                </c:pt>
                <c:pt idx="5327">
                  <c:v>0</c:v>
                </c:pt>
                <c:pt idx="5328">
                  <c:v>0</c:v>
                </c:pt>
                <c:pt idx="5329">
                  <c:v>0</c:v>
                </c:pt>
                <c:pt idx="5330">
                  <c:v>0</c:v>
                </c:pt>
                <c:pt idx="5331">
                  <c:v>0</c:v>
                </c:pt>
                <c:pt idx="5332">
                  <c:v>0</c:v>
                </c:pt>
                <c:pt idx="5333">
                  <c:v>0</c:v>
                </c:pt>
                <c:pt idx="5334">
                  <c:v>0</c:v>
                </c:pt>
                <c:pt idx="5335">
                  <c:v>0</c:v>
                </c:pt>
                <c:pt idx="5336">
                  <c:v>0</c:v>
                </c:pt>
                <c:pt idx="5337">
                  <c:v>0</c:v>
                </c:pt>
                <c:pt idx="5338">
                  <c:v>0</c:v>
                </c:pt>
                <c:pt idx="5339">
                  <c:v>0</c:v>
                </c:pt>
                <c:pt idx="5340">
                  <c:v>0</c:v>
                </c:pt>
                <c:pt idx="5341">
                  <c:v>0</c:v>
                </c:pt>
                <c:pt idx="5342">
                  <c:v>0</c:v>
                </c:pt>
                <c:pt idx="5343">
                  <c:v>0</c:v>
                </c:pt>
                <c:pt idx="5344">
                  <c:v>0</c:v>
                </c:pt>
                <c:pt idx="5345">
                  <c:v>0</c:v>
                </c:pt>
                <c:pt idx="5346">
                  <c:v>0</c:v>
                </c:pt>
                <c:pt idx="5347">
                  <c:v>0</c:v>
                </c:pt>
                <c:pt idx="5348">
                  <c:v>0</c:v>
                </c:pt>
                <c:pt idx="5349">
                  <c:v>0</c:v>
                </c:pt>
                <c:pt idx="5350">
                  <c:v>0</c:v>
                </c:pt>
                <c:pt idx="5351">
                  <c:v>0</c:v>
                </c:pt>
                <c:pt idx="5352">
                  <c:v>0</c:v>
                </c:pt>
                <c:pt idx="5353">
                  <c:v>0</c:v>
                </c:pt>
                <c:pt idx="5354">
                  <c:v>0</c:v>
                </c:pt>
                <c:pt idx="5355">
                  <c:v>0</c:v>
                </c:pt>
                <c:pt idx="5356">
                  <c:v>0</c:v>
                </c:pt>
                <c:pt idx="5357">
                  <c:v>0</c:v>
                </c:pt>
                <c:pt idx="5358">
                  <c:v>0</c:v>
                </c:pt>
                <c:pt idx="5359">
                  <c:v>0</c:v>
                </c:pt>
                <c:pt idx="5360">
                  <c:v>0</c:v>
                </c:pt>
                <c:pt idx="5361">
                  <c:v>0</c:v>
                </c:pt>
                <c:pt idx="5362">
                  <c:v>0</c:v>
                </c:pt>
                <c:pt idx="5363">
                  <c:v>0</c:v>
                </c:pt>
                <c:pt idx="5364">
                  <c:v>0</c:v>
                </c:pt>
                <c:pt idx="5365">
                  <c:v>0</c:v>
                </c:pt>
                <c:pt idx="5366">
                  <c:v>0</c:v>
                </c:pt>
                <c:pt idx="5367">
                  <c:v>0</c:v>
                </c:pt>
                <c:pt idx="5368">
                  <c:v>0</c:v>
                </c:pt>
                <c:pt idx="5369">
                  <c:v>0</c:v>
                </c:pt>
                <c:pt idx="5370">
                  <c:v>0</c:v>
                </c:pt>
                <c:pt idx="5371">
                  <c:v>0</c:v>
                </c:pt>
                <c:pt idx="5372">
                  <c:v>0</c:v>
                </c:pt>
                <c:pt idx="5373">
                  <c:v>0</c:v>
                </c:pt>
                <c:pt idx="5374">
                  <c:v>0</c:v>
                </c:pt>
                <c:pt idx="5375">
                  <c:v>0</c:v>
                </c:pt>
                <c:pt idx="5376">
                  <c:v>0</c:v>
                </c:pt>
                <c:pt idx="5377">
                  <c:v>0</c:v>
                </c:pt>
                <c:pt idx="5378">
                  <c:v>0</c:v>
                </c:pt>
                <c:pt idx="5379">
                  <c:v>0</c:v>
                </c:pt>
                <c:pt idx="5380">
                  <c:v>0</c:v>
                </c:pt>
                <c:pt idx="5381">
                  <c:v>0</c:v>
                </c:pt>
                <c:pt idx="5382">
                  <c:v>0</c:v>
                </c:pt>
                <c:pt idx="5383">
                  <c:v>0</c:v>
                </c:pt>
                <c:pt idx="5384">
                  <c:v>0</c:v>
                </c:pt>
                <c:pt idx="5385">
                  <c:v>0</c:v>
                </c:pt>
                <c:pt idx="5386">
                  <c:v>0</c:v>
                </c:pt>
                <c:pt idx="5387">
                  <c:v>0</c:v>
                </c:pt>
                <c:pt idx="5388">
                  <c:v>0</c:v>
                </c:pt>
                <c:pt idx="5389">
                  <c:v>0</c:v>
                </c:pt>
                <c:pt idx="5390">
                  <c:v>0</c:v>
                </c:pt>
                <c:pt idx="5391">
                  <c:v>0</c:v>
                </c:pt>
                <c:pt idx="5392">
                  <c:v>0</c:v>
                </c:pt>
                <c:pt idx="5393">
                  <c:v>0</c:v>
                </c:pt>
                <c:pt idx="5394">
                  <c:v>0</c:v>
                </c:pt>
                <c:pt idx="5395">
                  <c:v>0</c:v>
                </c:pt>
                <c:pt idx="5396">
                  <c:v>0</c:v>
                </c:pt>
                <c:pt idx="5397">
                  <c:v>0</c:v>
                </c:pt>
                <c:pt idx="5398">
                  <c:v>0</c:v>
                </c:pt>
                <c:pt idx="5399">
                  <c:v>0</c:v>
                </c:pt>
                <c:pt idx="5400">
                  <c:v>0</c:v>
                </c:pt>
                <c:pt idx="5401">
                  <c:v>0</c:v>
                </c:pt>
                <c:pt idx="5402">
                  <c:v>0</c:v>
                </c:pt>
                <c:pt idx="5403">
                  <c:v>0</c:v>
                </c:pt>
                <c:pt idx="5404">
                  <c:v>0</c:v>
                </c:pt>
                <c:pt idx="5405">
                  <c:v>0</c:v>
                </c:pt>
                <c:pt idx="5406">
                  <c:v>0</c:v>
                </c:pt>
                <c:pt idx="5407">
                  <c:v>0</c:v>
                </c:pt>
                <c:pt idx="5408">
                  <c:v>0</c:v>
                </c:pt>
                <c:pt idx="5409">
                  <c:v>0</c:v>
                </c:pt>
                <c:pt idx="5410">
                  <c:v>0</c:v>
                </c:pt>
                <c:pt idx="5411">
                  <c:v>0</c:v>
                </c:pt>
                <c:pt idx="5412">
                  <c:v>0</c:v>
                </c:pt>
                <c:pt idx="5413">
                  <c:v>0</c:v>
                </c:pt>
                <c:pt idx="5414">
                  <c:v>0</c:v>
                </c:pt>
                <c:pt idx="5415">
                  <c:v>0</c:v>
                </c:pt>
                <c:pt idx="5416">
                  <c:v>0</c:v>
                </c:pt>
                <c:pt idx="5417">
                  <c:v>0</c:v>
                </c:pt>
                <c:pt idx="5418">
                  <c:v>0</c:v>
                </c:pt>
                <c:pt idx="5419">
                  <c:v>0</c:v>
                </c:pt>
                <c:pt idx="5420">
                  <c:v>0</c:v>
                </c:pt>
                <c:pt idx="5421">
                  <c:v>0</c:v>
                </c:pt>
                <c:pt idx="5422">
                  <c:v>0</c:v>
                </c:pt>
                <c:pt idx="5423">
                  <c:v>0</c:v>
                </c:pt>
                <c:pt idx="5424">
                  <c:v>0</c:v>
                </c:pt>
                <c:pt idx="5425">
                  <c:v>0</c:v>
                </c:pt>
                <c:pt idx="5426">
                  <c:v>0</c:v>
                </c:pt>
                <c:pt idx="5427">
                  <c:v>0</c:v>
                </c:pt>
                <c:pt idx="5428">
                  <c:v>0</c:v>
                </c:pt>
                <c:pt idx="5429">
                  <c:v>0</c:v>
                </c:pt>
                <c:pt idx="5430">
                  <c:v>0</c:v>
                </c:pt>
                <c:pt idx="5431">
                  <c:v>0</c:v>
                </c:pt>
                <c:pt idx="5432">
                  <c:v>0</c:v>
                </c:pt>
                <c:pt idx="5433">
                  <c:v>0</c:v>
                </c:pt>
                <c:pt idx="5434">
                  <c:v>0</c:v>
                </c:pt>
                <c:pt idx="5435">
                  <c:v>0</c:v>
                </c:pt>
                <c:pt idx="5436">
                  <c:v>0</c:v>
                </c:pt>
                <c:pt idx="5437">
                  <c:v>0</c:v>
                </c:pt>
                <c:pt idx="5438">
                  <c:v>0</c:v>
                </c:pt>
                <c:pt idx="5439">
                  <c:v>0</c:v>
                </c:pt>
                <c:pt idx="5440">
                  <c:v>0</c:v>
                </c:pt>
                <c:pt idx="5441">
                  <c:v>0</c:v>
                </c:pt>
                <c:pt idx="5442">
                  <c:v>0</c:v>
                </c:pt>
                <c:pt idx="5443">
                  <c:v>0</c:v>
                </c:pt>
                <c:pt idx="5444">
                  <c:v>0</c:v>
                </c:pt>
                <c:pt idx="5445">
                  <c:v>0</c:v>
                </c:pt>
                <c:pt idx="5446">
                  <c:v>0</c:v>
                </c:pt>
                <c:pt idx="5447">
                  <c:v>0</c:v>
                </c:pt>
                <c:pt idx="5448">
                  <c:v>0</c:v>
                </c:pt>
                <c:pt idx="5449">
                  <c:v>0</c:v>
                </c:pt>
                <c:pt idx="5450">
                  <c:v>0</c:v>
                </c:pt>
                <c:pt idx="5451">
                  <c:v>0</c:v>
                </c:pt>
                <c:pt idx="5452">
                  <c:v>0</c:v>
                </c:pt>
                <c:pt idx="5453">
                  <c:v>0</c:v>
                </c:pt>
                <c:pt idx="5454">
                  <c:v>0</c:v>
                </c:pt>
                <c:pt idx="5455">
                  <c:v>0</c:v>
                </c:pt>
                <c:pt idx="5456">
                  <c:v>0</c:v>
                </c:pt>
                <c:pt idx="5457">
                  <c:v>0</c:v>
                </c:pt>
                <c:pt idx="5458">
                  <c:v>0</c:v>
                </c:pt>
                <c:pt idx="5459">
                  <c:v>0</c:v>
                </c:pt>
                <c:pt idx="5460">
                  <c:v>0</c:v>
                </c:pt>
                <c:pt idx="5461">
                  <c:v>0</c:v>
                </c:pt>
                <c:pt idx="5462">
                  <c:v>0</c:v>
                </c:pt>
                <c:pt idx="5463">
                  <c:v>0</c:v>
                </c:pt>
                <c:pt idx="5464">
                  <c:v>0</c:v>
                </c:pt>
                <c:pt idx="5465">
                  <c:v>0</c:v>
                </c:pt>
                <c:pt idx="5466">
                  <c:v>0</c:v>
                </c:pt>
                <c:pt idx="5467">
                  <c:v>0</c:v>
                </c:pt>
                <c:pt idx="5468">
                  <c:v>0</c:v>
                </c:pt>
                <c:pt idx="5469">
                  <c:v>0</c:v>
                </c:pt>
                <c:pt idx="5470">
                  <c:v>0</c:v>
                </c:pt>
                <c:pt idx="5471">
                  <c:v>0</c:v>
                </c:pt>
                <c:pt idx="5472">
                  <c:v>0</c:v>
                </c:pt>
                <c:pt idx="5473">
                  <c:v>0</c:v>
                </c:pt>
                <c:pt idx="5474">
                  <c:v>0</c:v>
                </c:pt>
                <c:pt idx="5475">
                  <c:v>0</c:v>
                </c:pt>
                <c:pt idx="5476">
                  <c:v>0</c:v>
                </c:pt>
                <c:pt idx="5477">
                  <c:v>0</c:v>
                </c:pt>
                <c:pt idx="5478">
                  <c:v>0</c:v>
                </c:pt>
                <c:pt idx="5479">
                  <c:v>0</c:v>
                </c:pt>
                <c:pt idx="5480">
                  <c:v>0</c:v>
                </c:pt>
                <c:pt idx="5481">
                  <c:v>0</c:v>
                </c:pt>
                <c:pt idx="5482">
                  <c:v>0</c:v>
                </c:pt>
                <c:pt idx="5483">
                  <c:v>0</c:v>
                </c:pt>
                <c:pt idx="5484">
                  <c:v>0</c:v>
                </c:pt>
                <c:pt idx="5485">
                  <c:v>0</c:v>
                </c:pt>
                <c:pt idx="5486">
                  <c:v>0</c:v>
                </c:pt>
                <c:pt idx="5487">
                  <c:v>0</c:v>
                </c:pt>
                <c:pt idx="5488">
                  <c:v>0</c:v>
                </c:pt>
                <c:pt idx="5489">
                  <c:v>0</c:v>
                </c:pt>
                <c:pt idx="5490">
                  <c:v>0</c:v>
                </c:pt>
                <c:pt idx="5491">
                  <c:v>0</c:v>
                </c:pt>
                <c:pt idx="5492">
                  <c:v>0</c:v>
                </c:pt>
                <c:pt idx="5493">
                  <c:v>0</c:v>
                </c:pt>
                <c:pt idx="5494">
                  <c:v>0</c:v>
                </c:pt>
                <c:pt idx="5495">
                  <c:v>0</c:v>
                </c:pt>
                <c:pt idx="5496">
                  <c:v>0</c:v>
                </c:pt>
                <c:pt idx="5497">
                  <c:v>0</c:v>
                </c:pt>
                <c:pt idx="5498">
                  <c:v>0</c:v>
                </c:pt>
                <c:pt idx="5499">
                  <c:v>0</c:v>
                </c:pt>
                <c:pt idx="5500">
                  <c:v>0</c:v>
                </c:pt>
                <c:pt idx="5501">
                  <c:v>0</c:v>
                </c:pt>
                <c:pt idx="5502">
                  <c:v>0</c:v>
                </c:pt>
                <c:pt idx="5503">
                  <c:v>0</c:v>
                </c:pt>
                <c:pt idx="5504">
                  <c:v>0</c:v>
                </c:pt>
                <c:pt idx="5505">
                  <c:v>0</c:v>
                </c:pt>
                <c:pt idx="5506">
                  <c:v>0</c:v>
                </c:pt>
                <c:pt idx="5507">
                  <c:v>0</c:v>
                </c:pt>
                <c:pt idx="5508">
                  <c:v>0</c:v>
                </c:pt>
                <c:pt idx="5509">
                  <c:v>0</c:v>
                </c:pt>
                <c:pt idx="5510">
                  <c:v>0</c:v>
                </c:pt>
                <c:pt idx="5511">
                  <c:v>0</c:v>
                </c:pt>
                <c:pt idx="5512">
                  <c:v>0</c:v>
                </c:pt>
                <c:pt idx="5513">
                  <c:v>0</c:v>
                </c:pt>
                <c:pt idx="5514">
                  <c:v>0</c:v>
                </c:pt>
                <c:pt idx="5515">
                  <c:v>0</c:v>
                </c:pt>
                <c:pt idx="5516">
                  <c:v>0</c:v>
                </c:pt>
                <c:pt idx="5517">
                  <c:v>0</c:v>
                </c:pt>
                <c:pt idx="5518">
                  <c:v>0</c:v>
                </c:pt>
                <c:pt idx="5519">
                  <c:v>0</c:v>
                </c:pt>
                <c:pt idx="5520">
                  <c:v>0</c:v>
                </c:pt>
                <c:pt idx="5521">
                  <c:v>0</c:v>
                </c:pt>
                <c:pt idx="5522">
                  <c:v>0</c:v>
                </c:pt>
                <c:pt idx="5523">
                  <c:v>0</c:v>
                </c:pt>
                <c:pt idx="5524">
                  <c:v>0</c:v>
                </c:pt>
                <c:pt idx="5525">
                  <c:v>0</c:v>
                </c:pt>
                <c:pt idx="5526">
                  <c:v>0</c:v>
                </c:pt>
                <c:pt idx="5527">
                  <c:v>0</c:v>
                </c:pt>
                <c:pt idx="5528">
                  <c:v>0</c:v>
                </c:pt>
                <c:pt idx="5529">
                  <c:v>0</c:v>
                </c:pt>
                <c:pt idx="5530">
                  <c:v>0</c:v>
                </c:pt>
                <c:pt idx="5531">
                  <c:v>0</c:v>
                </c:pt>
                <c:pt idx="5532">
                  <c:v>0</c:v>
                </c:pt>
                <c:pt idx="5533">
                  <c:v>0</c:v>
                </c:pt>
                <c:pt idx="5534">
                  <c:v>0</c:v>
                </c:pt>
                <c:pt idx="5535">
                  <c:v>0</c:v>
                </c:pt>
                <c:pt idx="5536">
                  <c:v>0</c:v>
                </c:pt>
                <c:pt idx="5537">
                  <c:v>0</c:v>
                </c:pt>
                <c:pt idx="5538">
                  <c:v>0</c:v>
                </c:pt>
                <c:pt idx="5539">
                  <c:v>0</c:v>
                </c:pt>
                <c:pt idx="5540">
                  <c:v>0</c:v>
                </c:pt>
                <c:pt idx="5541">
                  <c:v>0</c:v>
                </c:pt>
                <c:pt idx="5542">
                  <c:v>0</c:v>
                </c:pt>
                <c:pt idx="5543">
                  <c:v>0</c:v>
                </c:pt>
                <c:pt idx="5544">
                  <c:v>0</c:v>
                </c:pt>
                <c:pt idx="5545">
                  <c:v>0</c:v>
                </c:pt>
                <c:pt idx="5546">
                  <c:v>0</c:v>
                </c:pt>
                <c:pt idx="5547">
                  <c:v>0</c:v>
                </c:pt>
                <c:pt idx="5548">
                  <c:v>0</c:v>
                </c:pt>
                <c:pt idx="5549">
                  <c:v>0</c:v>
                </c:pt>
                <c:pt idx="5550">
                  <c:v>0</c:v>
                </c:pt>
                <c:pt idx="5551">
                  <c:v>0</c:v>
                </c:pt>
                <c:pt idx="5552">
                  <c:v>0</c:v>
                </c:pt>
                <c:pt idx="5553">
                  <c:v>0</c:v>
                </c:pt>
                <c:pt idx="5554">
                  <c:v>0</c:v>
                </c:pt>
                <c:pt idx="5555">
                  <c:v>0</c:v>
                </c:pt>
                <c:pt idx="5556">
                  <c:v>0</c:v>
                </c:pt>
                <c:pt idx="5557">
                  <c:v>0</c:v>
                </c:pt>
                <c:pt idx="5558">
                  <c:v>0</c:v>
                </c:pt>
                <c:pt idx="5559">
                  <c:v>0</c:v>
                </c:pt>
                <c:pt idx="5560">
                  <c:v>0</c:v>
                </c:pt>
                <c:pt idx="5561">
                  <c:v>0</c:v>
                </c:pt>
                <c:pt idx="5562">
                  <c:v>0</c:v>
                </c:pt>
                <c:pt idx="5563">
                  <c:v>0</c:v>
                </c:pt>
                <c:pt idx="5564">
                  <c:v>0</c:v>
                </c:pt>
                <c:pt idx="5565">
                  <c:v>0</c:v>
                </c:pt>
                <c:pt idx="5566">
                  <c:v>0</c:v>
                </c:pt>
                <c:pt idx="5567">
                  <c:v>0</c:v>
                </c:pt>
                <c:pt idx="5568">
                  <c:v>0</c:v>
                </c:pt>
                <c:pt idx="5569">
                  <c:v>0</c:v>
                </c:pt>
                <c:pt idx="5570">
                  <c:v>0</c:v>
                </c:pt>
                <c:pt idx="5571">
                  <c:v>0</c:v>
                </c:pt>
                <c:pt idx="5572">
                  <c:v>0</c:v>
                </c:pt>
                <c:pt idx="5573">
                  <c:v>0</c:v>
                </c:pt>
                <c:pt idx="5574">
                  <c:v>0</c:v>
                </c:pt>
                <c:pt idx="5575">
                  <c:v>0</c:v>
                </c:pt>
                <c:pt idx="5576">
                  <c:v>0</c:v>
                </c:pt>
                <c:pt idx="5577">
                  <c:v>0</c:v>
                </c:pt>
                <c:pt idx="5578">
                  <c:v>0</c:v>
                </c:pt>
                <c:pt idx="5579">
                  <c:v>0</c:v>
                </c:pt>
                <c:pt idx="5580">
                  <c:v>0</c:v>
                </c:pt>
                <c:pt idx="5581">
                  <c:v>0</c:v>
                </c:pt>
                <c:pt idx="5582">
                  <c:v>0</c:v>
                </c:pt>
                <c:pt idx="5583">
                  <c:v>0</c:v>
                </c:pt>
                <c:pt idx="5584">
                  <c:v>0</c:v>
                </c:pt>
                <c:pt idx="5585">
                  <c:v>0</c:v>
                </c:pt>
                <c:pt idx="5586">
                  <c:v>0</c:v>
                </c:pt>
                <c:pt idx="5587">
                  <c:v>0</c:v>
                </c:pt>
                <c:pt idx="5588">
                  <c:v>0</c:v>
                </c:pt>
                <c:pt idx="5589">
                  <c:v>0</c:v>
                </c:pt>
                <c:pt idx="5590">
                  <c:v>0</c:v>
                </c:pt>
                <c:pt idx="5591">
                  <c:v>0</c:v>
                </c:pt>
                <c:pt idx="5592">
                  <c:v>0</c:v>
                </c:pt>
                <c:pt idx="5593">
                  <c:v>0</c:v>
                </c:pt>
                <c:pt idx="5594">
                  <c:v>0</c:v>
                </c:pt>
                <c:pt idx="5595">
                  <c:v>0</c:v>
                </c:pt>
                <c:pt idx="5596">
                  <c:v>0</c:v>
                </c:pt>
                <c:pt idx="5597">
                  <c:v>0</c:v>
                </c:pt>
                <c:pt idx="5598">
                  <c:v>0</c:v>
                </c:pt>
                <c:pt idx="5599">
                  <c:v>0</c:v>
                </c:pt>
                <c:pt idx="5600">
                  <c:v>0</c:v>
                </c:pt>
                <c:pt idx="5601">
                  <c:v>0</c:v>
                </c:pt>
                <c:pt idx="5602">
                  <c:v>0</c:v>
                </c:pt>
                <c:pt idx="5603">
                  <c:v>0</c:v>
                </c:pt>
                <c:pt idx="5604">
                  <c:v>0</c:v>
                </c:pt>
                <c:pt idx="5605">
                  <c:v>0</c:v>
                </c:pt>
                <c:pt idx="5606">
                  <c:v>0</c:v>
                </c:pt>
                <c:pt idx="5607">
                  <c:v>0</c:v>
                </c:pt>
                <c:pt idx="5608">
                  <c:v>0</c:v>
                </c:pt>
                <c:pt idx="5609">
                  <c:v>0</c:v>
                </c:pt>
                <c:pt idx="5610">
                  <c:v>0</c:v>
                </c:pt>
                <c:pt idx="5611">
                  <c:v>0</c:v>
                </c:pt>
                <c:pt idx="5612">
                  <c:v>0</c:v>
                </c:pt>
                <c:pt idx="5613">
                  <c:v>0</c:v>
                </c:pt>
                <c:pt idx="5614">
                  <c:v>0</c:v>
                </c:pt>
                <c:pt idx="5615">
                  <c:v>0</c:v>
                </c:pt>
                <c:pt idx="5616">
                  <c:v>0</c:v>
                </c:pt>
                <c:pt idx="5617">
                  <c:v>0</c:v>
                </c:pt>
                <c:pt idx="5618">
                  <c:v>0</c:v>
                </c:pt>
                <c:pt idx="5619">
                  <c:v>0</c:v>
                </c:pt>
                <c:pt idx="5620">
                  <c:v>0</c:v>
                </c:pt>
                <c:pt idx="5621">
                  <c:v>0</c:v>
                </c:pt>
                <c:pt idx="5622">
                  <c:v>0</c:v>
                </c:pt>
                <c:pt idx="5623">
                  <c:v>0</c:v>
                </c:pt>
                <c:pt idx="5624">
                  <c:v>0</c:v>
                </c:pt>
                <c:pt idx="5625">
                  <c:v>0</c:v>
                </c:pt>
                <c:pt idx="5626">
                  <c:v>0</c:v>
                </c:pt>
                <c:pt idx="5627">
                  <c:v>0</c:v>
                </c:pt>
                <c:pt idx="5628">
                  <c:v>0</c:v>
                </c:pt>
                <c:pt idx="5629">
                  <c:v>0</c:v>
                </c:pt>
                <c:pt idx="5630">
                  <c:v>0</c:v>
                </c:pt>
                <c:pt idx="5631">
                  <c:v>0</c:v>
                </c:pt>
                <c:pt idx="5632">
                  <c:v>0</c:v>
                </c:pt>
                <c:pt idx="5633">
                  <c:v>0</c:v>
                </c:pt>
                <c:pt idx="5634">
                  <c:v>0</c:v>
                </c:pt>
                <c:pt idx="5635">
                  <c:v>0</c:v>
                </c:pt>
                <c:pt idx="5636">
                  <c:v>0</c:v>
                </c:pt>
                <c:pt idx="5637">
                  <c:v>0</c:v>
                </c:pt>
                <c:pt idx="5638">
                  <c:v>0</c:v>
                </c:pt>
                <c:pt idx="5639">
                  <c:v>0</c:v>
                </c:pt>
                <c:pt idx="5640">
                  <c:v>0</c:v>
                </c:pt>
                <c:pt idx="5641">
                  <c:v>0</c:v>
                </c:pt>
                <c:pt idx="5642">
                  <c:v>0</c:v>
                </c:pt>
                <c:pt idx="5643">
                  <c:v>0</c:v>
                </c:pt>
                <c:pt idx="5644">
                  <c:v>0</c:v>
                </c:pt>
                <c:pt idx="5645">
                  <c:v>0</c:v>
                </c:pt>
                <c:pt idx="5646">
                  <c:v>0</c:v>
                </c:pt>
                <c:pt idx="5647">
                  <c:v>0</c:v>
                </c:pt>
                <c:pt idx="5648">
                  <c:v>0</c:v>
                </c:pt>
                <c:pt idx="5649">
                  <c:v>0</c:v>
                </c:pt>
                <c:pt idx="5650">
                  <c:v>0</c:v>
                </c:pt>
                <c:pt idx="5651">
                  <c:v>0</c:v>
                </c:pt>
                <c:pt idx="5652">
                  <c:v>0</c:v>
                </c:pt>
                <c:pt idx="5653">
                  <c:v>0</c:v>
                </c:pt>
                <c:pt idx="5654">
                  <c:v>0</c:v>
                </c:pt>
                <c:pt idx="5655">
                  <c:v>0</c:v>
                </c:pt>
                <c:pt idx="5656">
                  <c:v>0</c:v>
                </c:pt>
                <c:pt idx="5657">
                  <c:v>0</c:v>
                </c:pt>
                <c:pt idx="5658">
                  <c:v>0</c:v>
                </c:pt>
                <c:pt idx="5659">
                  <c:v>0</c:v>
                </c:pt>
                <c:pt idx="5660">
                  <c:v>0</c:v>
                </c:pt>
                <c:pt idx="5661">
                  <c:v>0</c:v>
                </c:pt>
                <c:pt idx="5662">
                  <c:v>0</c:v>
                </c:pt>
                <c:pt idx="5663">
                  <c:v>0</c:v>
                </c:pt>
                <c:pt idx="5664">
                  <c:v>0</c:v>
                </c:pt>
                <c:pt idx="5665">
                  <c:v>0</c:v>
                </c:pt>
                <c:pt idx="5666">
                  <c:v>0</c:v>
                </c:pt>
                <c:pt idx="5667">
                  <c:v>0</c:v>
                </c:pt>
                <c:pt idx="5668">
                  <c:v>0</c:v>
                </c:pt>
                <c:pt idx="5669">
                  <c:v>0</c:v>
                </c:pt>
                <c:pt idx="5670">
                  <c:v>0</c:v>
                </c:pt>
                <c:pt idx="5671">
                  <c:v>0</c:v>
                </c:pt>
                <c:pt idx="5672">
                  <c:v>0</c:v>
                </c:pt>
                <c:pt idx="5673">
                  <c:v>0</c:v>
                </c:pt>
                <c:pt idx="5674">
                  <c:v>0</c:v>
                </c:pt>
                <c:pt idx="5675">
                  <c:v>0</c:v>
                </c:pt>
                <c:pt idx="5676">
                  <c:v>0</c:v>
                </c:pt>
                <c:pt idx="5677">
                  <c:v>0</c:v>
                </c:pt>
                <c:pt idx="5678">
                  <c:v>0</c:v>
                </c:pt>
                <c:pt idx="5679">
                  <c:v>0</c:v>
                </c:pt>
                <c:pt idx="5680">
                  <c:v>0</c:v>
                </c:pt>
                <c:pt idx="5681">
                  <c:v>0</c:v>
                </c:pt>
                <c:pt idx="5682">
                  <c:v>0</c:v>
                </c:pt>
                <c:pt idx="5683">
                  <c:v>0</c:v>
                </c:pt>
                <c:pt idx="5684">
                  <c:v>0</c:v>
                </c:pt>
                <c:pt idx="5685">
                  <c:v>0</c:v>
                </c:pt>
                <c:pt idx="5686">
                  <c:v>0</c:v>
                </c:pt>
                <c:pt idx="5687">
                  <c:v>0</c:v>
                </c:pt>
                <c:pt idx="5688">
                  <c:v>0</c:v>
                </c:pt>
                <c:pt idx="5689">
                  <c:v>0</c:v>
                </c:pt>
                <c:pt idx="5690">
                  <c:v>0</c:v>
                </c:pt>
                <c:pt idx="5691">
                  <c:v>0</c:v>
                </c:pt>
                <c:pt idx="5692">
                  <c:v>0</c:v>
                </c:pt>
                <c:pt idx="5693">
                  <c:v>0</c:v>
                </c:pt>
                <c:pt idx="5694">
                  <c:v>0</c:v>
                </c:pt>
                <c:pt idx="5695">
                  <c:v>0</c:v>
                </c:pt>
                <c:pt idx="5696">
                  <c:v>0</c:v>
                </c:pt>
                <c:pt idx="5697">
                  <c:v>0</c:v>
                </c:pt>
                <c:pt idx="5698">
                  <c:v>0</c:v>
                </c:pt>
                <c:pt idx="5699">
                  <c:v>0</c:v>
                </c:pt>
                <c:pt idx="5700">
                  <c:v>0</c:v>
                </c:pt>
                <c:pt idx="5701">
                  <c:v>0</c:v>
                </c:pt>
                <c:pt idx="5702">
                  <c:v>0</c:v>
                </c:pt>
                <c:pt idx="5703">
                  <c:v>0</c:v>
                </c:pt>
                <c:pt idx="5704">
                  <c:v>0</c:v>
                </c:pt>
                <c:pt idx="5705">
                  <c:v>0</c:v>
                </c:pt>
                <c:pt idx="5706">
                  <c:v>0</c:v>
                </c:pt>
                <c:pt idx="5707">
                  <c:v>0</c:v>
                </c:pt>
                <c:pt idx="5708">
                  <c:v>0</c:v>
                </c:pt>
                <c:pt idx="5709">
                  <c:v>0</c:v>
                </c:pt>
                <c:pt idx="5710">
                  <c:v>0</c:v>
                </c:pt>
                <c:pt idx="5711">
                  <c:v>0</c:v>
                </c:pt>
                <c:pt idx="5712">
                  <c:v>0</c:v>
                </c:pt>
                <c:pt idx="5713">
                  <c:v>0</c:v>
                </c:pt>
                <c:pt idx="5714">
                  <c:v>0</c:v>
                </c:pt>
                <c:pt idx="5715">
                  <c:v>0</c:v>
                </c:pt>
                <c:pt idx="5716">
                  <c:v>0</c:v>
                </c:pt>
                <c:pt idx="5717">
                  <c:v>0</c:v>
                </c:pt>
                <c:pt idx="5718">
                  <c:v>0</c:v>
                </c:pt>
                <c:pt idx="5719">
                  <c:v>0</c:v>
                </c:pt>
                <c:pt idx="5720">
                  <c:v>0</c:v>
                </c:pt>
                <c:pt idx="5721">
                  <c:v>0</c:v>
                </c:pt>
                <c:pt idx="5722">
                  <c:v>0</c:v>
                </c:pt>
                <c:pt idx="5723">
                  <c:v>0</c:v>
                </c:pt>
                <c:pt idx="5724">
                  <c:v>0</c:v>
                </c:pt>
                <c:pt idx="5725">
                  <c:v>0</c:v>
                </c:pt>
                <c:pt idx="5726">
                  <c:v>0</c:v>
                </c:pt>
                <c:pt idx="5727">
                  <c:v>0</c:v>
                </c:pt>
                <c:pt idx="5728">
                  <c:v>0</c:v>
                </c:pt>
                <c:pt idx="5729">
                  <c:v>0</c:v>
                </c:pt>
                <c:pt idx="5730">
                  <c:v>0</c:v>
                </c:pt>
                <c:pt idx="5731">
                  <c:v>0</c:v>
                </c:pt>
                <c:pt idx="5732">
                  <c:v>0</c:v>
                </c:pt>
                <c:pt idx="5733">
                  <c:v>0</c:v>
                </c:pt>
                <c:pt idx="5734">
                  <c:v>0</c:v>
                </c:pt>
                <c:pt idx="5735">
                  <c:v>0</c:v>
                </c:pt>
                <c:pt idx="5736">
                  <c:v>0</c:v>
                </c:pt>
                <c:pt idx="5737">
                  <c:v>0</c:v>
                </c:pt>
                <c:pt idx="5738">
                  <c:v>0</c:v>
                </c:pt>
                <c:pt idx="5739">
                  <c:v>0</c:v>
                </c:pt>
                <c:pt idx="5740">
                  <c:v>0</c:v>
                </c:pt>
                <c:pt idx="5741">
                  <c:v>0</c:v>
                </c:pt>
                <c:pt idx="5742">
                  <c:v>0</c:v>
                </c:pt>
                <c:pt idx="5743">
                  <c:v>0</c:v>
                </c:pt>
                <c:pt idx="5744">
                  <c:v>0</c:v>
                </c:pt>
                <c:pt idx="5745">
                  <c:v>0</c:v>
                </c:pt>
                <c:pt idx="5746">
                  <c:v>0</c:v>
                </c:pt>
                <c:pt idx="5747">
                  <c:v>0</c:v>
                </c:pt>
                <c:pt idx="5748">
                  <c:v>0</c:v>
                </c:pt>
                <c:pt idx="5749">
                  <c:v>0</c:v>
                </c:pt>
                <c:pt idx="5750">
                  <c:v>0</c:v>
                </c:pt>
                <c:pt idx="5751">
                  <c:v>0</c:v>
                </c:pt>
                <c:pt idx="5752">
                  <c:v>0</c:v>
                </c:pt>
                <c:pt idx="5753">
                  <c:v>0</c:v>
                </c:pt>
                <c:pt idx="5754">
                  <c:v>0</c:v>
                </c:pt>
                <c:pt idx="5755">
                  <c:v>0</c:v>
                </c:pt>
                <c:pt idx="5756">
                  <c:v>0</c:v>
                </c:pt>
                <c:pt idx="5757">
                  <c:v>0</c:v>
                </c:pt>
                <c:pt idx="5758">
                  <c:v>0</c:v>
                </c:pt>
                <c:pt idx="5759">
                  <c:v>0</c:v>
                </c:pt>
                <c:pt idx="5760">
                  <c:v>0</c:v>
                </c:pt>
                <c:pt idx="5761">
                  <c:v>0</c:v>
                </c:pt>
                <c:pt idx="5762">
                  <c:v>0</c:v>
                </c:pt>
                <c:pt idx="5763">
                  <c:v>0</c:v>
                </c:pt>
                <c:pt idx="5764">
                  <c:v>0</c:v>
                </c:pt>
                <c:pt idx="5765">
                  <c:v>0</c:v>
                </c:pt>
                <c:pt idx="5766">
                  <c:v>0</c:v>
                </c:pt>
                <c:pt idx="5767">
                  <c:v>0</c:v>
                </c:pt>
                <c:pt idx="5768">
                  <c:v>0</c:v>
                </c:pt>
                <c:pt idx="5769">
                  <c:v>0</c:v>
                </c:pt>
                <c:pt idx="5770">
                  <c:v>0</c:v>
                </c:pt>
                <c:pt idx="5771">
                  <c:v>0</c:v>
                </c:pt>
                <c:pt idx="5772">
                  <c:v>0</c:v>
                </c:pt>
                <c:pt idx="5773">
                  <c:v>0</c:v>
                </c:pt>
                <c:pt idx="5774">
                  <c:v>0</c:v>
                </c:pt>
                <c:pt idx="5775">
                  <c:v>0</c:v>
                </c:pt>
                <c:pt idx="5776">
                  <c:v>0</c:v>
                </c:pt>
                <c:pt idx="5777">
                  <c:v>0</c:v>
                </c:pt>
                <c:pt idx="5778">
                  <c:v>0</c:v>
                </c:pt>
                <c:pt idx="5779">
                  <c:v>0</c:v>
                </c:pt>
                <c:pt idx="5780">
                  <c:v>0</c:v>
                </c:pt>
                <c:pt idx="5781">
                  <c:v>0</c:v>
                </c:pt>
                <c:pt idx="5782">
                  <c:v>0</c:v>
                </c:pt>
                <c:pt idx="5783">
                  <c:v>0</c:v>
                </c:pt>
                <c:pt idx="5784">
                  <c:v>0</c:v>
                </c:pt>
                <c:pt idx="5785">
                  <c:v>0</c:v>
                </c:pt>
                <c:pt idx="5786">
                  <c:v>0</c:v>
                </c:pt>
                <c:pt idx="5787">
                  <c:v>0</c:v>
                </c:pt>
                <c:pt idx="5788">
                  <c:v>0</c:v>
                </c:pt>
                <c:pt idx="5789">
                  <c:v>0</c:v>
                </c:pt>
                <c:pt idx="5790">
                  <c:v>0</c:v>
                </c:pt>
                <c:pt idx="5791">
                  <c:v>0</c:v>
                </c:pt>
                <c:pt idx="5792">
                  <c:v>0</c:v>
                </c:pt>
                <c:pt idx="5793">
                  <c:v>0</c:v>
                </c:pt>
                <c:pt idx="5794">
                  <c:v>0</c:v>
                </c:pt>
                <c:pt idx="5795">
                  <c:v>0</c:v>
                </c:pt>
                <c:pt idx="5796">
                  <c:v>0</c:v>
                </c:pt>
                <c:pt idx="5797">
                  <c:v>0</c:v>
                </c:pt>
                <c:pt idx="5798">
                  <c:v>0</c:v>
                </c:pt>
                <c:pt idx="5799">
                  <c:v>0</c:v>
                </c:pt>
                <c:pt idx="5800">
                  <c:v>0</c:v>
                </c:pt>
                <c:pt idx="5801">
                  <c:v>0</c:v>
                </c:pt>
                <c:pt idx="5802">
                  <c:v>0</c:v>
                </c:pt>
                <c:pt idx="5803">
                  <c:v>0</c:v>
                </c:pt>
                <c:pt idx="5804">
                  <c:v>0</c:v>
                </c:pt>
                <c:pt idx="5805">
                  <c:v>0</c:v>
                </c:pt>
                <c:pt idx="5806">
                  <c:v>0</c:v>
                </c:pt>
                <c:pt idx="5807">
                  <c:v>0</c:v>
                </c:pt>
                <c:pt idx="5808">
                  <c:v>0</c:v>
                </c:pt>
                <c:pt idx="5809">
                  <c:v>0</c:v>
                </c:pt>
                <c:pt idx="5810">
                  <c:v>0</c:v>
                </c:pt>
                <c:pt idx="5811">
                  <c:v>0</c:v>
                </c:pt>
                <c:pt idx="5812">
                  <c:v>0</c:v>
                </c:pt>
                <c:pt idx="5813">
                  <c:v>0</c:v>
                </c:pt>
                <c:pt idx="5814">
                  <c:v>0</c:v>
                </c:pt>
                <c:pt idx="5815">
                  <c:v>0</c:v>
                </c:pt>
                <c:pt idx="5816">
                  <c:v>0</c:v>
                </c:pt>
                <c:pt idx="5817">
                  <c:v>0</c:v>
                </c:pt>
                <c:pt idx="5818">
                  <c:v>0</c:v>
                </c:pt>
                <c:pt idx="5819">
                  <c:v>0</c:v>
                </c:pt>
                <c:pt idx="5820">
                  <c:v>0</c:v>
                </c:pt>
                <c:pt idx="5821">
                  <c:v>0</c:v>
                </c:pt>
                <c:pt idx="5822">
                  <c:v>0</c:v>
                </c:pt>
                <c:pt idx="5823">
                  <c:v>0</c:v>
                </c:pt>
                <c:pt idx="5824">
                  <c:v>0</c:v>
                </c:pt>
                <c:pt idx="5825">
                  <c:v>0</c:v>
                </c:pt>
                <c:pt idx="5826">
                  <c:v>0</c:v>
                </c:pt>
                <c:pt idx="5827">
                  <c:v>0</c:v>
                </c:pt>
                <c:pt idx="5828">
                  <c:v>0</c:v>
                </c:pt>
                <c:pt idx="5829">
                  <c:v>0</c:v>
                </c:pt>
                <c:pt idx="5830">
                  <c:v>0</c:v>
                </c:pt>
                <c:pt idx="5831">
                  <c:v>0</c:v>
                </c:pt>
                <c:pt idx="5832">
                  <c:v>0</c:v>
                </c:pt>
                <c:pt idx="5833">
                  <c:v>0</c:v>
                </c:pt>
                <c:pt idx="5834">
                  <c:v>0</c:v>
                </c:pt>
                <c:pt idx="5835">
                  <c:v>0</c:v>
                </c:pt>
                <c:pt idx="5836">
                  <c:v>0</c:v>
                </c:pt>
                <c:pt idx="5837">
                  <c:v>0</c:v>
                </c:pt>
                <c:pt idx="5838">
                  <c:v>0</c:v>
                </c:pt>
                <c:pt idx="5839">
                  <c:v>0</c:v>
                </c:pt>
                <c:pt idx="5840">
                  <c:v>0</c:v>
                </c:pt>
                <c:pt idx="5841">
                  <c:v>0</c:v>
                </c:pt>
                <c:pt idx="5842">
                  <c:v>0</c:v>
                </c:pt>
                <c:pt idx="5843">
                  <c:v>0</c:v>
                </c:pt>
                <c:pt idx="5844">
                  <c:v>0</c:v>
                </c:pt>
                <c:pt idx="5845">
                  <c:v>0</c:v>
                </c:pt>
                <c:pt idx="5846">
                  <c:v>0</c:v>
                </c:pt>
                <c:pt idx="5847">
                  <c:v>0</c:v>
                </c:pt>
                <c:pt idx="5848">
                  <c:v>0</c:v>
                </c:pt>
                <c:pt idx="5849">
                  <c:v>0</c:v>
                </c:pt>
                <c:pt idx="5850">
                  <c:v>0</c:v>
                </c:pt>
                <c:pt idx="5851">
                  <c:v>0</c:v>
                </c:pt>
                <c:pt idx="5852">
                  <c:v>0</c:v>
                </c:pt>
                <c:pt idx="5853">
                  <c:v>0</c:v>
                </c:pt>
                <c:pt idx="5854">
                  <c:v>0</c:v>
                </c:pt>
                <c:pt idx="5855">
                  <c:v>0</c:v>
                </c:pt>
                <c:pt idx="5856">
                  <c:v>0</c:v>
                </c:pt>
                <c:pt idx="5857">
                  <c:v>0</c:v>
                </c:pt>
                <c:pt idx="5858">
                  <c:v>0</c:v>
                </c:pt>
                <c:pt idx="5859">
                  <c:v>0</c:v>
                </c:pt>
                <c:pt idx="5860">
                  <c:v>0</c:v>
                </c:pt>
                <c:pt idx="5861">
                  <c:v>0</c:v>
                </c:pt>
                <c:pt idx="5862">
                  <c:v>0</c:v>
                </c:pt>
                <c:pt idx="5863">
                  <c:v>0</c:v>
                </c:pt>
                <c:pt idx="5864">
                  <c:v>0</c:v>
                </c:pt>
                <c:pt idx="5865">
                  <c:v>0</c:v>
                </c:pt>
                <c:pt idx="5866">
                  <c:v>0</c:v>
                </c:pt>
                <c:pt idx="5867">
                  <c:v>0</c:v>
                </c:pt>
                <c:pt idx="5868">
                  <c:v>0</c:v>
                </c:pt>
                <c:pt idx="5869">
                  <c:v>0</c:v>
                </c:pt>
                <c:pt idx="5870">
                  <c:v>0</c:v>
                </c:pt>
                <c:pt idx="5871">
                  <c:v>0</c:v>
                </c:pt>
                <c:pt idx="5872">
                  <c:v>0</c:v>
                </c:pt>
                <c:pt idx="5873">
                  <c:v>0</c:v>
                </c:pt>
                <c:pt idx="5874">
                  <c:v>0</c:v>
                </c:pt>
                <c:pt idx="5875">
                  <c:v>0</c:v>
                </c:pt>
                <c:pt idx="5876">
                  <c:v>0</c:v>
                </c:pt>
                <c:pt idx="5877">
                  <c:v>0</c:v>
                </c:pt>
                <c:pt idx="5878">
                  <c:v>0</c:v>
                </c:pt>
                <c:pt idx="5879">
                  <c:v>0</c:v>
                </c:pt>
                <c:pt idx="5880">
                  <c:v>0</c:v>
                </c:pt>
                <c:pt idx="5881">
                  <c:v>0</c:v>
                </c:pt>
                <c:pt idx="5882">
                  <c:v>0</c:v>
                </c:pt>
                <c:pt idx="5883">
                  <c:v>0</c:v>
                </c:pt>
                <c:pt idx="5884">
                  <c:v>0</c:v>
                </c:pt>
                <c:pt idx="5885">
                  <c:v>0</c:v>
                </c:pt>
                <c:pt idx="5886">
                  <c:v>0</c:v>
                </c:pt>
                <c:pt idx="5887">
                  <c:v>0</c:v>
                </c:pt>
                <c:pt idx="5888">
                  <c:v>0</c:v>
                </c:pt>
                <c:pt idx="5889">
                  <c:v>0</c:v>
                </c:pt>
                <c:pt idx="5890">
                  <c:v>0</c:v>
                </c:pt>
                <c:pt idx="5891">
                  <c:v>0</c:v>
                </c:pt>
                <c:pt idx="5892">
                  <c:v>0</c:v>
                </c:pt>
                <c:pt idx="5893">
                  <c:v>0</c:v>
                </c:pt>
                <c:pt idx="5894">
                  <c:v>0</c:v>
                </c:pt>
                <c:pt idx="5895">
                  <c:v>0</c:v>
                </c:pt>
                <c:pt idx="5896">
                  <c:v>0</c:v>
                </c:pt>
                <c:pt idx="5897">
                  <c:v>0</c:v>
                </c:pt>
                <c:pt idx="5898">
                  <c:v>0</c:v>
                </c:pt>
                <c:pt idx="5899">
                  <c:v>0</c:v>
                </c:pt>
                <c:pt idx="5900">
                  <c:v>0</c:v>
                </c:pt>
                <c:pt idx="5901">
                  <c:v>0</c:v>
                </c:pt>
                <c:pt idx="5902">
                  <c:v>0</c:v>
                </c:pt>
                <c:pt idx="5903">
                  <c:v>0</c:v>
                </c:pt>
                <c:pt idx="5904">
                  <c:v>0</c:v>
                </c:pt>
                <c:pt idx="5905">
                  <c:v>0</c:v>
                </c:pt>
                <c:pt idx="5906">
                  <c:v>0</c:v>
                </c:pt>
                <c:pt idx="5907">
                  <c:v>0</c:v>
                </c:pt>
                <c:pt idx="5908">
                  <c:v>0</c:v>
                </c:pt>
                <c:pt idx="5909">
                  <c:v>0</c:v>
                </c:pt>
                <c:pt idx="5910">
                  <c:v>0</c:v>
                </c:pt>
                <c:pt idx="5911">
                  <c:v>0</c:v>
                </c:pt>
                <c:pt idx="5912">
                  <c:v>0</c:v>
                </c:pt>
                <c:pt idx="5913">
                  <c:v>0</c:v>
                </c:pt>
                <c:pt idx="5914">
                  <c:v>0</c:v>
                </c:pt>
                <c:pt idx="5915">
                  <c:v>0</c:v>
                </c:pt>
                <c:pt idx="5916">
                  <c:v>0</c:v>
                </c:pt>
                <c:pt idx="5917">
                  <c:v>0</c:v>
                </c:pt>
                <c:pt idx="5918">
                  <c:v>0</c:v>
                </c:pt>
                <c:pt idx="5919">
                  <c:v>0</c:v>
                </c:pt>
                <c:pt idx="5920">
                  <c:v>0</c:v>
                </c:pt>
                <c:pt idx="5921">
                  <c:v>0</c:v>
                </c:pt>
                <c:pt idx="5922">
                  <c:v>0</c:v>
                </c:pt>
                <c:pt idx="5923">
                  <c:v>0</c:v>
                </c:pt>
                <c:pt idx="5924">
                  <c:v>0</c:v>
                </c:pt>
                <c:pt idx="5925">
                  <c:v>0</c:v>
                </c:pt>
                <c:pt idx="5926">
                  <c:v>0</c:v>
                </c:pt>
                <c:pt idx="5927">
                  <c:v>0</c:v>
                </c:pt>
                <c:pt idx="5928">
                  <c:v>0</c:v>
                </c:pt>
                <c:pt idx="5929">
                  <c:v>0</c:v>
                </c:pt>
                <c:pt idx="5930">
                  <c:v>0</c:v>
                </c:pt>
                <c:pt idx="5931">
                  <c:v>0</c:v>
                </c:pt>
                <c:pt idx="5932">
                  <c:v>0</c:v>
                </c:pt>
                <c:pt idx="5933">
                  <c:v>0</c:v>
                </c:pt>
                <c:pt idx="5934">
                  <c:v>0</c:v>
                </c:pt>
                <c:pt idx="5935">
                  <c:v>0</c:v>
                </c:pt>
                <c:pt idx="5936">
                  <c:v>0</c:v>
                </c:pt>
                <c:pt idx="5937">
                  <c:v>0</c:v>
                </c:pt>
                <c:pt idx="5938">
                  <c:v>0</c:v>
                </c:pt>
                <c:pt idx="5939">
                  <c:v>0</c:v>
                </c:pt>
                <c:pt idx="5940">
                  <c:v>0</c:v>
                </c:pt>
                <c:pt idx="5941">
                  <c:v>0</c:v>
                </c:pt>
                <c:pt idx="5942">
                  <c:v>0</c:v>
                </c:pt>
                <c:pt idx="5943">
                  <c:v>0</c:v>
                </c:pt>
                <c:pt idx="5944">
                  <c:v>0</c:v>
                </c:pt>
                <c:pt idx="5945">
                  <c:v>0</c:v>
                </c:pt>
                <c:pt idx="5946">
                  <c:v>0</c:v>
                </c:pt>
                <c:pt idx="5947">
                  <c:v>0</c:v>
                </c:pt>
                <c:pt idx="5948">
                  <c:v>0</c:v>
                </c:pt>
                <c:pt idx="5949">
                  <c:v>0</c:v>
                </c:pt>
                <c:pt idx="5950">
                  <c:v>0</c:v>
                </c:pt>
                <c:pt idx="5951">
                  <c:v>0</c:v>
                </c:pt>
                <c:pt idx="5952">
                  <c:v>0</c:v>
                </c:pt>
                <c:pt idx="5953">
                  <c:v>0</c:v>
                </c:pt>
                <c:pt idx="5954">
                  <c:v>0</c:v>
                </c:pt>
                <c:pt idx="5955">
                  <c:v>0</c:v>
                </c:pt>
                <c:pt idx="5956">
                  <c:v>0</c:v>
                </c:pt>
                <c:pt idx="5957">
                  <c:v>0</c:v>
                </c:pt>
                <c:pt idx="5958">
                  <c:v>0</c:v>
                </c:pt>
                <c:pt idx="5959">
                  <c:v>0</c:v>
                </c:pt>
                <c:pt idx="5960">
                  <c:v>0</c:v>
                </c:pt>
                <c:pt idx="5961">
                  <c:v>0</c:v>
                </c:pt>
                <c:pt idx="5962">
                  <c:v>0</c:v>
                </c:pt>
                <c:pt idx="5963">
                  <c:v>0</c:v>
                </c:pt>
                <c:pt idx="5964">
                  <c:v>0</c:v>
                </c:pt>
                <c:pt idx="5965">
                  <c:v>0</c:v>
                </c:pt>
                <c:pt idx="5966">
                  <c:v>0</c:v>
                </c:pt>
                <c:pt idx="5967">
                  <c:v>0</c:v>
                </c:pt>
                <c:pt idx="5968">
                  <c:v>0</c:v>
                </c:pt>
                <c:pt idx="5969">
                  <c:v>0</c:v>
                </c:pt>
                <c:pt idx="5970">
                  <c:v>0</c:v>
                </c:pt>
                <c:pt idx="5971">
                  <c:v>0</c:v>
                </c:pt>
                <c:pt idx="5972">
                  <c:v>0</c:v>
                </c:pt>
                <c:pt idx="5973">
                  <c:v>0</c:v>
                </c:pt>
                <c:pt idx="5974">
                  <c:v>0</c:v>
                </c:pt>
                <c:pt idx="5975">
                  <c:v>0</c:v>
                </c:pt>
                <c:pt idx="5976">
                  <c:v>0</c:v>
                </c:pt>
                <c:pt idx="5977">
                  <c:v>0</c:v>
                </c:pt>
                <c:pt idx="5978">
                  <c:v>0</c:v>
                </c:pt>
                <c:pt idx="5979">
                  <c:v>0</c:v>
                </c:pt>
                <c:pt idx="5980">
                  <c:v>0</c:v>
                </c:pt>
                <c:pt idx="5981">
                  <c:v>0</c:v>
                </c:pt>
                <c:pt idx="5982">
                  <c:v>0</c:v>
                </c:pt>
                <c:pt idx="5983">
                  <c:v>0</c:v>
                </c:pt>
                <c:pt idx="5984">
                  <c:v>0</c:v>
                </c:pt>
                <c:pt idx="5985">
                  <c:v>0</c:v>
                </c:pt>
                <c:pt idx="5986">
                  <c:v>0</c:v>
                </c:pt>
                <c:pt idx="5987">
                  <c:v>0</c:v>
                </c:pt>
                <c:pt idx="5988">
                  <c:v>0</c:v>
                </c:pt>
                <c:pt idx="5989">
                  <c:v>0</c:v>
                </c:pt>
                <c:pt idx="5990">
                  <c:v>0</c:v>
                </c:pt>
                <c:pt idx="5991">
                  <c:v>0</c:v>
                </c:pt>
                <c:pt idx="5992">
                  <c:v>0</c:v>
                </c:pt>
                <c:pt idx="5993">
                  <c:v>0</c:v>
                </c:pt>
                <c:pt idx="5994">
                  <c:v>0</c:v>
                </c:pt>
                <c:pt idx="5995">
                  <c:v>0</c:v>
                </c:pt>
                <c:pt idx="5996">
                  <c:v>0</c:v>
                </c:pt>
                <c:pt idx="5997">
                  <c:v>0</c:v>
                </c:pt>
                <c:pt idx="5998">
                  <c:v>0</c:v>
                </c:pt>
                <c:pt idx="5999">
                  <c:v>0</c:v>
                </c:pt>
                <c:pt idx="6000">
                  <c:v>0</c:v>
                </c:pt>
                <c:pt idx="6001">
                  <c:v>0</c:v>
                </c:pt>
                <c:pt idx="6002">
                  <c:v>0</c:v>
                </c:pt>
                <c:pt idx="6003">
                  <c:v>0</c:v>
                </c:pt>
                <c:pt idx="6004">
                  <c:v>0</c:v>
                </c:pt>
                <c:pt idx="6005">
                  <c:v>0</c:v>
                </c:pt>
                <c:pt idx="6006">
                  <c:v>0</c:v>
                </c:pt>
                <c:pt idx="6007">
                  <c:v>0</c:v>
                </c:pt>
                <c:pt idx="6008">
                  <c:v>0</c:v>
                </c:pt>
                <c:pt idx="6009">
                  <c:v>0</c:v>
                </c:pt>
                <c:pt idx="6010">
                  <c:v>0</c:v>
                </c:pt>
                <c:pt idx="6011">
                  <c:v>0</c:v>
                </c:pt>
                <c:pt idx="6012">
                  <c:v>0</c:v>
                </c:pt>
                <c:pt idx="6013">
                  <c:v>0</c:v>
                </c:pt>
                <c:pt idx="6014">
                  <c:v>0</c:v>
                </c:pt>
                <c:pt idx="6015">
                  <c:v>0</c:v>
                </c:pt>
                <c:pt idx="6016">
                  <c:v>0</c:v>
                </c:pt>
                <c:pt idx="6017">
                  <c:v>0</c:v>
                </c:pt>
                <c:pt idx="6018">
                  <c:v>0</c:v>
                </c:pt>
                <c:pt idx="6019">
                  <c:v>0</c:v>
                </c:pt>
                <c:pt idx="6020">
                  <c:v>0</c:v>
                </c:pt>
                <c:pt idx="6021">
                  <c:v>0</c:v>
                </c:pt>
                <c:pt idx="6022">
                  <c:v>0</c:v>
                </c:pt>
                <c:pt idx="6023">
                  <c:v>0</c:v>
                </c:pt>
                <c:pt idx="6024">
                  <c:v>0</c:v>
                </c:pt>
                <c:pt idx="6025">
                  <c:v>0</c:v>
                </c:pt>
                <c:pt idx="6026">
                  <c:v>0</c:v>
                </c:pt>
                <c:pt idx="6027">
                  <c:v>0</c:v>
                </c:pt>
                <c:pt idx="6028">
                  <c:v>0</c:v>
                </c:pt>
                <c:pt idx="6029">
                  <c:v>0</c:v>
                </c:pt>
                <c:pt idx="6030">
                  <c:v>0</c:v>
                </c:pt>
                <c:pt idx="6031">
                  <c:v>0</c:v>
                </c:pt>
                <c:pt idx="6032">
                  <c:v>0</c:v>
                </c:pt>
                <c:pt idx="6033">
                  <c:v>0</c:v>
                </c:pt>
                <c:pt idx="6034">
                  <c:v>0</c:v>
                </c:pt>
                <c:pt idx="6035">
                  <c:v>0</c:v>
                </c:pt>
                <c:pt idx="6036">
                  <c:v>0</c:v>
                </c:pt>
                <c:pt idx="6037">
                  <c:v>0</c:v>
                </c:pt>
                <c:pt idx="6038">
                  <c:v>0</c:v>
                </c:pt>
                <c:pt idx="6039">
                  <c:v>0</c:v>
                </c:pt>
                <c:pt idx="6040">
                  <c:v>0</c:v>
                </c:pt>
                <c:pt idx="6041">
                  <c:v>0</c:v>
                </c:pt>
                <c:pt idx="6042">
                  <c:v>0</c:v>
                </c:pt>
                <c:pt idx="6043">
                  <c:v>0</c:v>
                </c:pt>
                <c:pt idx="6044">
                  <c:v>0</c:v>
                </c:pt>
                <c:pt idx="6045">
                  <c:v>0</c:v>
                </c:pt>
                <c:pt idx="6046">
                  <c:v>0</c:v>
                </c:pt>
                <c:pt idx="6047">
                  <c:v>0</c:v>
                </c:pt>
                <c:pt idx="6048">
                  <c:v>0</c:v>
                </c:pt>
                <c:pt idx="6049">
                  <c:v>0</c:v>
                </c:pt>
                <c:pt idx="6050">
                  <c:v>0</c:v>
                </c:pt>
                <c:pt idx="6051">
                  <c:v>0</c:v>
                </c:pt>
                <c:pt idx="6052">
                  <c:v>0</c:v>
                </c:pt>
                <c:pt idx="6053">
                  <c:v>0</c:v>
                </c:pt>
                <c:pt idx="6054">
                  <c:v>0</c:v>
                </c:pt>
                <c:pt idx="6055">
                  <c:v>0</c:v>
                </c:pt>
                <c:pt idx="6056">
                  <c:v>0</c:v>
                </c:pt>
                <c:pt idx="6057">
                  <c:v>0</c:v>
                </c:pt>
                <c:pt idx="6058">
                  <c:v>0</c:v>
                </c:pt>
                <c:pt idx="6059">
                  <c:v>0</c:v>
                </c:pt>
                <c:pt idx="6060">
                  <c:v>0</c:v>
                </c:pt>
                <c:pt idx="6061">
                  <c:v>0</c:v>
                </c:pt>
                <c:pt idx="6062">
                  <c:v>0</c:v>
                </c:pt>
                <c:pt idx="6063">
                  <c:v>0</c:v>
                </c:pt>
                <c:pt idx="6064">
                  <c:v>0</c:v>
                </c:pt>
                <c:pt idx="6065">
                  <c:v>0</c:v>
                </c:pt>
                <c:pt idx="6066">
                  <c:v>0</c:v>
                </c:pt>
                <c:pt idx="6067">
                  <c:v>0</c:v>
                </c:pt>
                <c:pt idx="6068">
                  <c:v>0</c:v>
                </c:pt>
                <c:pt idx="6069">
                  <c:v>0</c:v>
                </c:pt>
                <c:pt idx="6070">
                  <c:v>0</c:v>
                </c:pt>
                <c:pt idx="6071">
                  <c:v>0</c:v>
                </c:pt>
                <c:pt idx="6072">
                  <c:v>0</c:v>
                </c:pt>
                <c:pt idx="6073">
                  <c:v>0</c:v>
                </c:pt>
                <c:pt idx="6074">
                  <c:v>0</c:v>
                </c:pt>
                <c:pt idx="6075">
                  <c:v>0</c:v>
                </c:pt>
                <c:pt idx="6076">
                  <c:v>0</c:v>
                </c:pt>
                <c:pt idx="6077">
                  <c:v>0</c:v>
                </c:pt>
                <c:pt idx="6078">
                  <c:v>0</c:v>
                </c:pt>
                <c:pt idx="6079">
                  <c:v>0</c:v>
                </c:pt>
                <c:pt idx="6080">
                  <c:v>0</c:v>
                </c:pt>
                <c:pt idx="6081">
                  <c:v>0</c:v>
                </c:pt>
                <c:pt idx="6082">
                  <c:v>0</c:v>
                </c:pt>
                <c:pt idx="6083">
                  <c:v>0</c:v>
                </c:pt>
                <c:pt idx="6084">
                  <c:v>0</c:v>
                </c:pt>
                <c:pt idx="6085">
                  <c:v>0</c:v>
                </c:pt>
                <c:pt idx="6086">
                  <c:v>0</c:v>
                </c:pt>
                <c:pt idx="6087">
                  <c:v>0</c:v>
                </c:pt>
                <c:pt idx="6088">
                  <c:v>0</c:v>
                </c:pt>
                <c:pt idx="6089">
                  <c:v>0</c:v>
                </c:pt>
                <c:pt idx="6090">
                  <c:v>0</c:v>
                </c:pt>
                <c:pt idx="6091">
                  <c:v>0</c:v>
                </c:pt>
                <c:pt idx="6092">
                  <c:v>0</c:v>
                </c:pt>
                <c:pt idx="6093">
                  <c:v>0</c:v>
                </c:pt>
                <c:pt idx="6094">
                  <c:v>0</c:v>
                </c:pt>
                <c:pt idx="6095">
                  <c:v>0</c:v>
                </c:pt>
                <c:pt idx="6096">
                  <c:v>0</c:v>
                </c:pt>
                <c:pt idx="6097">
                  <c:v>0</c:v>
                </c:pt>
                <c:pt idx="6098">
                  <c:v>0</c:v>
                </c:pt>
                <c:pt idx="6099">
                  <c:v>0</c:v>
                </c:pt>
                <c:pt idx="6100">
                  <c:v>0</c:v>
                </c:pt>
                <c:pt idx="6101">
                  <c:v>0</c:v>
                </c:pt>
                <c:pt idx="6102">
                  <c:v>0</c:v>
                </c:pt>
                <c:pt idx="6103">
                  <c:v>0</c:v>
                </c:pt>
                <c:pt idx="6104">
                  <c:v>0</c:v>
                </c:pt>
                <c:pt idx="6105">
                  <c:v>0</c:v>
                </c:pt>
                <c:pt idx="6106">
                  <c:v>0</c:v>
                </c:pt>
                <c:pt idx="6107">
                  <c:v>0</c:v>
                </c:pt>
                <c:pt idx="6108">
                  <c:v>0</c:v>
                </c:pt>
                <c:pt idx="6109">
                  <c:v>0</c:v>
                </c:pt>
                <c:pt idx="6110">
                  <c:v>0</c:v>
                </c:pt>
                <c:pt idx="6111">
                  <c:v>0</c:v>
                </c:pt>
                <c:pt idx="6112">
                  <c:v>0</c:v>
                </c:pt>
                <c:pt idx="6113">
                  <c:v>0</c:v>
                </c:pt>
                <c:pt idx="6114">
                  <c:v>0</c:v>
                </c:pt>
                <c:pt idx="6115">
                  <c:v>0</c:v>
                </c:pt>
                <c:pt idx="6116">
                  <c:v>0</c:v>
                </c:pt>
                <c:pt idx="6117">
                  <c:v>0</c:v>
                </c:pt>
                <c:pt idx="6118">
                  <c:v>0</c:v>
                </c:pt>
                <c:pt idx="6119">
                  <c:v>0</c:v>
                </c:pt>
                <c:pt idx="6120">
                  <c:v>0</c:v>
                </c:pt>
                <c:pt idx="6121">
                  <c:v>0</c:v>
                </c:pt>
                <c:pt idx="6122">
                  <c:v>0</c:v>
                </c:pt>
                <c:pt idx="6123">
                  <c:v>0</c:v>
                </c:pt>
                <c:pt idx="6124">
                  <c:v>0</c:v>
                </c:pt>
                <c:pt idx="6125">
                  <c:v>0</c:v>
                </c:pt>
                <c:pt idx="6126">
                  <c:v>0</c:v>
                </c:pt>
                <c:pt idx="6127">
                  <c:v>0</c:v>
                </c:pt>
                <c:pt idx="6128">
                  <c:v>0</c:v>
                </c:pt>
                <c:pt idx="6129">
                  <c:v>0</c:v>
                </c:pt>
                <c:pt idx="6130">
                  <c:v>0</c:v>
                </c:pt>
                <c:pt idx="6131">
                  <c:v>0</c:v>
                </c:pt>
                <c:pt idx="6132">
                  <c:v>0</c:v>
                </c:pt>
                <c:pt idx="6133">
                  <c:v>0</c:v>
                </c:pt>
                <c:pt idx="6134">
                  <c:v>0</c:v>
                </c:pt>
                <c:pt idx="6135">
                  <c:v>0</c:v>
                </c:pt>
                <c:pt idx="6136">
                  <c:v>0</c:v>
                </c:pt>
                <c:pt idx="6137">
                  <c:v>0</c:v>
                </c:pt>
                <c:pt idx="6138">
                  <c:v>0</c:v>
                </c:pt>
                <c:pt idx="6139">
                  <c:v>0</c:v>
                </c:pt>
                <c:pt idx="6140">
                  <c:v>0</c:v>
                </c:pt>
                <c:pt idx="6141">
                  <c:v>0</c:v>
                </c:pt>
                <c:pt idx="6142">
                  <c:v>0</c:v>
                </c:pt>
                <c:pt idx="6143">
                  <c:v>0</c:v>
                </c:pt>
                <c:pt idx="6144">
                  <c:v>0</c:v>
                </c:pt>
                <c:pt idx="6145">
                  <c:v>0</c:v>
                </c:pt>
                <c:pt idx="6146">
                  <c:v>0</c:v>
                </c:pt>
                <c:pt idx="6147">
                  <c:v>0</c:v>
                </c:pt>
                <c:pt idx="6148">
                  <c:v>0</c:v>
                </c:pt>
                <c:pt idx="6149">
                  <c:v>0</c:v>
                </c:pt>
                <c:pt idx="6150">
                  <c:v>0</c:v>
                </c:pt>
                <c:pt idx="6151">
                  <c:v>0</c:v>
                </c:pt>
                <c:pt idx="6152">
                  <c:v>0</c:v>
                </c:pt>
                <c:pt idx="6153">
                  <c:v>0</c:v>
                </c:pt>
                <c:pt idx="6154">
                  <c:v>0</c:v>
                </c:pt>
                <c:pt idx="6155">
                  <c:v>0</c:v>
                </c:pt>
                <c:pt idx="6156">
                  <c:v>0</c:v>
                </c:pt>
                <c:pt idx="6157">
                  <c:v>0</c:v>
                </c:pt>
                <c:pt idx="6158">
                  <c:v>0</c:v>
                </c:pt>
                <c:pt idx="6159">
                  <c:v>0</c:v>
                </c:pt>
                <c:pt idx="6160">
                  <c:v>0</c:v>
                </c:pt>
                <c:pt idx="6161">
                  <c:v>0</c:v>
                </c:pt>
                <c:pt idx="6162">
                  <c:v>0</c:v>
                </c:pt>
                <c:pt idx="6163">
                  <c:v>0</c:v>
                </c:pt>
                <c:pt idx="6164">
                  <c:v>0</c:v>
                </c:pt>
                <c:pt idx="6165">
                  <c:v>0</c:v>
                </c:pt>
                <c:pt idx="6166">
                  <c:v>0</c:v>
                </c:pt>
                <c:pt idx="6167">
                  <c:v>0</c:v>
                </c:pt>
                <c:pt idx="6168">
                  <c:v>0</c:v>
                </c:pt>
                <c:pt idx="6169">
                  <c:v>0</c:v>
                </c:pt>
                <c:pt idx="6170">
                  <c:v>0</c:v>
                </c:pt>
                <c:pt idx="6171">
                  <c:v>0</c:v>
                </c:pt>
                <c:pt idx="6172">
                  <c:v>0</c:v>
                </c:pt>
                <c:pt idx="6173">
                  <c:v>0</c:v>
                </c:pt>
                <c:pt idx="6174">
                  <c:v>0</c:v>
                </c:pt>
                <c:pt idx="6175">
                  <c:v>0</c:v>
                </c:pt>
                <c:pt idx="6176">
                  <c:v>0</c:v>
                </c:pt>
                <c:pt idx="6177">
                  <c:v>0</c:v>
                </c:pt>
                <c:pt idx="6178">
                  <c:v>0</c:v>
                </c:pt>
                <c:pt idx="6179">
                  <c:v>0</c:v>
                </c:pt>
                <c:pt idx="6180">
                  <c:v>0</c:v>
                </c:pt>
                <c:pt idx="6181">
                  <c:v>0</c:v>
                </c:pt>
                <c:pt idx="6182">
                  <c:v>0</c:v>
                </c:pt>
                <c:pt idx="6183">
                  <c:v>0</c:v>
                </c:pt>
                <c:pt idx="6184">
                  <c:v>0</c:v>
                </c:pt>
                <c:pt idx="6185">
                  <c:v>0</c:v>
                </c:pt>
                <c:pt idx="6186">
                  <c:v>0</c:v>
                </c:pt>
                <c:pt idx="6187">
                  <c:v>0</c:v>
                </c:pt>
                <c:pt idx="6188">
                  <c:v>0</c:v>
                </c:pt>
                <c:pt idx="6189">
                  <c:v>0</c:v>
                </c:pt>
                <c:pt idx="6190">
                  <c:v>0</c:v>
                </c:pt>
                <c:pt idx="6191">
                  <c:v>0</c:v>
                </c:pt>
                <c:pt idx="6192">
                  <c:v>0</c:v>
                </c:pt>
                <c:pt idx="6193">
                  <c:v>0</c:v>
                </c:pt>
                <c:pt idx="6194">
                  <c:v>0</c:v>
                </c:pt>
                <c:pt idx="6195">
                  <c:v>0</c:v>
                </c:pt>
                <c:pt idx="6196">
                  <c:v>0</c:v>
                </c:pt>
                <c:pt idx="6197">
                  <c:v>0</c:v>
                </c:pt>
                <c:pt idx="6198">
                  <c:v>0</c:v>
                </c:pt>
                <c:pt idx="6199">
                  <c:v>0</c:v>
                </c:pt>
                <c:pt idx="6200">
                  <c:v>0</c:v>
                </c:pt>
                <c:pt idx="6201">
                  <c:v>0</c:v>
                </c:pt>
                <c:pt idx="6202">
                  <c:v>0</c:v>
                </c:pt>
                <c:pt idx="6203">
                  <c:v>0</c:v>
                </c:pt>
                <c:pt idx="6204">
                  <c:v>0</c:v>
                </c:pt>
                <c:pt idx="6205">
                  <c:v>0</c:v>
                </c:pt>
                <c:pt idx="6206">
                  <c:v>0</c:v>
                </c:pt>
                <c:pt idx="6207">
                  <c:v>0</c:v>
                </c:pt>
                <c:pt idx="6208">
                  <c:v>0</c:v>
                </c:pt>
                <c:pt idx="6209">
                  <c:v>0</c:v>
                </c:pt>
                <c:pt idx="6210">
                  <c:v>0</c:v>
                </c:pt>
                <c:pt idx="6211">
                  <c:v>0</c:v>
                </c:pt>
                <c:pt idx="6212">
                  <c:v>0</c:v>
                </c:pt>
                <c:pt idx="6213">
                  <c:v>0</c:v>
                </c:pt>
                <c:pt idx="6214">
                  <c:v>0</c:v>
                </c:pt>
                <c:pt idx="6215">
                  <c:v>0</c:v>
                </c:pt>
                <c:pt idx="6216">
                  <c:v>0</c:v>
                </c:pt>
                <c:pt idx="6217">
                  <c:v>0</c:v>
                </c:pt>
                <c:pt idx="6218">
                  <c:v>0</c:v>
                </c:pt>
                <c:pt idx="6219">
                  <c:v>0</c:v>
                </c:pt>
                <c:pt idx="6220">
                  <c:v>0</c:v>
                </c:pt>
                <c:pt idx="6221">
                  <c:v>0</c:v>
                </c:pt>
                <c:pt idx="6222">
                  <c:v>0</c:v>
                </c:pt>
                <c:pt idx="6223">
                  <c:v>0</c:v>
                </c:pt>
                <c:pt idx="6224">
                  <c:v>0</c:v>
                </c:pt>
                <c:pt idx="6225">
                  <c:v>0</c:v>
                </c:pt>
                <c:pt idx="6226">
                  <c:v>0</c:v>
                </c:pt>
                <c:pt idx="6227">
                  <c:v>0</c:v>
                </c:pt>
                <c:pt idx="6228">
                  <c:v>0</c:v>
                </c:pt>
                <c:pt idx="6229">
                  <c:v>0</c:v>
                </c:pt>
                <c:pt idx="6230">
                  <c:v>0</c:v>
                </c:pt>
                <c:pt idx="6231">
                  <c:v>0</c:v>
                </c:pt>
                <c:pt idx="6232">
                  <c:v>0</c:v>
                </c:pt>
                <c:pt idx="6233">
                  <c:v>0</c:v>
                </c:pt>
                <c:pt idx="6234">
                  <c:v>0</c:v>
                </c:pt>
                <c:pt idx="6235">
                  <c:v>0</c:v>
                </c:pt>
                <c:pt idx="6236">
                  <c:v>0</c:v>
                </c:pt>
                <c:pt idx="6237">
                  <c:v>0</c:v>
                </c:pt>
                <c:pt idx="6238">
                  <c:v>0</c:v>
                </c:pt>
                <c:pt idx="6239">
                  <c:v>0</c:v>
                </c:pt>
                <c:pt idx="6240">
                  <c:v>0</c:v>
                </c:pt>
                <c:pt idx="6241">
                  <c:v>0</c:v>
                </c:pt>
                <c:pt idx="6242">
                  <c:v>0</c:v>
                </c:pt>
                <c:pt idx="6243">
                  <c:v>0</c:v>
                </c:pt>
                <c:pt idx="6244">
                  <c:v>0</c:v>
                </c:pt>
                <c:pt idx="6245">
                  <c:v>0</c:v>
                </c:pt>
                <c:pt idx="6246">
                  <c:v>0</c:v>
                </c:pt>
                <c:pt idx="6247">
                  <c:v>0</c:v>
                </c:pt>
                <c:pt idx="6248">
                  <c:v>0</c:v>
                </c:pt>
                <c:pt idx="6249">
                  <c:v>0</c:v>
                </c:pt>
                <c:pt idx="6250">
                  <c:v>0</c:v>
                </c:pt>
                <c:pt idx="6251">
                  <c:v>0</c:v>
                </c:pt>
                <c:pt idx="6252">
                  <c:v>0</c:v>
                </c:pt>
                <c:pt idx="6253">
                  <c:v>0</c:v>
                </c:pt>
                <c:pt idx="6254">
                  <c:v>0</c:v>
                </c:pt>
                <c:pt idx="6255">
                  <c:v>0</c:v>
                </c:pt>
                <c:pt idx="6256">
                  <c:v>0</c:v>
                </c:pt>
                <c:pt idx="6257">
                  <c:v>0</c:v>
                </c:pt>
                <c:pt idx="6258">
                  <c:v>0</c:v>
                </c:pt>
                <c:pt idx="6259">
                  <c:v>0</c:v>
                </c:pt>
                <c:pt idx="6260">
                  <c:v>0</c:v>
                </c:pt>
                <c:pt idx="6261">
                  <c:v>0</c:v>
                </c:pt>
                <c:pt idx="6262">
                  <c:v>0</c:v>
                </c:pt>
                <c:pt idx="6263">
                  <c:v>0</c:v>
                </c:pt>
                <c:pt idx="6264">
                  <c:v>0</c:v>
                </c:pt>
                <c:pt idx="6265">
                  <c:v>0</c:v>
                </c:pt>
                <c:pt idx="6266">
                  <c:v>0</c:v>
                </c:pt>
                <c:pt idx="6267">
                  <c:v>0</c:v>
                </c:pt>
                <c:pt idx="6268">
                  <c:v>0</c:v>
                </c:pt>
                <c:pt idx="6269">
                  <c:v>0</c:v>
                </c:pt>
                <c:pt idx="6270">
                  <c:v>0</c:v>
                </c:pt>
                <c:pt idx="6271">
                  <c:v>0</c:v>
                </c:pt>
                <c:pt idx="6272">
                  <c:v>0</c:v>
                </c:pt>
                <c:pt idx="6273">
                  <c:v>0</c:v>
                </c:pt>
                <c:pt idx="6274">
                  <c:v>0</c:v>
                </c:pt>
                <c:pt idx="6275">
                  <c:v>0</c:v>
                </c:pt>
                <c:pt idx="6276">
                  <c:v>0</c:v>
                </c:pt>
                <c:pt idx="6277">
                  <c:v>0</c:v>
                </c:pt>
                <c:pt idx="6278">
                  <c:v>0</c:v>
                </c:pt>
                <c:pt idx="6279">
                  <c:v>0</c:v>
                </c:pt>
                <c:pt idx="6280">
                  <c:v>0</c:v>
                </c:pt>
                <c:pt idx="6281">
                  <c:v>0</c:v>
                </c:pt>
                <c:pt idx="6282">
                  <c:v>0</c:v>
                </c:pt>
                <c:pt idx="6283">
                  <c:v>0</c:v>
                </c:pt>
                <c:pt idx="6284">
                  <c:v>0</c:v>
                </c:pt>
                <c:pt idx="6285">
                  <c:v>0</c:v>
                </c:pt>
                <c:pt idx="6286">
                  <c:v>0</c:v>
                </c:pt>
                <c:pt idx="6287">
                  <c:v>0</c:v>
                </c:pt>
                <c:pt idx="6288">
                  <c:v>0</c:v>
                </c:pt>
                <c:pt idx="6289">
                  <c:v>0</c:v>
                </c:pt>
                <c:pt idx="6290">
                  <c:v>0</c:v>
                </c:pt>
                <c:pt idx="6291">
                  <c:v>0</c:v>
                </c:pt>
                <c:pt idx="6292">
                  <c:v>0</c:v>
                </c:pt>
                <c:pt idx="6293">
                  <c:v>0</c:v>
                </c:pt>
                <c:pt idx="6294">
                  <c:v>0</c:v>
                </c:pt>
                <c:pt idx="6295">
                  <c:v>0</c:v>
                </c:pt>
                <c:pt idx="6296">
                  <c:v>0</c:v>
                </c:pt>
                <c:pt idx="6297">
                  <c:v>0</c:v>
                </c:pt>
                <c:pt idx="6298">
                  <c:v>0</c:v>
                </c:pt>
                <c:pt idx="6299">
                  <c:v>0</c:v>
                </c:pt>
                <c:pt idx="6300">
                  <c:v>0</c:v>
                </c:pt>
                <c:pt idx="6301">
                  <c:v>0</c:v>
                </c:pt>
                <c:pt idx="6302">
                  <c:v>0</c:v>
                </c:pt>
                <c:pt idx="6303">
                  <c:v>0</c:v>
                </c:pt>
                <c:pt idx="6304">
                  <c:v>0</c:v>
                </c:pt>
                <c:pt idx="6305">
                  <c:v>0</c:v>
                </c:pt>
                <c:pt idx="6306">
                  <c:v>0</c:v>
                </c:pt>
                <c:pt idx="6307">
                  <c:v>0</c:v>
                </c:pt>
                <c:pt idx="6308">
                  <c:v>0</c:v>
                </c:pt>
                <c:pt idx="6309">
                  <c:v>0</c:v>
                </c:pt>
                <c:pt idx="6310">
                  <c:v>0</c:v>
                </c:pt>
                <c:pt idx="6311">
                  <c:v>0</c:v>
                </c:pt>
                <c:pt idx="6312">
                  <c:v>0</c:v>
                </c:pt>
                <c:pt idx="6313">
                  <c:v>0</c:v>
                </c:pt>
                <c:pt idx="6314">
                  <c:v>0</c:v>
                </c:pt>
                <c:pt idx="6315">
                  <c:v>0</c:v>
                </c:pt>
                <c:pt idx="6316">
                  <c:v>0</c:v>
                </c:pt>
                <c:pt idx="6317">
                  <c:v>0</c:v>
                </c:pt>
                <c:pt idx="6318">
                  <c:v>0</c:v>
                </c:pt>
                <c:pt idx="6319">
                  <c:v>0</c:v>
                </c:pt>
                <c:pt idx="6320">
                  <c:v>0</c:v>
                </c:pt>
                <c:pt idx="6321">
                  <c:v>0</c:v>
                </c:pt>
                <c:pt idx="6322">
                  <c:v>0</c:v>
                </c:pt>
                <c:pt idx="6323">
                  <c:v>0</c:v>
                </c:pt>
                <c:pt idx="6324">
                  <c:v>0</c:v>
                </c:pt>
                <c:pt idx="6325">
                  <c:v>0</c:v>
                </c:pt>
                <c:pt idx="6326">
                  <c:v>0</c:v>
                </c:pt>
                <c:pt idx="6327">
                  <c:v>0</c:v>
                </c:pt>
                <c:pt idx="6328">
                  <c:v>0</c:v>
                </c:pt>
                <c:pt idx="6329">
                  <c:v>0</c:v>
                </c:pt>
                <c:pt idx="6330">
                  <c:v>0</c:v>
                </c:pt>
                <c:pt idx="6331">
                  <c:v>0</c:v>
                </c:pt>
                <c:pt idx="6332">
                  <c:v>0</c:v>
                </c:pt>
                <c:pt idx="6333">
                  <c:v>0</c:v>
                </c:pt>
                <c:pt idx="6334">
                  <c:v>0</c:v>
                </c:pt>
                <c:pt idx="6335">
                  <c:v>0</c:v>
                </c:pt>
                <c:pt idx="6336">
                  <c:v>0</c:v>
                </c:pt>
                <c:pt idx="6337">
                  <c:v>0</c:v>
                </c:pt>
                <c:pt idx="6338">
                  <c:v>0</c:v>
                </c:pt>
                <c:pt idx="6339">
                  <c:v>0</c:v>
                </c:pt>
                <c:pt idx="6340">
                  <c:v>0</c:v>
                </c:pt>
                <c:pt idx="6341">
                  <c:v>0</c:v>
                </c:pt>
                <c:pt idx="6342">
                  <c:v>0</c:v>
                </c:pt>
                <c:pt idx="6343">
                  <c:v>0</c:v>
                </c:pt>
                <c:pt idx="6344">
                  <c:v>0</c:v>
                </c:pt>
                <c:pt idx="6345">
                  <c:v>0</c:v>
                </c:pt>
                <c:pt idx="6346">
                  <c:v>0</c:v>
                </c:pt>
                <c:pt idx="6347">
                  <c:v>0</c:v>
                </c:pt>
                <c:pt idx="6348">
                  <c:v>0</c:v>
                </c:pt>
                <c:pt idx="6349">
                  <c:v>0</c:v>
                </c:pt>
                <c:pt idx="6350">
                  <c:v>0</c:v>
                </c:pt>
                <c:pt idx="6351">
                  <c:v>0</c:v>
                </c:pt>
                <c:pt idx="6352">
                  <c:v>0</c:v>
                </c:pt>
                <c:pt idx="6353">
                  <c:v>0</c:v>
                </c:pt>
                <c:pt idx="6354">
                  <c:v>0</c:v>
                </c:pt>
                <c:pt idx="6355">
                  <c:v>0</c:v>
                </c:pt>
                <c:pt idx="6356">
                  <c:v>0</c:v>
                </c:pt>
                <c:pt idx="6357">
                  <c:v>0</c:v>
                </c:pt>
                <c:pt idx="6358">
                  <c:v>0</c:v>
                </c:pt>
                <c:pt idx="6359">
                  <c:v>0</c:v>
                </c:pt>
                <c:pt idx="6360">
                  <c:v>0</c:v>
                </c:pt>
                <c:pt idx="6361">
                  <c:v>0</c:v>
                </c:pt>
                <c:pt idx="6362">
                  <c:v>0</c:v>
                </c:pt>
                <c:pt idx="6363">
                  <c:v>0</c:v>
                </c:pt>
                <c:pt idx="6364">
                  <c:v>0</c:v>
                </c:pt>
                <c:pt idx="6365">
                  <c:v>0</c:v>
                </c:pt>
                <c:pt idx="6366">
                  <c:v>0</c:v>
                </c:pt>
                <c:pt idx="6367">
                  <c:v>0</c:v>
                </c:pt>
                <c:pt idx="6368">
                  <c:v>0</c:v>
                </c:pt>
                <c:pt idx="6369">
                  <c:v>0</c:v>
                </c:pt>
                <c:pt idx="6370">
                  <c:v>0</c:v>
                </c:pt>
                <c:pt idx="6371">
                  <c:v>0</c:v>
                </c:pt>
                <c:pt idx="6372">
                  <c:v>0</c:v>
                </c:pt>
                <c:pt idx="6373">
                  <c:v>0</c:v>
                </c:pt>
                <c:pt idx="6374">
                  <c:v>0</c:v>
                </c:pt>
                <c:pt idx="6375">
                  <c:v>0</c:v>
                </c:pt>
                <c:pt idx="6376">
                  <c:v>0</c:v>
                </c:pt>
                <c:pt idx="6377">
                  <c:v>0</c:v>
                </c:pt>
                <c:pt idx="6378">
                  <c:v>0</c:v>
                </c:pt>
                <c:pt idx="6379">
                  <c:v>0</c:v>
                </c:pt>
                <c:pt idx="6380">
                  <c:v>0</c:v>
                </c:pt>
                <c:pt idx="6381">
                  <c:v>0</c:v>
                </c:pt>
                <c:pt idx="6382">
                  <c:v>0</c:v>
                </c:pt>
                <c:pt idx="6383">
                  <c:v>0</c:v>
                </c:pt>
                <c:pt idx="6384">
                  <c:v>0</c:v>
                </c:pt>
                <c:pt idx="6385">
                  <c:v>0</c:v>
                </c:pt>
                <c:pt idx="6386">
                  <c:v>0</c:v>
                </c:pt>
                <c:pt idx="6387">
                  <c:v>0</c:v>
                </c:pt>
                <c:pt idx="6388">
                  <c:v>0</c:v>
                </c:pt>
                <c:pt idx="6389">
                  <c:v>0</c:v>
                </c:pt>
                <c:pt idx="6390">
                  <c:v>0</c:v>
                </c:pt>
                <c:pt idx="6391">
                  <c:v>0</c:v>
                </c:pt>
                <c:pt idx="6392">
                  <c:v>0</c:v>
                </c:pt>
                <c:pt idx="6393">
                  <c:v>0</c:v>
                </c:pt>
                <c:pt idx="6394">
                  <c:v>0</c:v>
                </c:pt>
                <c:pt idx="6395">
                  <c:v>0</c:v>
                </c:pt>
                <c:pt idx="6396">
                  <c:v>0</c:v>
                </c:pt>
                <c:pt idx="6397">
                  <c:v>0</c:v>
                </c:pt>
                <c:pt idx="6398">
                  <c:v>0</c:v>
                </c:pt>
                <c:pt idx="6399">
                  <c:v>0</c:v>
                </c:pt>
                <c:pt idx="6400">
                  <c:v>0</c:v>
                </c:pt>
                <c:pt idx="6401">
                  <c:v>0</c:v>
                </c:pt>
                <c:pt idx="6402">
                  <c:v>0</c:v>
                </c:pt>
                <c:pt idx="6403">
                  <c:v>0</c:v>
                </c:pt>
                <c:pt idx="6404">
                  <c:v>0</c:v>
                </c:pt>
                <c:pt idx="6405">
                  <c:v>0</c:v>
                </c:pt>
                <c:pt idx="6406">
                  <c:v>0</c:v>
                </c:pt>
                <c:pt idx="6407">
                  <c:v>0</c:v>
                </c:pt>
                <c:pt idx="6408">
                  <c:v>0</c:v>
                </c:pt>
                <c:pt idx="6409">
                  <c:v>0</c:v>
                </c:pt>
                <c:pt idx="6410">
                  <c:v>0</c:v>
                </c:pt>
                <c:pt idx="6411">
                  <c:v>0</c:v>
                </c:pt>
                <c:pt idx="6412">
                  <c:v>0</c:v>
                </c:pt>
                <c:pt idx="6413">
                  <c:v>0</c:v>
                </c:pt>
                <c:pt idx="6414">
                  <c:v>0</c:v>
                </c:pt>
                <c:pt idx="6415">
                  <c:v>0</c:v>
                </c:pt>
                <c:pt idx="6416">
                  <c:v>0</c:v>
                </c:pt>
                <c:pt idx="6417">
                  <c:v>0</c:v>
                </c:pt>
                <c:pt idx="6418">
                  <c:v>0</c:v>
                </c:pt>
                <c:pt idx="6419">
                  <c:v>0</c:v>
                </c:pt>
                <c:pt idx="6420">
                  <c:v>0</c:v>
                </c:pt>
                <c:pt idx="6421">
                  <c:v>0</c:v>
                </c:pt>
                <c:pt idx="6422">
                  <c:v>0</c:v>
                </c:pt>
                <c:pt idx="6423">
                  <c:v>0</c:v>
                </c:pt>
                <c:pt idx="6424">
                  <c:v>0</c:v>
                </c:pt>
                <c:pt idx="6425">
                  <c:v>0</c:v>
                </c:pt>
                <c:pt idx="6426">
                  <c:v>0</c:v>
                </c:pt>
                <c:pt idx="6427">
                  <c:v>0</c:v>
                </c:pt>
                <c:pt idx="6428">
                  <c:v>0</c:v>
                </c:pt>
                <c:pt idx="6429">
                  <c:v>0</c:v>
                </c:pt>
                <c:pt idx="6430">
                  <c:v>0</c:v>
                </c:pt>
                <c:pt idx="6431">
                  <c:v>0</c:v>
                </c:pt>
                <c:pt idx="6432">
                  <c:v>0</c:v>
                </c:pt>
                <c:pt idx="6433">
                  <c:v>0</c:v>
                </c:pt>
                <c:pt idx="6434">
                  <c:v>0</c:v>
                </c:pt>
                <c:pt idx="6435">
                  <c:v>0</c:v>
                </c:pt>
                <c:pt idx="6436">
                  <c:v>0</c:v>
                </c:pt>
                <c:pt idx="6437">
                  <c:v>0</c:v>
                </c:pt>
                <c:pt idx="6438">
                  <c:v>0</c:v>
                </c:pt>
                <c:pt idx="6439">
                  <c:v>0</c:v>
                </c:pt>
                <c:pt idx="6440">
                  <c:v>0</c:v>
                </c:pt>
                <c:pt idx="6441">
                  <c:v>0</c:v>
                </c:pt>
                <c:pt idx="6442">
                  <c:v>0</c:v>
                </c:pt>
                <c:pt idx="6443">
                  <c:v>0</c:v>
                </c:pt>
                <c:pt idx="6444">
                  <c:v>0</c:v>
                </c:pt>
                <c:pt idx="6445">
                  <c:v>0</c:v>
                </c:pt>
                <c:pt idx="6446">
                  <c:v>0</c:v>
                </c:pt>
                <c:pt idx="6447">
                  <c:v>0</c:v>
                </c:pt>
                <c:pt idx="6448">
                  <c:v>0</c:v>
                </c:pt>
                <c:pt idx="6449">
                  <c:v>0</c:v>
                </c:pt>
                <c:pt idx="6450">
                  <c:v>0</c:v>
                </c:pt>
                <c:pt idx="6451">
                  <c:v>0</c:v>
                </c:pt>
                <c:pt idx="6452">
                  <c:v>0</c:v>
                </c:pt>
                <c:pt idx="6453">
                  <c:v>0</c:v>
                </c:pt>
                <c:pt idx="6454">
                  <c:v>0</c:v>
                </c:pt>
                <c:pt idx="6455">
                  <c:v>0</c:v>
                </c:pt>
                <c:pt idx="6456">
                  <c:v>0</c:v>
                </c:pt>
                <c:pt idx="6457">
                  <c:v>0</c:v>
                </c:pt>
                <c:pt idx="6458">
                  <c:v>0</c:v>
                </c:pt>
                <c:pt idx="6459">
                  <c:v>0</c:v>
                </c:pt>
                <c:pt idx="6460">
                  <c:v>0</c:v>
                </c:pt>
                <c:pt idx="6461">
                  <c:v>0</c:v>
                </c:pt>
                <c:pt idx="6462">
                  <c:v>0</c:v>
                </c:pt>
                <c:pt idx="6463">
                  <c:v>0</c:v>
                </c:pt>
                <c:pt idx="6464">
                  <c:v>0</c:v>
                </c:pt>
                <c:pt idx="6465">
                  <c:v>0</c:v>
                </c:pt>
                <c:pt idx="6466">
                  <c:v>0</c:v>
                </c:pt>
                <c:pt idx="6467">
                  <c:v>0</c:v>
                </c:pt>
                <c:pt idx="6468">
                  <c:v>0</c:v>
                </c:pt>
                <c:pt idx="6469">
                  <c:v>0</c:v>
                </c:pt>
                <c:pt idx="6470">
                  <c:v>0</c:v>
                </c:pt>
                <c:pt idx="6471">
                  <c:v>0</c:v>
                </c:pt>
                <c:pt idx="6472">
                  <c:v>0</c:v>
                </c:pt>
                <c:pt idx="6473">
                  <c:v>0</c:v>
                </c:pt>
                <c:pt idx="6474">
                  <c:v>0</c:v>
                </c:pt>
                <c:pt idx="6475">
                  <c:v>0</c:v>
                </c:pt>
                <c:pt idx="6476">
                  <c:v>0</c:v>
                </c:pt>
                <c:pt idx="6477">
                  <c:v>0</c:v>
                </c:pt>
                <c:pt idx="6478">
                  <c:v>0</c:v>
                </c:pt>
                <c:pt idx="6479">
                  <c:v>0</c:v>
                </c:pt>
                <c:pt idx="6480">
                  <c:v>0</c:v>
                </c:pt>
                <c:pt idx="6481">
                  <c:v>0</c:v>
                </c:pt>
                <c:pt idx="6482">
                  <c:v>0</c:v>
                </c:pt>
                <c:pt idx="6483">
                  <c:v>0</c:v>
                </c:pt>
                <c:pt idx="6484">
                  <c:v>0</c:v>
                </c:pt>
                <c:pt idx="6485">
                  <c:v>0</c:v>
                </c:pt>
                <c:pt idx="6486">
                  <c:v>0</c:v>
                </c:pt>
                <c:pt idx="6487">
                  <c:v>0</c:v>
                </c:pt>
                <c:pt idx="6488">
                  <c:v>0</c:v>
                </c:pt>
                <c:pt idx="6489">
                  <c:v>0</c:v>
                </c:pt>
                <c:pt idx="6490">
                  <c:v>0</c:v>
                </c:pt>
                <c:pt idx="6491">
                  <c:v>0</c:v>
                </c:pt>
                <c:pt idx="6492">
                  <c:v>0</c:v>
                </c:pt>
                <c:pt idx="6493">
                  <c:v>0</c:v>
                </c:pt>
                <c:pt idx="6494">
                  <c:v>0</c:v>
                </c:pt>
                <c:pt idx="6495">
                  <c:v>0</c:v>
                </c:pt>
                <c:pt idx="6496">
                  <c:v>0</c:v>
                </c:pt>
                <c:pt idx="6497">
                  <c:v>0</c:v>
                </c:pt>
                <c:pt idx="6498">
                  <c:v>0</c:v>
                </c:pt>
                <c:pt idx="6499">
                  <c:v>0</c:v>
                </c:pt>
                <c:pt idx="6500">
                  <c:v>0</c:v>
                </c:pt>
                <c:pt idx="6501">
                  <c:v>0</c:v>
                </c:pt>
                <c:pt idx="6502">
                  <c:v>0</c:v>
                </c:pt>
                <c:pt idx="6503">
                  <c:v>0</c:v>
                </c:pt>
                <c:pt idx="6504">
                  <c:v>0</c:v>
                </c:pt>
                <c:pt idx="6505">
                  <c:v>0</c:v>
                </c:pt>
                <c:pt idx="6506">
                  <c:v>0</c:v>
                </c:pt>
                <c:pt idx="6507">
                  <c:v>0</c:v>
                </c:pt>
                <c:pt idx="6508">
                  <c:v>0</c:v>
                </c:pt>
                <c:pt idx="6509">
                  <c:v>0</c:v>
                </c:pt>
                <c:pt idx="6510">
                  <c:v>0</c:v>
                </c:pt>
                <c:pt idx="6511">
                  <c:v>0</c:v>
                </c:pt>
                <c:pt idx="6512">
                  <c:v>0</c:v>
                </c:pt>
                <c:pt idx="6513">
                  <c:v>0</c:v>
                </c:pt>
                <c:pt idx="6514">
                  <c:v>0</c:v>
                </c:pt>
                <c:pt idx="6515">
                  <c:v>0</c:v>
                </c:pt>
                <c:pt idx="6516">
                  <c:v>0</c:v>
                </c:pt>
                <c:pt idx="6517">
                  <c:v>0</c:v>
                </c:pt>
                <c:pt idx="6518">
                  <c:v>0</c:v>
                </c:pt>
                <c:pt idx="6519">
                  <c:v>0</c:v>
                </c:pt>
                <c:pt idx="6520">
                  <c:v>0</c:v>
                </c:pt>
                <c:pt idx="6521">
                  <c:v>0</c:v>
                </c:pt>
                <c:pt idx="6522">
                  <c:v>0</c:v>
                </c:pt>
                <c:pt idx="6523">
                  <c:v>0</c:v>
                </c:pt>
                <c:pt idx="6524">
                  <c:v>0</c:v>
                </c:pt>
                <c:pt idx="6525">
                  <c:v>0</c:v>
                </c:pt>
                <c:pt idx="6526">
                  <c:v>0</c:v>
                </c:pt>
                <c:pt idx="6527">
                  <c:v>0</c:v>
                </c:pt>
                <c:pt idx="6528">
                  <c:v>0</c:v>
                </c:pt>
                <c:pt idx="6529">
                  <c:v>0</c:v>
                </c:pt>
                <c:pt idx="6530">
                  <c:v>0</c:v>
                </c:pt>
                <c:pt idx="6531">
                  <c:v>0</c:v>
                </c:pt>
                <c:pt idx="6532">
                  <c:v>0</c:v>
                </c:pt>
                <c:pt idx="6533">
                  <c:v>0</c:v>
                </c:pt>
                <c:pt idx="6534">
                  <c:v>0</c:v>
                </c:pt>
                <c:pt idx="6535">
                  <c:v>0</c:v>
                </c:pt>
                <c:pt idx="6536">
                  <c:v>0</c:v>
                </c:pt>
                <c:pt idx="6537">
                  <c:v>0</c:v>
                </c:pt>
                <c:pt idx="6538">
                  <c:v>0</c:v>
                </c:pt>
                <c:pt idx="6539">
                  <c:v>0</c:v>
                </c:pt>
                <c:pt idx="6540">
                  <c:v>0</c:v>
                </c:pt>
                <c:pt idx="6541">
                  <c:v>0</c:v>
                </c:pt>
                <c:pt idx="6542">
                  <c:v>0</c:v>
                </c:pt>
                <c:pt idx="6543">
                  <c:v>0</c:v>
                </c:pt>
                <c:pt idx="6544">
                  <c:v>0</c:v>
                </c:pt>
                <c:pt idx="6545">
                  <c:v>0</c:v>
                </c:pt>
                <c:pt idx="6546">
                  <c:v>0</c:v>
                </c:pt>
                <c:pt idx="6547">
                  <c:v>0</c:v>
                </c:pt>
                <c:pt idx="6548">
                  <c:v>0</c:v>
                </c:pt>
                <c:pt idx="6549">
                  <c:v>0</c:v>
                </c:pt>
                <c:pt idx="6550">
                  <c:v>0</c:v>
                </c:pt>
                <c:pt idx="6551">
                  <c:v>0</c:v>
                </c:pt>
                <c:pt idx="6552">
                  <c:v>0</c:v>
                </c:pt>
                <c:pt idx="6553">
                  <c:v>0</c:v>
                </c:pt>
                <c:pt idx="6554">
                  <c:v>0</c:v>
                </c:pt>
                <c:pt idx="6555">
                  <c:v>0</c:v>
                </c:pt>
                <c:pt idx="6556">
                  <c:v>0</c:v>
                </c:pt>
                <c:pt idx="6557">
                  <c:v>0</c:v>
                </c:pt>
                <c:pt idx="6558">
                  <c:v>0</c:v>
                </c:pt>
                <c:pt idx="6559">
                  <c:v>0</c:v>
                </c:pt>
                <c:pt idx="6560">
                  <c:v>0</c:v>
                </c:pt>
                <c:pt idx="6561">
                  <c:v>0</c:v>
                </c:pt>
                <c:pt idx="6562">
                  <c:v>0</c:v>
                </c:pt>
                <c:pt idx="6563">
                  <c:v>0</c:v>
                </c:pt>
                <c:pt idx="6564">
                  <c:v>0</c:v>
                </c:pt>
                <c:pt idx="6565">
                  <c:v>0</c:v>
                </c:pt>
                <c:pt idx="6566">
                  <c:v>0</c:v>
                </c:pt>
                <c:pt idx="6567">
                  <c:v>0</c:v>
                </c:pt>
                <c:pt idx="6568">
                  <c:v>0</c:v>
                </c:pt>
                <c:pt idx="6569">
                  <c:v>0</c:v>
                </c:pt>
                <c:pt idx="6570">
                  <c:v>0</c:v>
                </c:pt>
                <c:pt idx="6571">
                  <c:v>0</c:v>
                </c:pt>
                <c:pt idx="6572">
                  <c:v>0</c:v>
                </c:pt>
                <c:pt idx="6573">
                  <c:v>0</c:v>
                </c:pt>
                <c:pt idx="6574">
                  <c:v>0</c:v>
                </c:pt>
                <c:pt idx="6575">
                  <c:v>0</c:v>
                </c:pt>
                <c:pt idx="6576">
                  <c:v>0</c:v>
                </c:pt>
                <c:pt idx="6577">
                  <c:v>0</c:v>
                </c:pt>
                <c:pt idx="6578">
                  <c:v>0</c:v>
                </c:pt>
                <c:pt idx="6579">
                  <c:v>0</c:v>
                </c:pt>
                <c:pt idx="6580">
                  <c:v>0</c:v>
                </c:pt>
                <c:pt idx="6581">
                  <c:v>0</c:v>
                </c:pt>
                <c:pt idx="6582">
                  <c:v>0</c:v>
                </c:pt>
                <c:pt idx="6583">
                  <c:v>0</c:v>
                </c:pt>
                <c:pt idx="6584">
                  <c:v>0</c:v>
                </c:pt>
                <c:pt idx="6585">
                  <c:v>0</c:v>
                </c:pt>
                <c:pt idx="6586">
                  <c:v>0</c:v>
                </c:pt>
                <c:pt idx="6587">
                  <c:v>0</c:v>
                </c:pt>
                <c:pt idx="6588">
                  <c:v>0</c:v>
                </c:pt>
                <c:pt idx="6589">
                  <c:v>0</c:v>
                </c:pt>
                <c:pt idx="6590">
                  <c:v>0</c:v>
                </c:pt>
                <c:pt idx="6591">
                  <c:v>0</c:v>
                </c:pt>
                <c:pt idx="6592">
                  <c:v>0</c:v>
                </c:pt>
                <c:pt idx="6593">
                  <c:v>0</c:v>
                </c:pt>
                <c:pt idx="6594">
                  <c:v>0</c:v>
                </c:pt>
                <c:pt idx="6595">
                  <c:v>0</c:v>
                </c:pt>
                <c:pt idx="6596">
                  <c:v>0</c:v>
                </c:pt>
                <c:pt idx="6597">
                  <c:v>0</c:v>
                </c:pt>
                <c:pt idx="6598">
                  <c:v>0</c:v>
                </c:pt>
                <c:pt idx="6599">
                  <c:v>0</c:v>
                </c:pt>
                <c:pt idx="6600">
                  <c:v>0</c:v>
                </c:pt>
                <c:pt idx="6601">
                  <c:v>0</c:v>
                </c:pt>
                <c:pt idx="6602">
                  <c:v>0</c:v>
                </c:pt>
                <c:pt idx="6603">
                  <c:v>0</c:v>
                </c:pt>
                <c:pt idx="6604">
                  <c:v>0</c:v>
                </c:pt>
                <c:pt idx="6605">
                  <c:v>0</c:v>
                </c:pt>
                <c:pt idx="6606">
                  <c:v>0</c:v>
                </c:pt>
                <c:pt idx="6607">
                  <c:v>0</c:v>
                </c:pt>
                <c:pt idx="6608">
                  <c:v>0</c:v>
                </c:pt>
                <c:pt idx="6609">
                  <c:v>0</c:v>
                </c:pt>
                <c:pt idx="6610">
                  <c:v>0</c:v>
                </c:pt>
                <c:pt idx="6611">
                  <c:v>0</c:v>
                </c:pt>
                <c:pt idx="6612">
                  <c:v>0</c:v>
                </c:pt>
                <c:pt idx="6613">
                  <c:v>0</c:v>
                </c:pt>
                <c:pt idx="6614">
                  <c:v>0</c:v>
                </c:pt>
                <c:pt idx="6615">
                  <c:v>0</c:v>
                </c:pt>
                <c:pt idx="6616">
                  <c:v>0</c:v>
                </c:pt>
                <c:pt idx="6617">
                  <c:v>0</c:v>
                </c:pt>
                <c:pt idx="6618">
                  <c:v>0</c:v>
                </c:pt>
                <c:pt idx="6619">
                  <c:v>0</c:v>
                </c:pt>
                <c:pt idx="6620">
                  <c:v>0</c:v>
                </c:pt>
                <c:pt idx="6621">
                  <c:v>0</c:v>
                </c:pt>
                <c:pt idx="6622">
                  <c:v>0</c:v>
                </c:pt>
                <c:pt idx="6623">
                  <c:v>0</c:v>
                </c:pt>
                <c:pt idx="6624">
                  <c:v>0</c:v>
                </c:pt>
                <c:pt idx="6625">
                  <c:v>0</c:v>
                </c:pt>
                <c:pt idx="6626">
                  <c:v>0</c:v>
                </c:pt>
                <c:pt idx="6627">
                  <c:v>0</c:v>
                </c:pt>
                <c:pt idx="6628">
                  <c:v>0</c:v>
                </c:pt>
                <c:pt idx="6629">
                  <c:v>0</c:v>
                </c:pt>
                <c:pt idx="6630">
                  <c:v>0</c:v>
                </c:pt>
                <c:pt idx="6631">
                  <c:v>0</c:v>
                </c:pt>
                <c:pt idx="6632">
                  <c:v>0</c:v>
                </c:pt>
                <c:pt idx="6633">
                  <c:v>0</c:v>
                </c:pt>
                <c:pt idx="6634">
                  <c:v>0</c:v>
                </c:pt>
                <c:pt idx="6635">
                  <c:v>0</c:v>
                </c:pt>
                <c:pt idx="6636">
                  <c:v>0</c:v>
                </c:pt>
                <c:pt idx="6637">
                  <c:v>0</c:v>
                </c:pt>
                <c:pt idx="6638">
                  <c:v>0</c:v>
                </c:pt>
                <c:pt idx="6639">
                  <c:v>0</c:v>
                </c:pt>
                <c:pt idx="6640">
                  <c:v>0</c:v>
                </c:pt>
                <c:pt idx="6641">
                  <c:v>0</c:v>
                </c:pt>
                <c:pt idx="6642">
                  <c:v>0</c:v>
                </c:pt>
                <c:pt idx="6643">
                  <c:v>0</c:v>
                </c:pt>
                <c:pt idx="6644">
                  <c:v>0</c:v>
                </c:pt>
                <c:pt idx="6645">
                  <c:v>0</c:v>
                </c:pt>
                <c:pt idx="6646">
                  <c:v>0</c:v>
                </c:pt>
                <c:pt idx="6647">
                  <c:v>0</c:v>
                </c:pt>
                <c:pt idx="6648">
                  <c:v>0</c:v>
                </c:pt>
                <c:pt idx="6649">
                  <c:v>0</c:v>
                </c:pt>
                <c:pt idx="6650">
                  <c:v>0</c:v>
                </c:pt>
                <c:pt idx="6651">
                  <c:v>0</c:v>
                </c:pt>
                <c:pt idx="6652">
                  <c:v>0</c:v>
                </c:pt>
                <c:pt idx="6653">
                  <c:v>0</c:v>
                </c:pt>
                <c:pt idx="6654">
                  <c:v>0</c:v>
                </c:pt>
                <c:pt idx="6655">
                  <c:v>0</c:v>
                </c:pt>
                <c:pt idx="6656">
                  <c:v>0</c:v>
                </c:pt>
                <c:pt idx="6657">
                  <c:v>0</c:v>
                </c:pt>
                <c:pt idx="6658">
                  <c:v>0</c:v>
                </c:pt>
                <c:pt idx="6659">
                  <c:v>0</c:v>
                </c:pt>
                <c:pt idx="6660">
                  <c:v>0</c:v>
                </c:pt>
                <c:pt idx="6661">
                  <c:v>0</c:v>
                </c:pt>
                <c:pt idx="6662">
                  <c:v>0</c:v>
                </c:pt>
                <c:pt idx="6663">
                  <c:v>0</c:v>
                </c:pt>
                <c:pt idx="6664">
                  <c:v>0</c:v>
                </c:pt>
                <c:pt idx="6665">
                  <c:v>0</c:v>
                </c:pt>
                <c:pt idx="6666">
                  <c:v>0</c:v>
                </c:pt>
                <c:pt idx="6667">
                  <c:v>0</c:v>
                </c:pt>
                <c:pt idx="6668">
                  <c:v>0</c:v>
                </c:pt>
                <c:pt idx="6669">
                  <c:v>0</c:v>
                </c:pt>
                <c:pt idx="6670">
                  <c:v>0</c:v>
                </c:pt>
                <c:pt idx="6671">
                  <c:v>0</c:v>
                </c:pt>
                <c:pt idx="6672">
                  <c:v>0</c:v>
                </c:pt>
                <c:pt idx="6673">
                  <c:v>0</c:v>
                </c:pt>
                <c:pt idx="6674">
                  <c:v>0</c:v>
                </c:pt>
                <c:pt idx="6675">
                  <c:v>0</c:v>
                </c:pt>
                <c:pt idx="6676">
                  <c:v>0</c:v>
                </c:pt>
                <c:pt idx="6677">
                  <c:v>0</c:v>
                </c:pt>
                <c:pt idx="6678">
                  <c:v>0</c:v>
                </c:pt>
                <c:pt idx="6679">
                  <c:v>0</c:v>
                </c:pt>
                <c:pt idx="6680">
                  <c:v>0</c:v>
                </c:pt>
                <c:pt idx="6681">
                  <c:v>0</c:v>
                </c:pt>
                <c:pt idx="6682">
                  <c:v>0</c:v>
                </c:pt>
                <c:pt idx="6683">
                  <c:v>0</c:v>
                </c:pt>
                <c:pt idx="6684">
                  <c:v>0</c:v>
                </c:pt>
                <c:pt idx="6685">
                  <c:v>0</c:v>
                </c:pt>
                <c:pt idx="6686">
                  <c:v>0</c:v>
                </c:pt>
                <c:pt idx="6687">
                  <c:v>0</c:v>
                </c:pt>
                <c:pt idx="6688">
                  <c:v>0</c:v>
                </c:pt>
                <c:pt idx="6689">
                  <c:v>0</c:v>
                </c:pt>
                <c:pt idx="6690">
                  <c:v>0</c:v>
                </c:pt>
                <c:pt idx="6691">
                  <c:v>0</c:v>
                </c:pt>
                <c:pt idx="6692">
                  <c:v>0</c:v>
                </c:pt>
                <c:pt idx="6693">
                  <c:v>0</c:v>
                </c:pt>
                <c:pt idx="6694">
                  <c:v>0</c:v>
                </c:pt>
                <c:pt idx="6695">
                  <c:v>0</c:v>
                </c:pt>
                <c:pt idx="6696">
                  <c:v>0</c:v>
                </c:pt>
                <c:pt idx="6697">
                  <c:v>0</c:v>
                </c:pt>
                <c:pt idx="6698">
                  <c:v>0</c:v>
                </c:pt>
                <c:pt idx="6699">
                  <c:v>0</c:v>
                </c:pt>
                <c:pt idx="6700">
                  <c:v>0</c:v>
                </c:pt>
                <c:pt idx="6701">
                  <c:v>0</c:v>
                </c:pt>
                <c:pt idx="6702">
                  <c:v>0</c:v>
                </c:pt>
                <c:pt idx="6703">
                  <c:v>0</c:v>
                </c:pt>
                <c:pt idx="6704">
                  <c:v>0</c:v>
                </c:pt>
                <c:pt idx="6705">
                  <c:v>0</c:v>
                </c:pt>
                <c:pt idx="6706">
                  <c:v>0</c:v>
                </c:pt>
                <c:pt idx="6707">
                  <c:v>0</c:v>
                </c:pt>
                <c:pt idx="6708">
                  <c:v>0</c:v>
                </c:pt>
                <c:pt idx="6709">
                  <c:v>0</c:v>
                </c:pt>
                <c:pt idx="6710">
                  <c:v>0</c:v>
                </c:pt>
                <c:pt idx="6711">
                  <c:v>0</c:v>
                </c:pt>
                <c:pt idx="6712">
                  <c:v>0</c:v>
                </c:pt>
                <c:pt idx="6713">
                  <c:v>0</c:v>
                </c:pt>
                <c:pt idx="6714">
                  <c:v>0</c:v>
                </c:pt>
                <c:pt idx="6715">
                  <c:v>0</c:v>
                </c:pt>
                <c:pt idx="6716">
                  <c:v>0</c:v>
                </c:pt>
                <c:pt idx="6717">
                  <c:v>0</c:v>
                </c:pt>
                <c:pt idx="6718">
                  <c:v>0</c:v>
                </c:pt>
                <c:pt idx="6719">
                  <c:v>0</c:v>
                </c:pt>
                <c:pt idx="6720">
                  <c:v>0</c:v>
                </c:pt>
                <c:pt idx="6721">
                  <c:v>0</c:v>
                </c:pt>
                <c:pt idx="6722">
                  <c:v>0</c:v>
                </c:pt>
                <c:pt idx="6723">
                  <c:v>0</c:v>
                </c:pt>
                <c:pt idx="6724">
                  <c:v>0</c:v>
                </c:pt>
                <c:pt idx="6725">
                  <c:v>0</c:v>
                </c:pt>
                <c:pt idx="6726">
                  <c:v>0</c:v>
                </c:pt>
                <c:pt idx="6727">
                  <c:v>0</c:v>
                </c:pt>
                <c:pt idx="6728">
                  <c:v>0</c:v>
                </c:pt>
                <c:pt idx="6729">
                  <c:v>0</c:v>
                </c:pt>
                <c:pt idx="6730">
                  <c:v>0</c:v>
                </c:pt>
                <c:pt idx="6731">
                  <c:v>0</c:v>
                </c:pt>
                <c:pt idx="6732">
                  <c:v>0</c:v>
                </c:pt>
                <c:pt idx="6733">
                  <c:v>0</c:v>
                </c:pt>
                <c:pt idx="6734">
                  <c:v>0</c:v>
                </c:pt>
                <c:pt idx="6735">
                  <c:v>0</c:v>
                </c:pt>
                <c:pt idx="6736">
                  <c:v>0</c:v>
                </c:pt>
                <c:pt idx="6737">
                  <c:v>0</c:v>
                </c:pt>
                <c:pt idx="6738">
                  <c:v>0</c:v>
                </c:pt>
                <c:pt idx="6739">
                  <c:v>0</c:v>
                </c:pt>
                <c:pt idx="6740">
                  <c:v>0</c:v>
                </c:pt>
                <c:pt idx="6741">
                  <c:v>0</c:v>
                </c:pt>
                <c:pt idx="6742">
                  <c:v>0</c:v>
                </c:pt>
                <c:pt idx="6743">
                  <c:v>0</c:v>
                </c:pt>
                <c:pt idx="6744">
                  <c:v>0</c:v>
                </c:pt>
                <c:pt idx="6745">
                  <c:v>0</c:v>
                </c:pt>
                <c:pt idx="6746">
                  <c:v>0</c:v>
                </c:pt>
                <c:pt idx="6747">
                  <c:v>0</c:v>
                </c:pt>
                <c:pt idx="6748">
                  <c:v>0</c:v>
                </c:pt>
                <c:pt idx="6749">
                  <c:v>0</c:v>
                </c:pt>
                <c:pt idx="6750">
                  <c:v>0</c:v>
                </c:pt>
                <c:pt idx="6751">
                  <c:v>0</c:v>
                </c:pt>
                <c:pt idx="6752">
                  <c:v>0</c:v>
                </c:pt>
                <c:pt idx="6753">
                  <c:v>0</c:v>
                </c:pt>
                <c:pt idx="6754">
                  <c:v>0</c:v>
                </c:pt>
                <c:pt idx="6755">
                  <c:v>0</c:v>
                </c:pt>
                <c:pt idx="6756">
                  <c:v>0</c:v>
                </c:pt>
                <c:pt idx="6757">
                  <c:v>0</c:v>
                </c:pt>
                <c:pt idx="6758">
                  <c:v>0</c:v>
                </c:pt>
                <c:pt idx="6759">
                  <c:v>0</c:v>
                </c:pt>
                <c:pt idx="6760">
                  <c:v>0</c:v>
                </c:pt>
                <c:pt idx="6761">
                  <c:v>0</c:v>
                </c:pt>
                <c:pt idx="6762">
                  <c:v>0</c:v>
                </c:pt>
                <c:pt idx="6763">
                  <c:v>0</c:v>
                </c:pt>
                <c:pt idx="6764">
                  <c:v>0</c:v>
                </c:pt>
                <c:pt idx="6765">
                  <c:v>0</c:v>
                </c:pt>
                <c:pt idx="6766">
                  <c:v>0</c:v>
                </c:pt>
                <c:pt idx="6767">
                  <c:v>0</c:v>
                </c:pt>
                <c:pt idx="6768">
                  <c:v>0</c:v>
                </c:pt>
                <c:pt idx="6769">
                  <c:v>0</c:v>
                </c:pt>
                <c:pt idx="6770">
                  <c:v>0</c:v>
                </c:pt>
                <c:pt idx="6771">
                  <c:v>0</c:v>
                </c:pt>
                <c:pt idx="6772">
                  <c:v>0</c:v>
                </c:pt>
                <c:pt idx="6773">
                  <c:v>0</c:v>
                </c:pt>
                <c:pt idx="6774">
                  <c:v>0</c:v>
                </c:pt>
                <c:pt idx="6775">
                  <c:v>0</c:v>
                </c:pt>
                <c:pt idx="6776">
                  <c:v>0</c:v>
                </c:pt>
                <c:pt idx="6777">
                  <c:v>0</c:v>
                </c:pt>
                <c:pt idx="6778">
                  <c:v>0</c:v>
                </c:pt>
                <c:pt idx="6779">
                  <c:v>0</c:v>
                </c:pt>
                <c:pt idx="6780">
                  <c:v>0</c:v>
                </c:pt>
                <c:pt idx="6781">
                  <c:v>0</c:v>
                </c:pt>
                <c:pt idx="6782">
                  <c:v>0</c:v>
                </c:pt>
                <c:pt idx="6783">
                  <c:v>0</c:v>
                </c:pt>
                <c:pt idx="6784">
                  <c:v>0</c:v>
                </c:pt>
                <c:pt idx="6785">
                  <c:v>0</c:v>
                </c:pt>
                <c:pt idx="6786">
                  <c:v>0</c:v>
                </c:pt>
                <c:pt idx="6787">
                  <c:v>0</c:v>
                </c:pt>
                <c:pt idx="6788">
                  <c:v>0</c:v>
                </c:pt>
                <c:pt idx="6789">
                  <c:v>0</c:v>
                </c:pt>
                <c:pt idx="6790">
                  <c:v>0</c:v>
                </c:pt>
                <c:pt idx="6791">
                  <c:v>0</c:v>
                </c:pt>
                <c:pt idx="6792">
                  <c:v>0</c:v>
                </c:pt>
                <c:pt idx="6793">
                  <c:v>0</c:v>
                </c:pt>
                <c:pt idx="6794">
                  <c:v>0</c:v>
                </c:pt>
                <c:pt idx="6795">
                  <c:v>0</c:v>
                </c:pt>
                <c:pt idx="6796">
                  <c:v>0</c:v>
                </c:pt>
                <c:pt idx="6797">
                  <c:v>0</c:v>
                </c:pt>
                <c:pt idx="6798">
                  <c:v>0</c:v>
                </c:pt>
                <c:pt idx="6799">
                  <c:v>0</c:v>
                </c:pt>
                <c:pt idx="6800">
                  <c:v>0</c:v>
                </c:pt>
                <c:pt idx="6801">
                  <c:v>0</c:v>
                </c:pt>
                <c:pt idx="6802">
                  <c:v>0</c:v>
                </c:pt>
                <c:pt idx="6803">
                  <c:v>0</c:v>
                </c:pt>
                <c:pt idx="6804">
                  <c:v>0</c:v>
                </c:pt>
                <c:pt idx="6805">
                  <c:v>0</c:v>
                </c:pt>
                <c:pt idx="6806">
                  <c:v>0</c:v>
                </c:pt>
                <c:pt idx="6807">
                  <c:v>0</c:v>
                </c:pt>
                <c:pt idx="6808">
                  <c:v>0</c:v>
                </c:pt>
                <c:pt idx="6809">
                  <c:v>0</c:v>
                </c:pt>
                <c:pt idx="6810">
                  <c:v>0</c:v>
                </c:pt>
                <c:pt idx="6811">
                  <c:v>0</c:v>
                </c:pt>
                <c:pt idx="6812">
                  <c:v>0</c:v>
                </c:pt>
                <c:pt idx="6813">
                  <c:v>0</c:v>
                </c:pt>
                <c:pt idx="6814">
                  <c:v>0</c:v>
                </c:pt>
                <c:pt idx="6815">
                  <c:v>0</c:v>
                </c:pt>
                <c:pt idx="6816">
                  <c:v>0</c:v>
                </c:pt>
                <c:pt idx="6817">
                  <c:v>0</c:v>
                </c:pt>
                <c:pt idx="6818">
                  <c:v>0</c:v>
                </c:pt>
                <c:pt idx="6819">
                  <c:v>0</c:v>
                </c:pt>
                <c:pt idx="6820">
                  <c:v>0</c:v>
                </c:pt>
                <c:pt idx="6821">
                  <c:v>0</c:v>
                </c:pt>
                <c:pt idx="6822">
                  <c:v>0</c:v>
                </c:pt>
                <c:pt idx="6823">
                  <c:v>0</c:v>
                </c:pt>
                <c:pt idx="6824">
                  <c:v>0</c:v>
                </c:pt>
                <c:pt idx="6825">
                  <c:v>0</c:v>
                </c:pt>
                <c:pt idx="6826">
                  <c:v>0</c:v>
                </c:pt>
                <c:pt idx="6827">
                  <c:v>0</c:v>
                </c:pt>
                <c:pt idx="6828">
                  <c:v>0</c:v>
                </c:pt>
                <c:pt idx="6829">
                  <c:v>0</c:v>
                </c:pt>
                <c:pt idx="6830">
                  <c:v>0</c:v>
                </c:pt>
                <c:pt idx="6831">
                  <c:v>0</c:v>
                </c:pt>
                <c:pt idx="6832">
                  <c:v>0</c:v>
                </c:pt>
                <c:pt idx="6833">
                  <c:v>0</c:v>
                </c:pt>
                <c:pt idx="6834">
                  <c:v>0</c:v>
                </c:pt>
                <c:pt idx="6835">
                  <c:v>0</c:v>
                </c:pt>
                <c:pt idx="6836">
                  <c:v>0</c:v>
                </c:pt>
                <c:pt idx="6837">
                  <c:v>0</c:v>
                </c:pt>
                <c:pt idx="6838">
                  <c:v>0</c:v>
                </c:pt>
                <c:pt idx="6839">
                  <c:v>0</c:v>
                </c:pt>
                <c:pt idx="6840">
                  <c:v>0</c:v>
                </c:pt>
                <c:pt idx="6841">
                  <c:v>0</c:v>
                </c:pt>
                <c:pt idx="6842">
                  <c:v>0</c:v>
                </c:pt>
                <c:pt idx="6843">
                  <c:v>0</c:v>
                </c:pt>
                <c:pt idx="6844">
                  <c:v>0</c:v>
                </c:pt>
                <c:pt idx="6845">
                  <c:v>0</c:v>
                </c:pt>
                <c:pt idx="6846">
                  <c:v>0</c:v>
                </c:pt>
                <c:pt idx="6847">
                  <c:v>0</c:v>
                </c:pt>
                <c:pt idx="6848">
                  <c:v>0</c:v>
                </c:pt>
                <c:pt idx="6849">
                  <c:v>0</c:v>
                </c:pt>
                <c:pt idx="6850">
                  <c:v>0</c:v>
                </c:pt>
                <c:pt idx="6851">
                  <c:v>0</c:v>
                </c:pt>
                <c:pt idx="6852">
                  <c:v>0</c:v>
                </c:pt>
                <c:pt idx="6853">
                  <c:v>0</c:v>
                </c:pt>
                <c:pt idx="6854">
                  <c:v>0</c:v>
                </c:pt>
                <c:pt idx="6855">
                  <c:v>0</c:v>
                </c:pt>
                <c:pt idx="6856">
                  <c:v>0</c:v>
                </c:pt>
                <c:pt idx="6857">
                  <c:v>0</c:v>
                </c:pt>
                <c:pt idx="6858">
                  <c:v>0</c:v>
                </c:pt>
                <c:pt idx="6859">
                  <c:v>0</c:v>
                </c:pt>
                <c:pt idx="6860">
                  <c:v>0</c:v>
                </c:pt>
                <c:pt idx="6861">
                  <c:v>0</c:v>
                </c:pt>
                <c:pt idx="6862">
                  <c:v>0</c:v>
                </c:pt>
                <c:pt idx="6863">
                  <c:v>0</c:v>
                </c:pt>
                <c:pt idx="6864">
                  <c:v>0</c:v>
                </c:pt>
                <c:pt idx="6865">
                  <c:v>0</c:v>
                </c:pt>
                <c:pt idx="6866">
                  <c:v>0</c:v>
                </c:pt>
                <c:pt idx="6867">
                  <c:v>0</c:v>
                </c:pt>
                <c:pt idx="6868">
                  <c:v>0</c:v>
                </c:pt>
                <c:pt idx="6869">
                  <c:v>0</c:v>
                </c:pt>
                <c:pt idx="6870">
                  <c:v>0</c:v>
                </c:pt>
                <c:pt idx="6871">
                  <c:v>0</c:v>
                </c:pt>
                <c:pt idx="6872">
                  <c:v>0</c:v>
                </c:pt>
                <c:pt idx="6873">
                  <c:v>0</c:v>
                </c:pt>
                <c:pt idx="6874">
                  <c:v>0</c:v>
                </c:pt>
                <c:pt idx="6875">
                  <c:v>0</c:v>
                </c:pt>
                <c:pt idx="6876">
                  <c:v>0</c:v>
                </c:pt>
                <c:pt idx="6877">
                  <c:v>0</c:v>
                </c:pt>
                <c:pt idx="6878">
                  <c:v>0</c:v>
                </c:pt>
                <c:pt idx="6879">
                  <c:v>0</c:v>
                </c:pt>
                <c:pt idx="6880">
                  <c:v>0</c:v>
                </c:pt>
                <c:pt idx="6881">
                  <c:v>0</c:v>
                </c:pt>
                <c:pt idx="6882">
                  <c:v>0</c:v>
                </c:pt>
                <c:pt idx="6883">
                  <c:v>0</c:v>
                </c:pt>
                <c:pt idx="6884">
                  <c:v>0</c:v>
                </c:pt>
                <c:pt idx="6885">
                  <c:v>0</c:v>
                </c:pt>
                <c:pt idx="6886">
                  <c:v>0</c:v>
                </c:pt>
                <c:pt idx="6887">
                  <c:v>0</c:v>
                </c:pt>
                <c:pt idx="6888">
                  <c:v>0</c:v>
                </c:pt>
                <c:pt idx="6889">
                  <c:v>0</c:v>
                </c:pt>
                <c:pt idx="6890">
                  <c:v>0</c:v>
                </c:pt>
                <c:pt idx="6891">
                  <c:v>0</c:v>
                </c:pt>
                <c:pt idx="6892">
                  <c:v>0</c:v>
                </c:pt>
                <c:pt idx="6893">
                  <c:v>0</c:v>
                </c:pt>
                <c:pt idx="6894">
                  <c:v>0</c:v>
                </c:pt>
                <c:pt idx="6895">
                  <c:v>0</c:v>
                </c:pt>
                <c:pt idx="6896">
                  <c:v>0</c:v>
                </c:pt>
                <c:pt idx="6897">
                  <c:v>0</c:v>
                </c:pt>
                <c:pt idx="6898">
                  <c:v>0</c:v>
                </c:pt>
                <c:pt idx="6899">
                  <c:v>0</c:v>
                </c:pt>
                <c:pt idx="6900">
                  <c:v>0</c:v>
                </c:pt>
                <c:pt idx="6901">
                  <c:v>0</c:v>
                </c:pt>
                <c:pt idx="6902">
                  <c:v>0</c:v>
                </c:pt>
                <c:pt idx="6903">
                  <c:v>0</c:v>
                </c:pt>
                <c:pt idx="6904">
                  <c:v>0</c:v>
                </c:pt>
                <c:pt idx="6905">
                  <c:v>0</c:v>
                </c:pt>
                <c:pt idx="6906">
                  <c:v>0</c:v>
                </c:pt>
                <c:pt idx="6907">
                  <c:v>0</c:v>
                </c:pt>
                <c:pt idx="6908">
                  <c:v>0</c:v>
                </c:pt>
                <c:pt idx="6909">
                  <c:v>0</c:v>
                </c:pt>
                <c:pt idx="6910">
                  <c:v>0</c:v>
                </c:pt>
                <c:pt idx="6911">
                  <c:v>0</c:v>
                </c:pt>
                <c:pt idx="6912">
                  <c:v>0</c:v>
                </c:pt>
                <c:pt idx="6913">
                  <c:v>0</c:v>
                </c:pt>
                <c:pt idx="6914">
                  <c:v>0</c:v>
                </c:pt>
                <c:pt idx="6915">
                  <c:v>0</c:v>
                </c:pt>
                <c:pt idx="6916">
                  <c:v>0</c:v>
                </c:pt>
                <c:pt idx="6917">
                  <c:v>0</c:v>
                </c:pt>
                <c:pt idx="6918">
                  <c:v>0</c:v>
                </c:pt>
                <c:pt idx="6919">
                  <c:v>0</c:v>
                </c:pt>
                <c:pt idx="6920">
                  <c:v>0</c:v>
                </c:pt>
                <c:pt idx="6921">
                  <c:v>0</c:v>
                </c:pt>
                <c:pt idx="6922">
                  <c:v>0</c:v>
                </c:pt>
                <c:pt idx="6923">
                  <c:v>0</c:v>
                </c:pt>
                <c:pt idx="6924">
                  <c:v>0</c:v>
                </c:pt>
                <c:pt idx="6925">
                  <c:v>0</c:v>
                </c:pt>
                <c:pt idx="6926">
                  <c:v>0</c:v>
                </c:pt>
                <c:pt idx="6927">
                  <c:v>0</c:v>
                </c:pt>
                <c:pt idx="6928">
                  <c:v>0</c:v>
                </c:pt>
                <c:pt idx="6929">
                  <c:v>0</c:v>
                </c:pt>
                <c:pt idx="6930">
                  <c:v>0</c:v>
                </c:pt>
                <c:pt idx="6931">
                  <c:v>0</c:v>
                </c:pt>
                <c:pt idx="6932">
                  <c:v>0</c:v>
                </c:pt>
                <c:pt idx="6933">
                  <c:v>0</c:v>
                </c:pt>
                <c:pt idx="6934">
                  <c:v>0</c:v>
                </c:pt>
                <c:pt idx="6935">
                  <c:v>0</c:v>
                </c:pt>
                <c:pt idx="6936">
                  <c:v>0</c:v>
                </c:pt>
                <c:pt idx="6937">
                  <c:v>0</c:v>
                </c:pt>
                <c:pt idx="6938">
                  <c:v>0</c:v>
                </c:pt>
                <c:pt idx="6939">
                  <c:v>0</c:v>
                </c:pt>
                <c:pt idx="6940">
                  <c:v>0</c:v>
                </c:pt>
                <c:pt idx="6941">
                  <c:v>0</c:v>
                </c:pt>
                <c:pt idx="6942">
                  <c:v>0</c:v>
                </c:pt>
                <c:pt idx="6943">
                  <c:v>0</c:v>
                </c:pt>
                <c:pt idx="6944">
                  <c:v>0</c:v>
                </c:pt>
                <c:pt idx="6945">
                  <c:v>0</c:v>
                </c:pt>
                <c:pt idx="6946">
                  <c:v>0</c:v>
                </c:pt>
                <c:pt idx="6947">
                  <c:v>0</c:v>
                </c:pt>
                <c:pt idx="6948">
                  <c:v>0</c:v>
                </c:pt>
                <c:pt idx="6949">
                  <c:v>0</c:v>
                </c:pt>
                <c:pt idx="6950">
                  <c:v>0</c:v>
                </c:pt>
                <c:pt idx="6951">
                  <c:v>0</c:v>
                </c:pt>
                <c:pt idx="6952">
                  <c:v>0</c:v>
                </c:pt>
                <c:pt idx="6953">
                  <c:v>0</c:v>
                </c:pt>
                <c:pt idx="6954">
                  <c:v>0</c:v>
                </c:pt>
                <c:pt idx="6955">
                  <c:v>0</c:v>
                </c:pt>
                <c:pt idx="6956">
                  <c:v>0</c:v>
                </c:pt>
                <c:pt idx="6957">
                  <c:v>0</c:v>
                </c:pt>
                <c:pt idx="6958">
                  <c:v>0</c:v>
                </c:pt>
                <c:pt idx="6959">
                  <c:v>0</c:v>
                </c:pt>
                <c:pt idx="6960">
                  <c:v>0</c:v>
                </c:pt>
                <c:pt idx="6961">
                  <c:v>0</c:v>
                </c:pt>
                <c:pt idx="6962">
                  <c:v>0</c:v>
                </c:pt>
                <c:pt idx="6963">
                  <c:v>0</c:v>
                </c:pt>
                <c:pt idx="6964">
                  <c:v>0</c:v>
                </c:pt>
                <c:pt idx="6965">
                  <c:v>0</c:v>
                </c:pt>
                <c:pt idx="6966">
                  <c:v>0</c:v>
                </c:pt>
                <c:pt idx="6967">
                  <c:v>0</c:v>
                </c:pt>
                <c:pt idx="6968">
                  <c:v>0</c:v>
                </c:pt>
                <c:pt idx="6969">
                  <c:v>0</c:v>
                </c:pt>
                <c:pt idx="6970">
                  <c:v>0</c:v>
                </c:pt>
                <c:pt idx="6971">
                  <c:v>0</c:v>
                </c:pt>
                <c:pt idx="6972">
                  <c:v>0</c:v>
                </c:pt>
                <c:pt idx="6973">
                  <c:v>0</c:v>
                </c:pt>
                <c:pt idx="6974">
                  <c:v>0</c:v>
                </c:pt>
                <c:pt idx="6975">
                  <c:v>0</c:v>
                </c:pt>
                <c:pt idx="6976">
                  <c:v>0</c:v>
                </c:pt>
                <c:pt idx="6977">
                  <c:v>0</c:v>
                </c:pt>
                <c:pt idx="6978">
                  <c:v>0</c:v>
                </c:pt>
                <c:pt idx="6979">
                  <c:v>0</c:v>
                </c:pt>
                <c:pt idx="6980">
                  <c:v>0</c:v>
                </c:pt>
                <c:pt idx="6981">
                  <c:v>0</c:v>
                </c:pt>
                <c:pt idx="6982">
                  <c:v>0</c:v>
                </c:pt>
                <c:pt idx="6983">
                  <c:v>0</c:v>
                </c:pt>
                <c:pt idx="6984">
                  <c:v>0</c:v>
                </c:pt>
                <c:pt idx="6985">
                  <c:v>0</c:v>
                </c:pt>
                <c:pt idx="6986">
                  <c:v>0</c:v>
                </c:pt>
                <c:pt idx="6987">
                  <c:v>0</c:v>
                </c:pt>
                <c:pt idx="6988">
                  <c:v>0</c:v>
                </c:pt>
                <c:pt idx="6989">
                  <c:v>0</c:v>
                </c:pt>
                <c:pt idx="6990">
                  <c:v>0</c:v>
                </c:pt>
                <c:pt idx="6991">
                  <c:v>0</c:v>
                </c:pt>
                <c:pt idx="6992">
                  <c:v>0</c:v>
                </c:pt>
                <c:pt idx="6993">
                  <c:v>0</c:v>
                </c:pt>
                <c:pt idx="6994">
                  <c:v>0</c:v>
                </c:pt>
                <c:pt idx="6995">
                  <c:v>0</c:v>
                </c:pt>
                <c:pt idx="6996">
                  <c:v>0</c:v>
                </c:pt>
              </c:numCache>
            </c:numRef>
          </c:val>
          <c:smooth val="0"/>
          <c:extLst>
            <c:ext xmlns:c16="http://schemas.microsoft.com/office/drawing/2014/chart" uri="{C3380CC4-5D6E-409C-BE32-E72D297353CC}">
              <c16:uniqueId val="{00000005-34E5-0744-AA2C-554353F9D891}"/>
            </c:ext>
          </c:extLst>
        </c:ser>
        <c:ser>
          <c:idx val="6"/>
          <c:order val="6"/>
          <c:tx>
            <c:strRef>
              <c:f>'Rolling Stdev Data'!$G$1:$G$2</c:f>
              <c:strCache>
                <c:ptCount val="2"/>
                <c:pt idx="0">
                  <c:v>psi</c:v>
                </c:pt>
                <c:pt idx="1">
                  <c:v>SURJEK_TUBE_PRESSURE</c:v>
                </c:pt>
              </c:strCache>
            </c:strRef>
          </c:tx>
          <c:spPr>
            <a:ln w="28575" cap="rnd">
              <a:solidFill>
                <a:schemeClr val="accent1">
                  <a:lumMod val="60000"/>
                </a:schemeClr>
              </a:solidFill>
              <a:round/>
            </a:ln>
            <a:effectLst/>
          </c:spPr>
          <c:marker>
            <c:symbol val="none"/>
          </c:marker>
          <c:val>
            <c:numRef>
              <c:f>'Rolling Stdev Data'!$G$3:$G$7000</c:f>
              <c:numCache>
                <c:formatCode>General</c:formatCode>
                <c:ptCount val="6998"/>
                <c:pt idx="0">
                  <c:v>95.960887090374101</c:v>
                </c:pt>
                <c:pt idx="1">
                  <c:v>69.075049299301625</c:v>
                </c:pt>
                <c:pt idx="2">
                  <c:v>1.3165098723705728</c:v>
                </c:pt>
                <c:pt idx="3">
                  <c:v>1.3699993497608696</c:v>
                </c:pt>
                <c:pt idx="4">
                  <c:v>1.3973388553935373</c:v>
                </c:pt>
                <c:pt idx="5">
                  <c:v>1.4002155049713882</c:v>
                </c:pt>
                <c:pt idx="6">
                  <c:v>1.400215504971388</c:v>
                </c:pt>
                <c:pt idx="7">
                  <c:v>1.3543108637564576</c:v>
                </c:pt>
                <c:pt idx="8">
                  <c:v>1.3150586861957438</c:v>
                </c:pt>
                <c:pt idx="9">
                  <c:v>1.266070054350402</c:v>
                </c:pt>
                <c:pt idx="10">
                  <c:v>1.2570953739897177</c:v>
                </c:pt>
                <c:pt idx="11">
                  <c:v>1.2507866531694749</c:v>
                </c:pt>
                <c:pt idx="12">
                  <c:v>1.2506869189170671</c:v>
                </c:pt>
                <c:pt idx="13">
                  <c:v>1.2506640032696712</c:v>
                </c:pt>
                <c:pt idx="14">
                  <c:v>1.2516701513223281</c:v>
                </c:pt>
                <c:pt idx="15">
                  <c:v>1.253331495967374</c:v>
                </c:pt>
                <c:pt idx="16">
                  <c:v>1.2575841490211852</c:v>
                </c:pt>
                <c:pt idx="17">
                  <c:v>1.2576994266842545</c:v>
                </c:pt>
                <c:pt idx="18">
                  <c:v>1.2474995284572581</c:v>
                </c:pt>
                <c:pt idx="19">
                  <c:v>1.2541681042964488</c:v>
                </c:pt>
                <c:pt idx="20">
                  <c:v>1.3309982482768403</c:v>
                </c:pt>
                <c:pt idx="21">
                  <c:v>1.3479485751671945</c:v>
                </c:pt>
                <c:pt idx="22">
                  <c:v>1.3440954576602102</c:v>
                </c:pt>
                <c:pt idx="23">
                  <c:v>1.3109928916091604</c:v>
                </c:pt>
                <c:pt idx="24">
                  <c:v>1.2661119337732185</c:v>
                </c:pt>
                <c:pt idx="25">
                  <c:v>1.1973629159251418</c:v>
                </c:pt>
                <c:pt idx="26">
                  <c:v>1.1675053017487307</c:v>
                </c:pt>
                <c:pt idx="27">
                  <c:v>1.134825892482924</c:v>
                </c:pt>
                <c:pt idx="28">
                  <c:v>1.0992487999976088</c:v>
                </c:pt>
                <c:pt idx="29">
                  <c:v>1.0293179644564108</c:v>
                </c:pt>
                <c:pt idx="30">
                  <c:v>0.99224064749979302</c:v>
                </c:pt>
                <c:pt idx="31">
                  <c:v>0.94865197282016323</c:v>
                </c:pt>
                <c:pt idx="32">
                  <c:v>0.82456192185667465</c:v>
                </c:pt>
                <c:pt idx="33">
                  <c:v>0.74550318971900775</c:v>
                </c:pt>
                <c:pt idx="34">
                  <c:v>0.86927180124195547</c:v>
                </c:pt>
                <c:pt idx="35">
                  <c:v>0.87327035514727203</c:v>
                </c:pt>
                <c:pt idx="36">
                  <c:v>0.87620392857240526</c:v>
                </c:pt>
                <c:pt idx="37">
                  <c:v>0.88854965470313119</c:v>
                </c:pt>
                <c:pt idx="38">
                  <c:v>0.93423520137637495</c:v>
                </c:pt>
                <c:pt idx="39">
                  <c:v>0.93423520137637484</c:v>
                </c:pt>
                <c:pt idx="40">
                  <c:v>0.93447261240962121</c:v>
                </c:pt>
                <c:pt idx="41">
                  <c:v>0.93499268596517038</c:v>
                </c:pt>
                <c:pt idx="42">
                  <c:v>0.93563506099768867</c:v>
                </c:pt>
                <c:pt idx="43">
                  <c:v>0.93638778150260915</c:v>
                </c:pt>
                <c:pt idx="44">
                  <c:v>0.93768602375033439</c:v>
                </c:pt>
                <c:pt idx="45">
                  <c:v>0.93840018733591268</c:v>
                </c:pt>
                <c:pt idx="46">
                  <c:v>0.93529097097298231</c:v>
                </c:pt>
                <c:pt idx="47">
                  <c:v>0.93103121424743551</c:v>
                </c:pt>
                <c:pt idx="48">
                  <c:v>0.93291690024291674</c:v>
                </c:pt>
                <c:pt idx="49">
                  <c:v>0.94607831048874791</c:v>
                </c:pt>
                <c:pt idx="50">
                  <c:v>0.83076697456440751</c:v>
                </c:pt>
                <c:pt idx="51">
                  <c:v>0.82477436355159295</c:v>
                </c:pt>
                <c:pt idx="52">
                  <c:v>0.95459845179147473</c:v>
                </c:pt>
                <c:pt idx="53">
                  <c:v>0.97552261419455566</c:v>
                </c:pt>
                <c:pt idx="54">
                  <c:v>0.99106936972553461</c:v>
                </c:pt>
                <c:pt idx="55">
                  <c:v>1.0384382258841445</c:v>
                </c:pt>
                <c:pt idx="56">
                  <c:v>1.0384936183943885</c:v>
                </c:pt>
                <c:pt idx="57">
                  <c:v>1.0409624164562328</c:v>
                </c:pt>
                <c:pt idx="58">
                  <c:v>1.0430705306760197</c:v>
                </c:pt>
                <c:pt idx="59">
                  <c:v>1.0383036750753081</c:v>
                </c:pt>
                <c:pt idx="60">
                  <c:v>1.0411848740380483</c:v>
                </c:pt>
                <c:pt idx="61">
                  <c:v>1.0331054377020861</c:v>
                </c:pt>
                <c:pt idx="62">
                  <c:v>1.0409174448485081</c:v>
                </c:pt>
                <c:pt idx="63">
                  <c:v>1.0382078767494047</c:v>
                </c:pt>
                <c:pt idx="64">
                  <c:v>0.92158921212849432</c:v>
                </c:pt>
                <c:pt idx="65">
                  <c:v>0.92158921212849432</c:v>
                </c:pt>
                <c:pt idx="66">
                  <c:v>0.92048220498673494</c:v>
                </c:pt>
                <c:pt idx="67">
                  <c:v>0.90010602925009686</c:v>
                </c:pt>
                <c:pt idx="68">
                  <c:v>0.8372422823808392</c:v>
                </c:pt>
                <c:pt idx="69">
                  <c:v>0.90619598003625312</c:v>
                </c:pt>
                <c:pt idx="70">
                  <c:v>0.96550396606473754</c:v>
                </c:pt>
                <c:pt idx="71">
                  <c:v>1.0258727232136871</c:v>
                </c:pt>
                <c:pt idx="72">
                  <c:v>1.0258727232136871</c:v>
                </c:pt>
                <c:pt idx="73">
                  <c:v>1.0258727232136871</c:v>
                </c:pt>
                <c:pt idx="74">
                  <c:v>1.0258727232136871</c:v>
                </c:pt>
                <c:pt idx="75">
                  <c:v>1.0258727232136871</c:v>
                </c:pt>
                <c:pt idx="76">
                  <c:v>1.0248769160181339</c:v>
                </c:pt>
                <c:pt idx="77">
                  <c:v>1.0236409015850454</c:v>
                </c:pt>
                <c:pt idx="78">
                  <c:v>1.0155405538160558</c:v>
                </c:pt>
                <c:pt idx="79">
                  <c:v>1.0133050439411377</c:v>
                </c:pt>
                <c:pt idx="80">
                  <c:v>1.013305043941138</c:v>
                </c:pt>
                <c:pt idx="81">
                  <c:v>1.1243717192829878</c:v>
                </c:pt>
                <c:pt idx="82">
                  <c:v>1.0136696127873426</c:v>
                </c:pt>
                <c:pt idx="83">
                  <c:v>1.0123575335327029</c:v>
                </c:pt>
                <c:pt idx="84">
                  <c:v>1.0108725850395119</c:v>
                </c:pt>
                <c:pt idx="85">
                  <c:v>0.95820233417879108</c:v>
                </c:pt>
                <c:pt idx="86">
                  <c:v>0.9624046696973374</c:v>
                </c:pt>
                <c:pt idx="87">
                  <c:v>0.96176832724101691</c:v>
                </c:pt>
                <c:pt idx="88">
                  <c:v>0.95917853773503281</c:v>
                </c:pt>
                <c:pt idx="89">
                  <c:v>0.95325268712635181</c:v>
                </c:pt>
                <c:pt idx="90">
                  <c:v>0.94662350929550287</c:v>
                </c:pt>
                <c:pt idx="91">
                  <c:v>0.9376601297425633</c:v>
                </c:pt>
                <c:pt idx="92">
                  <c:v>0.93939509432659418</c:v>
                </c:pt>
                <c:pt idx="93">
                  <c:v>0.93185757705536343</c:v>
                </c:pt>
                <c:pt idx="94">
                  <c:v>0.91504771316233691</c:v>
                </c:pt>
                <c:pt idx="95">
                  <c:v>0.89736757503341402</c:v>
                </c:pt>
                <c:pt idx="96">
                  <c:v>0.90657244760905831</c:v>
                </c:pt>
                <c:pt idx="97">
                  <c:v>0.90657244760905842</c:v>
                </c:pt>
                <c:pt idx="98">
                  <c:v>0.90502185973545024</c:v>
                </c:pt>
                <c:pt idx="99">
                  <c:v>0.85077055209437336</c:v>
                </c:pt>
                <c:pt idx="100">
                  <c:v>0.76670692787468331</c:v>
                </c:pt>
                <c:pt idx="101">
                  <c:v>0.70184464084477227</c:v>
                </c:pt>
                <c:pt idx="102">
                  <c:v>0.70184464084477238</c:v>
                </c:pt>
                <c:pt idx="103">
                  <c:v>0.70184464084477238</c:v>
                </c:pt>
                <c:pt idx="104">
                  <c:v>0.70337141774246514</c:v>
                </c:pt>
                <c:pt idx="105">
                  <c:v>0.70515407883349801</c:v>
                </c:pt>
                <c:pt idx="106">
                  <c:v>0.71975985044452606</c:v>
                </c:pt>
                <c:pt idx="107">
                  <c:v>0.74019716646419875</c:v>
                </c:pt>
                <c:pt idx="108">
                  <c:v>0.74812561229191188</c:v>
                </c:pt>
                <c:pt idx="109">
                  <c:v>0.87506541840383789</c:v>
                </c:pt>
                <c:pt idx="110">
                  <c:v>0.87506541840383789</c:v>
                </c:pt>
                <c:pt idx="111">
                  <c:v>0.73308592469123735</c:v>
                </c:pt>
                <c:pt idx="112">
                  <c:v>0.71590864925964826</c:v>
                </c:pt>
                <c:pt idx="113">
                  <c:v>0.70249069620436644</c:v>
                </c:pt>
                <c:pt idx="114">
                  <c:v>0.68862643937217938</c:v>
                </c:pt>
                <c:pt idx="115">
                  <c:v>0.68045096329397559</c:v>
                </c:pt>
                <c:pt idx="116">
                  <c:v>0.67375693164119044</c:v>
                </c:pt>
                <c:pt idx="117">
                  <c:v>0.67088982450428658</c:v>
                </c:pt>
                <c:pt idx="118">
                  <c:v>0.67049741274034746</c:v>
                </c:pt>
                <c:pt idx="119">
                  <c:v>0.67034056025285316</c:v>
                </c:pt>
                <c:pt idx="120">
                  <c:v>0.67031020314882805</c:v>
                </c:pt>
                <c:pt idx="121">
                  <c:v>0.69320928129097636</c:v>
                </c:pt>
                <c:pt idx="122">
                  <c:v>0.67669652020158</c:v>
                </c:pt>
                <c:pt idx="123">
                  <c:v>0.66496492161095255</c:v>
                </c:pt>
                <c:pt idx="124">
                  <c:v>0.66651584265225283</c:v>
                </c:pt>
                <c:pt idx="125">
                  <c:v>0.73348575603619881</c:v>
                </c:pt>
                <c:pt idx="126">
                  <c:v>0.78102026533311208</c:v>
                </c:pt>
                <c:pt idx="127">
                  <c:v>0.78102026533311208</c:v>
                </c:pt>
                <c:pt idx="128">
                  <c:v>0.7807737210187421</c:v>
                </c:pt>
                <c:pt idx="129">
                  <c:v>0.78048984644651309</c:v>
                </c:pt>
                <c:pt idx="130">
                  <c:v>0.7801695153530982</c:v>
                </c:pt>
                <c:pt idx="131">
                  <c:v>0.78010478222001478</c:v>
                </c:pt>
                <c:pt idx="132">
                  <c:v>0.78280589558128233</c:v>
                </c:pt>
                <c:pt idx="133">
                  <c:v>0.79424501862383035</c:v>
                </c:pt>
                <c:pt idx="134">
                  <c:v>0.80523264606566258</c:v>
                </c:pt>
                <c:pt idx="135">
                  <c:v>0.81531935876990103</c:v>
                </c:pt>
                <c:pt idx="136">
                  <c:v>0.82091664621274141</c:v>
                </c:pt>
                <c:pt idx="137">
                  <c:v>0.82264409567879093</c:v>
                </c:pt>
                <c:pt idx="138">
                  <c:v>0.82264409567879093</c:v>
                </c:pt>
                <c:pt idx="139">
                  <c:v>0.60627320121321082</c:v>
                </c:pt>
                <c:pt idx="140">
                  <c:v>0.71806668757204939</c:v>
                </c:pt>
                <c:pt idx="141">
                  <c:v>0.71972778301218543</c:v>
                </c:pt>
                <c:pt idx="142">
                  <c:v>0.81451601869861878</c:v>
                </c:pt>
                <c:pt idx="143">
                  <c:v>0.81451601869861889</c:v>
                </c:pt>
                <c:pt idx="144">
                  <c:v>0.81359839028610847</c:v>
                </c:pt>
                <c:pt idx="145">
                  <c:v>0.81294432775239311</c:v>
                </c:pt>
                <c:pt idx="146">
                  <c:v>0.81227460848860678</c:v>
                </c:pt>
                <c:pt idx="147">
                  <c:v>0.81195377171951943</c:v>
                </c:pt>
                <c:pt idx="148">
                  <c:v>0.81543230067385941</c:v>
                </c:pt>
                <c:pt idx="149">
                  <c:v>0.81886460550536055</c:v>
                </c:pt>
                <c:pt idx="150">
                  <c:v>0.82417336076273695</c:v>
                </c:pt>
                <c:pt idx="151">
                  <c:v>0.90028074767304611</c:v>
                </c:pt>
                <c:pt idx="152">
                  <c:v>0.88801795763956992</c:v>
                </c:pt>
                <c:pt idx="153">
                  <c:v>0.88238409578008015</c:v>
                </c:pt>
                <c:pt idx="154">
                  <c:v>0.88418120981192661</c:v>
                </c:pt>
                <c:pt idx="155">
                  <c:v>0.85805551209859188</c:v>
                </c:pt>
                <c:pt idx="156">
                  <c:v>0.92431038832896839</c:v>
                </c:pt>
                <c:pt idx="157">
                  <c:v>0.95643528790162713</c:v>
                </c:pt>
                <c:pt idx="158">
                  <c:v>0.97518737425691171</c:v>
                </c:pt>
                <c:pt idx="159">
                  <c:v>0.99056261443999261</c:v>
                </c:pt>
                <c:pt idx="160">
                  <c:v>1.0028583987740678</c:v>
                </c:pt>
                <c:pt idx="161">
                  <c:v>1.0042897512280542</c:v>
                </c:pt>
                <c:pt idx="162">
                  <c:v>1.0072955006850244</c:v>
                </c:pt>
                <c:pt idx="163">
                  <c:v>1.0062651086250283</c:v>
                </c:pt>
                <c:pt idx="164">
                  <c:v>1.0051704624015876</c:v>
                </c:pt>
                <c:pt idx="165">
                  <c:v>1.0054902027444217</c:v>
                </c:pt>
                <c:pt idx="166">
                  <c:v>1.0065397969754868</c:v>
                </c:pt>
                <c:pt idx="167">
                  <c:v>1.0071954078107097</c:v>
                </c:pt>
                <c:pt idx="168">
                  <c:v>1.0080802613454563</c:v>
                </c:pt>
                <c:pt idx="169">
                  <c:v>1.0103882011707745</c:v>
                </c:pt>
                <c:pt idx="170">
                  <c:v>0.91396722883454762</c:v>
                </c:pt>
                <c:pt idx="171">
                  <c:v>0.92575776093657525</c:v>
                </c:pt>
                <c:pt idx="172">
                  <c:v>0.83679505592930881</c:v>
                </c:pt>
                <c:pt idx="173">
                  <c:v>0.87572284866939698</c:v>
                </c:pt>
                <c:pt idx="174">
                  <c:v>0.8860805798274578</c:v>
                </c:pt>
                <c:pt idx="175">
                  <c:v>0.89403186426733772</c:v>
                </c:pt>
                <c:pt idx="176">
                  <c:v>0.89922773201548312</c:v>
                </c:pt>
                <c:pt idx="177">
                  <c:v>0.90452718872058524</c:v>
                </c:pt>
                <c:pt idx="178">
                  <c:v>0.90842233695544738</c:v>
                </c:pt>
                <c:pt idx="179">
                  <c:v>0.91115894703172873</c:v>
                </c:pt>
                <c:pt idx="180">
                  <c:v>0.91114953072453009</c:v>
                </c:pt>
                <c:pt idx="181">
                  <c:v>0.80321639861808192</c:v>
                </c:pt>
                <c:pt idx="182">
                  <c:v>0.79839349718743657</c:v>
                </c:pt>
                <c:pt idx="183">
                  <c:v>0.79232632828776151</c:v>
                </c:pt>
                <c:pt idx="184">
                  <c:v>0.87216700542505332</c:v>
                </c:pt>
                <c:pt idx="185">
                  <c:v>0.9131925076467573</c:v>
                </c:pt>
                <c:pt idx="186">
                  <c:v>0.83142044930753201</c:v>
                </c:pt>
                <c:pt idx="187">
                  <c:v>0.80984260305703049</c:v>
                </c:pt>
                <c:pt idx="188">
                  <c:v>0.77951550132158787</c:v>
                </c:pt>
                <c:pt idx="189">
                  <c:v>0.73638101702234104</c:v>
                </c:pt>
                <c:pt idx="190">
                  <c:v>0.68340396049571106</c:v>
                </c:pt>
                <c:pt idx="191">
                  <c:v>0.6527260563153644</c:v>
                </c:pt>
                <c:pt idx="192">
                  <c:v>0.61779559038276055</c:v>
                </c:pt>
                <c:pt idx="193">
                  <c:v>0.60503865380980959</c:v>
                </c:pt>
                <c:pt idx="194">
                  <c:v>0.59201506327272846</c:v>
                </c:pt>
                <c:pt idx="195">
                  <c:v>0.59446068280764519</c:v>
                </c:pt>
                <c:pt idx="196">
                  <c:v>0.61344895392069032</c:v>
                </c:pt>
                <c:pt idx="197">
                  <c:v>0.64207512982092574</c:v>
                </c:pt>
                <c:pt idx="198">
                  <c:v>0.6754735024034576</c:v>
                </c:pt>
                <c:pt idx="199">
                  <c:v>0.71817412747187948</c:v>
                </c:pt>
                <c:pt idx="200">
                  <c:v>0.79131123836206774</c:v>
                </c:pt>
                <c:pt idx="201">
                  <c:v>0.78636633426852642</c:v>
                </c:pt>
                <c:pt idx="202">
                  <c:v>0.77690861991378279</c:v>
                </c:pt>
                <c:pt idx="203">
                  <c:v>0.75249129241110613</c:v>
                </c:pt>
                <c:pt idx="204">
                  <c:v>0.74928223508253122</c:v>
                </c:pt>
                <c:pt idx="205">
                  <c:v>0.74864879304915677</c:v>
                </c:pt>
                <c:pt idx="206">
                  <c:v>0.78203335416215058</c:v>
                </c:pt>
                <c:pt idx="207">
                  <c:v>0.81896371922960287</c:v>
                </c:pt>
                <c:pt idx="208">
                  <c:v>0.86304131608492984</c:v>
                </c:pt>
                <c:pt idx="209">
                  <c:v>0.90224317242255947</c:v>
                </c:pt>
                <c:pt idx="210">
                  <c:v>0.98795835957420408</c:v>
                </c:pt>
                <c:pt idx="211">
                  <c:v>1.0218481259858425</c:v>
                </c:pt>
                <c:pt idx="212">
                  <c:v>1.0444501833539241</c:v>
                </c:pt>
                <c:pt idx="213">
                  <c:v>1.0530133627031191</c:v>
                </c:pt>
                <c:pt idx="214">
                  <c:v>0.9781280878010058</c:v>
                </c:pt>
                <c:pt idx="215">
                  <c:v>0.94346205899461399</c:v>
                </c:pt>
                <c:pt idx="216">
                  <c:v>0.93861208319717382</c:v>
                </c:pt>
                <c:pt idx="217">
                  <c:v>0.91347840484360443</c:v>
                </c:pt>
                <c:pt idx="218">
                  <c:v>0.90305494080041759</c:v>
                </c:pt>
                <c:pt idx="219">
                  <c:v>0.89940363388941502</c:v>
                </c:pt>
                <c:pt idx="220">
                  <c:v>0.90183825302600573</c:v>
                </c:pt>
                <c:pt idx="221">
                  <c:v>0.98040188056465638</c:v>
                </c:pt>
                <c:pt idx="222">
                  <c:v>0.98988748548062189</c:v>
                </c:pt>
                <c:pt idx="223">
                  <c:v>0.98888037590036948</c:v>
                </c:pt>
                <c:pt idx="224">
                  <c:v>1.0256098622940191</c:v>
                </c:pt>
                <c:pt idx="225">
                  <c:v>1.0276721430740876</c:v>
                </c:pt>
                <c:pt idx="226">
                  <c:v>1.0258241955808458</c:v>
                </c:pt>
                <c:pt idx="227">
                  <c:v>1.0194890904309615</c:v>
                </c:pt>
                <c:pt idx="228">
                  <c:v>1.0116675970176932</c:v>
                </c:pt>
                <c:pt idx="229">
                  <c:v>1.0023920054222824</c:v>
                </c:pt>
                <c:pt idx="230">
                  <c:v>0.96397349091232354</c:v>
                </c:pt>
                <c:pt idx="231">
                  <c:v>0.97351042534762922</c:v>
                </c:pt>
                <c:pt idx="232">
                  <c:v>0.99250867320577552</c:v>
                </c:pt>
                <c:pt idx="233">
                  <c:v>1.0005987418177988</c:v>
                </c:pt>
                <c:pt idx="234">
                  <c:v>1.0006396318465365</c:v>
                </c:pt>
                <c:pt idx="235">
                  <c:v>0.99883808901482429</c:v>
                </c:pt>
                <c:pt idx="236">
                  <c:v>0.97851769600920746</c:v>
                </c:pt>
                <c:pt idx="237">
                  <c:v>0.93957110914522923</c:v>
                </c:pt>
                <c:pt idx="238">
                  <c:v>0.88123250733213976</c:v>
                </c:pt>
                <c:pt idx="239">
                  <c:v>0.81258615818186875</c:v>
                </c:pt>
                <c:pt idx="240">
                  <c:v>0.74269214858739774</c:v>
                </c:pt>
                <c:pt idx="241">
                  <c:v>0.71312477645824146</c:v>
                </c:pt>
                <c:pt idx="242">
                  <c:v>0.69135122822424266</c:v>
                </c:pt>
                <c:pt idx="243">
                  <c:v>0.68358738853783751</c:v>
                </c:pt>
                <c:pt idx="244">
                  <c:v>0.75726372258697006</c:v>
                </c:pt>
                <c:pt idx="245">
                  <c:v>0.81271742683356063</c:v>
                </c:pt>
                <c:pt idx="246">
                  <c:v>0.81126270575057879</c:v>
                </c:pt>
                <c:pt idx="247">
                  <c:v>0.81119286466335083</c:v>
                </c:pt>
                <c:pt idx="248">
                  <c:v>0.81013151765364966</c:v>
                </c:pt>
                <c:pt idx="249">
                  <c:v>0.80971372891404414</c:v>
                </c:pt>
                <c:pt idx="250">
                  <c:v>0.81393195879563396</c:v>
                </c:pt>
                <c:pt idx="251">
                  <c:v>0.75795809406228276</c:v>
                </c:pt>
                <c:pt idx="252">
                  <c:v>0.89551257921834959</c:v>
                </c:pt>
                <c:pt idx="253">
                  <c:v>0.89146339209875614</c:v>
                </c:pt>
                <c:pt idx="254">
                  <c:v>0.83232975491656069</c:v>
                </c:pt>
                <c:pt idx="255">
                  <c:v>0.8416180861814565</c:v>
                </c:pt>
                <c:pt idx="256">
                  <c:v>0.8507587247709214</c:v>
                </c:pt>
                <c:pt idx="257">
                  <c:v>0.98291729319915278</c:v>
                </c:pt>
                <c:pt idx="258">
                  <c:v>0.99996582871576456</c:v>
                </c:pt>
                <c:pt idx="259">
                  <c:v>1.0000115998395849</c:v>
                </c:pt>
                <c:pt idx="260">
                  <c:v>1.0045468895480589</c:v>
                </c:pt>
                <c:pt idx="261">
                  <c:v>1.0123404509908709</c:v>
                </c:pt>
                <c:pt idx="262">
                  <c:v>1.0134949585884105</c:v>
                </c:pt>
                <c:pt idx="263">
                  <c:v>1.0198467946705958</c:v>
                </c:pt>
                <c:pt idx="264">
                  <c:v>1.0312238665126321</c:v>
                </c:pt>
                <c:pt idx="265">
                  <c:v>1.0417993150494784</c:v>
                </c:pt>
                <c:pt idx="266">
                  <c:v>1.0417993150494786</c:v>
                </c:pt>
                <c:pt idx="267">
                  <c:v>1.0491973643742498</c:v>
                </c:pt>
                <c:pt idx="268">
                  <c:v>1.1714199937242482</c:v>
                </c:pt>
                <c:pt idx="269">
                  <c:v>1.1707843191298806</c:v>
                </c:pt>
                <c:pt idx="270">
                  <c:v>1.2171520297887606</c:v>
                </c:pt>
                <c:pt idx="271">
                  <c:v>1.2207667439242391</c:v>
                </c:pt>
                <c:pt idx="272">
                  <c:v>1.2213904927043191</c:v>
                </c:pt>
                <c:pt idx="273">
                  <c:v>1.2225139736474691</c:v>
                </c:pt>
                <c:pt idx="274">
                  <c:v>1.1701990034632117</c:v>
                </c:pt>
                <c:pt idx="275">
                  <c:v>1.1407481389815348</c:v>
                </c:pt>
                <c:pt idx="276">
                  <c:v>1.185922791402648</c:v>
                </c:pt>
                <c:pt idx="277">
                  <c:v>1.185922791402648</c:v>
                </c:pt>
                <c:pt idx="278">
                  <c:v>1.200638691461674</c:v>
                </c:pt>
                <c:pt idx="279">
                  <c:v>1.2110057779822223</c:v>
                </c:pt>
                <c:pt idx="280">
                  <c:v>1.2136141213049947</c:v>
                </c:pt>
                <c:pt idx="281">
                  <c:v>1.2045570753980654</c:v>
                </c:pt>
                <c:pt idx="282">
                  <c:v>1.1096967031676761</c:v>
                </c:pt>
                <c:pt idx="283">
                  <c:v>1.1097584055416838</c:v>
                </c:pt>
                <c:pt idx="284">
                  <c:v>1.1089181689723979</c:v>
                </c:pt>
                <c:pt idx="285">
                  <c:v>1.1004519921281004</c:v>
                </c:pt>
                <c:pt idx="286">
                  <c:v>1.0966052437648757</c:v>
                </c:pt>
                <c:pt idx="287">
                  <c:v>0.97224410058144206</c:v>
                </c:pt>
                <c:pt idx="288">
                  <c:v>0.98303192385061477</c:v>
                </c:pt>
                <c:pt idx="289">
                  <c:v>1.0003477156964982</c:v>
                </c:pt>
                <c:pt idx="290">
                  <c:v>0.98885191656634841</c:v>
                </c:pt>
                <c:pt idx="291">
                  <c:v>0.97140179385561642</c:v>
                </c:pt>
                <c:pt idx="292">
                  <c:v>0.96227131111602793</c:v>
                </c:pt>
                <c:pt idx="293">
                  <c:v>0.95175271878371159</c:v>
                </c:pt>
                <c:pt idx="294">
                  <c:v>0.94016222147569839</c:v>
                </c:pt>
                <c:pt idx="295">
                  <c:v>0.9267562111645673</c:v>
                </c:pt>
                <c:pt idx="296">
                  <c:v>0.91497333272790082</c:v>
                </c:pt>
                <c:pt idx="297">
                  <c:v>0.90553406513737966</c:v>
                </c:pt>
                <c:pt idx="298">
                  <c:v>0.77172520118193699</c:v>
                </c:pt>
                <c:pt idx="299">
                  <c:v>0.78436048718365259</c:v>
                </c:pt>
                <c:pt idx="300">
                  <c:v>0.71277349718822347</c:v>
                </c:pt>
                <c:pt idx="301">
                  <c:v>0.71713662760116037</c:v>
                </c:pt>
                <c:pt idx="302">
                  <c:v>0.72721921708036841</c:v>
                </c:pt>
                <c:pt idx="303">
                  <c:v>0.75468173824822138</c:v>
                </c:pt>
                <c:pt idx="304">
                  <c:v>0.78399416905976482</c:v>
                </c:pt>
                <c:pt idx="305">
                  <c:v>0.81060683524476029</c:v>
                </c:pt>
                <c:pt idx="306">
                  <c:v>0.72675935468874131</c:v>
                </c:pt>
                <c:pt idx="307">
                  <c:v>0.74946624250279348</c:v>
                </c:pt>
                <c:pt idx="308">
                  <c:v>0.78282848819755602</c:v>
                </c:pt>
                <c:pt idx="309">
                  <c:v>0.78827185266990629</c:v>
                </c:pt>
                <c:pt idx="310">
                  <c:v>0.74779487019595214</c:v>
                </c:pt>
                <c:pt idx="311">
                  <c:v>0.71421123476191928</c:v>
                </c:pt>
                <c:pt idx="312">
                  <c:v>0.68330956496750228</c:v>
                </c:pt>
                <c:pt idx="313">
                  <c:v>0.68864245274959668</c:v>
                </c:pt>
                <c:pt idx="314">
                  <c:v>0.70444977066533732</c:v>
                </c:pt>
                <c:pt idx="315">
                  <c:v>0.68104471479370687</c:v>
                </c:pt>
                <c:pt idx="316">
                  <c:v>0.71411369426016424</c:v>
                </c:pt>
                <c:pt idx="317">
                  <c:v>0.74270383834281217</c:v>
                </c:pt>
                <c:pt idx="318">
                  <c:v>0.78429315921060372</c:v>
                </c:pt>
                <c:pt idx="319">
                  <c:v>0.87021582242007967</c:v>
                </c:pt>
                <c:pt idx="320">
                  <c:v>0.9533049661903209</c:v>
                </c:pt>
                <c:pt idx="321">
                  <c:v>0.9806487672863774</c:v>
                </c:pt>
                <c:pt idx="322">
                  <c:v>0.99934234300714164</c:v>
                </c:pt>
                <c:pt idx="323">
                  <c:v>1.0130208972313774</c:v>
                </c:pt>
                <c:pt idx="324">
                  <c:v>1.0197403140920924</c:v>
                </c:pt>
                <c:pt idx="325">
                  <c:v>1.0187772774123229</c:v>
                </c:pt>
                <c:pt idx="326">
                  <c:v>1.0190587987975421</c:v>
                </c:pt>
                <c:pt idx="327">
                  <c:v>1.0198406536268476</c:v>
                </c:pt>
                <c:pt idx="328">
                  <c:v>1.0323284754060351</c:v>
                </c:pt>
                <c:pt idx="329">
                  <c:v>1.044675774887184</c:v>
                </c:pt>
                <c:pt idx="330">
                  <c:v>1.0579088755035555</c:v>
                </c:pt>
                <c:pt idx="331">
                  <c:v>1.0693334890502122</c:v>
                </c:pt>
                <c:pt idx="332">
                  <c:v>1.0799971577117495</c:v>
                </c:pt>
                <c:pt idx="333">
                  <c:v>1.0874308498435961</c:v>
                </c:pt>
                <c:pt idx="334">
                  <c:v>1.09061524618565</c:v>
                </c:pt>
                <c:pt idx="335">
                  <c:v>1.08807014625103</c:v>
                </c:pt>
                <c:pt idx="336">
                  <c:v>1.0807776085194238</c:v>
                </c:pt>
                <c:pt idx="337">
                  <c:v>1.0687377371856328</c:v>
                </c:pt>
                <c:pt idx="338">
                  <c:v>1.0435281267367087</c:v>
                </c:pt>
                <c:pt idx="339">
                  <c:v>1.0560091516447396</c:v>
                </c:pt>
                <c:pt idx="340">
                  <c:v>1.0687593538125277</c:v>
                </c:pt>
                <c:pt idx="341">
                  <c:v>1.0870462372804417</c:v>
                </c:pt>
                <c:pt idx="342">
                  <c:v>1.1008473872319879</c:v>
                </c:pt>
                <c:pt idx="343">
                  <c:v>1.1124298800959311</c:v>
                </c:pt>
                <c:pt idx="344">
                  <c:v>1.1094882925989364</c:v>
                </c:pt>
                <c:pt idx="345">
                  <c:v>1.1024093510857678</c:v>
                </c:pt>
                <c:pt idx="346">
                  <c:v>1.0945902218388668</c:v>
                </c:pt>
                <c:pt idx="347">
                  <c:v>1.0849383524069569</c:v>
                </c:pt>
                <c:pt idx="348">
                  <c:v>1.0686556707964263</c:v>
                </c:pt>
                <c:pt idx="349">
                  <c:v>0.98517063462753196</c:v>
                </c:pt>
                <c:pt idx="350">
                  <c:v>0.8688966187690409</c:v>
                </c:pt>
                <c:pt idx="351">
                  <c:v>0.80305372761933436</c:v>
                </c:pt>
                <c:pt idx="352">
                  <c:v>0.73752504687900466</c:v>
                </c:pt>
                <c:pt idx="353">
                  <c:v>0.66408096197276845</c:v>
                </c:pt>
                <c:pt idx="354">
                  <c:v>0.59306758261036718</c:v>
                </c:pt>
                <c:pt idx="355">
                  <c:v>0.53678473682671113</c:v>
                </c:pt>
                <c:pt idx="356">
                  <c:v>0.48140223289141354</c:v>
                </c:pt>
                <c:pt idx="357">
                  <c:v>0.45996042233732376</c:v>
                </c:pt>
                <c:pt idx="358">
                  <c:v>0.45996042233732376</c:v>
                </c:pt>
                <c:pt idx="359">
                  <c:v>0.46020399926151784</c:v>
                </c:pt>
                <c:pt idx="360">
                  <c:v>0.46079646352662146</c:v>
                </c:pt>
                <c:pt idx="361">
                  <c:v>0.46134138751678311</c:v>
                </c:pt>
                <c:pt idx="362">
                  <c:v>0.4616569928853882</c:v>
                </c:pt>
                <c:pt idx="363">
                  <c:v>0.46051120142582591</c:v>
                </c:pt>
                <c:pt idx="364">
                  <c:v>0.45861337668252522</c:v>
                </c:pt>
                <c:pt idx="365">
                  <c:v>0.45561158491278086</c:v>
                </c:pt>
                <c:pt idx="366">
                  <c:v>0.45430324123419252</c:v>
                </c:pt>
                <c:pt idx="367">
                  <c:v>0.45367293717137908</c:v>
                </c:pt>
                <c:pt idx="368">
                  <c:v>0.45227659713703461</c:v>
                </c:pt>
                <c:pt idx="369">
                  <c:v>0.44641018214437811</c:v>
                </c:pt>
                <c:pt idx="370">
                  <c:v>0.45186274908636032</c:v>
                </c:pt>
                <c:pt idx="371">
                  <c:v>0.44807510946801188</c:v>
                </c:pt>
                <c:pt idx="372">
                  <c:v>0.45290306181372825</c:v>
                </c:pt>
                <c:pt idx="373">
                  <c:v>0.45926223720082054</c:v>
                </c:pt>
                <c:pt idx="374">
                  <c:v>0.47578533912550763</c:v>
                </c:pt>
                <c:pt idx="375">
                  <c:v>0.47833271623818802</c:v>
                </c:pt>
                <c:pt idx="376">
                  <c:v>0.4788670843579918</c:v>
                </c:pt>
                <c:pt idx="377">
                  <c:v>0.47860407446627978</c:v>
                </c:pt>
                <c:pt idx="378">
                  <c:v>0.43761238592556867</c:v>
                </c:pt>
                <c:pt idx="379">
                  <c:v>0.40457996349403724</c:v>
                </c:pt>
                <c:pt idx="380">
                  <c:v>0.38065062969025343</c:v>
                </c:pt>
                <c:pt idx="381">
                  <c:v>0.37288397079847141</c:v>
                </c:pt>
                <c:pt idx="382">
                  <c:v>0.36132640130713384</c:v>
                </c:pt>
                <c:pt idx="383">
                  <c:v>0.35173503420882712</c:v>
                </c:pt>
                <c:pt idx="384">
                  <c:v>0.35173503420882712</c:v>
                </c:pt>
                <c:pt idx="385">
                  <c:v>0.35173503420882712</c:v>
                </c:pt>
                <c:pt idx="386">
                  <c:v>0.35173503420882718</c:v>
                </c:pt>
                <c:pt idx="387">
                  <c:v>0.35173503420882712</c:v>
                </c:pt>
                <c:pt idx="388">
                  <c:v>0.35173503420882718</c:v>
                </c:pt>
                <c:pt idx="389">
                  <c:v>0.35173503420882718</c:v>
                </c:pt>
                <c:pt idx="390">
                  <c:v>0.35173503420882707</c:v>
                </c:pt>
                <c:pt idx="391">
                  <c:v>0.34717147793635583</c:v>
                </c:pt>
                <c:pt idx="392">
                  <c:v>0.43052934017431027</c:v>
                </c:pt>
                <c:pt idx="393">
                  <c:v>0.59642381453357163</c:v>
                </c:pt>
                <c:pt idx="394">
                  <c:v>0.65304104322807488</c:v>
                </c:pt>
                <c:pt idx="395">
                  <c:v>0.68394238017984488</c:v>
                </c:pt>
                <c:pt idx="396">
                  <c:v>0.68763218882194221</c:v>
                </c:pt>
                <c:pt idx="397">
                  <c:v>0.68933309368914286</c:v>
                </c:pt>
                <c:pt idx="398">
                  <c:v>0.69500355490116772</c:v>
                </c:pt>
                <c:pt idx="399">
                  <c:v>0.70029163791349724</c:v>
                </c:pt>
                <c:pt idx="400">
                  <c:v>0.70210351105832669</c:v>
                </c:pt>
                <c:pt idx="401">
                  <c:v>0.70159217857207057</c:v>
                </c:pt>
                <c:pt idx="402">
                  <c:v>0.69706966858099106</c:v>
                </c:pt>
                <c:pt idx="403">
                  <c:v>0.69523097219048058</c:v>
                </c:pt>
                <c:pt idx="404">
                  <c:v>0.69819185120515148</c:v>
                </c:pt>
                <c:pt idx="405">
                  <c:v>0.70188912275249871</c:v>
                </c:pt>
                <c:pt idx="406">
                  <c:v>0.70188912275249871</c:v>
                </c:pt>
                <c:pt idx="407">
                  <c:v>0.70251519522209649</c:v>
                </c:pt>
                <c:pt idx="408">
                  <c:v>0.70586795536122282</c:v>
                </c:pt>
                <c:pt idx="409">
                  <c:v>0.70716152569316737</c:v>
                </c:pt>
                <c:pt idx="410">
                  <c:v>0.70753063720324405</c:v>
                </c:pt>
                <c:pt idx="411">
                  <c:v>0.70095754629900842</c:v>
                </c:pt>
                <c:pt idx="412">
                  <c:v>0.69293333131725088</c:v>
                </c:pt>
                <c:pt idx="413">
                  <c:v>0.69293333131725088</c:v>
                </c:pt>
                <c:pt idx="414">
                  <c:v>0.69293333131725088</c:v>
                </c:pt>
                <c:pt idx="415">
                  <c:v>0.69293333131725099</c:v>
                </c:pt>
                <c:pt idx="416">
                  <c:v>0.69293333131725099</c:v>
                </c:pt>
                <c:pt idx="417">
                  <c:v>0.69293333131725099</c:v>
                </c:pt>
                <c:pt idx="418">
                  <c:v>0.69293333131725099</c:v>
                </c:pt>
                <c:pt idx="419">
                  <c:v>0.6929333313172511</c:v>
                </c:pt>
                <c:pt idx="420">
                  <c:v>0.69120280048627014</c:v>
                </c:pt>
                <c:pt idx="421">
                  <c:v>0.68907761852658433</c:v>
                </c:pt>
                <c:pt idx="422">
                  <c:v>0.62252242546596492</c:v>
                </c:pt>
                <c:pt idx="423">
                  <c:v>0.501888042582886</c:v>
                </c:pt>
                <c:pt idx="424">
                  <c:v>0.41900091125059735</c:v>
                </c:pt>
                <c:pt idx="425">
                  <c:v>0.37128467260511666</c:v>
                </c:pt>
                <c:pt idx="426">
                  <c:v>0.40217473066692533</c:v>
                </c:pt>
                <c:pt idx="427">
                  <c:v>0.38607421221831323</c:v>
                </c:pt>
                <c:pt idx="428">
                  <c:v>0.38607421221831323</c:v>
                </c:pt>
                <c:pt idx="429">
                  <c:v>0.38607421221831323</c:v>
                </c:pt>
                <c:pt idx="430">
                  <c:v>0.38607421221831323</c:v>
                </c:pt>
                <c:pt idx="431">
                  <c:v>0.38607421221831323</c:v>
                </c:pt>
                <c:pt idx="432">
                  <c:v>0.3719546664640539</c:v>
                </c:pt>
                <c:pt idx="433">
                  <c:v>0.34419949553137008</c:v>
                </c:pt>
                <c:pt idx="434">
                  <c:v>0.30419229670644721</c:v>
                </c:pt>
                <c:pt idx="435">
                  <c:v>0.30419229670644721</c:v>
                </c:pt>
                <c:pt idx="436">
                  <c:v>0.30419229670644721</c:v>
                </c:pt>
                <c:pt idx="437">
                  <c:v>0.30419229670644721</c:v>
                </c:pt>
                <c:pt idx="438">
                  <c:v>0.30419229670644715</c:v>
                </c:pt>
                <c:pt idx="439">
                  <c:v>0.30419229670644721</c:v>
                </c:pt>
                <c:pt idx="440">
                  <c:v>0.30419229670644715</c:v>
                </c:pt>
                <c:pt idx="441">
                  <c:v>0.30419229670644715</c:v>
                </c:pt>
                <c:pt idx="442">
                  <c:v>0.30419229670644715</c:v>
                </c:pt>
                <c:pt idx="443">
                  <c:v>0.30419229670644715</c:v>
                </c:pt>
                <c:pt idx="444">
                  <c:v>0.30419229670644715</c:v>
                </c:pt>
                <c:pt idx="445">
                  <c:v>0.30419229670644715</c:v>
                </c:pt>
                <c:pt idx="446">
                  <c:v>0.30419229670644715</c:v>
                </c:pt>
                <c:pt idx="447">
                  <c:v>0.30419229670644715</c:v>
                </c:pt>
                <c:pt idx="448">
                  <c:v>0.3041922967064471</c:v>
                </c:pt>
                <c:pt idx="449">
                  <c:v>0.3041922967064471</c:v>
                </c:pt>
                <c:pt idx="450">
                  <c:v>0.30224027447303464</c:v>
                </c:pt>
                <c:pt idx="451">
                  <c:v>0.29869967808227055</c:v>
                </c:pt>
                <c:pt idx="452">
                  <c:v>0.31457438381987957</c:v>
                </c:pt>
                <c:pt idx="453">
                  <c:v>0.31601281503455475</c:v>
                </c:pt>
                <c:pt idx="454">
                  <c:v>0.3325502615780217</c:v>
                </c:pt>
                <c:pt idx="455">
                  <c:v>0.37850735413575087</c:v>
                </c:pt>
                <c:pt idx="456">
                  <c:v>0.41907431541292145</c:v>
                </c:pt>
                <c:pt idx="457">
                  <c:v>0.48878531835662142</c:v>
                </c:pt>
                <c:pt idx="458">
                  <c:v>0.55695856979628022</c:v>
                </c:pt>
                <c:pt idx="459">
                  <c:v>0.61509131030625808</c:v>
                </c:pt>
                <c:pt idx="460">
                  <c:v>0.66806222676029692</c:v>
                </c:pt>
                <c:pt idx="461">
                  <c:v>0.7807454402980385</c:v>
                </c:pt>
                <c:pt idx="462">
                  <c:v>0.78978038358012337</c:v>
                </c:pt>
                <c:pt idx="463">
                  <c:v>0.78978038358012337</c:v>
                </c:pt>
                <c:pt idx="464">
                  <c:v>0.78978038358012326</c:v>
                </c:pt>
                <c:pt idx="465">
                  <c:v>0.78978038358012337</c:v>
                </c:pt>
                <c:pt idx="466">
                  <c:v>0.78978038358012326</c:v>
                </c:pt>
                <c:pt idx="467">
                  <c:v>0.90109639628479132</c:v>
                </c:pt>
                <c:pt idx="468">
                  <c:v>0.98866601043348878</c:v>
                </c:pt>
                <c:pt idx="469">
                  <c:v>1.0609291328435364</c:v>
                </c:pt>
                <c:pt idx="470">
                  <c:v>1.0842886703880745</c:v>
                </c:pt>
                <c:pt idx="471">
                  <c:v>1.1014841061518983</c:v>
                </c:pt>
                <c:pt idx="472">
                  <c:v>1.1085776165572117</c:v>
                </c:pt>
                <c:pt idx="473">
                  <c:v>1.1116048829542837</c:v>
                </c:pt>
                <c:pt idx="474">
                  <c:v>1.1241680087760353</c:v>
                </c:pt>
                <c:pt idx="475">
                  <c:v>1.1567538369913013</c:v>
                </c:pt>
                <c:pt idx="476">
                  <c:v>1.1657373547876932</c:v>
                </c:pt>
                <c:pt idx="477">
                  <c:v>1.1677837017596087</c:v>
                </c:pt>
                <c:pt idx="478">
                  <c:v>1.1682287411474472</c:v>
                </c:pt>
                <c:pt idx="479">
                  <c:v>1.1659879788119747</c:v>
                </c:pt>
                <c:pt idx="480">
                  <c:v>1.162516045485837</c:v>
                </c:pt>
                <c:pt idx="481">
                  <c:v>1.1643935864207151</c:v>
                </c:pt>
                <c:pt idx="482">
                  <c:v>1.1721523405337881</c:v>
                </c:pt>
                <c:pt idx="483">
                  <c:v>1.1823206529926347</c:v>
                </c:pt>
                <c:pt idx="484">
                  <c:v>1.1952650838877557</c:v>
                </c:pt>
                <c:pt idx="485">
                  <c:v>1.2483753170858267</c:v>
                </c:pt>
                <c:pt idx="486">
                  <c:v>1.2340659299470185</c:v>
                </c:pt>
                <c:pt idx="487">
                  <c:v>1.214273735234374</c:v>
                </c:pt>
                <c:pt idx="488">
                  <c:v>1.1884358773868053</c:v>
                </c:pt>
                <c:pt idx="489">
                  <c:v>1.1621764518982196</c:v>
                </c:pt>
                <c:pt idx="490">
                  <c:v>1.1334991263290317</c:v>
                </c:pt>
                <c:pt idx="491">
                  <c:v>1.0851949277070476</c:v>
                </c:pt>
                <c:pt idx="492">
                  <c:v>1.1060879602545945</c:v>
                </c:pt>
                <c:pt idx="493">
                  <c:v>1.1324778901222989</c:v>
                </c:pt>
                <c:pt idx="494">
                  <c:v>1.157925654725011</c:v>
                </c:pt>
                <c:pt idx="495">
                  <c:v>1.1831035395335368</c:v>
                </c:pt>
                <c:pt idx="496">
                  <c:v>1.1799062717330537</c:v>
                </c:pt>
                <c:pt idx="497">
                  <c:v>1.1037022415969038</c:v>
                </c:pt>
                <c:pt idx="498">
                  <c:v>1.0232588970481591</c:v>
                </c:pt>
                <c:pt idx="499">
                  <c:v>0.9375260479602755</c:v>
                </c:pt>
                <c:pt idx="500">
                  <c:v>0.90119296185194642</c:v>
                </c:pt>
                <c:pt idx="501">
                  <c:v>0.87001107714229964</c:v>
                </c:pt>
                <c:pt idx="502">
                  <c:v>0.85411860345020396</c:v>
                </c:pt>
                <c:pt idx="503">
                  <c:v>0.86064983389736782</c:v>
                </c:pt>
                <c:pt idx="504">
                  <c:v>0.89345458054607452</c:v>
                </c:pt>
                <c:pt idx="505">
                  <c:v>0.86189657904078587</c:v>
                </c:pt>
                <c:pt idx="506">
                  <c:v>0.85209673992967894</c:v>
                </c:pt>
                <c:pt idx="507">
                  <c:v>0.84824675392226767</c:v>
                </c:pt>
                <c:pt idx="508">
                  <c:v>0.844248419434804</c:v>
                </c:pt>
                <c:pt idx="509">
                  <c:v>0.84291596595197649</c:v>
                </c:pt>
                <c:pt idx="510">
                  <c:v>0.84295559866031711</c:v>
                </c:pt>
                <c:pt idx="511">
                  <c:v>0.84131819696272325</c:v>
                </c:pt>
                <c:pt idx="512">
                  <c:v>0.83694932185844106</c:v>
                </c:pt>
                <c:pt idx="513">
                  <c:v>0.82281934624695197</c:v>
                </c:pt>
                <c:pt idx="514">
                  <c:v>0.79804957651118447</c:v>
                </c:pt>
                <c:pt idx="515">
                  <c:v>0.68756846861569598</c:v>
                </c:pt>
                <c:pt idx="516">
                  <c:v>0.75458582296230992</c:v>
                </c:pt>
                <c:pt idx="517">
                  <c:v>0.86012128929257547</c:v>
                </c:pt>
                <c:pt idx="518">
                  <c:v>0.89553160997591108</c:v>
                </c:pt>
                <c:pt idx="519">
                  <c:v>0.91874213033335461</c:v>
                </c:pt>
                <c:pt idx="520">
                  <c:v>0.93090583058583809</c:v>
                </c:pt>
                <c:pt idx="521">
                  <c:v>0.92533203622101434</c:v>
                </c:pt>
                <c:pt idx="522">
                  <c:v>0.89223092263650594</c:v>
                </c:pt>
                <c:pt idx="523">
                  <c:v>0.89540683457860504</c:v>
                </c:pt>
                <c:pt idx="524">
                  <c:v>0.90041010456244686</c:v>
                </c:pt>
                <c:pt idx="525">
                  <c:v>0.89612525854665948</c:v>
                </c:pt>
                <c:pt idx="526">
                  <c:v>0.92835260237069483</c:v>
                </c:pt>
                <c:pt idx="527">
                  <c:v>0.95760312702457973</c:v>
                </c:pt>
                <c:pt idx="528">
                  <c:v>0.98206015289521054</c:v>
                </c:pt>
                <c:pt idx="529">
                  <c:v>0.99874103535280623</c:v>
                </c:pt>
                <c:pt idx="530">
                  <c:v>1.0119638805872495</c:v>
                </c:pt>
                <c:pt idx="531">
                  <c:v>1.0220011946094005</c:v>
                </c:pt>
                <c:pt idx="532">
                  <c:v>1.0284841587355569</c:v>
                </c:pt>
                <c:pt idx="533">
                  <c:v>1.030976984265279</c:v>
                </c:pt>
                <c:pt idx="534">
                  <c:v>0.99542080982185976</c:v>
                </c:pt>
                <c:pt idx="535">
                  <c:v>0.99002023350660262</c:v>
                </c:pt>
                <c:pt idx="536">
                  <c:v>0.9828220525004755</c:v>
                </c:pt>
                <c:pt idx="537">
                  <c:v>0.9722471182115946</c:v>
                </c:pt>
                <c:pt idx="538">
                  <c:v>0.96022791186475642</c:v>
                </c:pt>
                <c:pt idx="539">
                  <c:v>0.94695899755769697</c:v>
                </c:pt>
                <c:pt idx="540">
                  <c:v>0.94355513112349154</c:v>
                </c:pt>
                <c:pt idx="541">
                  <c:v>0.94323027271485904</c:v>
                </c:pt>
                <c:pt idx="542">
                  <c:v>0.94323027271485926</c:v>
                </c:pt>
                <c:pt idx="543">
                  <c:v>0.94323027271485926</c:v>
                </c:pt>
                <c:pt idx="544">
                  <c:v>0.94323027271485915</c:v>
                </c:pt>
                <c:pt idx="545">
                  <c:v>0.94323027271485926</c:v>
                </c:pt>
                <c:pt idx="546">
                  <c:v>0.92505520099631222</c:v>
                </c:pt>
                <c:pt idx="547">
                  <c:v>0.86019289115221786</c:v>
                </c:pt>
                <c:pt idx="548">
                  <c:v>0.81538150504954188</c:v>
                </c:pt>
                <c:pt idx="549">
                  <c:v>0.77355635097090969</c:v>
                </c:pt>
                <c:pt idx="550">
                  <c:v>0.86810779964457685</c:v>
                </c:pt>
                <c:pt idx="551">
                  <c:v>0.86542092508057633</c:v>
                </c:pt>
                <c:pt idx="552">
                  <c:v>0.8639116777410355</c:v>
                </c:pt>
                <c:pt idx="553">
                  <c:v>0.85084135600183453</c:v>
                </c:pt>
                <c:pt idx="554">
                  <c:v>0.83566615979915626</c:v>
                </c:pt>
                <c:pt idx="555">
                  <c:v>0.82083076136597044</c:v>
                </c:pt>
                <c:pt idx="556">
                  <c:v>0.80194047487102138</c:v>
                </c:pt>
                <c:pt idx="557">
                  <c:v>0.78017388720862302</c:v>
                </c:pt>
                <c:pt idx="558">
                  <c:v>0.75548894292466273</c:v>
                </c:pt>
                <c:pt idx="559">
                  <c:v>0.7335388630229801</c:v>
                </c:pt>
                <c:pt idx="560">
                  <c:v>0.71048608971686866</c:v>
                </c:pt>
                <c:pt idx="561">
                  <c:v>0.68689799579608279</c:v>
                </c:pt>
                <c:pt idx="562">
                  <c:v>0.66497043039722514</c:v>
                </c:pt>
                <c:pt idx="563">
                  <c:v>0.66108449343189446</c:v>
                </c:pt>
                <c:pt idx="564">
                  <c:v>0.69207741435233294</c:v>
                </c:pt>
                <c:pt idx="565">
                  <c:v>0.68108433716294925</c:v>
                </c:pt>
                <c:pt idx="566">
                  <c:v>0.66796673446628274</c:v>
                </c:pt>
                <c:pt idx="567">
                  <c:v>0.65968087704452283</c:v>
                </c:pt>
                <c:pt idx="568">
                  <c:v>0.65107351105552236</c:v>
                </c:pt>
                <c:pt idx="569">
                  <c:v>0.64113884257776099</c:v>
                </c:pt>
                <c:pt idx="570">
                  <c:v>0.64230853568650037</c:v>
                </c:pt>
                <c:pt idx="571">
                  <c:v>0.64121439780429101</c:v>
                </c:pt>
                <c:pt idx="572">
                  <c:v>0.63948000616626821</c:v>
                </c:pt>
                <c:pt idx="573">
                  <c:v>0.64851021675681197</c:v>
                </c:pt>
                <c:pt idx="574">
                  <c:v>0.65795291946069945</c:v>
                </c:pt>
                <c:pt idx="575">
                  <c:v>0.67499370106988055</c:v>
                </c:pt>
                <c:pt idx="576">
                  <c:v>0.72226595314934305</c:v>
                </c:pt>
                <c:pt idx="577">
                  <c:v>0.82875975033709104</c:v>
                </c:pt>
                <c:pt idx="578">
                  <c:v>0.83182373806149013</c:v>
                </c:pt>
                <c:pt idx="579">
                  <c:v>0.83010600260273903</c:v>
                </c:pt>
                <c:pt idx="580">
                  <c:v>0.71405109254038768</c:v>
                </c:pt>
                <c:pt idx="581">
                  <c:v>0.6732711516991533</c:v>
                </c:pt>
                <c:pt idx="582">
                  <c:v>0.6777501708759186</c:v>
                </c:pt>
                <c:pt idx="583">
                  <c:v>0.72435487432088952</c:v>
                </c:pt>
                <c:pt idx="584">
                  <c:v>0.83516070403090858</c:v>
                </c:pt>
                <c:pt idx="585">
                  <c:v>0.93361852127609901</c:v>
                </c:pt>
                <c:pt idx="586">
                  <c:v>0.96828879715883276</c:v>
                </c:pt>
                <c:pt idx="587">
                  <c:v>1.0001788192532644</c:v>
                </c:pt>
                <c:pt idx="588">
                  <c:v>1.0292998307156314</c:v>
                </c:pt>
                <c:pt idx="589">
                  <c:v>1.0554434532224832</c:v>
                </c:pt>
                <c:pt idx="590">
                  <c:v>1.0784630308822314</c:v>
                </c:pt>
                <c:pt idx="591">
                  <c:v>1.0789859831849982</c:v>
                </c:pt>
                <c:pt idx="592">
                  <c:v>1.0823861235654233</c:v>
                </c:pt>
                <c:pt idx="593">
                  <c:v>1.0665442896046253</c:v>
                </c:pt>
                <c:pt idx="594">
                  <c:v>1.0223650332551595</c:v>
                </c:pt>
                <c:pt idx="595">
                  <c:v>1.0219731524672477</c:v>
                </c:pt>
                <c:pt idx="596">
                  <c:v>1.0219731524672477</c:v>
                </c:pt>
                <c:pt idx="597">
                  <c:v>1.0219731524672477</c:v>
                </c:pt>
                <c:pt idx="598">
                  <c:v>1.0219731524672477</c:v>
                </c:pt>
                <c:pt idx="599">
                  <c:v>1.0219731524672477</c:v>
                </c:pt>
                <c:pt idx="600">
                  <c:v>1.0219731524672477</c:v>
                </c:pt>
                <c:pt idx="601">
                  <c:v>1.0224047035772683</c:v>
                </c:pt>
                <c:pt idx="602">
                  <c:v>1.0227211967927405</c:v>
                </c:pt>
                <c:pt idx="603">
                  <c:v>1.012887412928851</c:v>
                </c:pt>
                <c:pt idx="604">
                  <c:v>1.000206697385486</c:v>
                </c:pt>
                <c:pt idx="605">
                  <c:v>0.97724634494738427</c:v>
                </c:pt>
                <c:pt idx="606">
                  <c:v>0.91766801615905491</c:v>
                </c:pt>
                <c:pt idx="607">
                  <c:v>0.85133975066058698</c:v>
                </c:pt>
                <c:pt idx="608">
                  <c:v>0.83763269323585843</c:v>
                </c:pt>
                <c:pt idx="609">
                  <c:v>0.8319382027750245</c:v>
                </c:pt>
                <c:pt idx="610">
                  <c:v>0.83485875156072142</c:v>
                </c:pt>
                <c:pt idx="611">
                  <c:v>0.85446251917598159</c:v>
                </c:pt>
                <c:pt idx="612">
                  <c:v>0.88639773174989966</c:v>
                </c:pt>
                <c:pt idx="613">
                  <c:v>0.87730541514651184</c:v>
                </c:pt>
                <c:pt idx="614">
                  <c:v>0.84937416780307151</c:v>
                </c:pt>
                <c:pt idx="615">
                  <c:v>0.76844916718794876</c:v>
                </c:pt>
                <c:pt idx="616">
                  <c:v>0.79224532997600428</c:v>
                </c:pt>
                <c:pt idx="617">
                  <c:v>0.76007650791986725</c:v>
                </c:pt>
                <c:pt idx="618">
                  <c:v>0.72254311327355059</c:v>
                </c:pt>
                <c:pt idx="619">
                  <c:v>0.68121901227577464</c:v>
                </c:pt>
                <c:pt idx="620">
                  <c:v>0.63868576159946522</c:v>
                </c:pt>
                <c:pt idx="621">
                  <c:v>0.63494352060822701</c:v>
                </c:pt>
                <c:pt idx="622">
                  <c:v>0.63083218895414517</c:v>
                </c:pt>
                <c:pt idx="623">
                  <c:v>0.63178708990571963</c:v>
                </c:pt>
                <c:pt idx="624">
                  <c:v>0.631506968449006</c:v>
                </c:pt>
                <c:pt idx="625">
                  <c:v>0.6316637190988813</c:v>
                </c:pt>
                <c:pt idx="626">
                  <c:v>0.62698407420512159</c:v>
                </c:pt>
                <c:pt idx="627">
                  <c:v>0.62050124565369591</c:v>
                </c:pt>
                <c:pt idx="628">
                  <c:v>0.62050124565369591</c:v>
                </c:pt>
                <c:pt idx="629">
                  <c:v>0.62050124565369591</c:v>
                </c:pt>
                <c:pt idx="630">
                  <c:v>0.828783478382912</c:v>
                </c:pt>
                <c:pt idx="631">
                  <c:v>0.82878347838291189</c:v>
                </c:pt>
                <c:pt idx="632">
                  <c:v>0.81903646681540798</c:v>
                </c:pt>
                <c:pt idx="633">
                  <c:v>0.80770124934710041</c:v>
                </c:pt>
                <c:pt idx="634">
                  <c:v>0.79688490473650131</c:v>
                </c:pt>
                <c:pt idx="635">
                  <c:v>0.78846413785109926</c:v>
                </c:pt>
                <c:pt idx="636">
                  <c:v>0.7820244840325784</c:v>
                </c:pt>
                <c:pt idx="637">
                  <c:v>0.78890999204170609</c:v>
                </c:pt>
                <c:pt idx="638">
                  <c:v>0.79644513733597988</c:v>
                </c:pt>
                <c:pt idx="639">
                  <c:v>0.80456050888254005</c:v>
                </c:pt>
                <c:pt idx="640">
                  <c:v>0.8142609415444132</c:v>
                </c:pt>
                <c:pt idx="641">
                  <c:v>0.81768463072851361</c:v>
                </c:pt>
                <c:pt idx="642">
                  <c:v>0.81216163677699282</c:v>
                </c:pt>
                <c:pt idx="643">
                  <c:v>0.79187105004586655</c:v>
                </c:pt>
                <c:pt idx="644">
                  <c:v>0.76103131680399971</c:v>
                </c:pt>
                <c:pt idx="645">
                  <c:v>0.72396362065469511</c:v>
                </c:pt>
                <c:pt idx="646">
                  <c:v>0.68430173263491056</c:v>
                </c:pt>
                <c:pt idx="647">
                  <c:v>0.68493019718427861</c:v>
                </c:pt>
                <c:pt idx="648">
                  <c:v>0.68385122811175947</c:v>
                </c:pt>
                <c:pt idx="649">
                  <c:v>0.68169927216628134</c:v>
                </c:pt>
                <c:pt idx="650">
                  <c:v>0.67470464048770684</c:v>
                </c:pt>
                <c:pt idx="651">
                  <c:v>0.66792945443994289</c:v>
                </c:pt>
                <c:pt idx="652">
                  <c:v>0.6698148605018106</c:v>
                </c:pt>
                <c:pt idx="653">
                  <c:v>0.67091696496875397</c:v>
                </c:pt>
                <c:pt idx="654">
                  <c:v>0.67210741749756475</c:v>
                </c:pt>
                <c:pt idx="655">
                  <c:v>0.6702892998895531</c:v>
                </c:pt>
                <c:pt idx="656">
                  <c:v>0.80036662185195906</c:v>
                </c:pt>
                <c:pt idx="657">
                  <c:v>0.83451257503598741</c:v>
                </c:pt>
                <c:pt idx="658">
                  <c:v>0.86065565262868127</c:v>
                </c:pt>
                <c:pt idx="659">
                  <c:v>0.96313999617274304</c:v>
                </c:pt>
                <c:pt idx="660">
                  <c:v>0.83772629817664168</c:v>
                </c:pt>
                <c:pt idx="661">
                  <c:v>0.84075101872046409</c:v>
                </c:pt>
                <c:pt idx="662">
                  <c:v>0.84075101872046409</c:v>
                </c:pt>
                <c:pt idx="663">
                  <c:v>0.84174745185703248</c:v>
                </c:pt>
                <c:pt idx="664">
                  <c:v>0.84701646202302394</c:v>
                </c:pt>
                <c:pt idx="665">
                  <c:v>0.85178937551577305</c:v>
                </c:pt>
                <c:pt idx="666">
                  <c:v>0.85532998200248989</c:v>
                </c:pt>
                <c:pt idx="667">
                  <c:v>0.85497190951977897</c:v>
                </c:pt>
                <c:pt idx="668">
                  <c:v>0.85422840859269966</c:v>
                </c:pt>
                <c:pt idx="669">
                  <c:v>0.85294193082699954</c:v>
                </c:pt>
                <c:pt idx="670">
                  <c:v>0.85091198792462275</c:v>
                </c:pt>
                <c:pt idx="671">
                  <c:v>0.85050963029190374</c:v>
                </c:pt>
                <c:pt idx="672">
                  <c:v>0.85001786101403098</c:v>
                </c:pt>
                <c:pt idx="673">
                  <c:v>0.84931027568734752</c:v>
                </c:pt>
                <c:pt idx="674">
                  <c:v>0.85082321400928917</c:v>
                </c:pt>
                <c:pt idx="675">
                  <c:v>0.85221608352060907</c:v>
                </c:pt>
                <c:pt idx="676">
                  <c:v>0.85349532056408239</c:v>
                </c:pt>
                <c:pt idx="677">
                  <c:v>0.85471626459687411</c:v>
                </c:pt>
                <c:pt idx="678">
                  <c:v>0.85585833693287416</c:v>
                </c:pt>
                <c:pt idx="679">
                  <c:v>0.85692143863811721</c:v>
                </c:pt>
                <c:pt idx="680">
                  <c:v>0.85789845589459013</c:v>
                </c:pt>
                <c:pt idx="681">
                  <c:v>0.85837072963195227</c:v>
                </c:pt>
                <c:pt idx="682">
                  <c:v>0.85857889785250174</c:v>
                </c:pt>
                <c:pt idx="683">
                  <c:v>0.85868759756564206</c:v>
                </c:pt>
                <c:pt idx="684">
                  <c:v>0.85868759756564206</c:v>
                </c:pt>
                <c:pt idx="685">
                  <c:v>0.858039235465615</c:v>
                </c:pt>
                <c:pt idx="686">
                  <c:v>0.71118207958893409</c:v>
                </c:pt>
                <c:pt idx="687">
                  <c:v>0.68477181290444422</c:v>
                </c:pt>
                <c:pt idx="688">
                  <c:v>0.65544245871535645</c:v>
                </c:pt>
                <c:pt idx="689">
                  <c:v>0.43983014196706272</c:v>
                </c:pt>
                <c:pt idx="690">
                  <c:v>6.8905725767005405E-2</c:v>
                </c:pt>
                <c:pt idx="691">
                  <c:v>9.5225458079608208E-2</c:v>
                </c:pt>
                <c:pt idx="692">
                  <c:v>0.11520319786515935</c:v>
                </c:pt>
                <c:pt idx="693">
                  <c:v>0.14236610276727979</c:v>
                </c:pt>
                <c:pt idx="694">
                  <c:v>0.16409321169896696</c:v>
                </c:pt>
                <c:pt idx="695">
                  <c:v>0.18233453410105746</c:v>
                </c:pt>
                <c:pt idx="696">
                  <c:v>0.20384397408255645</c:v>
                </c:pt>
                <c:pt idx="697">
                  <c:v>0.22260151347388127</c:v>
                </c:pt>
                <c:pt idx="698">
                  <c:v>0.24163678320331627</c:v>
                </c:pt>
                <c:pt idx="699">
                  <c:v>0.27199060174501288</c:v>
                </c:pt>
                <c:pt idx="700">
                  <c:v>0.30032283119835257</c:v>
                </c:pt>
                <c:pt idx="701">
                  <c:v>0.32323669229369961</c:v>
                </c:pt>
                <c:pt idx="702">
                  <c:v>0.3418235748972665</c:v>
                </c:pt>
                <c:pt idx="703">
                  <c:v>0.35676041578448708</c:v>
                </c:pt>
                <c:pt idx="704">
                  <c:v>0.36849134723964788</c:v>
                </c:pt>
                <c:pt idx="705">
                  <c:v>0.37731550791725893</c:v>
                </c:pt>
                <c:pt idx="706">
                  <c:v>0.38343363551444604</c:v>
                </c:pt>
                <c:pt idx="707">
                  <c:v>0.38697409987929254</c:v>
                </c:pt>
                <c:pt idx="708">
                  <c:v>0.3880074688914506</c:v>
                </c:pt>
                <c:pt idx="709">
                  <c:v>0.38655384962293288</c:v>
                </c:pt>
                <c:pt idx="710">
                  <c:v>0.38258489542278784</c:v>
                </c:pt>
                <c:pt idx="711">
                  <c:v>0.37602096558253223</c:v>
                </c:pt>
                <c:pt idx="712">
                  <c:v>0.36672274501886554</c:v>
                </c:pt>
                <c:pt idx="713">
                  <c:v>0.35447512984033358</c:v>
                </c:pt>
                <c:pt idx="714">
                  <c:v>0.33895855858949592</c:v>
                </c:pt>
                <c:pt idx="715">
                  <c:v>0.31746841901889733</c:v>
                </c:pt>
                <c:pt idx="716">
                  <c:v>0.29444257040887467</c:v>
                </c:pt>
                <c:pt idx="717">
                  <c:v>0.27114252140708045</c:v>
                </c:pt>
                <c:pt idx="718">
                  <c:v>0.25340355567860201</c:v>
                </c:pt>
                <c:pt idx="719">
                  <c:v>0.2401584351562682</c:v>
                </c:pt>
                <c:pt idx="720">
                  <c:v>0.26128915009687714</c:v>
                </c:pt>
                <c:pt idx="721">
                  <c:v>0.28282441110872658</c:v>
                </c:pt>
                <c:pt idx="722">
                  <c:v>0.30473094201854434</c:v>
                </c:pt>
                <c:pt idx="723">
                  <c:v>0.30628418877751989</c:v>
                </c:pt>
                <c:pt idx="724">
                  <c:v>0.55179021016865859</c:v>
                </c:pt>
                <c:pt idx="725">
                  <c:v>0.56262011121705413</c:v>
                </c:pt>
                <c:pt idx="726">
                  <c:v>0.568641389868076</c:v>
                </c:pt>
                <c:pt idx="727">
                  <c:v>0.60299293397528131</c:v>
                </c:pt>
                <c:pt idx="728">
                  <c:v>0.64115952233774376</c:v>
                </c:pt>
                <c:pt idx="729">
                  <c:v>0.65055349147377173</c:v>
                </c:pt>
                <c:pt idx="730">
                  <c:v>0.64947649366003368</c:v>
                </c:pt>
                <c:pt idx="731">
                  <c:v>0.65279386799564532</c:v>
                </c:pt>
                <c:pt idx="732">
                  <c:v>0.66201496831366047</c:v>
                </c:pt>
                <c:pt idx="733">
                  <c:v>0.67025103472008152</c:v>
                </c:pt>
                <c:pt idx="734">
                  <c:v>0.71216899065364292</c:v>
                </c:pt>
                <c:pt idx="735">
                  <c:v>0.74969792929462198</c:v>
                </c:pt>
                <c:pt idx="736">
                  <c:v>0.78745031538469112</c:v>
                </c:pt>
                <c:pt idx="737">
                  <c:v>0.89065911016955512</c:v>
                </c:pt>
                <c:pt idx="738">
                  <c:v>0.89126391134156357</c:v>
                </c:pt>
                <c:pt idx="739">
                  <c:v>0.88712873525001579</c:v>
                </c:pt>
                <c:pt idx="740">
                  <c:v>0.88261739803423267</c:v>
                </c:pt>
                <c:pt idx="741">
                  <c:v>0.88261739803423245</c:v>
                </c:pt>
                <c:pt idx="742">
                  <c:v>0.88261739803423267</c:v>
                </c:pt>
                <c:pt idx="743">
                  <c:v>0.88261739803423245</c:v>
                </c:pt>
                <c:pt idx="744">
                  <c:v>0.88261739803423267</c:v>
                </c:pt>
                <c:pt idx="745">
                  <c:v>0.88699635935809962</c:v>
                </c:pt>
                <c:pt idx="746">
                  <c:v>0.89124950501013944</c:v>
                </c:pt>
                <c:pt idx="747">
                  <c:v>0.89511417368313762</c:v>
                </c:pt>
                <c:pt idx="748">
                  <c:v>0.89820070456184642</c:v>
                </c:pt>
                <c:pt idx="749">
                  <c:v>0.9003839372813921</c:v>
                </c:pt>
                <c:pt idx="750">
                  <c:v>0.89897971158001344</c:v>
                </c:pt>
                <c:pt idx="751">
                  <c:v>0.89608224606892306</c:v>
                </c:pt>
                <c:pt idx="752">
                  <c:v>0.89153012056190328</c:v>
                </c:pt>
                <c:pt idx="753">
                  <c:v>0.89153012056190328</c:v>
                </c:pt>
                <c:pt idx="754">
                  <c:v>0.76513224690786152</c:v>
                </c:pt>
                <c:pt idx="755">
                  <c:v>0.75470701081021363</c:v>
                </c:pt>
                <c:pt idx="756">
                  <c:v>0.75325781708922313</c:v>
                </c:pt>
                <c:pt idx="757">
                  <c:v>0.7313328351935573</c:v>
                </c:pt>
                <c:pt idx="758">
                  <c:v>0.70069724233109854</c:v>
                </c:pt>
                <c:pt idx="759">
                  <c:v>0.69197162138419632</c:v>
                </c:pt>
                <c:pt idx="760">
                  <c:v>0.6932102135329784</c:v>
                </c:pt>
                <c:pt idx="761">
                  <c:v>0.69044450500046128</c:v>
                </c:pt>
                <c:pt idx="762">
                  <c:v>0.67965972468584879</c:v>
                </c:pt>
                <c:pt idx="763">
                  <c:v>0.66655018551405099</c:v>
                </c:pt>
                <c:pt idx="764">
                  <c:v>0.60351550870701076</c:v>
                </c:pt>
                <c:pt idx="765">
                  <c:v>0.52279557048645142</c:v>
                </c:pt>
                <c:pt idx="766">
                  <c:v>0.40241788752378171</c:v>
                </c:pt>
                <c:pt idx="767">
                  <c:v>0.20516099926911938</c:v>
                </c:pt>
                <c:pt idx="768">
                  <c:v>0.12754798096808195</c:v>
                </c:pt>
                <c:pt idx="769">
                  <c:v>8.9560434069828276E-2</c:v>
                </c:pt>
                <c:pt idx="770">
                  <c:v>1.7344551487745132E-13</c:v>
                </c:pt>
                <c:pt idx="771">
                  <c:v>1.7344551487745132E-13</c:v>
                </c:pt>
                <c:pt idx="772">
                  <c:v>1.7344551487745132E-13</c:v>
                </c:pt>
                <c:pt idx="773">
                  <c:v>1.7344551487745132E-13</c:v>
                </c:pt>
                <c:pt idx="774">
                  <c:v>1.7344551487745132E-13</c:v>
                </c:pt>
                <c:pt idx="775">
                  <c:v>2.5097012733284198E-3</c:v>
                </c:pt>
                <c:pt idx="776">
                  <c:v>6.2891215587055184E-3</c:v>
                </c:pt>
                <c:pt idx="777">
                  <c:v>8.9310348018404578E-3</c:v>
                </c:pt>
                <c:pt idx="778">
                  <c:v>1.997272416117838E-2</c:v>
                </c:pt>
                <c:pt idx="779">
                  <c:v>3.8612323687301456E-2</c:v>
                </c:pt>
                <c:pt idx="780">
                  <c:v>5.113575206801721E-2</c:v>
                </c:pt>
                <c:pt idx="781">
                  <c:v>6.4755887642923671E-2</c:v>
                </c:pt>
                <c:pt idx="782">
                  <c:v>7.5540009800965841E-2</c:v>
                </c:pt>
                <c:pt idx="783">
                  <c:v>8.5694224974657215E-2</c:v>
                </c:pt>
                <c:pt idx="784">
                  <c:v>9.6149715390549506E-2</c:v>
                </c:pt>
                <c:pt idx="785">
                  <c:v>0.10642873151234282</c:v>
                </c:pt>
                <c:pt idx="786">
                  <c:v>0.12028328400800563</c:v>
                </c:pt>
                <c:pt idx="787">
                  <c:v>0.13179517617869946</c:v>
                </c:pt>
                <c:pt idx="788">
                  <c:v>0.15073924943367553</c:v>
                </c:pt>
                <c:pt idx="789">
                  <c:v>0.18186828698934845</c:v>
                </c:pt>
                <c:pt idx="790">
                  <c:v>0.21042149511358654</c:v>
                </c:pt>
                <c:pt idx="791">
                  <c:v>0.23486037481092578</c:v>
                </c:pt>
                <c:pt idx="792">
                  <c:v>0.25548069075927171</c:v>
                </c:pt>
                <c:pt idx="793">
                  <c:v>0.27598752227442519</c:v>
                </c:pt>
                <c:pt idx="794">
                  <c:v>0.2927301936266522</c:v>
                </c:pt>
                <c:pt idx="795">
                  <c:v>0.30802448094250917</c:v>
                </c:pt>
                <c:pt idx="796">
                  <c:v>0.32105758513055749</c:v>
                </c:pt>
                <c:pt idx="797">
                  <c:v>0.33145874370453099</c:v>
                </c:pt>
                <c:pt idx="798">
                  <c:v>0.33914610232427228</c:v>
                </c:pt>
                <c:pt idx="799">
                  <c:v>0.34424685559594936</c:v>
                </c:pt>
                <c:pt idx="800">
                  <c:v>0.34707641865903238</c:v>
                </c:pt>
                <c:pt idx="801">
                  <c:v>0.34780693145434205</c:v>
                </c:pt>
                <c:pt idx="802">
                  <c:v>0.36076692741132593</c:v>
                </c:pt>
                <c:pt idx="803">
                  <c:v>0.41627814034247551</c:v>
                </c:pt>
                <c:pt idx="804">
                  <c:v>0.49817466369618557</c:v>
                </c:pt>
                <c:pt idx="805">
                  <c:v>0.59197666532636595</c:v>
                </c:pt>
                <c:pt idx="806">
                  <c:v>0.68348819482450396</c:v>
                </c:pt>
                <c:pt idx="807">
                  <c:v>0.74041547945818631</c:v>
                </c:pt>
                <c:pt idx="808">
                  <c:v>0.75615708779705937</c:v>
                </c:pt>
                <c:pt idx="809">
                  <c:v>0.77227233244226645</c:v>
                </c:pt>
                <c:pt idx="810">
                  <c:v>0.78515119238310216</c:v>
                </c:pt>
                <c:pt idx="811">
                  <c:v>0.78598110613397532</c:v>
                </c:pt>
                <c:pt idx="812">
                  <c:v>0.80095892014218562</c:v>
                </c:pt>
                <c:pt idx="813">
                  <c:v>0.81395370110450915</c:v>
                </c:pt>
                <c:pt idx="814">
                  <c:v>0.82269436207450675</c:v>
                </c:pt>
                <c:pt idx="815">
                  <c:v>0.82349181919555492</c:v>
                </c:pt>
                <c:pt idx="816">
                  <c:v>0.82065954028683985</c:v>
                </c:pt>
                <c:pt idx="817">
                  <c:v>0.81562706085335746</c:v>
                </c:pt>
                <c:pt idx="818">
                  <c:v>0.80965597501308806</c:v>
                </c:pt>
                <c:pt idx="819">
                  <c:v>0.8152056227274731</c:v>
                </c:pt>
                <c:pt idx="820">
                  <c:v>0.82507645181629174</c:v>
                </c:pt>
                <c:pt idx="821">
                  <c:v>0.84511678914155108</c:v>
                </c:pt>
                <c:pt idx="822">
                  <c:v>0.86406722873535835</c:v>
                </c:pt>
                <c:pt idx="823">
                  <c:v>1.0054078869160756</c:v>
                </c:pt>
                <c:pt idx="824">
                  <c:v>1.0185970902259109</c:v>
                </c:pt>
                <c:pt idx="825">
                  <c:v>1.0308618684146873</c:v>
                </c:pt>
                <c:pt idx="826">
                  <c:v>1.0421421758207985</c:v>
                </c:pt>
                <c:pt idx="827">
                  <c:v>1.0524376766733028</c:v>
                </c:pt>
                <c:pt idx="828">
                  <c:v>1.0617687923105792</c:v>
                </c:pt>
                <c:pt idx="829">
                  <c:v>1.0701486591893863</c:v>
                </c:pt>
                <c:pt idx="830">
                  <c:v>1.0775525043480316</c:v>
                </c:pt>
                <c:pt idx="831">
                  <c:v>1.0839357892964643</c:v>
                </c:pt>
                <c:pt idx="832">
                  <c:v>1.0964148550598181</c:v>
                </c:pt>
                <c:pt idx="833">
                  <c:v>1.1340854679891741</c:v>
                </c:pt>
                <c:pt idx="834">
                  <c:v>1.1646650416738769</c:v>
                </c:pt>
                <c:pt idx="835">
                  <c:v>1.1266006109292841</c:v>
                </c:pt>
                <c:pt idx="836">
                  <c:v>1.0468439395551703</c:v>
                </c:pt>
                <c:pt idx="837">
                  <c:v>1.0280037805815547</c:v>
                </c:pt>
                <c:pt idx="838">
                  <c:v>1.02577406239753</c:v>
                </c:pt>
                <c:pt idx="839">
                  <c:v>1.0222164199701345</c:v>
                </c:pt>
                <c:pt idx="840">
                  <c:v>1.0186782472128135</c:v>
                </c:pt>
                <c:pt idx="841">
                  <c:v>1.0100306407528401</c:v>
                </c:pt>
                <c:pt idx="842">
                  <c:v>0.9821039831313042</c:v>
                </c:pt>
                <c:pt idx="843">
                  <c:v>0.95082153846341522</c:v>
                </c:pt>
                <c:pt idx="844">
                  <c:v>0.91942826665263588</c:v>
                </c:pt>
                <c:pt idx="845">
                  <c:v>0.8951725965414441</c:v>
                </c:pt>
                <c:pt idx="846">
                  <c:v>0.87637410506088709</c:v>
                </c:pt>
                <c:pt idx="847">
                  <c:v>0.85837407221864703</c:v>
                </c:pt>
                <c:pt idx="848">
                  <c:v>0.85837407221864703</c:v>
                </c:pt>
                <c:pt idx="849">
                  <c:v>0.86528273766689245</c:v>
                </c:pt>
                <c:pt idx="850">
                  <c:v>0.87184604600369142</c:v>
                </c:pt>
                <c:pt idx="851">
                  <c:v>0.8752339893875708</c:v>
                </c:pt>
                <c:pt idx="852">
                  <c:v>0.8775117009082507</c:v>
                </c:pt>
                <c:pt idx="853">
                  <c:v>0.7726697640337068</c:v>
                </c:pt>
                <c:pt idx="854">
                  <c:v>0.77658306083378614</c:v>
                </c:pt>
                <c:pt idx="855">
                  <c:v>0.78034245720344708</c:v>
                </c:pt>
                <c:pt idx="856">
                  <c:v>0.78307888621169708</c:v>
                </c:pt>
                <c:pt idx="857">
                  <c:v>0.78678059506081632</c:v>
                </c:pt>
                <c:pt idx="858">
                  <c:v>0.79050250034181169</c:v>
                </c:pt>
                <c:pt idx="859">
                  <c:v>0.80325008583748159</c:v>
                </c:pt>
                <c:pt idx="860">
                  <c:v>0.79030291545801168</c:v>
                </c:pt>
                <c:pt idx="861">
                  <c:v>0.79030291545801179</c:v>
                </c:pt>
                <c:pt idx="862">
                  <c:v>0.77160470619833066</c:v>
                </c:pt>
                <c:pt idx="863">
                  <c:v>0.6649739494981699</c:v>
                </c:pt>
                <c:pt idx="864">
                  <c:v>0.46178605353058949</c:v>
                </c:pt>
                <c:pt idx="865">
                  <c:v>0.45930452168939223</c:v>
                </c:pt>
                <c:pt idx="866">
                  <c:v>0.47958862770421895</c:v>
                </c:pt>
                <c:pt idx="867">
                  <c:v>0.51320643974649172</c:v>
                </c:pt>
                <c:pt idx="868">
                  <c:v>0.53599229691924954</c:v>
                </c:pt>
                <c:pt idx="869">
                  <c:v>0.5620476394225985</c:v>
                </c:pt>
                <c:pt idx="870">
                  <c:v>0.5860293718294548</c:v>
                </c:pt>
                <c:pt idx="871">
                  <c:v>0.61151638508340056</c:v>
                </c:pt>
                <c:pt idx="872">
                  <c:v>0.65129169688513511</c:v>
                </c:pt>
                <c:pt idx="873">
                  <c:v>0.71035170885736432</c:v>
                </c:pt>
                <c:pt idx="874">
                  <c:v>0.71625230294566489</c:v>
                </c:pt>
                <c:pt idx="875">
                  <c:v>0.7286326245713618</c:v>
                </c:pt>
                <c:pt idx="876">
                  <c:v>0.73980215251243564</c:v>
                </c:pt>
                <c:pt idx="877">
                  <c:v>0.7496888626530116</c:v>
                </c:pt>
                <c:pt idx="878">
                  <c:v>0.81893336458824717</c:v>
                </c:pt>
                <c:pt idx="879">
                  <c:v>0.87783366285359377</c:v>
                </c:pt>
                <c:pt idx="880">
                  <c:v>0.92998642981837332</c:v>
                </c:pt>
                <c:pt idx="881">
                  <c:v>0.99206854147129875</c:v>
                </c:pt>
                <c:pt idx="882">
                  <c:v>1.0305153735241581</c:v>
                </c:pt>
                <c:pt idx="883">
                  <c:v>1.0614137903309122</c:v>
                </c:pt>
                <c:pt idx="884">
                  <c:v>1.0571615788787492</c:v>
                </c:pt>
                <c:pt idx="885">
                  <c:v>1.049544132259602</c:v>
                </c:pt>
                <c:pt idx="886">
                  <c:v>1.0392132659754398</c:v>
                </c:pt>
                <c:pt idx="887">
                  <c:v>1.0221173881861989</c:v>
                </c:pt>
                <c:pt idx="888">
                  <c:v>1.0061074024939789</c:v>
                </c:pt>
                <c:pt idx="889">
                  <c:v>0.95214678694249544</c:v>
                </c:pt>
                <c:pt idx="890">
                  <c:v>0.95875482742844409</c:v>
                </c:pt>
                <c:pt idx="891">
                  <c:v>0.97819117100695563</c:v>
                </c:pt>
                <c:pt idx="892">
                  <c:v>1.0300175545953483</c:v>
                </c:pt>
                <c:pt idx="893">
                  <c:v>1.0610123333872699</c:v>
                </c:pt>
                <c:pt idx="894">
                  <c:v>1.0877045443185034</c:v>
                </c:pt>
                <c:pt idx="895">
                  <c:v>1.1079745359252591</c:v>
                </c:pt>
                <c:pt idx="896">
                  <c:v>1.1250799082897289</c:v>
                </c:pt>
                <c:pt idx="897">
                  <c:v>1.097693355521089</c:v>
                </c:pt>
                <c:pt idx="898">
                  <c:v>1.1034539323214589</c:v>
                </c:pt>
                <c:pt idx="899">
                  <c:v>1.105856725698209</c:v>
                </c:pt>
                <c:pt idx="900">
                  <c:v>1.105285613611545</c:v>
                </c:pt>
                <c:pt idx="901">
                  <c:v>1.1009319346977846</c:v>
                </c:pt>
                <c:pt idx="902">
                  <c:v>1.086702609732398</c:v>
                </c:pt>
                <c:pt idx="903">
                  <c:v>1.0551116832937433</c:v>
                </c:pt>
                <c:pt idx="904">
                  <c:v>1.0508286673033498</c:v>
                </c:pt>
                <c:pt idx="905">
                  <c:v>1.0409391782045387</c:v>
                </c:pt>
                <c:pt idx="906">
                  <c:v>1.0310083468567706</c:v>
                </c:pt>
                <c:pt idx="907">
                  <c:v>1.0234350886995822</c:v>
                </c:pt>
                <c:pt idx="908">
                  <c:v>0.95399054264551475</c:v>
                </c:pt>
                <c:pt idx="909">
                  <c:v>0.87176643529560838</c:v>
                </c:pt>
                <c:pt idx="910">
                  <c:v>0.7657258861187598</c:v>
                </c:pt>
                <c:pt idx="911">
                  <c:v>0.68059701912467552</c:v>
                </c:pt>
                <c:pt idx="912">
                  <c:v>0.82533940530139172</c:v>
                </c:pt>
                <c:pt idx="913">
                  <c:v>0.85374148931002392</c:v>
                </c:pt>
                <c:pt idx="914">
                  <c:v>0.8757973380943378</c:v>
                </c:pt>
                <c:pt idx="915">
                  <c:v>0.89687325857786926</c:v>
                </c:pt>
                <c:pt idx="916">
                  <c:v>0.91687903929092041</c:v>
                </c:pt>
                <c:pt idx="917">
                  <c:v>0.9358860847887186</c:v>
                </c:pt>
                <c:pt idx="918">
                  <c:v>0.89250246720828708</c:v>
                </c:pt>
                <c:pt idx="919">
                  <c:v>0.90225322312061307</c:v>
                </c:pt>
                <c:pt idx="920">
                  <c:v>0.91554416463446797</c:v>
                </c:pt>
                <c:pt idx="921">
                  <c:v>0.92792958977848849</c:v>
                </c:pt>
                <c:pt idx="922">
                  <c:v>0.93337337740839255</c:v>
                </c:pt>
                <c:pt idx="923">
                  <c:v>0.95397304378113346</c:v>
                </c:pt>
                <c:pt idx="924">
                  <c:v>0.97259163141055482</c:v>
                </c:pt>
                <c:pt idx="925">
                  <c:v>0.99002408524232433</c:v>
                </c:pt>
                <c:pt idx="926">
                  <c:v>1.0057961451263344</c:v>
                </c:pt>
                <c:pt idx="927">
                  <c:v>1.0246301486967395</c:v>
                </c:pt>
                <c:pt idx="928">
                  <c:v>1.0468039236331876</c:v>
                </c:pt>
                <c:pt idx="929">
                  <c:v>1.0702354162401584</c:v>
                </c:pt>
                <c:pt idx="930">
                  <c:v>1.0920158271260747</c:v>
                </c:pt>
                <c:pt idx="931">
                  <c:v>1.1220232617519184</c:v>
                </c:pt>
                <c:pt idx="932">
                  <c:v>1.1243727825803675</c:v>
                </c:pt>
                <c:pt idx="933">
                  <c:v>1.126708850391815</c:v>
                </c:pt>
                <c:pt idx="934">
                  <c:v>1.1283285771106553</c:v>
                </c:pt>
                <c:pt idx="935">
                  <c:v>1.1288687123293866</c:v>
                </c:pt>
                <c:pt idx="936">
                  <c:v>1.1315489934069263</c:v>
                </c:pt>
                <c:pt idx="937">
                  <c:v>1.1298139858231775</c:v>
                </c:pt>
                <c:pt idx="938">
                  <c:v>1.1312517064109346</c:v>
                </c:pt>
                <c:pt idx="939">
                  <c:v>1.1326953619428399</c:v>
                </c:pt>
                <c:pt idx="940">
                  <c:v>1.1326953619428393</c:v>
                </c:pt>
                <c:pt idx="941">
                  <c:v>1.132968454826369</c:v>
                </c:pt>
                <c:pt idx="942">
                  <c:v>1.0822916642059022</c:v>
                </c:pt>
                <c:pt idx="943">
                  <c:v>1.0887860450000328</c:v>
                </c:pt>
                <c:pt idx="944">
                  <c:v>1.1390430980715034</c:v>
                </c:pt>
                <c:pt idx="945">
                  <c:v>1.1247146937303396</c:v>
                </c:pt>
                <c:pt idx="946">
                  <c:v>1.1206740753833737</c:v>
                </c:pt>
                <c:pt idx="947">
                  <c:v>1.0962276390229535</c:v>
                </c:pt>
                <c:pt idx="948">
                  <c:v>1.0612262970346715</c:v>
                </c:pt>
                <c:pt idx="949">
                  <c:v>1.0257195707639342</c:v>
                </c:pt>
                <c:pt idx="950">
                  <c:v>0.98139900899395638</c:v>
                </c:pt>
                <c:pt idx="951">
                  <c:v>0.93294567540189066</c:v>
                </c:pt>
                <c:pt idx="952">
                  <c:v>0.93652784817598644</c:v>
                </c:pt>
                <c:pt idx="953">
                  <c:v>0.93434954312308516</c:v>
                </c:pt>
                <c:pt idx="954">
                  <c:v>0.93019676530403828</c:v>
                </c:pt>
                <c:pt idx="955">
                  <c:v>0.92587907069647668</c:v>
                </c:pt>
                <c:pt idx="956">
                  <c:v>0.92002116487632668</c:v>
                </c:pt>
                <c:pt idx="957">
                  <c:v>0.96003625470444676</c:v>
                </c:pt>
                <c:pt idx="958">
                  <c:v>0.94922050221311827</c:v>
                </c:pt>
                <c:pt idx="959">
                  <c:v>1.1156418870365041</c:v>
                </c:pt>
                <c:pt idx="960">
                  <c:v>1.125229033840907</c:v>
                </c:pt>
                <c:pt idx="961">
                  <c:v>1.0997798497791773</c:v>
                </c:pt>
                <c:pt idx="962">
                  <c:v>1.0997798497791773</c:v>
                </c:pt>
                <c:pt idx="963">
                  <c:v>1.0971323034545339</c:v>
                </c:pt>
                <c:pt idx="964">
                  <c:v>1.1108086150313932</c:v>
                </c:pt>
                <c:pt idx="965">
                  <c:v>1.1824964112930894</c:v>
                </c:pt>
                <c:pt idx="966">
                  <c:v>1.212381860644433</c:v>
                </c:pt>
                <c:pt idx="967">
                  <c:v>1.2398292334713013</c:v>
                </c:pt>
                <c:pt idx="968">
                  <c:v>1.2630928691866445</c:v>
                </c:pt>
                <c:pt idx="969">
                  <c:v>1.2629249003927763</c:v>
                </c:pt>
                <c:pt idx="970">
                  <c:v>1.2629249003927763</c:v>
                </c:pt>
                <c:pt idx="971">
                  <c:v>1.1881381872531824</c:v>
                </c:pt>
                <c:pt idx="972">
                  <c:v>1.1618099402397792</c:v>
                </c:pt>
                <c:pt idx="973">
                  <c:v>1.1359466109524869</c:v>
                </c:pt>
                <c:pt idx="974">
                  <c:v>1.0542301419410594</c:v>
                </c:pt>
                <c:pt idx="975">
                  <c:v>1.0427492679298833</c:v>
                </c:pt>
                <c:pt idx="976">
                  <c:v>1.0118264877376564</c:v>
                </c:pt>
                <c:pt idx="977">
                  <c:v>0.99456938632084757</c:v>
                </c:pt>
                <c:pt idx="978">
                  <c:v>0.98260368467527348</c:v>
                </c:pt>
                <c:pt idx="979">
                  <c:v>0.98015030272767123</c:v>
                </c:pt>
                <c:pt idx="980">
                  <c:v>0.98038879169003601</c:v>
                </c:pt>
                <c:pt idx="981">
                  <c:v>0.98138533695056673</c:v>
                </c:pt>
                <c:pt idx="982">
                  <c:v>0.9827488727432625</c:v>
                </c:pt>
                <c:pt idx="983">
                  <c:v>0.98350078392958873</c:v>
                </c:pt>
                <c:pt idx="984">
                  <c:v>0.98210295752017096</c:v>
                </c:pt>
                <c:pt idx="985">
                  <c:v>0.97744319905274524</c:v>
                </c:pt>
                <c:pt idx="986">
                  <c:v>0.97485293045675803</c:v>
                </c:pt>
                <c:pt idx="987">
                  <c:v>0.95620541147042959</c:v>
                </c:pt>
                <c:pt idx="988">
                  <c:v>0.95565757900629433</c:v>
                </c:pt>
                <c:pt idx="989">
                  <c:v>0.78239183922216882</c:v>
                </c:pt>
                <c:pt idx="990">
                  <c:v>0.76018518721273021</c:v>
                </c:pt>
                <c:pt idx="991">
                  <c:v>0.76077954667581005</c:v>
                </c:pt>
                <c:pt idx="992">
                  <c:v>0.76947375395212236</c:v>
                </c:pt>
                <c:pt idx="993">
                  <c:v>0.77866057477814321</c:v>
                </c:pt>
                <c:pt idx="994">
                  <c:v>0.75260780875456346</c:v>
                </c:pt>
                <c:pt idx="995">
                  <c:v>0.60370532968990842</c:v>
                </c:pt>
                <c:pt idx="996">
                  <c:v>0.57895619667542564</c:v>
                </c:pt>
                <c:pt idx="997">
                  <c:v>0.54608918086713443</c:v>
                </c:pt>
                <c:pt idx="998">
                  <c:v>0.50351710246007753</c:v>
                </c:pt>
                <c:pt idx="999">
                  <c:v>0.50351710246007753</c:v>
                </c:pt>
                <c:pt idx="1000">
                  <c:v>0.50456122912385981</c:v>
                </c:pt>
                <c:pt idx="1001">
                  <c:v>0.505343600995522</c:v>
                </c:pt>
                <c:pt idx="1002">
                  <c:v>0.51097392661969299</c:v>
                </c:pt>
                <c:pt idx="1003">
                  <c:v>0.50659703039454596</c:v>
                </c:pt>
                <c:pt idx="1004">
                  <c:v>0.50733257743964388</c:v>
                </c:pt>
                <c:pt idx="1005">
                  <c:v>0.50754647016134857</c:v>
                </c:pt>
                <c:pt idx="1006">
                  <c:v>0.50689333943716564</c:v>
                </c:pt>
                <c:pt idx="1007">
                  <c:v>0.50970802718081354</c:v>
                </c:pt>
                <c:pt idx="1008">
                  <c:v>0.51073740821134783</c:v>
                </c:pt>
                <c:pt idx="1009">
                  <c:v>0.51246042659339053</c:v>
                </c:pt>
                <c:pt idx="1010">
                  <c:v>0.52426415573551133</c:v>
                </c:pt>
                <c:pt idx="1011">
                  <c:v>0.52496787228040254</c:v>
                </c:pt>
                <c:pt idx="1012">
                  <c:v>0.52290489249987315</c:v>
                </c:pt>
                <c:pt idx="1013">
                  <c:v>0.52051939661461899</c:v>
                </c:pt>
                <c:pt idx="1014">
                  <c:v>0.51803366256952599</c:v>
                </c:pt>
                <c:pt idx="1015">
                  <c:v>0.51678880883193767</c:v>
                </c:pt>
                <c:pt idx="1016">
                  <c:v>0.51476810063345213</c:v>
                </c:pt>
                <c:pt idx="1017">
                  <c:v>0.50856133462763187</c:v>
                </c:pt>
                <c:pt idx="1018">
                  <c:v>0.5175536818363119</c:v>
                </c:pt>
                <c:pt idx="1019">
                  <c:v>0.55202307412221818</c:v>
                </c:pt>
                <c:pt idx="1020">
                  <c:v>0.53292206410267362</c:v>
                </c:pt>
                <c:pt idx="1021">
                  <c:v>0.57540305026915617</c:v>
                </c:pt>
                <c:pt idx="1022">
                  <c:v>0.62303620397441051</c:v>
                </c:pt>
                <c:pt idx="1023">
                  <c:v>0.65015258931854047</c:v>
                </c:pt>
                <c:pt idx="1024">
                  <c:v>0.65443733500296974</c:v>
                </c:pt>
                <c:pt idx="1025">
                  <c:v>0.65016583051822796</c:v>
                </c:pt>
                <c:pt idx="1026">
                  <c:v>0.65152078403091773</c:v>
                </c:pt>
                <c:pt idx="1027">
                  <c:v>0.65045745658962317</c:v>
                </c:pt>
                <c:pt idx="1028">
                  <c:v>0.64766520683807871</c:v>
                </c:pt>
                <c:pt idx="1029">
                  <c:v>0.64231574358346233</c:v>
                </c:pt>
                <c:pt idx="1030">
                  <c:v>0.63787674005777484</c:v>
                </c:pt>
                <c:pt idx="1031">
                  <c:v>0.63734002817030611</c:v>
                </c:pt>
                <c:pt idx="1032">
                  <c:v>0.6338656916199954</c:v>
                </c:pt>
                <c:pt idx="1033">
                  <c:v>0.63159207087535274</c:v>
                </c:pt>
                <c:pt idx="1034">
                  <c:v>0.6288641113402591</c:v>
                </c:pt>
                <c:pt idx="1035">
                  <c:v>0.62760870557685178</c:v>
                </c:pt>
                <c:pt idx="1036">
                  <c:v>0.62558033380725875</c:v>
                </c:pt>
                <c:pt idx="1037">
                  <c:v>0.66703627950289879</c:v>
                </c:pt>
                <c:pt idx="1038">
                  <c:v>0.68299905797549798</c:v>
                </c:pt>
                <c:pt idx="1039">
                  <c:v>0.68621900662826185</c:v>
                </c:pt>
                <c:pt idx="1040">
                  <c:v>0.68621900662826185</c:v>
                </c:pt>
                <c:pt idx="1041">
                  <c:v>0.68922884790361638</c:v>
                </c:pt>
                <c:pt idx="1042">
                  <c:v>0.69104250343456486</c:v>
                </c:pt>
                <c:pt idx="1043">
                  <c:v>0.69084902727294284</c:v>
                </c:pt>
                <c:pt idx="1044">
                  <c:v>0.68831410387545433</c:v>
                </c:pt>
                <c:pt idx="1045">
                  <c:v>0.68112505234843734</c:v>
                </c:pt>
                <c:pt idx="1046">
                  <c:v>0.66974141747465332</c:v>
                </c:pt>
                <c:pt idx="1047">
                  <c:v>0.64922196113203867</c:v>
                </c:pt>
                <c:pt idx="1048">
                  <c:v>0.6045651037386881</c:v>
                </c:pt>
                <c:pt idx="1049">
                  <c:v>0.5126792078916399</c:v>
                </c:pt>
                <c:pt idx="1050">
                  <c:v>0.50039186287872606</c:v>
                </c:pt>
                <c:pt idx="1051">
                  <c:v>0.47228965955952762</c:v>
                </c:pt>
                <c:pt idx="1052">
                  <c:v>0.43021996958669761</c:v>
                </c:pt>
                <c:pt idx="1053">
                  <c:v>0.40547577486254816</c:v>
                </c:pt>
                <c:pt idx="1054">
                  <c:v>0.40416344173803459</c:v>
                </c:pt>
                <c:pt idx="1055">
                  <c:v>0.40931603804765326</c:v>
                </c:pt>
                <c:pt idx="1056">
                  <c:v>0.39573666213891395</c:v>
                </c:pt>
                <c:pt idx="1057">
                  <c:v>0.3855409098885994</c:v>
                </c:pt>
                <c:pt idx="1058">
                  <c:v>0.37647036897177449</c:v>
                </c:pt>
                <c:pt idx="1059">
                  <c:v>0.37247767955274574</c:v>
                </c:pt>
                <c:pt idx="1060">
                  <c:v>0.36993875868992759</c:v>
                </c:pt>
                <c:pt idx="1061">
                  <c:v>0.3719500627567866</c:v>
                </c:pt>
                <c:pt idx="1062">
                  <c:v>0.38623817680101863</c:v>
                </c:pt>
                <c:pt idx="1063">
                  <c:v>0.40460140709221709</c:v>
                </c:pt>
                <c:pt idx="1064">
                  <c:v>0.42369457510688813</c:v>
                </c:pt>
                <c:pt idx="1065">
                  <c:v>0.4302564967211836</c:v>
                </c:pt>
                <c:pt idx="1066">
                  <c:v>0.43256964125568625</c:v>
                </c:pt>
                <c:pt idx="1067">
                  <c:v>0.36901937048580719</c:v>
                </c:pt>
                <c:pt idx="1068">
                  <c:v>0.34878315933175041</c:v>
                </c:pt>
                <c:pt idx="1069">
                  <c:v>0.35751568993912997</c:v>
                </c:pt>
                <c:pt idx="1070">
                  <c:v>0.41993388937338971</c:v>
                </c:pt>
                <c:pt idx="1071">
                  <c:v>0.42514928620521902</c:v>
                </c:pt>
                <c:pt idx="1072">
                  <c:v>0.43403256821587916</c:v>
                </c:pt>
                <c:pt idx="1073">
                  <c:v>0.43403256821587916</c:v>
                </c:pt>
                <c:pt idx="1074">
                  <c:v>0.43869121709444231</c:v>
                </c:pt>
                <c:pt idx="1075">
                  <c:v>0.44461969776091609</c:v>
                </c:pt>
                <c:pt idx="1076">
                  <c:v>0.45134350544814705</c:v>
                </c:pt>
                <c:pt idx="1077">
                  <c:v>0.45933984812648504</c:v>
                </c:pt>
                <c:pt idx="1078">
                  <c:v>0.47006724875090566</c:v>
                </c:pt>
                <c:pt idx="1079">
                  <c:v>0.49684049510500733</c:v>
                </c:pt>
                <c:pt idx="1080">
                  <c:v>0.52606450715361419</c:v>
                </c:pt>
                <c:pt idx="1081">
                  <c:v>0.55727484507790237</c:v>
                </c:pt>
                <c:pt idx="1082">
                  <c:v>0.58703099568555539</c:v>
                </c:pt>
                <c:pt idx="1083">
                  <c:v>0.61559649764124558</c:v>
                </c:pt>
                <c:pt idx="1084">
                  <c:v>0.64211943511177938</c:v>
                </c:pt>
                <c:pt idx="1085">
                  <c:v>0.66316818731864047</c:v>
                </c:pt>
                <c:pt idx="1086">
                  <c:v>0.81858987429812868</c:v>
                </c:pt>
                <c:pt idx="1087">
                  <c:v>0.9021265185339794</c:v>
                </c:pt>
                <c:pt idx="1088">
                  <c:v>0.94616055200635252</c:v>
                </c:pt>
                <c:pt idx="1089">
                  <c:v>0.95117294886347137</c:v>
                </c:pt>
                <c:pt idx="1090">
                  <c:v>0.96742232855674004</c:v>
                </c:pt>
                <c:pt idx="1091">
                  <c:v>0.97724550914978869</c:v>
                </c:pt>
                <c:pt idx="1092">
                  <c:v>0.97045553642230264</c:v>
                </c:pt>
                <c:pt idx="1093">
                  <c:v>0.9580692793404556</c:v>
                </c:pt>
                <c:pt idx="1094">
                  <c:v>0.94600168520174421</c:v>
                </c:pt>
                <c:pt idx="1095">
                  <c:v>0.95281257508024153</c:v>
                </c:pt>
                <c:pt idx="1096">
                  <c:v>0.96201493536858906</c:v>
                </c:pt>
                <c:pt idx="1097">
                  <c:v>0.9641618407152901</c:v>
                </c:pt>
                <c:pt idx="1098">
                  <c:v>0.96667095655016921</c:v>
                </c:pt>
                <c:pt idx="1099">
                  <c:v>0.96566293951610227</c:v>
                </c:pt>
                <c:pt idx="1100">
                  <c:v>0.94818486104224686</c:v>
                </c:pt>
                <c:pt idx="1101">
                  <c:v>0.93916615812003723</c:v>
                </c:pt>
                <c:pt idx="1102">
                  <c:v>0.92522524305297327</c:v>
                </c:pt>
                <c:pt idx="1103">
                  <c:v>0.92522524305297316</c:v>
                </c:pt>
                <c:pt idx="1104">
                  <c:v>0.92545014707210682</c:v>
                </c:pt>
                <c:pt idx="1105">
                  <c:v>0.94084258035716017</c:v>
                </c:pt>
                <c:pt idx="1106">
                  <c:v>0.94558252628889494</c:v>
                </c:pt>
                <c:pt idx="1107">
                  <c:v>0.94459435223534827</c:v>
                </c:pt>
                <c:pt idx="1108">
                  <c:v>0.94282618821410857</c:v>
                </c:pt>
                <c:pt idx="1109">
                  <c:v>0.93550707819935686</c:v>
                </c:pt>
                <c:pt idx="1110">
                  <c:v>0.92583095901412071</c:v>
                </c:pt>
                <c:pt idx="1111">
                  <c:v>0.91337012244734639</c:v>
                </c:pt>
                <c:pt idx="1112">
                  <c:v>0.89923417427296615</c:v>
                </c:pt>
                <c:pt idx="1113">
                  <c:v>0.88150190379332383</c:v>
                </c:pt>
                <c:pt idx="1114">
                  <c:v>0.86000593150858207</c:v>
                </c:pt>
                <c:pt idx="1115">
                  <c:v>0.83630832356670615</c:v>
                </c:pt>
                <c:pt idx="1116">
                  <c:v>0.68366089247874895</c:v>
                </c:pt>
                <c:pt idx="1117">
                  <c:v>0.54709999237404294</c:v>
                </c:pt>
                <c:pt idx="1118">
                  <c:v>0.42953353066909938</c:v>
                </c:pt>
                <c:pt idx="1119">
                  <c:v>0.42087907021892834</c:v>
                </c:pt>
                <c:pt idx="1120">
                  <c:v>0.38520656834534289</c:v>
                </c:pt>
                <c:pt idx="1121">
                  <c:v>0.34829924039821186</c:v>
                </c:pt>
                <c:pt idx="1122">
                  <c:v>0.33828284726242142</c:v>
                </c:pt>
                <c:pt idx="1123">
                  <c:v>0.34433479433148201</c:v>
                </c:pt>
                <c:pt idx="1124">
                  <c:v>0.37962255976297171</c:v>
                </c:pt>
                <c:pt idx="1125">
                  <c:v>0.6092385965889745</c:v>
                </c:pt>
                <c:pt idx="1126">
                  <c:v>0.67915800781772651</c:v>
                </c:pt>
                <c:pt idx="1127">
                  <c:v>0.6905949384586425</c:v>
                </c:pt>
                <c:pt idx="1128">
                  <c:v>0.69252675794174101</c:v>
                </c:pt>
                <c:pt idx="1129">
                  <c:v>0.77421928537132101</c:v>
                </c:pt>
                <c:pt idx="1130">
                  <c:v>0.77459893759460763</c:v>
                </c:pt>
                <c:pt idx="1131">
                  <c:v>0.77459893759460763</c:v>
                </c:pt>
                <c:pt idx="1132">
                  <c:v>0.7747030450442044</c:v>
                </c:pt>
                <c:pt idx="1133">
                  <c:v>0.78554067353768631</c:v>
                </c:pt>
                <c:pt idx="1134">
                  <c:v>0.80159148175074979</c:v>
                </c:pt>
                <c:pt idx="1135">
                  <c:v>0.78071839573581481</c:v>
                </c:pt>
                <c:pt idx="1136">
                  <c:v>0.77188337670503893</c:v>
                </c:pt>
                <c:pt idx="1137">
                  <c:v>0.77188337670503882</c:v>
                </c:pt>
                <c:pt idx="1138">
                  <c:v>0.77188337670503882</c:v>
                </c:pt>
                <c:pt idx="1139">
                  <c:v>0.77188337670503882</c:v>
                </c:pt>
                <c:pt idx="1140">
                  <c:v>0.7718833767050387</c:v>
                </c:pt>
                <c:pt idx="1141">
                  <c:v>0.77188337670503859</c:v>
                </c:pt>
                <c:pt idx="1142">
                  <c:v>0.77188337670503893</c:v>
                </c:pt>
                <c:pt idx="1143">
                  <c:v>0.83371025616169947</c:v>
                </c:pt>
                <c:pt idx="1144">
                  <c:v>0.90941099639840106</c:v>
                </c:pt>
                <c:pt idx="1145">
                  <c:v>0.96244356992267721</c:v>
                </c:pt>
                <c:pt idx="1146">
                  <c:v>1.0287141359406431</c:v>
                </c:pt>
                <c:pt idx="1147">
                  <c:v>1.0758821772474989</c:v>
                </c:pt>
                <c:pt idx="1148">
                  <c:v>1.1045741926786015</c:v>
                </c:pt>
                <c:pt idx="1149">
                  <c:v>1.1061493396762507</c:v>
                </c:pt>
                <c:pt idx="1150">
                  <c:v>1.1060628820410181</c:v>
                </c:pt>
                <c:pt idx="1151">
                  <c:v>1.1055434155541259</c:v>
                </c:pt>
                <c:pt idx="1152">
                  <c:v>1.1044841531226235</c:v>
                </c:pt>
                <c:pt idx="1153">
                  <c:v>1.1002936252350783</c:v>
                </c:pt>
                <c:pt idx="1154">
                  <c:v>1.0781248977804896</c:v>
                </c:pt>
                <c:pt idx="1155">
                  <c:v>0.98313392136279809</c:v>
                </c:pt>
                <c:pt idx="1156">
                  <c:v>0.90499793506417303</c:v>
                </c:pt>
                <c:pt idx="1157">
                  <c:v>0.87546444310882787</c:v>
                </c:pt>
                <c:pt idx="1158">
                  <c:v>0.87780241455743491</c:v>
                </c:pt>
                <c:pt idx="1159">
                  <c:v>0.8344220336532826</c:v>
                </c:pt>
                <c:pt idx="1160">
                  <c:v>0.83587531069681731</c:v>
                </c:pt>
                <c:pt idx="1161">
                  <c:v>0.83587531069681731</c:v>
                </c:pt>
                <c:pt idx="1162">
                  <c:v>0.83650617384889669</c:v>
                </c:pt>
                <c:pt idx="1163">
                  <c:v>0.83437068173851148</c:v>
                </c:pt>
                <c:pt idx="1164">
                  <c:v>0.82568984584004013</c:v>
                </c:pt>
                <c:pt idx="1165">
                  <c:v>0.82583932247331415</c:v>
                </c:pt>
                <c:pt idx="1166">
                  <c:v>0.82613846687671155</c:v>
                </c:pt>
                <c:pt idx="1167">
                  <c:v>0.832141863620525</c:v>
                </c:pt>
                <c:pt idx="1168">
                  <c:v>0.83695199189133607</c:v>
                </c:pt>
                <c:pt idx="1169">
                  <c:v>0.84058933676112457</c:v>
                </c:pt>
                <c:pt idx="1170">
                  <c:v>0.84306907796854713</c:v>
                </c:pt>
                <c:pt idx="1171">
                  <c:v>0.84148452791986006</c:v>
                </c:pt>
                <c:pt idx="1172">
                  <c:v>0.83758400497546626</c:v>
                </c:pt>
                <c:pt idx="1173">
                  <c:v>0.80171594807872293</c:v>
                </c:pt>
                <c:pt idx="1174">
                  <c:v>0.69660314493905395</c:v>
                </c:pt>
                <c:pt idx="1175">
                  <c:v>0.6564015584709243</c:v>
                </c:pt>
                <c:pt idx="1176">
                  <c:v>0.56171663492289947</c:v>
                </c:pt>
                <c:pt idx="1177">
                  <c:v>0.54335692045754469</c:v>
                </c:pt>
                <c:pt idx="1178">
                  <c:v>0.52476229190919399</c:v>
                </c:pt>
                <c:pt idx="1179">
                  <c:v>0.53531682462665742</c:v>
                </c:pt>
                <c:pt idx="1180">
                  <c:v>0.54803929351169145</c:v>
                </c:pt>
                <c:pt idx="1181">
                  <c:v>0.56045365969946137</c:v>
                </c:pt>
                <c:pt idx="1182">
                  <c:v>0.57258126597857761</c:v>
                </c:pt>
                <c:pt idx="1183">
                  <c:v>0.58079003117471772</c:v>
                </c:pt>
                <c:pt idx="1184">
                  <c:v>0.58802467535855718</c:v>
                </c:pt>
                <c:pt idx="1185">
                  <c:v>0.58802467535855718</c:v>
                </c:pt>
                <c:pt idx="1186">
                  <c:v>0.59195547332015974</c:v>
                </c:pt>
                <c:pt idx="1187">
                  <c:v>0.59255842465895814</c:v>
                </c:pt>
                <c:pt idx="1188">
                  <c:v>0.58888584199121885</c:v>
                </c:pt>
                <c:pt idx="1189">
                  <c:v>0.58444824682109853</c:v>
                </c:pt>
                <c:pt idx="1190">
                  <c:v>0.58377247657576836</c:v>
                </c:pt>
                <c:pt idx="1191">
                  <c:v>0.58377247657576847</c:v>
                </c:pt>
                <c:pt idx="1192">
                  <c:v>0.58603722369401723</c:v>
                </c:pt>
                <c:pt idx="1193">
                  <c:v>0.58078288978168557</c:v>
                </c:pt>
                <c:pt idx="1194">
                  <c:v>0.58090958329766595</c:v>
                </c:pt>
                <c:pt idx="1195">
                  <c:v>0.58082502877848918</c:v>
                </c:pt>
                <c:pt idx="1196">
                  <c:v>0.58606463866710046</c:v>
                </c:pt>
                <c:pt idx="1197">
                  <c:v>0.71852045011167698</c:v>
                </c:pt>
                <c:pt idx="1198">
                  <c:v>0.75808892970473651</c:v>
                </c:pt>
                <c:pt idx="1199">
                  <c:v>0.79083435476175989</c:v>
                </c:pt>
                <c:pt idx="1200">
                  <c:v>0.81757696348442732</c:v>
                </c:pt>
                <c:pt idx="1201">
                  <c:v>0.84318170745165866</c:v>
                </c:pt>
                <c:pt idx="1202">
                  <c:v>0.86827537357488827</c:v>
                </c:pt>
                <c:pt idx="1203">
                  <c:v>0.89035907150565319</c:v>
                </c:pt>
                <c:pt idx="1204">
                  <c:v>0.90939574643423859</c:v>
                </c:pt>
                <c:pt idx="1205">
                  <c:v>0.90602326368236985</c:v>
                </c:pt>
                <c:pt idx="1206">
                  <c:v>0.88557706866635832</c:v>
                </c:pt>
                <c:pt idx="1207">
                  <c:v>0.86130577971332811</c:v>
                </c:pt>
                <c:pt idx="1208">
                  <c:v>0.84298499275878114</c:v>
                </c:pt>
                <c:pt idx="1209">
                  <c:v>0.8496158894821616</c:v>
                </c:pt>
                <c:pt idx="1210">
                  <c:v>0.86204725578692076</c:v>
                </c:pt>
                <c:pt idx="1211">
                  <c:v>0.86204725578692065</c:v>
                </c:pt>
                <c:pt idx="1212">
                  <c:v>0.86109732427213459</c:v>
                </c:pt>
                <c:pt idx="1213">
                  <c:v>0.85923784867108099</c:v>
                </c:pt>
                <c:pt idx="1214">
                  <c:v>0.85714950404280199</c:v>
                </c:pt>
                <c:pt idx="1215">
                  <c:v>0.85419105671427864</c:v>
                </c:pt>
                <c:pt idx="1216">
                  <c:v>0.85098386466319187</c:v>
                </c:pt>
                <c:pt idx="1217">
                  <c:v>0.85610071761506701</c:v>
                </c:pt>
                <c:pt idx="1218">
                  <c:v>0.86032902160394242</c:v>
                </c:pt>
                <c:pt idx="1219">
                  <c:v>0.86241463009638475</c:v>
                </c:pt>
                <c:pt idx="1220">
                  <c:v>0.86214544028070939</c:v>
                </c:pt>
                <c:pt idx="1221">
                  <c:v>0.86184928640093095</c:v>
                </c:pt>
                <c:pt idx="1222">
                  <c:v>0.85001325109922621</c:v>
                </c:pt>
                <c:pt idx="1223">
                  <c:v>0.84952736504726711</c:v>
                </c:pt>
                <c:pt idx="1224">
                  <c:v>0.85145083204349548</c:v>
                </c:pt>
                <c:pt idx="1225">
                  <c:v>0.85779214817635818</c:v>
                </c:pt>
                <c:pt idx="1226">
                  <c:v>0.86901046353614797</c:v>
                </c:pt>
                <c:pt idx="1227">
                  <c:v>0.73558293204658665</c:v>
                </c:pt>
                <c:pt idx="1228">
                  <c:v>0.72384410386196052</c:v>
                </c:pt>
                <c:pt idx="1229">
                  <c:v>0.70581977094687609</c:v>
                </c:pt>
                <c:pt idx="1230">
                  <c:v>0.67706783592773878</c:v>
                </c:pt>
                <c:pt idx="1231">
                  <c:v>0.64021464249704108</c:v>
                </c:pt>
                <c:pt idx="1232">
                  <c:v>0.59552314407930751</c:v>
                </c:pt>
                <c:pt idx="1233">
                  <c:v>0.5434979927517577</c:v>
                </c:pt>
                <c:pt idx="1234">
                  <c:v>0.48253809474568898</c:v>
                </c:pt>
                <c:pt idx="1235">
                  <c:v>0.47632658524491034</c:v>
                </c:pt>
                <c:pt idx="1236">
                  <c:v>0.47133829686991024</c:v>
                </c:pt>
                <c:pt idx="1237">
                  <c:v>0.46766471629903872</c:v>
                </c:pt>
                <c:pt idx="1238">
                  <c:v>0.46467259206071176</c:v>
                </c:pt>
                <c:pt idx="1239">
                  <c:v>0.47598993696967334</c:v>
                </c:pt>
                <c:pt idx="1240">
                  <c:v>0.47598993696967323</c:v>
                </c:pt>
                <c:pt idx="1241">
                  <c:v>0.51440852120511604</c:v>
                </c:pt>
                <c:pt idx="1242">
                  <c:v>0.54315867188716749</c:v>
                </c:pt>
                <c:pt idx="1243">
                  <c:v>0.54346156074010987</c:v>
                </c:pt>
                <c:pt idx="1244">
                  <c:v>0.55071819222018437</c:v>
                </c:pt>
                <c:pt idx="1245">
                  <c:v>0.57120056575495171</c:v>
                </c:pt>
                <c:pt idx="1246">
                  <c:v>0.5927190396025378</c:v>
                </c:pt>
                <c:pt idx="1247">
                  <c:v>0.63293432979247788</c:v>
                </c:pt>
                <c:pt idx="1248">
                  <c:v>0.68251764397132719</c:v>
                </c:pt>
                <c:pt idx="1249">
                  <c:v>0.79784509167534501</c:v>
                </c:pt>
                <c:pt idx="1250">
                  <c:v>0.80164109377315917</c:v>
                </c:pt>
                <c:pt idx="1251">
                  <c:v>0.90736472749239283</c:v>
                </c:pt>
                <c:pt idx="1252">
                  <c:v>0.98448939343230069</c:v>
                </c:pt>
                <c:pt idx="1253">
                  <c:v>1.0091148128322007</c:v>
                </c:pt>
                <c:pt idx="1254">
                  <c:v>1.0183049364096821</c:v>
                </c:pt>
                <c:pt idx="1255">
                  <c:v>1.0181260256063385</c:v>
                </c:pt>
                <c:pt idx="1256">
                  <c:v>1.054280163580686</c:v>
                </c:pt>
                <c:pt idx="1257">
                  <c:v>1.0856913400413899</c:v>
                </c:pt>
                <c:pt idx="1258">
                  <c:v>1.1127612823873814</c:v>
                </c:pt>
                <c:pt idx="1259">
                  <c:v>1.1361172992588386</c:v>
                </c:pt>
                <c:pt idx="1260">
                  <c:v>1.1583242825281947</c:v>
                </c:pt>
                <c:pt idx="1261">
                  <c:v>1.1788554136579472</c:v>
                </c:pt>
                <c:pt idx="1262">
                  <c:v>1.1980428075858029</c:v>
                </c:pt>
                <c:pt idx="1263">
                  <c:v>1.215938944804771</c:v>
                </c:pt>
                <c:pt idx="1264">
                  <c:v>1.2322480237037385</c:v>
                </c:pt>
                <c:pt idx="1265">
                  <c:v>1.247173378425557</c:v>
                </c:pt>
                <c:pt idx="1266">
                  <c:v>1.2609842402409861</c:v>
                </c:pt>
                <c:pt idx="1267">
                  <c:v>1.2737457961240304</c:v>
                </c:pt>
                <c:pt idx="1268">
                  <c:v>1.2855984891553305</c:v>
                </c:pt>
                <c:pt idx="1269">
                  <c:v>1.2883277284694168</c:v>
                </c:pt>
                <c:pt idx="1270">
                  <c:v>1.2883277284694168</c:v>
                </c:pt>
                <c:pt idx="1271">
                  <c:v>1.2929673794600884</c:v>
                </c:pt>
                <c:pt idx="1272">
                  <c:v>1.2973363268628684</c:v>
                </c:pt>
                <c:pt idx="1273">
                  <c:v>1.3009860391270718</c:v>
                </c:pt>
                <c:pt idx="1274">
                  <c:v>1.2924466393817529</c:v>
                </c:pt>
                <c:pt idx="1275">
                  <c:v>1.275539571864756</c:v>
                </c:pt>
                <c:pt idx="1276">
                  <c:v>1.2565217462162412</c:v>
                </c:pt>
                <c:pt idx="1277">
                  <c:v>1.2226531520786394</c:v>
                </c:pt>
                <c:pt idx="1278">
                  <c:v>1.174227442478174</c:v>
                </c:pt>
                <c:pt idx="1279">
                  <c:v>1.1283023033369819</c:v>
                </c:pt>
                <c:pt idx="1280">
                  <c:v>1.1188380545224335</c:v>
                </c:pt>
                <c:pt idx="1281">
                  <c:v>0.99067873962487718</c:v>
                </c:pt>
                <c:pt idx="1282">
                  <c:v>0.84611743632843828</c:v>
                </c:pt>
                <c:pt idx="1283">
                  <c:v>0.76279311759346979</c:v>
                </c:pt>
                <c:pt idx="1284">
                  <c:v>0.70285781013830462</c:v>
                </c:pt>
                <c:pt idx="1285">
                  <c:v>0.67996939391838296</c:v>
                </c:pt>
                <c:pt idx="1286">
                  <c:v>0.67257858142546056</c:v>
                </c:pt>
                <c:pt idx="1287">
                  <c:v>0.66365560385145095</c:v>
                </c:pt>
                <c:pt idx="1288">
                  <c:v>0.65313766822866748</c:v>
                </c:pt>
                <c:pt idx="1289">
                  <c:v>0.64094625952534057</c:v>
                </c:pt>
                <c:pt idx="1290">
                  <c:v>0.62698376561476266</c:v>
                </c:pt>
                <c:pt idx="1291">
                  <c:v>0.61112880630355437</c:v>
                </c:pt>
                <c:pt idx="1292">
                  <c:v>0.59322966399881316</c:v>
                </c:pt>
                <c:pt idx="1293">
                  <c:v>0.57309483631147839</c:v>
                </c:pt>
                <c:pt idx="1294">
                  <c:v>0.55047905443369349</c:v>
                </c:pt>
                <c:pt idx="1295">
                  <c:v>0.52506183268082196</c:v>
                </c:pt>
                <c:pt idx="1296">
                  <c:v>0.49641304143895293</c:v>
                </c:pt>
                <c:pt idx="1297">
                  <c:v>0.46393440062987101</c:v>
                </c:pt>
                <c:pt idx="1298">
                  <c:v>0.42675237465012533</c:v>
                </c:pt>
                <c:pt idx="1299">
                  <c:v>0.38303303179579312</c:v>
                </c:pt>
                <c:pt idx="1300">
                  <c:v>0.32984185892537843</c:v>
                </c:pt>
                <c:pt idx="1301">
                  <c:v>0.26174887086094539</c:v>
                </c:pt>
                <c:pt idx="1302">
                  <c:v>0.23448375268186183</c:v>
                </c:pt>
                <c:pt idx="1303">
                  <c:v>0.24861879814547241</c:v>
                </c:pt>
                <c:pt idx="1304">
                  <c:v>0.27346693500603619</c:v>
                </c:pt>
                <c:pt idx="1305">
                  <c:v>0.29862807104023281</c:v>
                </c:pt>
                <c:pt idx="1306">
                  <c:v>0.39631657979962231</c:v>
                </c:pt>
                <c:pt idx="1307">
                  <c:v>0.48782030163041457</c:v>
                </c:pt>
                <c:pt idx="1308">
                  <c:v>0.55839609724665673</c:v>
                </c:pt>
                <c:pt idx="1309">
                  <c:v>0.61354382516922246</c:v>
                </c:pt>
                <c:pt idx="1310">
                  <c:v>0.64977942294154034</c:v>
                </c:pt>
                <c:pt idx="1311">
                  <c:v>0.67560600093175494</c:v>
                </c:pt>
                <c:pt idx="1312">
                  <c:v>0.69409211025391926</c:v>
                </c:pt>
                <c:pt idx="1313">
                  <c:v>0.70576399289721437</c:v>
                </c:pt>
                <c:pt idx="1314">
                  <c:v>0.71073209175783614</c:v>
                </c:pt>
                <c:pt idx="1315">
                  <c:v>0.70860405203671539</c:v>
                </c:pt>
                <c:pt idx="1316">
                  <c:v>0.69943364912586159</c:v>
                </c:pt>
                <c:pt idx="1317">
                  <c:v>0.68874407242515223</c:v>
                </c:pt>
                <c:pt idx="1318">
                  <c:v>0.67849781711997881</c:v>
                </c:pt>
                <c:pt idx="1319">
                  <c:v>0.6698813972145351</c:v>
                </c:pt>
                <c:pt idx="1320">
                  <c:v>0.67609667457072731</c:v>
                </c:pt>
                <c:pt idx="1321">
                  <c:v>0.67983492417084479</c:v>
                </c:pt>
                <c:pt idx="1322">
                  <c:v>0.67789180412330641</c:v>
                </c:pt>
                <c:pt idx="1323">
                  <c:v>0.67021790135083303</c:v>
                </c:pt>
                <c:pt idx="1324">
                  <c:v>0.65661231766017703</c:v>
                </c:pt>
                <c:pt idx="1325">
                  <c:v>0.63669490286432662</c:v>
                </c:pt>
                <c:pt idx="1326">
                  <c:v>0.60984754339273184</c:v>
                </c:pt>
                <c:pt idx="1327">
                  <c:v>0.82950153184446451</c:v>
                </c:pt>
                <c:pt idx="1328">
                  <c:v>0.79367126166679403</c:v>
                </c:pt>
                <c:pt idx="1329">
                  <c:v>0.82894237008173699</c:v>
                </c:pt>
                <c:pt idx="1330">
                  <c:v>0.87392750640761596</c:v>
                </c:pt>
                <c:pt idx="1331">
                  <c:v>0.94418543704119107</c:v>
                </c:pt>
                <c:pt idx="1332">
                  <c:v>1.0199357337946084</c:v>
                </c:pt>
                <c:pt idx="1333">
                  <c:v>1.0511849680774268</c:v>
                </c:pt>
                <c:pt idx="1334">
                  <c:v>1.0514872170731693</c:v>
                </c:pt>
                <c:pt idx="1335">
                  <c:v>1.0519812155846988</c:v>
                </c:pt>
                <c:pt idx="1336">
                  <c:v>1.0523857616122307</c:v>
                </c:pt>
                <c:pt idx="1337">
                  <c:v>1.0497223413643995</c:v>
                </c:pt>
                <c:pt idx="1338">
                  <c:v>1.0470341838038979</c:v>
                </c:pt>
                <c:pt idx="1339">
                  <c:v>1.0443792635660862</c:v>
                </c:pt>
                <c:pt idx="1340">
                  <c:v>1.0435541186833353</c:v>
                </c:pt>
                <c:pt idx="1341">
                  <c:v>1.0628774015699882</c:v>
                </c:pt>
                <c:pt idx="1342">
                  <c:v>1.087434549662796</c:v>
                </c:pt>
                <c:pt idx="1343">
                  <c:v>1.1533480786987937</c:v>
                </c:pt>
                <c:pt idx="1344">
                  <c:v>1.2346893543213782</c:v>
                </c:pt>
                <c:pt idx="1345">
                  <c:v>1.3245201030060296</c:v>
                </c:pt>
                <c:pt idx="1346">
                  <c:v>1.4098095181457559</c:v>
                </c:pt>
                <c:pt idx="1347">
                  <c:v>1.4238556186346536</c:v>
                </c:pt>
                <c:pt idx="1348">
                  <c:v>1.4229419527893636</c:v>
                </c:pt>
                <c:pt idx="1349">
                  <c:v>1.4222999809383539</c:v>
                </c:pt>
                <c:pt idx="1350">
                  <c:v>1.4126806900244766</c:v>
                </c:pt>
                <c:pt idx="1351">
                  <c:v>1.4012994040045748</c:v>
                </c:pt>
                <c:pt idx="1352">
                  <c:v>1.3906967866405313</c:v>
                </c:pt>
                <c:pt idx="1353">
                  <c:v>1.3805811611691841</c:v>
                </c:pt>
                <c:pt idx="1354">
                  <c:v>1.3805811611691841</c:v>
                </c:pt>
                <c:pt idx="1355">
                  <c:v>1.3685501931854365</c:v>
                </c:pt>
                <c:pt idx="1356">
                  <c:v>1.3670674498482673</c:v>
                </c:pt>
                <c:pt idx="1357">
                  <c:v>1.1590858684137344</c:v>
                </c:pt>
                <c:pt idx="1358">
                  <c:v>1.1768499644291457</c:v>
                </c:pt>
                <c:pt idx="1359">
                  <c:v>1.1747401592713724</c:v>
                </c:pt>
                <c:pt idx="1360">
                  <c:v>1.1679574048196024</c:v>
                </c:pt>
                <c:pt idx="1361">
                  <c:v>1.1482905857457373</c:v>
                </c:pt>
                <c:pt idx="1362">
                  <c:v>1.1217112056727558</c:v>
                </c:pt>
                <c:pt idx="1363">
                  <c:v>1.0427580298782755</c:v>
                </c:pt>
                <c:pt idx="1364">
                  <c:v>1.0425454226744588</c:v>
                </c:pt>
                <c:pt idx="1365">
                  <c:v>1.0417521411873516</c:v>
                </c:pt>
                <c:pt idx="1366">
                  <c:v>1.0387442577203219</c:v>
                </c:pt>
                <c:pt idx="1367">
                  <c:v>1.0341373106499727</c:v>
                </c:pt>
                <c:pt idx="1368">
                  <c:v>1.0290092506136204</c:v>
                </c:pt>
                <c:pt idx="1369">
                  <c:v>1.0237440809265996</c:v>
                </c:pt>
                <c:pt idx="1370">
                  <c:v>1.0185960135166248</c:v>
                </c:pt>
                <c:pt idx="1371">
                  <c:v>1.0227483838695426</c:v>
                </c:pt>
                <c:pt idx="1372">
                  <c:v>1.1069250441796143</c:v>
                </c:pt>
                <c:pt idx="1373">
                  <c:v>1.1010903829502947</c:v>
                </c:pt>
                <c:pt idx="1374">
                  <c:v>1.0689531015239515</c:v>
                </c:pt>
                <c:pt idx="1375">
                  <c:v>0.98274278642419166</c:v>
                </c:pt>
                <c:pt idx="1376">
                  <c:v>0.86358279785325132</c:v>
                </c:pt>
                <c:pt idx="1377">
                  <c:v>0.91761282526822696</c:v>
                </c:pt>
                <c:pt idx="1378">
                  <c:v>0.96780776325742346</c:v>
                </c:pt>
                <c:pt idx="1379">
                  <c:v>0.96981603050981202</c:v>
                </c:pt>
                <c:pt idx="1380">
                  <c:v>0.96451200367230816</c:v>
                </c:pt>
                <c:pt idx="1381">
                  <c:v>1.032298446547248</c:v>
                </c:pt>
                <c:pt idx="1382">
                  <c:v>1.0659252165692763</c:v>
                </c:pt>
                <c:pt idx="1383">
                  <c:v>1.0731947491285045</c:v>
                </c:pt>
                <c:pt idx="1384">
                  <c:v>1.0565997399195242</c:v>
                </c:pt>
                <c:pt idx="1385">
                  <c:v>1.053994677920951</c:v>
                </c:pt>
                <c:pt idx="1386">
                  <c:v>1.0346623755364823</c:v>
                </c:pt>
                <c:pt idx="1387">
                  <c:v>0.99954276112906038</c:v>
                </c:pt>
                <c:pt idx="1388">
                  <c:v>0.9578378691901358</c:v>
                </c:pt>
                <c:pt idx="1389">
                  <c:v>0.95783786919013569</c:v>
                </c:pt>
                <c:pt idx="1390">
                  <c:v>0.95783786919013569</c:v>
                </c:pt>
                <c:pt idx="1391">
                  <c:v>0.95783786919013569</c:v>
                </c:pt>
                <c:pt idx="1392">
                  <c:v>0.95783786919013603</c:v>
                </c:pt>
                <c:pt idx="1393">
                  <c:v>0.95783786919013558</c:v>
                </c:pt>
                <c:pt idx="1394">
                  <c:v>0.95795387182120229</c:v>
                </c:pt>
                <c:pt idx="1395">
                  <c:v>0.95017965572959162</c:v>
                </c:pt>
                <c:pt idx="1396">
                  <c:v>0.94424528288710974</c:v>
                </c:pt>
                <c:pt idx="1397">
                  <c:v>0.94072990178938076</c:v>
                </c:pt>
                <c:pt idx="1398">
                  <c:v>0.93706455108796372</c:v>
                </c:pt>
                <c:pt idx="1399">
                  <c:v>0.93559421871025228</c:v>
                </c:pt>
                <c:pt idx="1400">
                  <c:v>0.93454220767794094</c:v>
                </c:pt>
                <c:pt idx="1401">
                  <c:v>0.93454220767794094</c:v>
                </c:pt>
                <c:pt idx="1402">
                  <c:v>0.86013640747475839</c:v>
                </c:pt>
                <c:pt idx="1403">
                  <c:v>0.80133927806288097</c:v>
                </c:pt>
                <c:pt idx="1404">
                  <c:v>0.77797741279522825</c:v>
                </c:pt>
                <c:pt idx="1405">
                  <c:v>0.77421500391351072</c:v>
                </c:pt>
                <c:pt idx="1406">
                  <c:v>0.77525776463926654</c:v>
                </c:pt>
                <c:pt idx="1407">
                  <c:v>0.70993913140354792</c:v>
                </c:pt>
                <c:pt idx="1408">
                  <c:v>0.65843169147410052</c:v>
                </c:pt>
                <c:pt idx="1409">
                  <c:v>0.66064199081744468</c:v>
                </c:pt>
                <c:pt idx="1410">
                  <c:v>0.65590545418565627</c:v>
                </c:pt>
                <c:pt idx="1411">
                  <c:v>0.55475234650007865</c:v>
                </c:pt>
                <c:pt idx="1412">
                  <c:v>0.44608078883464708</c:v>
                </c:pt>
                <c:pt idx="1413">
                  <c:v>0.36870817683643142</c:v>
                </c:pt>
                <c:pt idx="1414">
                  <c:v>0.29301957772114151</c:v>
                </c:pt>
                <c:pt idx="1415">
                  <c:v>0.36029040619785896</c:v>
                </c:pt>
                <c:pt idx="1416">
                  <c:v>0.49583112850685512</c:v>
                </c:pt>
                <c:pt idx="1417">
                  <c:v>0.60085994542440158</c:v>
                </c:pt>
                <c:pt idx="1418">
                  <c:v>0.6325726523748012</c:v>
                </c:pt>
                <c:pt idx="1419">
                  <c:v>0.64483232823226522</c:v>
                </c:pt>
                <c:pt idx="1420">
                  <c:v>0.64887945360557553</c:v>
                </c:pt>
                <c:pt idx="1421">
                  <c:v>0.64888320435893543</c:v>
                </c:pt>
                <c:pt idx="1422">
                  <c:v>0.67539745393142525</c:v>
                </c:pt>
                <c:pt idx="1423">
                  <c:v>0.68707666246534349</c:v>
                </c:pt>
                <c:pt idx="1424">
                  <c:v>0.6957947569558679</c:v>
                </c:pt>
                <c:pt idx="1425">
                  <c:v>0.70267403639873594</c:v>
                </c:pt>
                <c:pt idx="1426">
                  <c:v>0.72104051333331698</c:v>
                </c:pt>
                <c:pt idx="1427">
                  <c:v>0.72661026413076601</c:v>
                </c:pt>
                <c:pt idx="1428">
                  <c:v>0.73087333782328667</c:v>
                </c:pt>
                <c:pt idx="1429">
                  <c:v>0.73526425293294029</c:v>
                </c:pt>
                <c:pt idx="1430">
                  <c:v>0.74052805598370985</c:v>
                </c:pt>
                <c:pt idx="1431">
                  <c:v>0.76075670536156048</c:v>
                </c:pt>
                <c:pt idx="1432">
                  <c:v>0.77857856222804045</c:v>
                </c:pt>
                <c:pt idx="1433">
                  <c:v>0.77857856222804045</c:v>
                </c:pt>
                <c:pt idx="1434">
                  <c:v>1.0215150709349099</c:v>
                </c:pt>
                <c:pt idx="1435">
                  <c:v>1.0215150709349101</c:v>
                </c:pt>
                <c:pt idx="1436">
                  <c:v>1.2048755501799135</c:v>
                </c:pt>
                <c:pt idx="1437">
                  <c:v>1.2178196560697545</c:v>
                </c:pt>
                <c:pt idx="1438">
                  <c:v>1.230146422559903</c:v>
                </c:pt>
                <c:pt idx="1439">
                  <c:v>1.2402494304431797</c:v>
                </c:pt>
                <c:pt idx="1440">
                  <c:v>1.2541313681459454</c:v>
                </c:pt>
                <c:pt idx="1441">
                  <c:v>1.2671012462408864</c:v>
                </c:pt>
                <c:pt idx="1442">
                  <c:v>1.2791868075802657</c:v>
                </c:pt>
                <c:pt idx="1443">
                  <c:v>1.3729725110063962</c:v>
                </c:pt>
                <c:pt idx="1444">
                  <c:v>1.4104872402539208</c:v>
                </c:pt>
                <c:pt idx="1445">
                  <c:v>1.4142389803921451</c:v>
                </c:pt>
                <c:pt idx="1446">
                  <c:v>1.3801488216402833</c:v>
                </c:pt>
                <c:pt idx="1447">
                  <c:v>1.373214276477003</c:v>
                </c:pt>
                <c:pt idx="1448">
                  <c:v>1.3695850963196339</c:v>
                </c:pt>
                <c:pt idx="1449">
                  <c:v>1.3716261625514277</c:v>
                </c:pt>
                <c:pt idx="1450">
                  <c:v>1.3756676511348407</c:v>
                </c:pt>
                <c:pt idx="1451">
                  <c:v>1.3756626300100563</c:v>
                </c:pt>
                <c:pt idx="1452">
                  <c:v>1.4832081199264793</c:v>
                </c:pt>
                <c:pt idx="1453">
                  <c:v>1.5368476934192414</c:v>
                </c:pt>
                <c:pt idx="1454">
                  <c:v>1.5456926383119998</c:v>
                </c:pt>
                <c:pt idx="1455">
                  <c:v>1.5452759936461222</c:v>
                </c:pt>
                <c:pt idx="1456">
                  <c:v>1.5512262925399285</c:v>
                </c:pt>
                <c:pt idx="1457">
                  <c:v>1.5823680676082441</c:v>
                </c:pt>
                <c:pt idx="1458">
                  <c:v>1.605494655105248</c:v>
                </c:pt>
                <c:pt idx="1459">
                  <c:v>1.6176699712978921</c:v>
                </c:pt>
                <c:pt idx="1460">
                  <c:v>1.6197550156316052</c:v>
                </c:pt>
                <c:pt idx="1461">
                  <c:v>1.5748893404685633</c:v>
                </c:pt>
                <c:pt idx="1462">
                  <c:v>1.574422724963229</c:v>
                </c:pt>
                <c:pt idx="1463">
                  <c:v>1.5581232777958642</c:v>
                </c:pt>
                <c:pt idx="1464">
                  <c:v>1.489424851316395</c:v>
                </c:pt>
                <c:pt idx="1465">
                  <c:v>1.4741966605095813</c:v>
                </c:pt>
                <c:pt idx="1466">
                  <c:v>1.5353878526425555</c:v>
                </c:pt>
                <c:pt idx="1467">
                  <c:v>1.4831446653919862</c:v>
                </c:pt>
                <c:pt idx="1468">
                  <c:v>1.4453642073801896</c:v>
                </c:pt>
                <c:pt idx="1469">
                  <c:v>1.4439588636005258</c:v>
                </c:pt>
                <c:pt idx="1470">
                  <c:v>1.4109634260789574</c:v>
                </c:pt>
                <c:pt idx="1471">
                  <c:v>1.3581918236412949</c:v>
                </c:pt>
                <c:pt idx="1472">
                  <c:v>1.2834708234639056</c:v>
                </c:pt>
                <c:pt idx="1473">
                  <c:v>1.2729306586803553</c:v>
                </c:pt>
                <c:pt idx="1474">
                  <c:v>1.2741913523467756</c:v>
                </c:pt>
                <c:pt idx="1475">
                  <c:v>1.2775625758574447</c:v>
                </c:pt>
                <c:pt idx="1476">
                  <c:v>1.2880697077101741</c:v>
                </c:pt>
                <c:pt idx="1477">
                  <c:v>1.2809661954313212</c:v>
                </c:pt>
                <c:pt idx="1478">
                  <c:v>1.2767708312469905</c:v>
                </c:pt>
                <c:pt idx="1479">
                  <c:v>1.2620478443812075</c:v>
                </c:pt>
                <c:pt idx="1480">
                  <c:v>1.262047844381208</c:v>
                </c:pt>
                <c:pt idx="1481">
                  <c:v>1.2293189699450269</c:v>
                </c:pt>
                <c:pt idx="1482">
                  <c:v>1.2017460958688795</c:v>
                </c:pt>
                <c:pt idx="1483">
                  <c:v>1.1926521546442697</c:v>
                </c:pt>
                <c:pt idx="1484">
                  <c:v>1.1928100120524054</c:v>
                </c:pt>
                <c:pt idx="1485">
                  <c:v>1.193595737274759</c:v>
                </c:pt>
                <c:pt idx="1486">
                  <c:v>1.1226997478020611</c:v>
                </c:pt>
                <c:pt idx="1487">
                  <c:v>1.1234190178857484</c:v>
                </c:pt>
                <c:pt idx="1488">
                  <c:v>1.1210756301286051</c:v>
                </c:pt>
                <c:pt idx="1489">
                  <c:v>1.1223490676621182</c:v>
                </c:pt>
                <c:pt idx="1490">
                  <c:v>1.1234870338126131</c:v>
                </c:pt>
                <c:pt idx="1491">
                  <c:v>1.1146680554526289</c:v>
                </c:pt>
                <c:pt idx="1492">
                  <c:v>1.1024908480222466</c:v>
                </c:pt>
                <c:pt idx="1493">
                  <c:v>1.0841638414585435</c:v>
                </c:pt>
                <c:pt idx="1494">
                  <c:v>1.0623728972075841</c:v>
                </c:pt>
                <c:pt idx="1495">
                  <c:v>1.0238201729737446</c:v>
                </c:pt>
                <c:pt idx="1496">
                  <c:v>0.94351750722574557</c:v>
                </c:pt>
                <c:pt idx="1497">
                  <c:v>0.90079207721603138</c:v>
                </c:pt>
                <c:pt idx="1498">
                  <c:v>0.77318107115752432</c:v>
                </c:pt>
                <c:pt idx="1499">
                  <c:v>0.74401519438537567</c:v>
                </c:pt>
                <c:pt idx="1500">
                  <c:v>0.72694782446787054</c:v>
                </c:pt>
                <c:pt idx="1501">
                  <c:v>0.71182247248001584</c:v>
                </c:pt>
                <c:pt idx="1502">
                  <c:v>0.69988595565164113</c:v>
                </c:pt>
                <c:pt idx="1503">
                  <c:v>0.69392124871526506</c:v>
                </c:pt>
                <c:pt idx="1504">
                  <c:v>0.67647017492717254</c:v>
                </c:pt>
                <c:pt idx="1505">
                  <c:v>0.6487563768834308</c:v>
                </c:pt>
                <c:pt idx="1506">
                  <c:v>0.58984565051275317</c:v>
                </c:pt>
                <c:pt idx="1507">
                  <c:v>0.44577907911039161</c:v>
                </c:pt>
                <c:pt idx="1508">
                  <c:v>0.4444986740689999</c:v>
                </c:pt>
                <c:pt idx="1509">
                  <c:v>0.4488840117043012</c:v>
                </c:pt>
                <c:pt idx="1510">
                  <c:v>0.42368446200624299</c:v>
                </c:pt>
                <c:pt idx="1511">
                  <c:v>0.44238079594483681</c:v>
                </c:pt>
                <c:pt idx="1512">
                  <c:v>0.53598099053913562</c:v>
                </c:pt>
                <c:pt idx="1513">
                  <c:v>0.65497982736976623</c:v>
                </c:pt>
                <c:pt idx="1514">
                  <c:v>0.65311606203896433</c:v>
                </c:pt>
                <c:pt idx="1515">
                  <c:v>0.63740484220031668</c:v>
                </c:pt>
                <c:pt idx="1516">
                  <c:v>0.6374191126561547</c:v>
                </c:pt>
                <c:pt idx="1517">
                  <c:v>0.63755548801341555</c:v>
                </c:pt>
                <c:pt idx="1518">
                  <c:v>0.63765973329855918</c:v>
                </c:pt>
                <c:pt idx="1519">
                  <c:v>0.63765973329855929</c:v>
                </c:pt>
                <c:pt idx="1520">
                  <c:v>0.65464258389973262</c:v>
                </c:pt>
                <c:pt idx="1521">
                  <c:v>0.68191428226201511</c:v>
                </c:pt>
                <c:pt idx="1522">
                  <c:v>0.68699546064674055</c:v>
                </c:pt>
                <c:pt idx="1523">
                  <c:v>0.69067736299114579</c:v>
                </c:pt>
                <c:pt idx="1524">
                  <c:v>0.69297139241116268</c:v>
                </c:pt>
                <c:pt idx="1525">
                  <c:v>0.69225074906756201</c:v>
                </c:pt>
                <c:pt idx="1526">
                  <c:v>0.693480293156712</c:v>
                </c:pt>
                <c:pt idx="1527">
                  <c:v>0.69689831993988538</c:v>
                </c:pt>
                <c:pt idx="1528">
                  <c:v>0.7000015714394574</c:v>
                </c:pt>
                <c:pt idx="1529">
                  <c:v>0.70281285951078987</c:v>
                </c:pt>
                <c:pt idx="1530">
                  <c:v>0.70650854084478099</c:v>
                </c:pt>
                <c:pt idx="1531">
                  <c:v>0.7200716990426953</c:v>
                </c:pt>
                <c:pt idx="1532">
                  <c:v>0.8810465719534688</c:v>
                </c:pt>
                <c:pt idx="1533">
                  <c:v>0.88992153771002924</c:v>
                </c:pt>
                <c:pt idx="1534">
                  <c:v>0.89317643820406611</c:v>
                </c:pt>
                <c:pt idx="1535">
                  <c:v>0.89286415042634959</c:v>
                </c:pt>
                <c:pt idx="1536">
                  <c:v>0.88964784242068284</c:v>
                </c:pt>
                <c:pt idx="1537">
                  <c:v>0.88496265498817162</c:v>
                </c:pt>
                <c:pt idx="1538">
                  <c:v>0.8676775303652956</c:v>
                </c:pt>
                <c:pt idx="1539">
                  <c:v>0.86826293855106496</c:v>
                </c:pt>
                <c:pt idx="1540">
                  <c:v>0.85269796302844014</c:v>
                </c:pt>
                <c:pt idx="1541">
                  <c:v>0.82798214890204336</c:v>
                </c:pt>
                <c:pt idx="1542">
                  <c:v>0.78526189151715498</c:v>
                </c:pt>
                <c:pt idx="1543">
                  <c:v>0.69922923460223785</c:v>
                </c:pt>
                <c:pt idx="1544">
                  <c:v>0.69922923460223785</c:v>
                </c:pt>
                <c:pt idx="1545">
                  <c:v>0.69922923460223785</c:v>
                </c:pt>
                <c:pt idx="1546">
                  <c:v>0.70142296612531141</c:v>
                </c:pt>
                <c:pt idx="1547">
                  <c:v>0.7148285783198256</c:v>
                </c:pt>
                <c:pt idx="1548">
                  <c:v>0.74148294199536346</c:v>
                </c:pt>
                <c:pt idx="1549">
                  <c:v>0.74973327640376097</c:v>
                </c:pt>
                <c:pt idx="1550">
                  <c:v>0.73843732489368719</c:v>
                </c:pt>
                <c:pt idx="1551">
                  <c:v>0.71741902015946923</c:v>
                </c:pt>
                <c:pt idx="1552">
                  <c:v>0.71447043053806225</c:v>
                </c:pt>
                <c:pt idx="1553">
                  <c:v>0.70980449007368884</c:v>
                </c:pt>
                <c:pt idx="1554">
                  <c:v>0.75045068384480207</c:v>
                </c:pt>
                <c:pt idx="1555">
                  <c:v>0.79340905098735204</c:v>
                </c:pt>
                <c:pt idx="1556">
                  <c:v>0.84274332023631326</c:v>
                </c:pt>
                <c:pt idx="1557">
                  <c:v>0.95488369489847169</c:v>
                </c:pt>
                <c:pt idx="1558">
                  <c:v>0.98205577670170829</c:v>
                </c:pt>
                <c:pt idx="1559">
                  <c:v>0.9823413809618512</c:v>
                </c:pt>
                <c:pt idx="1560">
                  <c:v>1.0045370809715639</c:v>
                </c:pt>
                <c:pt idx="1561">
                  <c:v>0.9972501952393471</c:v>
                </c:pt>
                <c:pt idx="1562">
                  <c:v>0.82804007940747992</c:v>
                </c:pt>
                <c:pt idx="1563">
                  <c:v>0.8215335092458288</c:v>
                </c:pt>
                <c:pt idx="1564">
                  <c:v>0.81781299805983176</c:v>
                </c:pt>
                <c:pt idx="1565">
                  <c:v>0.81421169628984125</c:v>
                </c:pt>
                <c:pt idx="1566">
                  <c:v>0.81011978870003343</c:v>
                </c:pt>
                <c:pt idx="1567">
                  <c:v>0.80576363349401325</c:v>
                </c:pt>
                <c:pt idx="1568">
                  <c:v>0.80639511153588994</c:v>
                </c:pt>
                <c:pt idx="1569">
                  <c:v>0.80683498170617851</c:v>
                </c:pt>
                <c:pt idx="1570">
                  <c:v>0.80698419061657101</c:v>
                </c:pt>
                <c:pt idx="1571">
                  <c:v>0.81711881022180666</c:v>
                </c:pt>
                <c:pt idx="1572">
                  <c:v>0.84203697054651483</c:v>
                </c:pt>
                <c:pt idx="1573">
                  <c:v>0.85343579109751511</c:v>
                </c:pt>
                <c:pt idx="1574">
                  <c:v>0.86200867521006486</c:v>
                </c:pt>
                <c:pt idx="1575">
                  <c:v>0.86527094893747758</c:v>
                </c:pt>
                <c:pt idx="1576">
                  <c:v>0.86336989148319243</c:v>
                </c:pt>
                <c:pt idx="1577">
                  <c:v>0.85035303947380725</c:v>
                </c:pt>
                <c:pt idx="1578">
                  <c:v>0.82921938813418361</c:v>
                </c:pt>
                <c:pt idx="1579">
                  <c:v>0.82189084171361371</c:v>
                </c:pt>
                <c:pt idx="1580">
                  <c:v>0.81812804952963392</c:v>
                </c:pt>
                <c:pt idx="1581">
                  <c:v>0.81483462600029433</c:v>
                </c:pt>
                <c:pt idx="1582">
                  <c:v>0.81255206636529564</c:v>
                </c:pt>
                <c:pt idx="1583">
                  <c:v>0.81255206636529564</c:v>
                </c:pt>
                <c:pt idx="1584">
                  <c:v>0.77012289660182931</c:v>
                </c:pt>
                <c:pt idx="1585">
                  <c:v>0.71596492913393572</c:v>
                </c:pt>
                <c:pt idx="1586">
                  <c:v>0.63625400797006093</c:v>
                </c:pt>
                <c:pt idx="1587">
                  <c:v>0.36799737518152792</c:v>
                </c:pt>
                <c:pt idx="1588">
                  <c:v>0.33397003756227051</c:v>
                </c:pt>
                <c:pt idx="1589">
                  <c:v>0.33397003756227051</c:v>
                </c:pt>
                <c:pt idx="1590">
                  <c:v>0.29278515099436314</c:v>
                </c:pt>
                <c:pt idx="1591">
                  <c:v>0.29278515099436314</c:v>
                </c:pt>
                <c:pt idx="1592">
                  <c:v>0.34027388962849858</c:v>
                </c:pt>
                <c:pt idx="1593">
                  <c:v>0.37092614088252884</c:v>
                </c:pt>
                <c:pt idx="1594">
                  <c:v>0.39324439227261088</c:v>
                </c:pt>
                <c:pt idx="1595">
                  <c:v>0.39938447642406566</c:v>
                </c:pt>
                <c:pt idx="1596">
                  <c:v>0.40049510732304267</c:v>
                </c:pt>
                <c:pt idx="1597">
                  <c:v>0.40070597294122179</c:v>
                </c:pt>
                <c:pt idx="1598">
                  <c:v>0.40055250171043377</c:v>
                </c:pt>
                <c:pt idx="1599">
                  <c:v>0.40040865301013751</c:v>
                </c:pt>
                <c:pt idx="1600">
                  <c:v>0.39693038195569552</c:v>
                </c:pt>
                <c:pt idx="1601">
                  <c:v>0.3635987451911401</c:v>
                </c:pt>
                <c:pt idx="1602">
                  <c:v>0.35953433730463025</c:v>
                </c:pt>
                <c:pt idx="1603">
                  <c:v>0.38298999437323711</c:v>
                </c:pt>
                <c:pt idx="1604">
                  <c:v>0.40129464537278475</c:v>
                </c:pt>
                <c:pt idx="1605">
                  <c:v>0.43587582671674291</c:v>
                </c:pt>
                <c:pt idx="1606">
                  <c:v>0.43587582671674291</c:v>
                </c:pt>
                <c:pt idx="1607">
                  <c:v>0.54276362410870171</c:v>
                </c:pt>
                <c:pt idx="1608">
                  <c:v>0.6490077631912512</c:v>
                </c:pt>
                <c:pt idx="1609">
                  <c:v>0.72513120956113197</c:v>
                </c:pt>
                <c:pt idx="1610">
                  <c:v>0.80773412520830745</c:v>
                </c:pt>
                <c:pt idx="1611">
                  <c:v>0.80773412520830734</c:v>
                </c:pt>
                <c:pt idx="1612">
                  <c:v>0.81360031704348357</c:v>
                </c:pt>
                <c:pt idx="1613">
                  <c:v>0.81977635724240927</c:v>
                </c:pt>
                <c:pt idx="1614">
                  <c:v>0.82566428287804561</c:v>
                </c:pt>
                <c:pt idx="1615">
                  <c:v>0.83158249723922995</c:v>
                </c:pt>
                <c:pt idx="1616">
                  <c:v>0.84779483431126468</c:v>
                </c:pt>
                <c:pt idx="1617">
                  <c:v>0.85686134755459908</c:v>
                </c:pt>
                <c:pt idx="1618">
                  <c:v>0.8647814288504323</c:v>
                </c:pt>
                <c:pt idx="1619">
                  <c:v>0.86995460618421072</c:v>
                </c:pt>
                <c:pt idx="1620">
                  <c:v>0.87445409066474133</c:v>
                </c:pt>
                <c:pt idx="1621">
                  <c:v>0.87417827941776127</c:v>
                </c:pt>
                <c:pt idx="1622">
                  <c:v>0.8518518576119597</c:v>
                </c:pt>
                <c:pt idx="1623">
                  <c:v>0.8325927516587931</c:v>
                </c:pt>
                <c:pt idx="1624">
                  <c:v>0.8147060793530666</c:v>
                </c:pt>
                <c:pt idx="1625">
                  <c:v>0.80647556786152297</c:v>
                </c:pt>
                <c:pt idx="1626">
                  <c:v>0.80277791848915769</c:v>
                </c:pt>
                <c:pt idx="1627">
                  <c:v>0.80026495247638918</c:v>
                </c:pt>
                <c:pt idx="1628">
                  <c:v>0.79848899737927204</c:v>
                </c:pt>
                <c:pt idx="1629">
                  <c:v>0.79768135757707803</c:v>
                </c:pt>
                <c:pt idx="1630">
                  <c:v>0.79768135757707825</c:v>
                </c:pt>
                <c:pt idx="1631">
                  <c:v>0.79792078334308048</c:v>
                </c:pt>
                <c:pt idx="1632">
                  <c:v>0.79052481438175537</c:v>
                </c:pt>
                <c:pt idx="1633">
                  <c:v>0.78053981331915179</c:v>
                </c:pt>
                <c:pt idx="1634">
                  <c:v>0.75307815417208757</c:v>
                </c:pt>
                <c:pt idx="1635">
                  <c:v>0.74258980892160542</c:v>
                </c:pt>
                <c:pt idx="1636">
                  <c:v>0.74258980892160542</c:v>
                </c:pt>
                <c:pt idx="1637">
                  <c:v>0.63832931505356738</c:v>
                </c:pt>
                <c:pt idx="1638">
                  <c:v>0.56587503457530697</c:v>
                </c:pt>
                <c:pt idx="1639">
                  <c:v>0.41980807990748176</c:v>
                </c:pt>
                <c:pt idx="1640">
                  <c:v>0.29831105439456157</c:v>
                </c:pt>
                <c:pt idx="1641">
                  <c:v>0.29831105439456157</c:v>
                </c:pt>
                <c:pt idx="1642">
                  <c:v>0.29534706142657924</c:v>
                </c:pt>
                <c:pt idx="1643">
                  <c:v>0.29023366388091865</c:v>
                </c:pt>
                <c:pt idx="1644">
                  <c:v>0.28373268831480675</c:v>
                </c:pt>
                <c:pt idx="1645">
                  <c:v>0.27494925658665786</c:v>
                </c:pt>
                <c:pt idx="1646">
                  <c:v>0.23171590054597299</c:v>
                </c:pt>
                <c:pt idx="1647">
                  <c:v>0.19929229603343038</c:v>
                </c:pt>
                <c:pt idx="1648">
                  <c:v>0.15869278742547965</c:v>
                </c:pt>
                <c:pt idx="1649">
                  <c:v>0.11631579319253441</c:v>
                </c:pt>
                <c:pt idx="1650">
                  <c:v>3.5998097448845308E-2</c:v>
                </c:pt>
                <c:pt idx="1651">
                  <c:v>1.7344551487745132E-13</c:v>
                </c:pt>
                <c:pt idx="1652">
                  <c:v>1.7344551487745132E-13</c:v>
                </c:pt>
                <c:pt idx="1653">
                  <c:v>1.7344551487745132E-13</c:v>
                </c:pt>
                <c:pt idx="1654">
                  <c:v>1.7344551487745132E-13</c:v>
                </c:pt>
                <c:pt idx="1655">
                  <c:v>1.7344551487745132E-13</c:v>
                </c:pt>
                <c:pt idx="1656">
                  <c:v>1.7344551487745132E-13</c:v>
                </c:pt>
                <c:pt idx="1657">
                  <c:v>1.7344551487745132E-13</c:v>
                </c:pt>
                <c:pt idx="1658">
                  <c:v>1.7344551487745132E-13</c:v>
                </c:pt>
                <c:pt idx="1659">
                  <c:v>1.7344551487745132E-13</c:v>
                </c:pt>
                <c:pt idx="1660">
                  <c:v>1.7344551487745132E-13</c:v>
                </c:pt>
                <c:pt idx="1661">
                  <c:v>1.7344551487745132E-13</c:v>
                </c:pt>
                <c:pt idx="1662">
                  <c:v>1.7344551487745132E-13</c:v>
                </c:pt>
                <c:pt idx="1663">
                  <c:v>1.7344551487745132E-13</c:v>
                </c:pt>
                <c:pt idx="1664">
                  <c:v>1.7344551487745132E-13</c:v>
                </c:pt>
                <c:pt idx="1665">
                  <c:v>1.7344551487745132E-13</c:v>
                </c:pt>
                <c:pt idx="1666">
                  <c:v>1.7344551487745132E-13</c:v>
                </c:pt>
                <c:pt idx="1667">
                  <c:v>1.7344551487745132E-13</c:v>
                </c:pt>
                <c:pt idx="1668">
                  <c:v>1.7344551487745132E-13</c:v>
                </c:pt>
                <c:pt idx="1669">
                  <c:v>1.7344551487745132E-13</c:v>
                </c:pt>
                <c:pt idx="1670">
                  <c:v>1.7344551487745132E-13</c:v>
                </c:pt>
                <c:pt idx="1671">
                  <c:v>1.7344551487745132E-13</c:v>
                </c:pt>
                <c:pt idx="1672">
                  <c:v>1.7344551487745132E-13</c:v>
                </c:pt>
                <c:pt idx="1673">
                  <c:v>1.7344551487745132E-13</c:v>
                </c:pt>
                <c:pt idx="1674">
                  <c:v>1.7344551487745132E-13</c:v>
                </c:pt>
                <c:pt idx="1675">
                  <c:v>1.7344551487745132E-13</c:v>
                </c:pt>
                <c:pt idx="1676">
                  <c:v>1.7344551487745132E-13</c:v>
                </c:pt>
                <c:pt idx="1677">
                  <c:v>1.7344551487745132E-13</c:v>
                </c:pt>
                <c:pt idx="1678">
                  <c:v>1.7344551487745132E-13</c:v>
                </c:pt>
                <c:pt idx="1679">
                  <c:v>1.7344551487745132E-13</c:v>
                </c:pt>
                <c:pt idx="1680">
                  <c:v>1.7344551487745132E-13</c:v>
                </c:pt>
                <c:pt idx="1681">
                  <c:v>1.7344551487745132E-13</c:v>
                </c:pt>
                <c:pt idx="1682">
                  <c:v>1.7344551487745132E-13</c:v>
                </c:pt>
                <c:pt idx="1683">
                  <c:v>1.7344551487745132E-13</c:v>
                </c:pt>
                <c:pt idx="1684">
                  <c:v>1.7344551487745132E-13</c:v>
                </c:pt>
                <c:pt idx="1685">
                  <c:v>1.7344551487745132E-13</c:v>
                </c:pt>
                <c:pt idx="1686">
                  <c:v>1.7344551487745132E-13</c:v>
                </c:pt>
                <c:pt idx="1687">
                  <c:v>1.7344551487745132E-13</c:v>
                </c:pt>
                <c:pt idx="1688">
                  <c:v>1.7344551487745132E-13</c:v>
                </c:pt>
                <c:pt idx="1689">
                  <c:v>1.7344551487745132E-13</c:v>
                </c:pt>
                <c:pt idx="1690">
                  <c:v>1.7344551487745132E-13</c:v>
                </c:pt>
                <c:pt idx="1691">
                  <c:v>1.7344551487745132E-13</c:v>
                </c:pt>
                <c:pt idx="1692">
                  <c:v>1.7344551487745132E-13</c:v>
                </c:pt>
                <c:pt idx="1693">
                  <c:v>1.7344551487745132E-13</c:v>
                </c:pt>
                <c:pt idx="1694">
                  <c:v>1.7344551487745132E-13</c:v>
                </c:pt>
                <c:pt idx="1695">
                  <c:v>1.7344551487745132E-13</c:v>
                </c:pt>
                <c:pt idx="1696">
                  <c:v>1.7344551487745132E-13</c:v>
                </c:pt>
                <c:pt idx="1697">
                  <c:v>1.7344551487745132E-13</c:v>
                </c:pt>
                <c:pt idx="1698">
                  <c:v>1.7344551487745132E-13</c:v>
                </c:pt>
                <c:pt idx="1699">
                  <c:v>1.7344551487745132E-13</c:v>
                </c:pt>
                <c:pt idx="1700">
                  <c:v>1.7344551487745132E-13</c:v>
                </c:pt>
                <c:pt idx="1701">
                  <c:v>1.7344551487745132E-13</c:v>
                </c:pt>
                <c:pt idx="1702">
                  <c:v>1.7344551487745132E-13</c:v>
                </c:pt>
                <c:pt idx="1703">
                  <c:v>1.7344551487745132E-13</c:v>
                </c:pt>
                <c:pt idx="1704">
                  <c:v>1.7344551487745132E-13</c:v>
                </c:pt>
                <c:pt idx="1705">
                  <c:v>1.7344551487745132E-13</c:v>
                </c:pt>
                <c:pt idx="1706">
                  <c:v>1.7344551487745132E-13</c:v>
                </c:pt>
                <c:pt idx="1707">
                  <c:v>1.7344551487745132E-13</c:v>
                </c:pt>
                <c:pt idx="1708">
                  <c:v>1.7344551487745132E-13</c:v>
                </c:pt>
                <c:pt idx="1709">
                  <c:v>1.7344551487745132E-13</c:v>
                </c:pt>
                <c:pt idx="1710">
                  <c:v>1.7344551487745132E-13</c:v>
                </c:pt>
                <c:pt idx="1711">
                  <c:v>1.7344551487745132E-13</c:v>
                </c:pt>
                <c:pt idx="1712">
                  <c:v>1.7344551487745132E-13</c:v>
                </c:pt>
                <c:pt idx="1713">
                  <c:v>1.7344551487745132E-13</c:v>
                </c:pt>
                <c:pt idx="1714">
                  <c:v>1.7344551487745132E-13</c:v>
                </c:pt>
                <c:pt idx="1715">
                  <c:v>1.7344551487745132E-13</c:v>
                </c:pt>
                <c:pt idx="1716">
                  <c:v>1.7344551487745132E-13</c:v>
                </c:pt>
                <c:pt idx="1717">
                  <c:v>1.7344551487745132E-13</c:v>
                </c:pt>
                <c:pt idx="1718">
                  <c:v>1.7344551487745132E-13</c:v>
                </c:pt>
                <c:pt idx="1719">
                  <c:v>6.6227124486576278E-2</c:v>
                </c:pt>
                <c:pt idx="1720">
                  <c:v>0.14650847846544349</c:v>
                </c:pt>
                <c:pt idx="1721">
                  <c:v>0.24294389515158515</c:v>
                </c:pt>
                <c:pt idx="1722">
                  <c:v>0.35028397374015685</c:v>
                </c:pt>
                <c:pt idx="1723">
                  <c:v>0.46807681552848324</c:v>
                </c:pt>
                <c:pt idx="1724">
                  <c:v>0.48546555977445721</c:v>
                </c:pt>
                <c:pt idx="1725">
                  <c:v>0.48546555977445721</c:v>
                </c:pt>
                <c:pt idx="1726">
                  <c:v>0.4854655597744571</c:v>
                </c:pt>
                <c:pt idx="1727">
                  <c:v>0.4854655597744571</c:v>
                </c:pt>
                <c:pt idx="1728">
                  <c:v>0.4854655597744571</c:v>
                </c:pt>
                <c:pt idx="1729">
                  <c:v>0.4854655597744571</c:v>
                </c:pt>
                <c:pt idx="1730">
                  <c:v>0.4854655597744571</c:v>
                </c:pt>
                <c:pt idx="1731">
                  <c:v>0.48546555977445721</c:v>
                </c:pt>
                <c:pt idx="1732">
                  <c:v>0.48546555977445721</c:v>
                </c:pt>
                <c:pt idx="1733">
                  <c:v>0.48546555977445721</c:v>
                </c:pt>
                <c:pt idx="1734">
                  <c:v>0.48546555977445721</c:v>
                </c:pt>
                <c:pt idx="1735">
                  <c:v>0.48546555977445721</c:v>
                </c:pt>
                <c:pt idx="1736">
                  <c:v>0.48546555977445721</c:v>
                </c:pt>
                <c:pt idx="1737">
                  <c:v>0.48546555977445721</c:v>
                </c:pt>
                <c:pt idx="1738">
                  <c:v>0.48546555977445721</c:v>
                </c:pt>
                <c:pt idx="1739">
                  <c:v>0.48546555977445721</c:v>
                </c:pt>
                <c:pt idx="1740">
                  <c:v>0.48546555977445721</c:v>
                </c:pt>
                <c:pt idx="1741">
                  <c:v>0.48546555977445721</c:v>
                </c:pt>
                <c:pt idx="1742">
                  <c:v>0.48546555977445738</c:v>
                </c:pt>
                <c:pt idx="1743">
                  <c:v>0.48546555977445738</c:v>
                </c:pt>
                <c:pt idx="1744">
                  <c:v>0.48546555977445738</c:v>
                </c:pt>
                <c:pt idx="1745">
                  <c:v>0.48546555977445738</c:v>
                </c:pt>
                <c:pt idx="1746">
                  <c:v>0.48546555977445738</c:v>
                </c:pt>
                <c:pt idx="1747">
                  <c:v>0.48546555977445738</c:v>
                </c:pt>
                <c:pt idx="1748">
                  <c:v>0.48546555977445743</c:v>
                </c:pt>
                <c:pt idx="1749">
                  <c:v>0.48613370260048827</c:v>
                </c:pt>
                <c:pt idx="1750">
                  <c:v>0.47700230198375621</c:v>
                </c:pt>
                <c:pt idx="1751">
                  <c:v>0.44481383271008523</c:v>
                </c:pt>
                <c:pt idx="1752">
                  <c:v>0.36886230700397787</c:v>
                </c:pt>
                <c:pt idx="1753">
                  <c:v>0.16782275759955967</c:v>
                </c:pt>
                <c:pt idx="1754">
                  <c:v>1.7344551487745132E-13</c:v>
                </c:pt>
                <c:pt idx="1755">
                  <c:v>1.7344551487745132E-13</c:v>
                </c:pt>
                <c:pt idx="1756">
                  <c:v>1.7344551487745132E-13</c:v>
                </c:pt>
                <c:pt idx="1757">
                  <c:v>1.7344551487745132E-13</c:v>
                </c:pt>
                <c:pt idx="1758">
                  <c:v>1.7344551487745132E-13</c:v>
                </c:pt>
                <c:pt idx="1759">
                  <c:v>1.7344551487745132E-13</c:v>
                </c:pt>
                <c:pt idx="1760">
                  <c:v>1.7344551487745132E-13</c:v>
                </c:pt>
                <c:pt idx="1761">
                  <c:v>1.7344551487745132E-13</c:v>
                </c:pt>
                <c:pt idx="1762">
                  <c:v>1.7344551487745132E-13</c:v>
                </c:pt>
                <c:pt idx="1763">
                  <c:v>1.7344551487745132E-13</c:v>
                </c:pt>
                <c:pt idx="1764">
                  <c:v>1.7344551487745132E-13</c:v>
                </c:pt>
                <c:pt idx="1765">
                  <c:v>1.7344551487745132E-13</c:v>
                </c:pt>
                <c:pt idx="1766">
                  <c:v>1.7344551487745132E-13</c:v>
                </c:pt>
                <c:pt idx="1767">
                  <c:v>1.7344551487745132E-13</c:v>
                </c:pt>
                <c:pt idx="1768">
                  <c:v>1.7344551487745132E-13</c:v>
                </c:pt>
                <c:pt idx="1769">
                  <c:v>1.7344551487745132E-13</c:v>
                </c:pt>
                <c:pt idx="1770">
                  <c:v>1.7344551487745132E-13</c:v>
                </c:pt>
                <c:pt idx="1771">
                  <c:v>1.7344551487745132E-13</c:v>
                </c:pt>
                <c:pt idx="1772">
                  <c:v>1.7344551487745132E-13</c:v>
                </c:pt>
                <c:pt idx="1773">
                  <c:v>1.7344551487745132E-13</c:v>
                </c:pt>
                <c:pt idx="1774">
                  <c:v>1.7344551487745132E-13</c:v>
                </c:pt>
                <c:pt idx="1775">
                  <c:v>1.7344551487745132E-13</c:v>
                </c:pt>
                <c:pt idx="1776">
                  <c:v>1.7344551487745132E-13</c:v>
                </c:pt>
                <c:pt idx="1777">
                  <c:v>1.7344551487745132E-13</c:v>
                </c:pt>
                <c:pt idx="1778">
                  <c:v>1.7344551487745132E-13</c:v>
                </c:pt>
                <c:pt idx="1779">
                  <c:v>1.7344551487745132E-13</c:v>
                </c:pt>
                <c:pt idx="1780">
                  <c:v>1.7344551487745132E-13</c:v>
                </c:pt>
                <c:pt idx="1781">
                  <c:v>1.7344551487745132E-13</c:v>
                </c:pt>
                <c:pt idx="1782">
                  <c:v>1.7344551487745132E-13</c:v>
                </c:pt>
                <c:pt idx="1783">
                  <c:v>1.7344551487745132E-13</c:v>
                </c:pt>
                <c:pt idx="1784">
                  <c:v>1.7344551487745132E-13</c:v>
                </c:pt>
                <c:pt idx="1785">
                  <c:v>1.7344551487745132E-13</c:v>
                </c:pt>
                <c:pt idx="1786">
                  <c:v>1.7344551487745132E-13</c:v>
                </c:pt>
                <c:pt idx="1787">
                  <c:v>1.7344551487745132E-13</c:v>
                </c:pt>
                <c:pt idx="1788">
                  <c:v>1.7344551487745132E-13</c:v>
                </c:pt>
                <c:pt idx="1789">
                  <c:v>1.7344551487745132E-13</c:v>
                </c:pt>
                <c:pt idx="1790">
                  <c:v>1.7344551487745132E-13</c:v>
                </c:pt>
                <c:pt idx="1791">
                  <c:v>1.7344551487745132E-13</c:v>
                </c:pt>
                <c:pt idx="1792">
                  <c:v>1.7344551487745132E-13</c:v>
                </c:pt>
                <c:pt idx="1793">
                  <c:v>1.7344551487745132E-13</c:v>
                </c:pt>
                <c:pt idx="1794">
                  <c:v>1.7344551487745132E-13</c:v>
                </c:pt>
                <c:pt idx="1795">
                  <c:v>1.7344551487745132E-13</c:v>
                </c:pt>
                <c:pt idx="1796">
                  <c:v>1.7344551487745132E-13</c:v>
                </c:pt>
                <c:pt idx="1797">
                  <c:v>1.7344551487745132E-13</c:v>
                </c:pt>
                <c:pt idx="1798">
                  <c:v>1.7344551487745132E-13</c:v>
                </c:pt>
                <c:pt idx="1799">
                  <c:v>1.7344551487745132E-13</c:v>
                </c:pt>
                <c:pt idx="1800">
                  <c:v>1.7344551487745132E-13</c:v>
                </c:pt>
                <c:pt idx="1801">
                  <c:v>1.7344551487745132E-13</c:v>
                </c:pt>
                <c:pt idx="1802">
                  <c:v>1.7344551487745132E-13</c:v>
                </c:pt>
                <c:pt idx="1803">
                  <c:v>1.7344551487745132E-13</c:v>
                </c:pt>
                <c:pt idx="1804">
                  <c:v>1.7344551487745132E-13</c:v>
                </c:pt>
                <c:pt idx="1805">
                  <c:v>1.7344551487745132E-13</c:v>
                </c:pt>
                <c:pt idx="1806">
                  <c:v>1.7344551487745132E-13</c:v>
                </c:pt>
                <c:pt idx="1807">
                  <c:v>1.7344551487745132E-13</c:v>
                </c:pt>
                <c:pt idx="1808">
                  <c:v>1.7344551487745132E-13</c:v>
                </c:pt>
                <c:pt idx="1809">
                  <c:v>1.7344551487745132E-13</c:v>
                </c:pt>
                <c:pt idx="1810">
                  <c:v>1.7344551487745132E-13</c:v>
                </c:pt>
                <c:pt idx="1811">
                  <c:v>1.7344551487745132E-13</c:v>
                </c:pt>
                <c:pt idx="1812">
                  <c:v>1.7344551487745132E-13</c:v>
                </c:pt>
                <c:pt idx="1813">
                  <c:v>1.7344551487745132E-13</c:v>
                </c:pt>
                <c:pt idx="1814">
                  <c:v>1.7344551487745132E-13</c:v>
                </c:pt>
                <c:pt idx="1815">
                  <c:v>1.7344551487745132E-13</c:v>
                </c:pt>
                <c:pt idx="1816">
                  <c:v>1.7344551487745132E-13</c:v>
                </c:pt>
                <c:pt idx="1817">
                  <c:v>1.7344551487745132E-13</c:v>
                </c:pt>
                <c:pt idx="1818">
                  <c:v>1.7344551487745132E-13</c:v>
                </c:pt>
                <c:pt idx="1819">
                  <c:v>1.7344551487745132E-13</c:v>
                </c:pt>
                <c:pt idx="1820">
                  <c:v>1.7344551487745132E-13</c:v>
                </c:pt>
                <c:pt idx="1821">
                  <c:v>1.7344551487745132E-13</c:v>
                </c:pt>
                <c:pt idx="1822">
                  <c:v>1.7344551487745132E-13</c:v>
                </c:pt>
                <c:pt idx="1823">
                  <c:v>1.7344551487745132E-13</c:v>
                </c:pt>
                <c:pt idx="1824">
                  <c:v>1.7344551487745132E-13</c:v>
                </c:pt>
                <c:pt idx="1825">
                  <c:v>1.7344551487745132E-13</c:v>
                </c:pt>
                <c:pt idx="1826">
                  <c:v>1.7344551487745132E-13</c:v>
                </c:pt>
                <c:pt idx="1827">
                  <c:v>1.7344551487745132E-13</c:v>
                </c:pt>
                <c:pt idx="1828">
                  <c:v>1.7344551487745132E-13</c:v>
                </c:pt>
                <c:pt idx="1829">
                  <c:v>1.7344551487745132E-13</c:v>
                </c:pt>
                <c:pt idx="1830">
                  <c:v>1.7344551487745132E-13</c:v>
                </c:pt>
                <c:pt idx="1831">
                  <c:v>1.7344551487745132E-13</c:v>
                </c:pt>
                <c:pt idx="1832">
                  <c:v>1.7344551487745132E-13</c:v>
                </c:pt>
                <c:pt idx="1833">
                  <c:v>1.7344551487745132E-13</c:v>
                </c:pt>
                <c:pt idx="1834">
                  <c:v>1.7344551487745132E-13</c:v>
                </c:pt>
                <c:pt idx="1835">
                  <c:v>1.7344551487745132E-13</c:v>
                </c:pt>
                <c:pt idx="1836">
                  <c:v>1.7344551487745132E-13</c:v>
                </c:pt>
                <c:pt idx="1837">
                  <c:v>1.7344551487745132E-13</c:v>
                </c:pt>
                <c:pt idx="1838">
                  <c:v>1.7344551487745132E-13</c:v>
                </c:pt>
                <c:pt idx="1839">
                  <c:v>1.7344551487745132E-13</c:v>
                </c:pt>
                <c:pt idx="1840">
                  <c:v>1.7344551487745132E-13</c:v>
                </c:pt>
                <c:pt idx="1841">
                  <c:v>1.7344551487745132E-13</c:v>
                </c:pt>
                <c:pt idx="1842">
                  <c:v>1.7344551487745132E-13</c:v>
                </c:pt>
                <c:pt idx="1843">
                  <c:v>1.7344551487745132E-13</c:v>
                </c:pt>
                <c:pt idx="1844">
                  <c:v>1.7344551487745132E-13</c:v>
                </c:pt>
                <c:pt idx="1845">
                  <c:v>1.7344551487745132E-13</c:v>
                </c:pt>
                <c:pt idx="1846">
                  <c:v>1.7344551487745132E-13</c:v>
                </c:pt>
                <c:pt idx="1847">
                  <c:v>1.7344551487745132E-13</c:v>
                </c:pt>
                <c:pt idx="1848">
                  <c:v>1.7344551487745132E-13</c:v>
                </c:pt>
                <c:pt idx="1849">
                  <c:v>1.7344551487745132E-13</c:v>
                </c:pt>
                <c:pt idx="1850">
                  <c:v>1.7344551487745132E-13</c:v>
                </c:pt>
                <c:pt idx="1851">
                  <c:v>1.7344551487745132E-13</c:v>
                </c:pt>
                <c:pt idx="1852">
                  <c:v>1.7344551487745132E-13</c:v>
                </c:pt>
                <c:pt idx="1853">
                  <c:v>1.7344551487745132E-13</c:v>
                </c:pt>
                <c:pt idx="1854">
                  <c:v>1.7344551487745132E-13</c:v>
                </c:pt>
                <c:pt idx="1855">
                  <c:v>1.7344551487745132E-13</c:v>
                </c:pt>
                <c:pt idx="1856">
                  <c:v>1.7344551487745132E-13</c:v>
                </c:pt>
                <c:pt idx="1857">
                  <c:v>1.7344551487745132E-13</c:v>
                </c:pt>
                <c:pt idx="1858">
                  <c:v>1.7344551487745132E-13</c:v>
                </c:pt>
                <c:pt idx="1859">
                  <c:v>1.7344551487745132E-13</c:v>
                </c:pt>
                <c:pt idx="1860">
                  <c:v>1.7344551487745132E-13</c:v>
                </c:pt>
                <c:pt idx="1861">
                  <c:v>1.7344551487745132E-13</c:v>
                </c:pt>
                <c:pt idx="1862">
                  <c:v>1.7344551487745132E-13</c:v>
                </c:pt>
                <c:pt idx="1863">
                  <c:v>1.7344551487745132E-13</c:v>
                </c:pt>
                <c:pt idx="1864">
                  <c:v>1.7344551487745132E-13</c:v>
                </c:pt>
                <c:pt idx="1865">
                  <c:v>1.7344551487745132E-13</c:v>
                </c:pt>
                <c:pt idx="1866">
                  <c:v>3.7360703370016238E-3</c:v>
                </c:pt>
                <c:pt idx="1867">
                  <c:v>6.6699800100984237E-3</c:v>
                </c:pt>
                <c:pt idx="1868">
                  <c:v>9.8038160998216526E-3</c:v>
                </c:pt>
                <c:pt idx="1869">
                  <c:v>1.4488978078020624E-2</c:v>
                </c:pt>
                <c:pt idx="1870">
                  <c:v>1.8888183628864189E-2</c:v>
                </c:pt>
                <c:pt idx="1871">
                  <c:v>2.3236762166202112E-2</c:v>
                </c:pt>
                <c:pt idx="1872">
                  <c:v>2.7554822343577125E-2</c:v>
                </c:pt>
                <c:pt idx="1873">
                  <c:v>3.508872892438502E-2</c:v>
                </c:pt>
                <c:pt idx="1874">
                  <c:v>4.1767535616060364E-2</c:v>
                </c:pt>
                <c:pt idx="1875">
                  <c:v>4.7933992778589521E-2</c:v>
                </c:pt>
                <c:pt idx="1876">
                  <c:v>5.4601922004497698E-2</c:v>
                </c:pt>
                <c:pt idx="1877">
                  <c:v>6.079362880779602E-2</c:v>
                </c:pt>
                <c:pt idx="1878">
                  <c:v>6.657365069725614E-2</c:v>
                </c:pt>
                <c:pt idx="1879">
                  <c:v>7.2013192449771044E-2</c:v>
                </c:pt>
                <c:pt idx="1880">
                  <c:v>7.7136639122202796E-2</c:v>
                </c:pt>
                <c:pt idx="1881">
                  <c:v>8.1943639466318413E-2</c:v>
                </c:pt>
                <c:pt idx="1882">
                  <c:v>8.6451955417245846E-2</c:v>
                </c:pt>
                <c:pt idx="1883">
                  <c:v>9.1297571024213153E-2</c:v>
                </c:pt>
                <c:pt idx="1884">
                  <c:v>9.572565701813833E-2</c:v>
                </c:pt>
                <c:pt idx="1885">
                  <c:v>9.9748474186885983E-2</c:v>
                </c:pt>
                <c:pt idx="1886">
                  <c:v>0.10333360936808152</c:v>
                </c:pt>
                <c:pt idx="1887">
                  <c:v>0.10647349027078726</c:v>
                </c:pt>
                <c:pt idx="1888">
                  <c:v>0.10914768732678723</c:v>
                </c:pt>
                <c:pt idx="1889">
                  <c:v>0.11131923084765406</c:v>
                </c:pt>
                <c:pt idx="1890">
                  <c:v>0.11294964377640705</c:v>
                </c:pt>
                <c:pt idx="1891">
                  <c:v>0.11455586697459863</c:v>
                </c:pt>
                <c:pt idx="1892">
                  <c:v>0.11545962741628052</c:v>
                </c:pt>
                <c:pt idx="1893">
                  <c:v>0.11562092725501234</c:v>
                </c:pt>
                <c:pt idx="1894">
                  <c:v>0.11511471349324143</c:v>
                </c:pt>
                <c:pt idx="1895">
                  <c:v>0.11349216862736902</c:v>
                </c:pt>
                <c:pt idx="1896">
                  <c:v>0.1121744294994</c:v>
                </c:pt>
                <c:pt idx="1897">
                  <c:v>0.11057900939473722</c:v>
                </c:pt>
                <c:pt idx="1898">
                  <c:v>0.1104377477622067</c:v>
                </c:pt>
                <c:pt idx="1899">
                  <c:v>0.11559053108379357</c:v>
                </c:pt>
                <c:pt idx="1900">
                  <c:v>0.11976374539504243</c:v>
                </c:pt>
                <c:pt idx="1901">
                  <c:v>0.1230668224462593</c:v>
                </c:pt>
                <c:pt idx="1902">
                  <c:v>0.12627765260985518</c:v>
                </c:pt>
                <c:pt idx="1903">
                  <c:v>0.13043811960411836</c:v>
                </c:pt>
                <c:pt idx="1904">
                  <c:v>0.13389853404580893</c:v>
                </c:pt>
                <c:pt idx="1905">
                  <c:v>0.13673127658600223</c:v>
                </c:pt>
                <c:pt idx="1906">
                  <c:v>0.14011662552572399</c:v>
                </c:pt>
                <c:pt idx="1907">
                  <c:v>0.14290484931503317</c:v>
                </c:pt>
                <c:pt idx="1908">
                  <c:v>0.14512858116413524</c:v>
                </c:pt>
                <c:pt idx="1909">
                  <c:v>0.14737833472515363</c:v>
                </c:pt>
                <c:pt idx="1910">
                  <c:v>0.14905546210834622</c:v>
                </c:pt>
                <c:pt idx="1911">
                  <c:v>0.15015313324329577</c:v>
                </c:pt>
                <c:pt idx="1912">
                  <c:v>0.15126737081595737</c:v>
                </c:pt>
                <c:pt idx="1913">
                  <c:v>0.15232046323415496</c:v>
                </c:pt>
                <c:pt idx="1914">
                  <c:v>0.15283255419082006</c:v>
                </c:pt>
                <c:pt idx="1915">
                  <c:v>0.15334158616244867</c:v>
                </c:pt>
                <c:pt idx="1916">
                  <c:v>0.15324701468288154</c:v>
                </c:pt>
                <c:pt idx="1917">
                  <c:v>0.15257304905549721</c:v>
                </c:pt>
                <c:pt idx="1918">
                  <c:v>0.15182240749324385</c:v>
                </c:pt>
                <c:pt idx="1919">
                  <c:v>0.15042944027381708</c:v>
                </c:pt>
                <c:pt idx="1920">
                  <c:v>0.14835936681215292</c:v>
                </c:pt>
                <c:pt idx="1921">
                  <c:v>0.14678606290861482</c:v>
                </c:pt>
                <c:pt idx="1922">
                  <c:v>0.14450425398148947</c:v>
                </c:pt>
                <c:pt idx="1923">
                  <c:v>0.14151468945721521</c:v>
                </c:pt>
                <c:pt idx="1924">
                  <c:v>0.13850970294764012</c:v>
                </c:pt>
                <c:pt idx="1925">
                  <c:v>0.134455393273232</c:v>
                </c:pt>
                <c:pt idx="1926">
                  <c:v>0.13001058502179483</c:v>
                </c:pt>
                <c:pt idx="1927">
                  <c:v>0.12450262063952684</c:v>
                </c:pt>
                <c:pt idx="1928">
                  <c:v>0.11848240939267136</c:v>
                </c:pt>
                <c:pt idx="1929">
                  <c:v>0.11578934918754112</c:v>
                </c:pt>
                <c:pt idx="1930">
                  <c:v>0.11200319359278325</c:v>
                </c:pt>
                <c:pt idx="1931">
                  <c:v>0.10692205482838972</c:v>
                </c:pt>
                <c:pt idx="1932">
                  <c:v>0.10158923231709532</c:v>
                </c:pt>
                <c:pt idx="1933">
                  <c:v>9.5881132657679044E-2</c:v>
                </c:pt>
                <c:pt idx="1934">
                  <c:v>8.9911439366011175E-2</c:v>
                </c:pt>
                <c:pt idx="1935">
                  <c:v>8.3950022855636644E-2</c:v>
                </c:pt>
                <c:pt idx="1936">
                  <c:v>7.8969424827668666E-2</c:v>
                </c:pt>
                <c:pt idx="1937">
                  <c:v>7.4515623722361757E-2</c:v>
                </c:pt>
                <c:pt idx="1938">
                  <c:v>7.1363648773822438E-2</c:v>
                </c:pt>
                <c:pt idx="1939">
                  <c:v>7.0017188739706984E-2</c:v>
                </c:pt>
                <c:pt idx="1940">
                  <c:v>6.9962505910405898E-2</c:v>
                </c:pt>
                <c:pt idx="1941">
                  <c:v>7.2051937154291562E-2</c:v>
                </c:pt>
                <c:pt idx="1942">
                  <c:v>7.58181056453157E-2</c:v>
                </c:pt>
                <c:pt idx="1943">
                  <c:v>8.0514140972963735E-2</c:v>
                </c:pt>
                <c:pt idx="1944">
                  <c:v>8.6871312930738145E-2</c:v>
                </c:pt>
                <c:pt idx="1945">
                  <c:v>9.3753252293514805E-2</c:v>
                </c:pt>
                <c:pt idx="1946">
                  <c:v>0.10076858907248848</c:v>
                </c:pt>
                <c:pt idx="1947">
                  <c:v>0.1086432236335531</c:v>
                </c:pt>
                <c:pt idx="1948">
                  <c:v>0.11616775523984213</c:v>
                </c:pt>
                <c:pt idx="1949">
                  <c:v>0.12327577680731837</c:v>
                </c:pt>
                <c:pt idx="1950">
                  <c:v>0.12989011940860679</c:v>
                </c:pt>
                <c:pt idx="1951">
                  <c:v>0.13807257299901177</c:v>
                </c:pt>
                <c:pt idx="1952">
                  <c:v>0.14518569902874981</c:v>
                </c:pt>
                <c:pt idx="1953">
                  <c:v>0.15198511921974103</c:v>
                </c:pt>
                <c:pt idx="1954">
                  <c:v>0.15652476726205469</c:v>
                </c:pt>
                <c:pt idx="1955">
                  <c:v>0.15940387601843159</c:v>
                </c:pt>
                <c:pt idx="1956">
                  <c:v>0.16020934371288356</c:v>
                </c:pt>
                <c:pt idx="1957">
                  <c:v>0.15992201562980118</c:v>
                </c:pt>
                <c:pt idx="1958">
                  <c:v>0.15982029259717029</c:v>
                </c:pt>
                <c:pt idx="1959">
                  <c:v>0.1591714283910475</c:v>
                </c:pt>
                <c:pt idx="1960">
                  <c:v>0.15796964191801652</c:v>
                </c:pt>
                <c:pt idx="1961">
                  <c:v>0.15772208781458782</c:v>
                </c:pt>
                <c:pt idx="1962">
                  <c:v>0.15772496588372076</c:v>
                </c:pt>
                <c:pt idx="1963">
                  <c:v>0.1571972122744425</c:v>
                </c:pt>
                <c:pt idx="1964">
                  <c:v>0.15690038218551045</c:v>
                </c:pt>
                <c:pt idx="1965">
                  <c:v>0.15683807072248743</c:v>
                </c:pt>
                <c:pt idx="1966">
                  <c:v>0.15627134947296389</c:v>
                </c:pt>
                <c:pt idx="1967">
                  <c:v>0.15591142129555538</c:v>
                </c:pt>
                <c:pt idx="1968">
                  <c:v>0.15578897600249861</c:v>
                </c:pt>
                <c:pt idx="1969">
                  <c:v>0.15516934597866297</c:v>
                </c:pt>
                <c:pt idx="1970">
                  <c:v>0.15476166142041597</c:v>
                </c:pt>
                <c:pt idx="1971">
                  <c:v>0.15458238907058572</c:v>
                </c:pt>
                <c:pt idx="1972">
                  <c:v>0.15390220111543298</c:v>
                </c:pt>
                <c:pt idx="1973">
                  <c:v>0.15342876360008009</c:v>
                </c:pt>
                <c:pt idx="1974">
                  <c:v>0.15322301292020196</c:v>
                </c:pt>
                <c:pt idx="1975">
                  <c:v>0.15248122010708634</c:v>
                </c:pt>
                <c:pt idx="1976">
                  <c:v>0.1512255838903491</c:v>
                </c:pt>
                <c:pt idx="1977">
                  <c:v>0.1509878976281675</c:v>
                </c:pt>
                <c:pt idx="1978">
                  <c:v>0.15022457448356585</c:v>
                </c:pt>
                <c:pt idx="1979">
                  <c:v>0.14968963526699025</c:v>
                </c:pt>
                <c:pt idx="1980">
                  <c:v>0.15469081521181247</c:v>
                </c:pt>
                <c:pt idx="1981">
                  <c:v>0.16082107472380058</c:v>
                </c:pt>
                <c:pt idx="1982">
                  <c:v>0.16592500792435153</c:v>
                </c:pt>
                <c:pt idx="1983">
                  <c:v>0.17165194222274627</c:v>
                </c:pt>
                <c:pt idx="1984">
                  <c:v>0.17599140066162097</c:v>
                </c:pt>
                <c:pt idx="1985">
                  <c:v>0.17919297283998417</c:v>
                </c:pt>
                <c:pt idx="1986">
                  <c:v>0.18154547329503234</c:v>
                </c:pt>
                <c:pt idx="1987">
                  <c:v>0.18379054705990999</c:v>
                </c:pt>
                <c:pt idx="1988">
                  <c:v>0.18529165525135194</c:v>
                </c:pt>
                <c:pt idx="1989">
                  <c:v>0.1860836081894737</c:v>
                </c:pt>
                <c:pt idx="1990">
                  <c:v>0.1861584340300505</c:v>
                </c:pt>
                <c:pt idx="1991">
                  <c:v>0.18624589596662094</c:v>
                </c:pt>
                <c:pt idx="1992">
                  <c:v>0.18570179333621137</c:v>
                </c:pt>
                <c:pt idx="1993">
                  <c:v>0.18447693844159671</c:v>
                </c:pt>
                <c:pt idx="1994">
                  <c:v>0.1840039718498441</c:v>
                </c:pt>
                <c:pt idx="1995">
                  <c:v>0.18287834452939905</c:v>
                </c:pt>
                <c:pt idx="1996">
                  <c:v>0.1810648755225715</c:v>
                </c:pt>
                <c:pt idx="1997">
                  <c:v>0.18001544668611547</c:v>
                </c:pt>
                <c:pt idx="1998">
                  <c:v>0.17827384508862074</c:v>
                </c:pt>
                <c:pt idx="1999">
                  <c:v>0.17583808909372817</c:v>
                </c:pt>
                <c:pt idx="2000">
                  <c:v>0.174159856084734</c:v>
                </c:pt>
                <c:pt idx="2001">
                  <c:v>0.17175414154429083</c:v>
                </c:pt>
                <c:pt idx="2002">
                  <c:v>0.1686056603653226</c:v>
                </c:pt>
                <c:pt idx="2003">
                  <c:v>0.16553843261581672</c:v>
                </c:pt>
                <c:pt idx="2004">
                  <c:v>0.16175351333453583</c:v>
                </c:pt>
                <c:pt idx="2005">
                  <c:v>0.15717468915537136</c:v>
                </c:pt>
                <c:pt idx="2006">
                  <c:v>0.15174292389879721</c:v>
                </c:pt>
                <c:pt idx="2007">
                  <c:v>0.14858257229724403</c:v>
                </c:pt>
                <c:pt idx="2008">
                  <c:v>0.14443500381364319</c:v>
                </c:pt>
                <c:pt idx="2009">
                  <c:v>0.14286701277719829</c:v>
                </c:pt>
                <c:pt idx="2010">
                  <c:v>0.14650382322042116</c:v>
                </c:pt>
                <c:pt idx="2011">
                  <c:v>0.14954915883141898</c:v>
                </c:pt>
                <c:pt idx="2012">
                  <c:v>0.15283554264449103</c:v>
                </c:pt>
                <c:pt idx="2013">
                  <c:v>0.15618454419502861</c:v>
                </c:pt>
                <c:pt idx="2014">
                  <c:v>0.15898425837772234</c:v>
                </c:pt>
                <c:pt idx="2015">
                  <c:v>0.16366772825657613</c:v>
                </c:pt>
                <c:pt idx="2016">
                  <c:v>0.16840510434231817</c:v>
                </c:pt>
                <c:pt idx="2017">
                  <c:v>0.17232178524210659</c:v>
                </c:pt>
                <c:pt idx="2018">
                  <c:v>0.17544712744916441</c:v>
                </c:pt>
                <c:pt idx="2019">
                  <c:v>0.17861385129161797</c:v>
                </c:pt>
                <c:pt idx="2020">
                  <c:v>0.18100308512377428</c:v>
                </c:pt>
                <c:pt idx="2021">
                  <c:v>0.18264017055693479</c:v>
                </c:pt>
                <c:pt idx="2022">
                  <c:v>0.18428125348351609</c:v>
                </c:pt>
                <c:pt idx="2023">
                  <c:v>0.1851086042441957</c:v>
                </c:pt>
                <c:pt idx="2024">
                  <c:v>0.18589255695685605</c:v>
                </c:pt>
                <c:pt idx="2025">
                  <c:v>0.18468491611660737</c:v>
                </c:pt>
                <c:pt idx="2026">
                  <c:v>0.18170125432686676</c:v>
                </c:pt>
                <c:pt idx="2027">
                  <c:v>0.17791230528104873</c:v>
                </c:pt>
                <c:pt idx="2028">
                  <c:v>0.17273940730608064</c:v>
                </c:pt>
                <c:pt idx="2029">
                  <c:v>0.1659542437802459</c:v>
                </c:pt>
                <c:pt idx="2030">
                  <c:v>0.15891538109601702</c:v>
                </c:pt>
                <c:pt idx="2031">
                  <c:v>0.15096287302387446</c:v>
                </c:pt>
                <c:pt idx="2032">
                  <c:v>0.14218602743855216</c:v>
                </c:pt>
                <c:pt idx="2033">
                  <c:v>0.13261816127989601</c:v>
                </c:pt>
                <c:pt idx="2034">
                  <c:v>0.12286648984670158</c:v>
                </c:pt>
                <c:pt idx="2035">
                  <c:v>0.11322079184984345</c:v>
                </c:pt>
                <c:pt idx="2036">
                  <c:v>0.10382493260982355</c:v>
                </c:pt>
                <c:pt idx="2037">
                  <c:v>9.8218978272871918E-2</c:v>
                </c:pt>
                <c:pt idx="2038">
                  <c:v>9.3724445715861776E-2</c:v>
                </c:pt>
                <c:pt idx="2039">
                  <c:v>9.3158634858994518E-2</c:v>
                </c:pt>
                <c:pt idx="2040">
                  <c:v>9.3951367011822676E-2</c:v>
                </c:pt>
                <c:pt idx="2041">
                  <c:v>9.6056084829143601E-2</c:v>
                </c:pt>
                <c:pt idx="2042">
                  <c:v>9.9806891979356882E-2</c:v>
                </c:pt>
                <c:pt idx="2043">
                  <c:v>0.10443303971951408</c:v>
                </c:pt>
                <c:pt idx="2044">
                  <c:v>0.10975459857392587</c:v>
                </c:pt>
                <c:pt idx="2045">
                  <c:v>0.1165585492408119</c:v>
                </c:pt>
                <c:pt idx="2046">
                  <c:v>0.12316846854817658</c:v>
                </c:pt>
                <c:pt idx="2047">
                  <c:v>0.12942793741539454</c:v>
                </c:pt>
                <c:pt idx="2048">
                  <c:v>0.13590081064713655</c:v>
                </c:pt>
                <c:pt idx="2049">
                  <c:v>0.1413475140081514</c:v>
                </c:pt>
                <c:pt idx="2050">
                  <c:v>0.14590271531472604</c:v>
                </c:pt>
                <c:pt idx="2051">
                  <c:v>0.14940309301093643</c:v>
                </c:pt>
                <c:pt idx="2052">
                  <c:v>0.15112533014157428</c:v>
                </c:pt>
                <c:pt idx="2053">
                  <c:v>0.15133944106043065</c:v>
                </c:pt>
                <c:pt idx="2054">
                  <c:v>0.14978309517312377</c:v>
                </c:pt>
                <c:pt idx="2055">
                  <c:v>0.14837512725028568</c:v>
                </c:pt>
                <c:pt idx="2056">
                  <c:v>0.14645591741292813</c:v>
                </c:pt>
                <c:pt idx="2057">
                  <c:v>0.14398015669820077</c:v>
                </c:pt>
                <c:pt idx="2058">
                  <c:v>0.14295469328455357</c:v>
                </c:pt>
                <c:pt idx="2059">
                  <c:v>0.14155001557371666</c:v>
                </c:pt>
                <c:pt idx="2060">
                  <c:v>0.13928249050300048</c:v>
                </c:pt>
                <c:pt idx="2061">
                  <c:v>0.13707372605574675</c:v>
                </c:pt>
                <c:pt idx="2062">
                  <c:v>0.1341151980333323</c:v>
                </c:pt>
                <c:pt idx="2063">
                  <c:v>0.13038516266686032</c:v>
                </c:pt>
                <c:pt idx="2064">
                  <c:v>0.13161165896420521</c:v>
                </c:pt>
                <c:pt idx="2065">
                  <c:v>0.13325697485257723</c:v>
                </c:pt>
                <c:pt idx="2066">
                  <c:v>0.13456091445127713</c:v>
                </c:pt>
                <c:pt idx="2067">
                  <c:v>0.1355308371046573</c:v>
                </c:pt>
                <c:pt idx="2068">
                  <c:v>0.13834470464321572</c:v>
                </c:pt>
                <c:pt idx="2069">
                  <c:v>0.14063074977017309</c:v>
                </c:pt>
                <c:pt idx="2070">
                  <c:v>0.14241087513437198</c:v>
                </c:pt>
                <c:pt idx="2071">
                  <c:v>0.1436983670411178</c:v>
                </c:pt>
                <c:pt idx="2072">
                  <c:v>0.14452180991124042</c:v>
                </c:pt>
                <c:pt idx="2073">
                  <c:v>0.14486739180882505</c:v>
                </c:pt>
                <c:pt idx="2074">
                  <c:v>0.14545649522461482</c:v>
                </c:pt>
                <c:pt idx="2075">
                  <c:v>0.1462150601024951</c:v>
                </c:pt>
                <c:pt idx="2076">
                  <c:v>0.14652338229385456</c:v>
                </c:pt>
                <c:pt idx="2077">
                  <c:v>0.14636287460030184</c:v>
                </c:pt>
                <c:pt idx="2078">
                  <c:v>0.1471182403264874</c:v>
                </c:pt>
                <c:pt idx="2079">
                  <c:v>0.14742614537703413</c:v>
                </c:pt>
                <c:pt idx="2080">
                  <c:v>0.14727903435743386</c:v>
                </c:pt>
                <c:pt idx="2081">
                  <c:v>0.14826257177300586</c:v>
                </c:pt>
                <c:pt idx="2082">
                  <c:v>0.15032527372281981</c:v>
                </c:pt>
                <c:pt idx="2083">
                  <c:v>0.15345621712593882</c:v>
                </c:pt>
                <c:pt idx="2084">
                  <c:v>0.15748503565729466</c:v>
                </c:pt>
                <c:pt idx="2085">
                  <c:v>0.16601276898070294</c:v>
                </c:pt>
                <c:pt idx="2086">
                  <c:v>0.17500001929310766</c:v>
                </c:pt>
                <c:pt idx="2087">
                  <c:v>0.184321455950196</c:v>
                </c:pt>
                <c:pt idx="2088">
                  <c:v>0.19871976526073273</c:v>
                </c:pt>
                <c:pt idx="2089">
                  <c:v>0.21231087828400189</c:v>
                </c:pt>
                <c:pt idx="2090">
                  <c:v>0.23173890672298203</c:v>
                </c:pt>
                <c:pt idx="2091">
                  <c:v>0.25349741140216475</c:v>
                </c:pt>
                <c:pt idx="2092">
                  <c:v>0.27337950178774584</c:v>
                </c:pt>
                <c:pt idx="2093">
                  <c:v>0.28963469293278027</c:v>
                </c:pt>
                <c:pt idx="2094">
                  <c:v>0.30381457296381426</c:v>
                </c:pt>
                <c:pt idx="2095">
                  <c:v>0.32594853044447142</c:v>
                </c:pt>
                <c:pt idx="2096">
                  <c:v>0.34587930500488873</c:v>
                </c:pt>
                <c:pt idx="2097">
                  <c:v>0.36648706737864162</c:v>
                </c:pt>
                <c:pt idx="2098">
                  <c:v>0.386312390582501</c:v>
                </c:pt>
                <c:pt idx="2099">
                  <c:v>0.40406740313400091</c:v>
                </c:pt>
                <c:pt idx="2100">
                  <c:v>0.42236293955623111</c:v>
                </c:pt>
                <c:pt idx="2101">
                  <c:v>0.43836294113379703</c:v>
                </c:pt>
                <c:pt idx="2102">
                  <c:v>0.45222502349335303</c:v>
                </c:pt>
                <c:pt idx="2103">
                  <c:v>0.4639323196343636</c:v>
                </c:pt>
                <c:pt idx="2104">
                  <c:v>0.47254443270568647</c:v>
                </c:pt>
                <c:pt idx="2105">
                  <c:v>0.47840074566003882</c:v>
                </c:pt>
                <c:pt idx="2106">
                  <c:v>0.48221626573391835</c:v>
                </c:pt>
                <c:pt idx="2107">
                  <c:v>0.48387595441681502</c:v>
                </c:pt>
                <c:pt idx="2108">
                  <c:v>0.48381954415219969</c:v>
                </c:pt>
                <c:pt idx="2109">
                  <c:v>0.48134955643329985</c:v>
                </c:pt>
                <c:pt idx="2110">
                  <c:v>0.47616438085910445</c:v>
                </c:pt>
                <c:pt idx="2111">
                  <c:v>0.46980702382063644</c:v>
                </c:pt>
                <c:pt idx="2112">
                  <c:v>0.46210788026521987</c:v>
                </c:pt>
                <c:pt idx="2113">
                  <c:v>0.45513305651158137</c:v>
                </c:pt>
                <c:pt idx="2114">
                  <c:v>0.44660782958842465</c:v>
                </c:pt>
                <c:pt idx="2115">
                  <c:v>0.43911874507900417</c:v>
                </c:pt>
                <c:pt idx="2116">
                  <c:v>0.4324109826853591</c:v>
                </c:pt>
                <c:pt idx="2117">
                  <c:v>0.40777873981944757</c:v>
                </c:pt>
                <c:pt idx="2118">
                  <c:v>0.38108230135736804</c:v>
                </c:pt>
                <c:pt idx="2119">
                  <c:v>0.41776205840044017</c:v>
                </c:pt>
                <c:pt idx="2120">
                  <c:v>0.45707751306936567</c:v>
                </c:pt>
                <c:pt idx="2121">
                  <c:v>0.49557360704576325</c:v>
                </c:pt>
                <c:pt idx="2122">
                  <c:v>0.53160408519205138</c:v>
                </c:pt>
                <c:pt idx="2123">
                  <c:v>0.56472416476960818</c:v>
                </c:pt>
                <c:pt idx="2124">
                  <c:v>0.59566874198641495</c:v>
                </c:pt>
                <c:pt idx="2125">
                  <c:v>0.6263383227626077</c:v>
                </c:pt>
                <c:pt idx="2126">
                  <c:v>0.65448007663123675</c:v>
                </c:pt>
                <c:pt idx="2127">
                  <c:v>0.68014791143885234</c:v>
                </c:pt>
                <c:pt idx="2128">
                  <c:v>0.70312992897186288</c:v>
                </c:pt>
                <c:pt idx="2129">
                  <c:v>0.72340772263897635</c:v>
                </c:pt>
                <c:pt idx="2130">
                  <c:v>0.74044572850426826</c:v>
                </c:pt>
                <c:pt idx="2131">
                  <c:v>0.754461962181877</c:v>
                </c:pt>
                <c:pt idx="2132">
                  <c:v>0.76531845111022401</c:v>
                </c:pt>
                <c:pt idx="2133">
                  <c:v>0.77286098793534763</c:v>
                </c:pt>
                <c:pt idx="2134">
                  <c:v>0.77760226605140559</c:v>
                </c:pt>
                <c:pt idx="2135">
                  <c:v>0.77913991638218594</c:v>
                </c:pt>
                <c:pt idx="2136">
                  <c:v>0.77686820342959739</c:v>
                </c:pt>
                <c:pt idx="2137">
                  <c:v>0.77041946870094269</c:v>
                </c:pt>
                <c:pt idx="2138">
                  <c:v>0.75940918474674857</c:v>
                </c:pt>
                <c:pt idx="2139">
                  <c:v>0.74324666887760726</c:v>
                </c:pt>
                <c:pt idx="2140">
                  <c:v>0.7212726111065465</c:v>
                </c:pt>
                <c:pt idx="2141">
                  <c:v>0.69250526769787446</c:v>
                </c:pt>
                <c:pt idx="2142">
                  <c:v>0.65572060840602919</c:v>
                </c:pt>
                <c:pt idx="2143">
                  <c:v>0.60582211941576403</c:v>
                </c:pt>
                <c:pt idx="2144">
                  <c:v>0.54176740647539467</c:v>
                </c:pt>
                <c:pt idx="2145">
                  <c:v>0.45715865497829306</c:v>
                </c:pt>
                <c:pt idx="2146">
                  <c:v>0.32865510183207691</c:v>
                </c:pt>
                <c:pt idx="2147">
                  <c:v>0.1998692923998649</c:v>
                </c:pt>
                <c:pt idx="2148">
                  <c:v>1.7344551487745132E-13</c:v>
                </c:pt>
                <c:pt idx="2149">
                  <c:v>1.7344551487745132E-13</c:v>
                </c:pt>
                <c:pt idx="2150">
                  <c:v>1.7344551487745132E-13</c:v>
                </c:pt>
                <c:pt idx="2151">
                  <c:v>1.7344551487745132E-13</c:v>
                </c:pt>
                <c:pt idx="2152">
                  <c:v>1.7344551487745132E-13</c:v>
                </c:pt>
                <c:pt idx="2153">
                  <c:v>1.7344551487745132E-13</c:v>
                </c:pt>
                <c:pt idx="2154">
                  <c:v>1.7344551487745132E-13</c:v>
                </c:pt>
                <c:pt idx="2155">
                  <c:v>1.7344551487745132E-13</c:v>
                </c:pt>
                <c:pt idx="2156">
                  <c:v>1.7344551487745132E-13</c:v>
                </c:pt>
                <c:pt idx="2157">
                  <c:v>1.7344551487745132E-13</c:v>
                </c:pt>
                <c:pt idx="2158">
                  <c:v>1.7344551487745132E-13</c:v>
                </c:pt>
                <c:pt idx="2159">
                  <c:v>1.7344551487745132E-13</c:v>
                </c:pt>
                <c:pt idx="2160">
                  <c:v>1.7344551487745132E-13</c:v>
                </c:pt>
                <c:pt idx="2161">
                  <c:v>1.7344551487745132E-13</c:v>
                </c:pt>
                <c:pt idx="2162">
                  <c:v>1.7344551487745132E-13</c:v>
                </c:pt>
                <c:pt idx="2163">
                  <c:v>1.7344551487745132E-13</c:v>
                </c:pt>
                <c:pt idx="2164">
                  <c:v>1.7344551487745132E-13</c:v>
                </c:pt>
                <c:pt idx="2165">
                  <c:v>1.7344551487745132E-13</c:v>
                </c:pt>
                <c:pt idx="2166">
                  <c:v>1.7344551487745132E-13</c:v>
                </c:pt>
                <c:pt idx="2167">
                  <c:v>1.7344551487745132E-13</c:v>
                </c:pt>
                <c:pt idx="2168">
                  <c:v>1.7344551487745132E-13</c:v>
                </c:pt>
                <c:pt idx="2169">
                  <c:v>1.7344551487745132E-13</c:v>
                </c:pt>
                <c:pt idx="2170">
                  <c:v>1.7344551487745132E-13</c:v>
                </c:pt>
                <c:pt idx="2171">
                  <c:v>1.7344551487745132E-13</c:v>
                </c:pt>
                <c:pt idx="2172">
                  <c:v>1.7344551487745132E-13</c:v>
                </c:pt>
                <c:pt idx="2173">
                  <c:v>1.7344551487745132E-13</c:v>
                </c:pt>
                <c:pt idx="2174">
                  <c:v>1.7344551487745132E-13</c:v>
                </c:pt>
                <c:pt idx="2175">
                  <c:v>1.7344551487745132E-13</c:v>
                </c:pt>
                <c:pt idx="2176">
                  <c:v>1.7344551487745132E-13</c:v>
                </c:pt>
                <c:pt idx="2177">
                  <c:v>1.7344551487745132E-13</c:v>
                </c:pt>
                <c:pt idx="2178">
                  <c:v>1.7344551487745132E-13</c:v>
                </c:pt>
                <c:pt idx="2179">
                  <c:v>1.7344551487745132E-13</c:v>
                </c:pt>
                <c:pt idx="2180">
                  <c:v>1.7344551487745132E-13</c:v>
                </c:pt>
                <c:pt idx="2181">
                  <c:v>1.7344551487745132E-13</c:v>
                </c:pt>
                <c:pt idx="2182">
                  <c:v>1.7344551487745132E-13</c:v>
                </c:pt>
                <c:pt idx="2183">
                  <c:v>1.7344551487745132E-13</c:v>
                </c:pt>
                <c:pt idx="2184">
                  <c:v>1.7344551487745132E-13</c:v>
                </c:pt>
                <c:pt idx="2185">
                  <c:v>1.7344551487745132E-13</c:v>
                </c:pt>
                <c:pt idx="2186">
                  <c:v>1.7344551487745132E-13</c:v>
                </c:pt>
                <c:pt idx="2187">
                  <c:v>1.7344551487745132E-13</c:v>
                </c:pt>
                <c:pt idx="2188">
                  <c:v>1.7344551487745132E-13</c:v>
                </c:pt>
                <c:pt idx="2189">
                  <c:v>1.7344551487745132E-13</c:v>
                </c:pt>
                <c:pt idx="2190">
                  <c:v>1.7344551487745132E-13</c:v>
                </c:pt>
                <c:pt idx="2191">
                  <c:v>1.7344551487745132E-13</c:v>
                </c:pt>
                <c:pt idx="2192">
                  <c:v>1.7344551487745132E-13</c:v>
                </c:pt>
                <c:pt idx="2193">
                  <c:v>1.7344551487745132E-13</c:v>
                </c:pt>
                <c:pt idx="2194">
                  <c:v>1.7344551487745132E-13</c:v>
                </c:pt>
                <c:pt idx="2195">
                  <c:v>1.7344551487745132E-13</c:v>
                </c:pt>
                <c:pt idx="2196">
                  <c:v>1.7344551487745132E-13</c:v>
                </c:pt>
                <c:pt idx="2197">
                  <c:v>1.7344551487745132E-13</c:v>
                </c:pt>
                <c:pt idx="2198">
                  <c:v>1.7344551487745132E-13</c:v>
                </c:pt>
                <c:pt idx="2199">
                  <c:v>1.7344551487745132E-13</c:v>
                </c:pt>
                <c:pt idx="2200">
                  <c:v>1.7344551487745132E-13</c:v>
                </c:pt>
                <c:pt idx="2201">
                  <c:v>1.7344551487745132E-13</c:v>
                </c:pt>
                <c:pt idx="2202">
                  <c:v>1.7344551487745132E-13</c:v>
                </c:pt>
                <c:pt idx="2203">
                  <c:v>1.7344551487745132E-13</c:v>
                </c:pt>
                <c:pt idx="2204">
                  <c:v>1.7344551487745132E-13</c:v>
                </c:pt>
                <c:pt idx="2205">
                  <c:v>1.7344551487745132E-13</c:v>
                </c:pt>
                <c:pt idx="2206">
                  <c:v>1.7344551487745132E-13</c:v>
                </c:pt>
                <c:pt idx="2207">
                  <c:v>1.7344551487745132E-13</c:v>
                </c:pt>
                <c:pt idx="2208">
                  <c:v>1.7344551487745132E-13</c:v>
                </c:pt>
                <c:pt idx="2209">
                  <c:v>1.7344551487745132E-13</c:v>
                </c:pt>
                <c:pt idx="2210">
                  <c:v>1.7344551487745132E-13</c:v>
                </c:pt>
                <c:pt idx="2211">
                  <c:v>1.7344551487745132E-13</c:v>
                </c:pt>
                <c:pt idx="2212">
                  <c:v>1.7344551487745132E-13</c:v>
                </c:pt>
                <c:pt idx="2213">
                  <c:v>1.7344551487745132E-13</c:v>
                </c:pt>
                <c:pt idx="2214">
                  <c:v>1.7344551487745132E-13</c:v>
                </c:pt>
                <c:pt idx="2215">
                  <c:v>1.7344551487745132E-13</c:v>
                </c:pt>
                <c:pt idx="2216">
                  <c:v>1.7344551487745132E-13</c:v>
                </c:pt>
                <c:pt idx="2217">
                  <c:v>1.7344551487745132E-13</c:v>
                </c:pt>
                <c:pt idx="2218">
                  <c:v>1.7344551487745132E-13</c:v>
                </c:pt>
                <c:pt idx="2219">
                  <c:v>1.7344551487745132E-13</c:v>
                </c:pt>
                <c:pt idx="2220">
                  <c:v>1.7344551487745132E-13</c:v>
                </c:pt>
                <c:pt idx="2221">
                  <c:v>1.7344551487745132E-13</c:v>
                </c:pt>
                <c:pt idx="2222">
                  <c:v>1.7344551487745132E-13</c:v>
                </c:pt>
                <c:pt idx="2223">
                  <c:v>1.7344551487745132E-13</c:v>
                </c:pt>
                <c:pt idx="2224">
                  <c:v>1.7344551487745132E-13</c:v>
                </c:pt>
                <c:pt idx="2225">
                  <c:v>1.7344551487745132E-13</c:v>
                </c:pt>
                <c:pt idx="2226">
                  <c:v>1.7344551487745132E-13</c:v>
                </c:pt>
                <c:pt idx="2227">
                  <c:v>1.7344551487745132E-13</c:v>
                </c:pt>
                <c:pt idx="2228">
                  <c:v>1.7344551487745132E-13</c:v>
                </c:pt>
                <c:pt idx="2229">
                  <c:v>1.7344551487745132E-13</c:v>
                </c:pt>
                <c:pt idx="2230">
                  <c:v>1.7344551487745132E-13</c:v>
                </c:pt>
                <c:pt idx="2231">
                  <c:v>1.7344551487745132E-13</c:v>
                </c:pt>
                <c:pt idx="2232">
                  <c:v>1.7344551487745132E-13</c:v>
                </c:pt>
                <c:pt idx="2233">
                  <c:v>1.7344551487745132E-13</c:v>
                </c:pt>
                <c:pt idx="2234">
                  <c:v>1.7344551487745132E-13</c:v>
                </c:pt>
                <c:pt idx="2235">
                  <c:v>1.7344551487745132E-13</c:v>
                </c:pt>
                <c:pt idx="2236">
                  <c:v>5.4255570804612714E-3</c:v>
                </c:pt>
                <c:pt idx="2237">
                  <c:v>3.2684379565715169E-2</c:v>
                </c:pt>
                <c:pt idx="2238">
                  <c:v>8.5992888059499867E-2</c:v>
                </c:pt>
                <c:pt idx="2239">
                  <c:v>0.11890944368472245</c:v>
                </c:pt>
                <c:pt idx="2240">
                  <c:v>0.14573336587173727</c:v>
                </c:pt>
                <c:pt idx="2241">
                  <c:v>0.16936566122195273</c:v>
                </c:pt>
                <c:pt idx="2242">
                  <c:v>0.19077251493652209</c:v>
                </c:pt>
                <c:pt idx="2243">
                  <c:v>0.21539606979110898</c:v>
                </c:pt>
                <c:pt idx="2244">
                  <c:v>0.24515986659431283</c:v>
                </c:pt>
                <c:pt idx="2245">
                  <c:v>0.27646969494420992</c:v>
                </c:pt>
                <c:pt idx="2246">
                  <c:v>0.31653902241194848</c:v>
                </c:pt>
                <c:pt idx="2247">
                  <c:v>0.35839080248692456</c:v>
                </c:pt>
                <c:pt idx="2248">
                  <c:v>0.39907772780476847</c:v>
                </c:pt>
                <c:pt idx="2249">
                  <c:v>0.4433834987594425</c:v>
                </c:pt>
                <c:pt idx="2250">
                  <c:v>0.51679696278512921</c:v>
                </c:pt>
                <c:pt idx="2251">
                  <c:v>0.65407217054496947</c:v>
                </c:pt>
                <c:pt idx="2252">
                  <c:v>0.74124116525121919</c:v>
                </c:pt>
                <c:pt idx="2253">
                  <c:v>0.79500022000604342</c:v>
                </c:pt>
                <c:pt idx="2254">
                  <c:v>0.83612801852063734</c:v>
                </c:pt>
                <c:pt idx="2255">
                  <c:v>0.85965995956585373</c:v>
                </c:pt>
                <c:pt idx="2256">
                  <c:v>0.95615510145002558</c:v>
                </c:pt>
                <c:pt idx="2257">
                  <c:v>1.0873548480708195</c:v>
                </c:pt>
                <c:pt idx="2258">
                  <c:v>1.1000214018941561</c:v>
                </c:pt>
                <c:pt idx="2259">
                  <c:v>1.1105855123526076</c:v>
                </c:pt>
                <c:pt idx="2260">
                  <c:v>1.1192759558630037</c:v>
                </c:pt>
                <c:pt idx="2261">
                  <c:v>1.1262989076949483</c:v>
                </c:pt>
                <c:pt idx="2262">
                  <c:v>1.1313842988530678</c:v>
                </c:pt>
                <c:pt idx="2263">
                  <c:v>1.1356383096520775</c:v>
                </c:pt>
                <c:pt idx="2264">
                  <c:v>1.1354154993837102</c:v>
                </c:pt>
                <c:pt idx="2265">
                  <c:v>1.1349857102993326</c:v>
                </c:pt>
                <c:pt idx="2266">
                  <c:v>1.1342852886587071</c:v>
                </c:pt>
                <c:pt idx="2267">
                  <c:v>1.1322069695738346</c:v>
                </c:pt>
                <c:pt idx="2268">
                  <c:v>1.1258939814636211</c:v>
                </c:pt>
                <c:pt idx="2269">
                  <c:v>1.1187586436156998</c:v>
                </c:pt>
                <c:pt idx="2270">
                  <c:v>1.1108790659618806</c:v>
                </c:pt>
                <c:pt idx="2271">
                  <c:v>1.1021170155480917</c:v>
                </c:pt>
                <c:pt idx="2272">
                  <c:v>1.092221320459188</c:v>
                </c:pt>
                <c:pt idx="2273">
                  <c:v>1.0793175487950935</c:v>
                </c:pt>
                <c:pt idx="2274">
                  <c:v>1.0617968202733843</c:v>
                </c:pt>
                <c:pt idx="2275">
                  <c:v>1.0398607907008091</c:v>
                </c:pt>
                <c:pt idx="2276">
                  <c:v>1.0073439528886721</c:v>
                </c:pt>
                <c:pt idx="2277">
                  <c:v>0.96416431126809909</c:v>
                </c:pt>
                <c:pt idx="2278">
                  <c:v>0.90984259955643632</c:v>
                </c:pt>
                <c:pt idx="2279">
                  <c:v>0.83688998852677554</c:v>
                </c:pt>
                <c:pt idx="2280">
                  <c:v>0.70423777756261108</c:v>
                </c:pt>
                <c:pt idx="2281">
                  <c:v>0.6676745787932804</c:v>
                </c:pt>
                <c:pt idx="2282">
                  <c:v>0.64248007387711603</c:v>
                </c:pt>
                <c:pt idx="2283">
                  <c:v>0.63068274881210917</c:v>
                </c:pt>
                <c:pt idx="2284">
                  <c:v>0.6198165205643732</c:v>
                </c:pt>
                <c:pt idx="2285">
                  <c:v>0.61883740110775931</c:v>
                </c:pt>
                <c:pt idx="2286">
                  <c:v>0.54444697871973768</c:v>
                </c:pt>
                <c:pt idx="2287">
                  <c:v>0.32871117563178365</c:v>
                </c:pt>
                <c:pt idx="2288">
                  <c:v>0.31571721923114837</c:v>
                </c:pt>
                <c:pt idx="2289">
                  <c:v>0.30738294398368043</c:v>
                </c:pt>
                <c:pt idx="2290">
                  <c:v>0.30965633167786971</c:v>
                </c:pt>
                <c:pt idx="2291">
                  <c:v>0.34698025061685661</c:v>
                </c:pt>
                <c:pt idx="2292">
                  <c:v>0.39748053012835471</c:v>
                </c:pt>
                <c:pt idx="2293">
                  <c:v>0.44872904619002629</c:v>
                </c:pt>
                <c:pt idx="2294">
                  <c:v>0.50071497922004593</c:v>
                </c:pt>
                <c:pt idx="2295">
                  <c:v>0.54950231078251965</c:v>
                </c:pt>
                <c:pt idx="2296">
                  <c:v>0.59456988974809022</c:v>
                </c:pt>
                <c:pt idx="2297">
                  <c:v>0.63697360999599784</c:v>
                </c:pt>
                <c:pt idx="2298">
                  <c:v>0.67555994367843619</c:v>
                </c:pt>
                <c:pt idx="2299">
                  <c:v>0.71049933546694499</c:v>
                </c:pt>
                <c:pt idx="2300">
                  <c:v>0.74115369836968115</c:v>
                </c:pt>
                <c:pt idx="2301">
                  <c:v>0.77320699901446943</c:v>
                </c:pt>
                <c:pt idx="2302">
                  <c:v>0.81876706864138338</c:v>
                </c:pt>
                <c:pt idx="2303">
                  <c:v>0.85781227220470169</c:v>
                </c:pt>
                <c:pt idx="2304">
                  <c:v>0.89077672082095416</c:v>
                </c:pt>
                <c:pt idx="2305">
                  <c:v>0.92888039915038623</c:v>
                </c:pt>
                <c:pt idx="2306">
                  <c:v>0.96987850922112639</c:v>
                </c:pt>
                <c:pt idx="2307">
                  <c:v>1.0107566545243725</c:v>
                </c:pt>
                <c:pt idx="2308">
                  <c:v>1.0508004096588874</c:v>
                </c:pt>
                <c:pt idx="2309">
                  <c:v>1.0804240558605132</c:v>
                </c:pt>
                <c:pt idx="2310">
                  <c:v>1.1063146352173243</c:v>
                </c:pt>
                <c:pt idx="2311">
                  <c:v>1.1317071447785032</c:v>
                </c:pt>
                <c:pt idx="2312">
                  <c:v>1.1675598289924778</c:v>
                </c:pt>
                <c:pt idx="2313">
                  <c:v>1.2053509877843429</c:v>
                </c:pt>
                <c:pt idx="2314">
                  <c:v>1.225332313859296</c:v>
                </c:pt>
                <c:pt idx="2315">
                  <c:v>1.2376709621785966</c:v>
                </c:pt>
                <c:pt idx="2316">
                  <c:v>1.2474717343620851</c:v>
                </c:pt>
                <c:pt idx="2317">
                  <c:v>1.2826234271446961</c:v>
                </c:pt>
                <c:pt idx="2318">
                  <c:v>1.3639181943535243</c:v>
                </c:pt>
                <c:pt idx="2319">
                  <c:v>1.4507981012470372</c:v>
                </c:pt>
                <c:pt idx="2320">
                  <c:v>1.5354715534967249</c:v>
                </c:pt>
                <c:pt idx="2321">
                  <c:v>1.6188773267669989</c:v>
                </c:pt>
                <c:pt idx="2322">
                  <c:v>1.6958246313299301</c:v>
                </c:pt>
                <c:pt idx="2323">
                  <c:v>1.772309066670825</c:v>
                </c:pt>
                <c:pt idx="2324">
                  <c:v>1.8411441346349606</c:v>
                </c:pt>
                <c:pt idx="2325">
                  <c:v>1.9112396335321997</c:v>
                </c:pt>
                <c:pt idx="2326">
                  <c:v>1.9739893023490653</c:v>
                </c:pt>
                <c:pt idx="2327">
                  <c:v>2.0318666719970349</c:v>
                </c:pt>
                <c:pt idx="2328">
                  <c:v>2.0801076768556652</c:v>
                </c:pt>
                <c:pt idx="2329">
                  <c:v>2.0867928007008616</c:v>
                </c:pt>
                <c:pt idx="2330">
                  <c:v>2.0703929489399737</c:v>
                </c:pt>
                <c:pt idx="2331">
                  <c:v>2.0459359694527248</c:v>
                </c:pt>
                <c:pt idx="2332">
                  <c:v>2.0049697290319068</c:v>
                </c:pt>
                <c:pt idx="2333">
                  <c:v>1.9554101717697234</c:v>
                </c:pt>
                <c:pt idx="2334">
                  <c:v>1.8961483138970225</c:v>
                </c:pt>
                <c:pt idx="2335">
                  <c:v>1.8165084112476866</c:v>
                </c:pt>
                <c:pt idx="2336">
                  <c:v>1.7165991593860253</c:v>
                </c:pt>
                <c:pt idx="2337">
                  <c:v>1.5979264192234899</c:v>
                </c:pt>
                <c:pt idx="2338">
                  <c:v>1.4551564431743791</c:v>
                </c:pt>
                <c:pt idx="2339">
                  <c:v>1.2881835335823266</c:v>
                </c:pt>
                <c:pt idx="2340">
                  <c:v>1.0762686689753673</c:v>
                </c:pt>
                <c:pt idx="2341">
                  <c:v>0.78252768106342996</c:v>
                </c:pt>
                <c:pt idx="2342">
                  <c:v>0.79820877784564981</c:v>
                </c:pt>
                <c:pt idx="2343">
                  <c:v>0.81710802871333887</c:v>
                </c:pt>
                <c:pt idx="2344">
                  <c:v>0.8396711276639649</c:v>
                </c:pt>
                <c:pt idx="2345">
                  <c:v>0.86485637422442585</c:v>
                </c:pt>
                <c:pt idx="2346">
                  <c:v>0.89301777255545356</c:v>
                </c:pt>
                <c:pt idx="2347">
                  <c:v>0.92199824330110736</c:v>
                </c:pt>
                <c:pt idx="2348">
                  <c:v>0.93471231612934602</c:v>
                </c:pt>
                <c:pt idx="2349">
                  <c:v>0.93179700579838332</c:v>
                </c:pt>
                <c:pt idx="2350">
                  <c:v>0.9157454043331642</c:v>
                </c:pt>
                <c:pt idx="2351">
                  <c:v>0.89418217030299463</c:v>
                </c:pt>
                <c:pt idx="2352">
                  <c:v>0.86884178534263101</c:v>
                </c:pt>
                <c:pt idx="2353">
                  <c:v>0.83263531396642443</c:v>
                </c:pt>
                <c:pt idx="2354">
                  <c:v>0.79017499514003109</c:v>
                </c:pt>
                <c:pt idx="2355">
                  <c:v>0.72626635077852486</c:v>
                </c:pt>
                <c:pt idx="2356">
                  <c:v>0.64574069295599701</c:v>
                </c:pt>
                <c:pt idx="2357">
                  <c:v>0.53261376723028608</c:v>
                </c:pt>
                <c:pt idx="2358">
                  <c:v>0.37222219321828093</c:v>
                </c:pt>
                <c:pt idx="2359">
                  <c:v>0.30331406097828006</c:v>
                </c:pt>
                <c:pt idx="2360">
                  <c:v>0.30331406097828006</c:v>
                </c:pt>
                <c:pt idx="2361">
                  <c:v>0.30383881533327622</c:v>
                </c:pt>
                <c:pt idx="2362">
                  <c:v>0.30679888037466296</c:v>
                </c:pt>
                <c:pt idx="2363">
                  <c:v>0.31048522381379789</c:v>
                </c:pt>
                <c:pt idx="2364">
                  <c:v>0.31454310831734023</c:v>
                </c:pt>
                <c:pt idx="2365">
                  <c:v>0.31849723943880176</c:v>
                </c:pt>
                <c:pt idx="2366">
                  <c:v>0.32231687764341743</c:v>
                </c:pt>
                <c:pt idx="2367">
                  <c:v>0.32565991459025995</c:v>
                </c:pt>
                <c:pt idx="2368">
                  <c:v>0.32832012058371463</c:v>
                </c:pt>
                <c:pt idx="2369">
                  <c:v>0.3303316236202492</c:v>
                </c:pt>
                <c:pt idx="2370">
                  <c:v>0.33103269161054671</c:v>
                </c:pt>
                <c:pt idx="2371">
                  <c:v>0.32998890461765623</c:v>
                </c:pt>
                <c:pt idx="2372">
                  <c:v>0.32617392980190918</c:v>
                </c:pt>
                <c:pt idx="2373">
                  <c:v>0.31649387560548276</c:v>
                </c:pt>
                <c:pt idx="2374">
                  <c:v>0.42959624111208022</c:v>
                </c:pt>
                <c:pt idx="2375">
                  <c:v>0.41734474470869254</c:v>
                </c:pt>
                <c:pt idx="2376">
                  <c:v>0.40494102307552726</c:v>
                </c:pt>
                <c:pt idx="2377">
                  <c:v>0.40494102307552732</c:v>
                </c:pt>
                <c:pt idx="2378">
                  <c:v>0.41145732031297721</c:v>
                </c:pt>
                <c:pt idx="2379">
                  <c:v>0.42815197833793062</c:v>
                </c:pt>
                <c:pt idx="2380">
                  <c:v>0.45176561348435801</c:v>
                </c:pt>
                <c:pt idx="2381">
                  <c:v>0.4730096655021086</c:v>
                </c:pt>
                <c:pt idx="2382">
                  <c:v>0.49136788687658739</c:v>
                </c:pt>
                <c:pt idx="2383">
                  <c:v>0.50834716755301812</c:v>
                </c:pt>
                <c:pt idx="2384">
                  <c:v>0.52517467306211896</c:v>
                </c:pt>
                <c:pt idx="2385">
                  <c:v>0.54001547515001203</c:v>
                </c:pt>
                <c:pt idx="2386">
                  <c:v>0.55250810211948131</c:v>
                </c:pt>
                <c:pt idx="2387">
                  <c:v>0.56270673678677197</c:v>
                </c:pt>
                <c:pt idx="2388">
                  <c:v>0.57062647506864173</c:v>
                </c:pt>
                <c:pt idx="2389">
                  <c:v>0.57727814170455749</c:v>
                </c:pt>
                <c:pt idx="2390">
                  <c:v>0.58182931142099981</c:v>
                </c:pt>
                <c:pt idx="2391">
                  <c:v>0.58584871219650292</c:v>
                </c:pt>
                <c:pt idx="2392">
                  <c:v>0.58736974427498267</c:v>
                </c:pt>
                <c:pt idx="2393">
                  <c:v>0.58791565548353963</c:v>
                </c:pt>
                <c:pt idx="2394">
                  <c:v>0.58582800724073758</c:v>
                </c:pt>
                <c:pt idx="2395">
                  <c:v>0.5858408316047039</c:v>
                </c:pt>
                <c:pt idx="2396">
                  <c:v>0.58114103463354971</c:v>
                </c:pt>
                <c:pt idx="2397">
                  <c:v>0.57188931359144057</c:v>
                </c:pt>
                <c:pt idx="2398">
                  <c:v>0.5696710027676305</c:v>
                </c:pt>
                <c:pt idx="2399">
                  <c:v>0.62173544646258105</c:v>
                </c:pt>
                <c:pt idx="2400">
                  <c:v>0.6952802695637047</c:v>
                </c:pt>
                <c:pt idx="2401">
                  <c:v>0.6952802695637047</c:v>
                </c:pt>
                <c:pt idx="2402">
                  <c:v>0.85391805934991949</c:v>
                </c:pt>
                <c:pt idx="2403">
                  <c:v>0.83904755859309466</c:v>
                </c:pt>
                <c:pt idx="2404">
                  <c:v>0.8960275383117986</c:v>
                </c:pt>
                <c:pt idx="2405">
                  <c:v>0.8960275383117986</c:v>
                </c:pt>
                <c:pt idx="2406">
                  <c:v>0.91006084110447616</c:v>
                </c:pt>
                <c:pt idx="2407">
                  <c:v>0.92525330008141937</c:v>
                </c:pt>
                <c:pt idx="2408">
                  <c:v>1.0495402427431715</c:v>
                </c:pt>
                <c:pt idx="2409">
                  <c:v>1.0589143094487781</c:v>
                </c:pt>
                <c:pt idx="2410">
                  <c:v>1.0694426294515811</c:v>
                </c:pt>
                <c:pt idx="2411">
                  <c:v>1.1647998674710429</c:v>
                </c:pt>
                <c:pt idx="2412">
                  <c:v>1.1833743357503403</c:v>
                </c:pt>
                <c:pt idx="2413">
                  <c:v>1.2643926163541073</c:v>
                </c:pt>
                <c:pt idx="2414">
                  <c:v>1.2877896749292801</c:v>
                </c:pt>
                <c:pt idx="2415">
                  <c:v>1.3066734945708107</c:v>
                </c:pt>
                <c:pt idx="2416">
                  <c:v>1.3212615366745069</c:v>
                </c:pt>
                <c:pt idx="2417">
                  <c:v>1.3315971930482391</c:v>
                </c:pt>
                <c:pt idx="2418">
                  <c:v>1.3213437931929597</c:v>
                </c:pt>
                <c:pt idx="2419">
                  <c:v>1.339771210393391</c:v>
                </c:pt>
                <c:pt idx="2420">
                  <c:v>1.4233016517036792</c:v>
                </c:pt>
                <c:pt idx="2421">
                  <c:v>1.4122578953161857</c:v>
                </c:pt>
                <c:pt idx="2422">
                  <c:v>1.4001609303925804</c:v>
                </c:pt>
                <c:pt idx="2423">
                  <c:v>1.3854525365220201</c:v>
                </c:pt>
                <c:pt idx="2424">
                  <c:v>1.3691216601834375</c:v>
                </c:pt>
                <c:pt idx="2425">
                  <c:v>1.3462203367462555</c:v>
                </c:pt>
                <c:pt idx="2426">
                  <c:v>1.3221432599790759</c:v>
                </c:pt>
                <c:pt idx="2427">
                  <c:v>1.2964151736618128</c:v>
                </c:pt>
                <c:pt idx="2428">
                  <c:v>1.2557611350836808</c:v>
                </c:pt>
                <c:pt idx="2429">
                  <c:v>1.1506941706881</c:v>
                </c:pt>
                <c:pt idx="2430">
                  <c:v>1.1600452635861573</c:v>
                </c:pt>
                <c:pt idx="2431">
                  <c:v>1.1758062052324607</c:v>
                </c:pt>
                <c:pt idx="2432">
                  <c:v>1.2325257218200314</c:v>
                </c:pt>
                <c:pt idx="2433">
                  <c:v>1.3026838991018217</c:v>
                </c:pt>
                <c:pt idx="2434">
                  <c:v>1.37348042765709</c:v>
                </c:pt>
                <c:pt idx="2435">
                  <c:v>1.4387360694147779</c:v>
                </c:pt>
                <c:pt idx="2436">
                  <c:v>1.4933850476183619</c:v>
                </c:pt>
                <c:pt idx="2437">
                  <c:v>1.5401684857480675</c:v>
                </c:pt>
                <c:pt idx="2438">
                  <c:v>1.568440594155762</c:v>
                </c:pt>
                <c:pt idx="2439">
                  <c:v>1.6047700925501933</c:v>
                </c:pt>
                <c:pt idx="2440">
                  <c:v>1.6338003551305704</c:v>
                </c:pt>
                <c:pt idx="2441">
                  <c:v>1.6501134834627929</c:v>
                </c:pt>
                <c:pt idx="2442">
                  <c:v>1.5946217549812467</c:v>
                </c:pt>
                <c:pt idx="2443">
                  <c:v>1.6054847487165005</c:v>
                </c:pt>
                <c:pt idx="2444">
                  <c:v>1.6229027925146922</c:v>
                </c:pt>
                <c:pt idx="2445">
                  <c:v>1.6385073329854583</c:v>
                </c:pt>
                <c:pt idx="2446">
                  <c:v>1.6520595400331182</c:v>
                </c:pt>
                <c:pt idx="2447">
                  <c:v>1.6636988740948067</c:v>
                </c:pt>
                <c:pt idx="2448">
                  <c:v>1.65974640925502</c:v>
                </c:pt>
                <c:pt idx="2449">
                  <c:v>1.6681021221430685</c:v>
                </c:pt>
                <c:pt idx="2450">
                  <c:v>1.652118231530785</c:v>
                </c:pt>
                <c:pt idx="2451">
                  <c:v>1.6097570999688116</c:v>
                </c:pt>
                <c:pt idx="2452">
                  <c:v>1.5593550957980349</c:v>
                </c:pt>
                <c:pt idx="2453">
                  <c:v>1.5003930996067849</c:v>
                </c:pt>
                <c:pt idx="2454">
                  <c:v>1.4316544249917362</c:v>
                </c:pt>
                <c:pt idx="2455">
                  <c:v>1.3513977762503082</c:v>
                </c:pt>
                <c:pt idx="2456">
                  <c:v>1.2579734016728199</c:v>
                </c:pt>
                <c:pt idx="2457">
                  <c:v>1.1488234244806139</c:v>
                </c:pt>
                <c:pt idx="2458">
                  <c:v>1.0189283897412504</c:v>
                </c:pt>
                <c:pt idx="2459">
                  <c:v>0.85909938668637387</c:v>
                </c:pt>
                <c:pt idx="2460">
                  <c:v>0.64776665378864517</c:v>
                </c:pt>
                <c:pt idx="2461">
                  <c:v>0.28903289348325883</c:v>
                </c:pt>
                <c:pt idx="2462">
                  <c:v>0.28512936034517222</c:v>
                </c:pt>
                <c:pt idx="2463">
                  <c:v>0.28008915617990765</c:v>
                </c:pt>
                <c:pt idx="2464">
                  <c:v>0.27307105813594701</c:v>
                </c:pt>
                <c:pt idx="2465">
                  <c:v>0.26390264243751255</c:v>
                </c:pt>
                <c:pt idx="2466">
                  <c:v>0.25451798542968762</c:v>
                </c:pt>
                <c:pt idx="2467">
                  <c:v>0.24215444129940589</c:v>
                </c:pt>
                <c:pt idx="2468">
                  <c:v>0.22907454088484167</c:v>
                </c:pt>
                <c:pt idx="2469">
                  <c:v>0.21310088741062164</c:v>
                </c:pt>
                <c:pt idx="2470">
                  <c:v>0.20042713718022789</c:v>
                </c:pt>
                <c:pt idx="2471">
                  <c:v>0.1925892017039818</c:v>
                </c:pt>
                <c:pt idx="2472">
                  <c:v>0.18950721403708626</c:v>
                </c:pt>
                <c:pt idx="2473">
                  <c:v>0.18652629725046932</c:v>
                </c:pt>
                <c:pt idx="2474">
                  <c:v>0.18444592041694888</c:v>
                </c:pt>
                <c:pt idx="2475">
                  <c:v>0.18161211425574966</c:v>
                </c:pt>
                <c:pt idx="2476">
                  <c:v>0.17892365380595715</c:v>
                </c:pt>
                <c:pt idx="2477">
                  <c:v>0.17802100962425049</c:v>
                </c:pt>
                <c:pt idx="2478">
                  <c:v>0.17729997219548158</c:v>
                </c:pt>
                <c:pt idx="2479">
                  <c:v>0.1784331693851296</c:v>
                </c:pt>
                <c:pt idx="2480">
                  <c:v>0.17966774502425048</c:v>
                </c:pt>
                <c:pt idx="2481">
                  <c:v>0.18094021969478519</c:v>
                </c:pt>
                <c:pt idx="2482">
                  <c:v>0.1822116431112078</c:v>
                </c:pt>
                <c:pt idx="2483">
                  <c:v>0.18246077439455485</c:v>
                </c:pt>
                <c:pt idx="2484">
                  <c:v>0.18248653660565187</c:v>
                </c:pt>
                <c:pt idx="2485">
                  <c:v>0.18415894078725828</c:v>
                </c:pt>
                <c:pt idx="2486">
                  <c:v>0.18921739451488323</c:v>
                </c:pt>
                <c:pt idx="2487">
                  <c:v>0.19342916973732197</c:v>
                </c:pt>
                <c:pt idx="2488">
                  <c:v>0.19656052531681079</c:v>
                </c:pt>
                <c:pt idx="2489">
                  <c:v>0.19868199156915742</c:v>
                </c:pt>
                <c:pt idx="2490">
                  <c:v>0.19983874152498129</c:v>
                </c:pt>
                <c:pt idx="2491">
                  <c:v>0.2017016710888403</c:v>
                </c:pt>
                <c:pt idx="2492">
                  <c:v>0.20590985895499414</c:v>
                </c:pt>
                <c:pt idx="2493">
                  <c:v>0.20987226274598558</c:v>
                </c:pt>
                <c:pt idx="2494">
                  <c:v>0.21462620204860125</c:v>
                </c:pt>
                <c:pt idx="2495">
                  <c:v>0.21919533808164823</c:v>
                </c:pt>
                <c:pt idx="2496">
                  <c:v>0.22265750541808535</c:v>
                </c:pt>
                <c:pt idx="2497">
                  <c:v>0.22513477602722393</c:v>
                </c:pt>
                <c:pt idx="2498">
                  <c:v>0.22725094207970173</c:v>
                </c:pt>
                <c:pt idx="2499">
                  <c:v>0.23347368719329611</c:v>
                </c:pt>
                <c:pt idx="2500">
                  <c:v>0.23719367808835543</c:v>
                </c:pt>
                <c:pt idx="2501">
                  <c:v>0.23866307198030895</c:v>
                </c:pt>
                <c:pt idx="2502">
                  <c:v>0.23805552670734326</c:v>
                </c:pt>
                <c:pt idx="2503">
                  <c:v>0.23547961984792595</c:v>
                </c:pt>
                <c:pt idx="2504">
                  <c:v>0.23190620106103718</c:v>
                </c:pt>
                <c:pt idx="2505">
                  <c:v>0.22657294490740523</c:v>
                </c:pt>
                <c:pt idx="2506">
                  <c:v>0.21947111499449554</c:v>
                </c:pt>
                <c:pt idx="2507">
                  <c:v>0.21252415538140068</c:v>
                </c:pt>
                <c:pt idx="2508">
                  <c:v>0.20399573783261798</c:v>
                </c:pt>
                <c:pt idx="2509">
                  <c:v>0.19585046261896233</c:v>
                </c:pt>
                <c:pt idx="2510">
                  <c:v>0.18726782354545354</c:v>
                </c:pt>
                <c:pt idx="2511">
                  <c:v>0.17833747822967702</c:v>
                </c:pt>
                <c:pt idx="2512">
                  <c:v>0.1691725137699974</c:v>
                </c:pt>
                <c:pt idx="2513">
                  <c:v>0.15984257978486799</c:v>
                </c:pt>
                <c:pt idx="2514">
                  <c:v>0.15045855958918028</c:v>
                </c:pt>
                <c:pt idx="2515">
                  <c:v>0.13998874648999249</c:v>
                </c:pt>
                <c:pt idx="2516">
                  <c:v>0.13068427186918596</c:v>
                </c:pt>
                <c:pt idx="2517">
                  <c:v>0.12161994682212555</c:v>
                </c:pt>
                <c:pt idx="2518">
                  <c:v>0.11173353643683755</c:v>
                </c:pt>
                <c:pt idx="2519">
                  <c:v>0.10089343898248736</c:v>
                </c:pt>
                <c:pt idx="2520">
                  <c:v>8.887912931624517E-2</c:v>
                </c:pt>
                <c:pt idx="2521">
                  <c:v>7.6877432846821692E-2</c:v>
                </c:pt>
                <c:pt idx="2522">
                  <c:v>6.6583294354696371E-2</c:v>
                </c:pt>
                <c:pt idx="2523">
                  <c:v>5.5073668669815702E-2</c:v>
                </c:pt>
                <c:pt idx="2524">
                  <c:v>4.5665866348832428E-2</c:v>
                </c:pt>
                <c:pt idx="2525">
                  <c:v>3.714649455645605E-2</c:v>
                </c:pt>
                <c:pt idx="2526">
                  <c:v>2.752628076056135E-2</c:v>
                </c:pt>
                <c:pt idx="2527">
                  <c:v>1.8458140643414341E-2</c:v>
                </c:pt>
                <c:pt idx="2528">
                  <c:v>5.7815171625817106E-14</c:v>
                </c:pt>
                <c:pt idx="2529">
                  <c:v>5.7815171625817106E-14</c:v>
                </c:pt>
                <c:pt idx="2530">
                  <c:v>5.7815171625817106E-14</c:v>
                </c:pt>
                <c:pt idx="2531">
                  <c:v>5.7815171625817106E-14</c:v>
                </c:pt>
                <c:pt idx="2532">
                  <c:v>5.7815171625817106E-14</c:v>
                </c:pt>
                <c:pt idx="2533">
                  <c:v>5.7815171625817106E-14</c:v>
                </c:pt>
                <c:pt idx="2534">
                  <c:v>3.0903419565390636E-3</c:v>
                </c:pt>
                <c:pt idx="2535">
                  <c:v>8.2437097929264763E-3</c:v>
                </c:pt>
                <c:pt idx="2536">
                  <c:v>2.2841273694468613E-2</c:v>
                </c:pt>
                <c:pt idx="2537">
                  <c:v>3.8790815045960172E-2</c:v>
                </c:pt>
                <c:pt idx="2538">
                  <c:v>5.2131377824710383E-2</c:v>
                </c:pt>
                <c:pt idx="2539">
                  <c:v>6.1938109891397621E-2</c:v>
                </c:pt>
                <c:pt idx="2540">
                  <c:v>7.12046127928323E-2</c:v>
                </c:pt>
                <c:pt idx="2541">
                  <c:v>8.0798773056714596E-2</c:v>
                </c:pt>
                <c:pt idx="2542">
                  <c:v>8.9246755441227774E-2</c:v>
                </c:pt>
                <c:pt idx="2543">
                  <c:v>9.7434967884615281E-2</c:v>
                </c:pt>
                <c:pt idx="2544">
                  <c:v>0.10535825892066532</c:v>
                </c:pt>
                <c:pt idx="2545">
                  <c:v>0.11242949421598311</c:v>
                </c:pt>
                <c:pt idx="2546">
                  <c:v>0.11875334103355516</c:v>
                </c:pt>
                <c:pt idx="2547">
                  <c:v>0.12439991331645829</c:v>
                </c:pt>
                <c:pt idx="2548">
                  <c:v>0.12939440748749145</c:v>
                </c:pt>
                <c:pt idx="2549">
                  <c:v>0.13331512965415868</c:v>
                </c:pt>
                <c:pt idx="2550">
                  <c:v>0.1366655006929077</c:v>
                </c:pt>
                <c:pt idx="2551">
                  <c:v>0.13944181597700472</c:v>
                </c:pt>
                <c:pt idx="2552">
                  <c:v>0.14202883725884757</c:v>
                </c:pt>
                <c:pt idx="2553">
                  <c:v>0.14436124820516893</c:v>
                </c:pt>
                <c:pt idx="2554">
                  <c:v>0.1502019842248227</c:v>
                </c:pt>
                <c:pt idx="2555">
                  <c:v>0.15477437996601398</c:v>
                </c:pt>
                <c:pt idx="2556">
                  <c:v>0.15962192738199407</c:v>
                </c:pt>
                <c:pt idx="2557">
                  <c:v>0.16361242598866421</c:v>
                </c:pt>
                <c:pt idx="2558">
                  <c:v>0.16761603355234922</c:v>
                </c:pt>
                <c:pt idx="2559">
                  <c:v>0.17099698900176824</c:v>
                </c:pt>
                <c:pt idx="2560">
                  <c:v>0.17525997539598759</c:v>
                </c:pt>
                <c:pt idx="2561">
                  <c:v>0.18144659154985152</c:v>
                </c:pt>
                <c:pt idx="2562">
                  <c:v>0.18501086203411948</c:v>
                </c:pt>
                <c:pt idx="2563">
                  <c:v>0.18601152930564227</c:v>
                </c:pt>
                <c:pt idx="2564">
                  <c:v>0.18558427320897702</c:v>
                </c:pt>
                <c:pt idx="2565">
                  <c:v>0.18439473185651661</c:v>
                </c:pt>
                <c:pt idx="2566">
                  <c:v>0.18567779666334877</c:v>
                </c:pt>
                <c:pt idx="2567">
                  <c:v>0.18831712408870138</c:v>
                </c:pt>
                <c:pt idx="2568">
                  <c:v>0.19112346357491697</c:v>
                </c:pt>
                <c:pt idx="2569">
                  <c:v>0.19382863386463817</c:v>
                </c:pt>
                <c:pt idx="2570">
                  <c:v>0.19574092138497634</c:v>
                </c:pt>
                <c:pt idx="2571">
                  <c:v>0.19778929036657147</c:v>
                </c:pt>
                <c:pt idx="2572">
                  <c:v>0.19874440821283967</c:v>
                </c:pt>
                <c:pt idx="2573">
                  <c:v>0.19948040366780029</c:v>
                </c:pt>
                <c:pt idx="2574">
                  <c:v>0.20040271631230791</c:v>
                </c:pt>
                <c:pt idx="2575">
                  <c:v>0.20105657165008348</c:v>
                </c:pt>
                <c:pt idx="2576">
                  <c:v>0.2009358504249667</c:v>
                </c:pt>
                <c:pt idx="2577">
                  <c:v>0.19916915609718699</c:v>
                </c:pt>
                <c:pt idx="2578">
                  <c:v>0.19090016369472468</c:v>
                </c:pt>
                <c:pt idx="2579">
                  <c:v>0.18402096087417882</c:v>
                </c:pt>
                <c:pt idx="2580">
                  <c:v>0.18085747424284582</c:v>
                </c:pt>
                <c:pt idx="2581">
                  <c:v>0.2100397017319523</c:v>
                </c:pt>
                <c:pt idx="2582">
                  <c:v>0.23579882759174689</c:v>
                </c:pt>
                <c:pt idx="2583">
                  <c:v>0.25903926232975405</c:v>
                </c:pt>
                <c:pt idx="2584">
                  <c:v>0.28185180925061254</c:v>
                </c:pt>
                <c:pt idx="2585">
                  <c:v>0.30228662390181643</c:v>
                </c:pt>
                <c:pt idx="2586">
                  <c:v>0.32100075107047771</c:v>
                </c:pt>
                <c:pt idx="2587">
                  <c:v>0.33793054603304706</c:v>
                </c:pt>
                <c:pt idx="2588">
                  <c:v>0.3532136249751055</c:v>
                </c:pt>
                <c:pt idx="2589">
                  <c:v>0.36682097014700404</c:v>
                </c:pt>
                <c:pt idx="2590">
                  <c:v>0.37848707191434616</c:v>
                </c:pt>
                <c:pt idx="2591">
                  <c:v>0.38756232567041882</c:v>
                </c:pt>
                <c:pt idx="2592">
                  <c:v>0.3948493085580812</c:v>
                </c:pt>
                <c:pt idx="2593">
                  <c:v>0.40038710191046223</c:v>
                </c:pt>
                <c:pt idx="2594">
                  <c:v>0.40418660023672481</c:v>
                </c:pt>
                <c:pt idx="2595">
                  <c:v>0.40623192896329802</c:v>
                </c:pt>
                <c:pt idx="2596">
                  <c:v>0.406511904203324</c:v>
                </c:pt>
                <c:pt idx="2597">
                  <c:v>0.4049601193167936</c:v>
                </c:pt>
                <c:pt idx="2598">
                  <c:v>0.4011694836277227</c:v>
                </c:pt>
                <c:pt idx="2599">
                  <c:v>0.39418358317233593</c:v>
                </c:pt>
                <c:pt idx="2600">
                  <c:v>0.38477564219092614</c:v>
                </c:pt>
                <c:pt idx="2601">
                  <c:v>0.37222256971885631</c:v>
                </c:pt>
                <c:pt idx="2602">
                  <c:v>0.35655111753915847</c:v>
                </c:pt>
                <c:pt idx="2603">
                  <c:v>0.3366589717668329</c:v>
                </c:pt>
                <c:pt idx="2604">
                  <c:v>0.3108840706361059</c:v>
                </c:pt>
                <c:pt idx="2605">
                  <c:v>0.27721906732661328</c:v>
                </c:pt>
                <c:pt idx="2606">
                  <c:v>0.23287748290900626</c:v>
                </c:pt>
                <c:pt idx="2607">
                  <c:v>0.17228679677623196</c:v>
                </c:pt>
                <c:pt idx="2608">
                  <c:v>0.10806393753275619</c:v>
                </c:pt>
                <c:pt idx="2609">
                  <c:v>7.0405991996478304E-2</c:v>
                </c:pt>
                <c:pt idx="2610">
                  <c:v>5.7815171625817106E-14</c:v>
                </c:pt>
                <c:pt idx="2611">
                  <c:v>5.7815171625817106E-14</c:v>
                </c:pt>
                <c:pt idx="2612">
                  <c:v>5.7815171625817106E-14</c:v>
                </c:pt>
                <c:pt idx="2613">
                  <c:v>5.7815171625817106E-14</c:v>
                </c:pt>
                <c:pt idx="2614">
                  <c:v>5.7815171625817106E-14</c:v>
                </c:pt>
                <c:pt idx="2615">
                  <c:v>5.7815171625817106E-14</c:v>
                </c:pt>
                <c:pt idx="2616">
                  <c:v>5.7815171625817106E-14</c:v>
                </c:pt>
                <c:pt idx="2617">
                  <c:v>5.7815171625817106E-14</c:v>
                </c:pt>
                <c:pt idx="2618">
                  <c:v>5.7815171625817106E-14</c:v>
                </c:pt>
                <c:pt idx="2619">
                  <c:v>5.7815171625817106E-14</c:v>
                </c:pt>
                <c:pt idx="2620">
                  <c:v>5.7815171625817106E-14</c:v>
                </c:pt>
                <c:pt idx="2621">
                  <c:v>5.7815171625817106E-14</c:v>
                </c:pt>
                <c:pt idx="2622">
                  <c:v>5.7815171625817106E-14</c:v>
                </c:pt>
                <c:pt idx="2623">
                  <c:v>5.7815171625817106E-14</c:v>
                </c:pt>
                <c:pt idx="2624">
                  <c:v>5.7815171625817106E-14</c:v>
                </c:pt>
                <c:pt idx="2625">
                  <c:v>5.7815171625817106E-14</c:v>
                </c:pt>
                <c:pt idx="2626">
                  <c:v>5.7815171625817106E-14</c:v>
                </c:pt>
                <c:pt idx="2627">
                  <c:v>5.7815171625817106E-14</c:v>
                </c:pt>
                <c:pt idx="2628">
                  <c:v>5.7815171625817106E-14</c:v>
                </c:pt>
                <c:pt idx="2629">
                  <c:v>5.7815171625817106E-14</c:v>
                </c:pt>
                <c:pt idx="2630">
                  <c:v>5.7815171625817106E-14</c:v>
                </c:pt>
                <c:pt idx="2631">
                  <c:v>5.7815171625817106E-14</c:v>
                </c:pt>
                <c:pt idx="2632">
                  <c:v>5.7815171625817106E-14</c:v>
                </c:pt>
                <c:pt idx="2633">
                  <c:v>5.7815171625817106E-14</c:v>
                </c:pt>
                <c:pt idx="2634">
                  <c:v>5.7815171625817106E-14</c:v>
                </c:pt>
                <c:pt idx="2635">
                  <c:v>5.7815171625817106E-14</c:v>
                </c:pt>
                <c:pt idx="2636">
                  <c:v>5.7815171625817106E-14</c:v>
                </c:pt>
                <c:pt idx="2637">
                  <c:v>5.7815171625817106E-14</c:v>
                </c:pt>
                <c:pt idx="2638">
                  <c:v>5.7815171625817106E-14</c:v>
                </c:pt>
                <c:pt idx="2639">
                  <c:v>5.7815171625817106E-14</c:v>
                </c:pt>
                <c:pt idx="2640">
                  <c:v>5.7815171625817106E-14</c:v>
                </c:pt>
                <c:pt idx="2641">
                  <c:v>5.7815171625817106E-14</c:v>
                </c:pt>
                <c:pt idx="2642">
                  <c:v>5.7815171625817106E-14</c:v>
                </c:pt>
                <c:pt idx="2643">
                  <c:v>5.7815171625817106E-14</c:v>
                </c:pt>
                <c:pt idx="2644">
                  <c:v>5.7815171625817106E-14</c:v>
                </c:pt>
                <c:pt idx="2645">
                  <c:v>5.7815171625817106E-14</c:v>
                </c:pt>
                <c:pt idx="2646">
                  <c:v>5.7815171625817106E-14</c:v>
                </c:pt>
                <c:pt idx="2647">
                  <c:v>5.7815171625817106E-14</c:v>
                </c:pt>
                <c:pt idx="2648">
                  <c:v>5.7815171625817106E-14</c:v>
                </c:pt>
                <c:pt idx="2649">
                  <c:v>5.7815171625817106E-14</c:v>
                </c:pt>
                <c:pt idx="2650">
                  <c:v>5.7815171625817106E-14</c:v>
                </c:pt>
                <c:pt idx="2651">
                  <c:v>1.1764405010725426E-2</c:v>
                </c:pt>
                <c:pt idx="2652">
                  <c:v>1.8059586844887655E-2</c:v>
                </c:pt>
                <c:pt idx="2653">
                  <c:v>2.3888640333592493E-2</c:v>
                </c:pt>
                <c:pt idx="2654">
                  <c:v>2.9498062158034192E-2</c:v>
                </c:pt>
                <c:pt idx="2655">
                  <c:v>3.5050016900417008E-2</c:v>
                </c:pt>
                <c:pt idx="2656">
                  <c:v>4.0600026566958082E-2</c:v>
                </c:pt>
                <c:pt idx="2657">
                  <c:v>4.6140526943308724E-2</c:v>
                </c:pt>
                <c:pt idx="2658">
                  <c:v>5.1662824264463225E-2</c:v>
                </c:pt>
                <c:pt idx="2659">
                  <c:v>5.7160798277735583E-2</c:v>
                </c:pt>
                <c:pt idx="2660">
                  <c:v>6.7126355896097778E-2</c:v>
                </c:pt>
                <c:pt idx="2661">
                  <c:v>8.103763904844466E-2</c:v>
                </c:pt>
                <c:pt idx="2662">
                  <c:v>9.934610430941615E-2</c:v>
                </c:pt>
                <c:pt idx="2663">
                  <c:v>0.11455038486528536</c:v>
                </c:pt>
                <c:pt idx="2664">
                  <c:v>0.12876322923906958</c:v>
                </c:pt>
                <c:pt idx="2665">
                  <c:v>0.14218504572088478</c:v>
                </c:pt>
                <c:pt idx="2666">
                  <c:v>0.15494108150785271</c:v>
                </c:pt>
                <c:pt idx="2667">
                  <c:v>0.16610959874609424</c:v>
                </c:pt>
                <c:pt idx="2668">
                  <c:v>0.17676657444324417</c:v>
                </c:pt>
                <c:pt idx="2669">
                  <c:v>0.18606317182715393</c:v>
                </c:pt>
                <c:pt idx="2670">
                  <c:v>0.19413678171170581</c:v>
                </c:pt>
                <c:pt idx="2671">
                  <c:v>0.20100934545402524</c:v>
                </c:pt>
                <c:pt idx="2672">
                  <c:v>0.21685388273018485</c:v>
                </c:pt>
                <c:pt idx="2673">
                  <c:v>0.23184972201755358</c:v>
                </c:pt>
                <c:pt idx="2674">
                  <c:v>0.25933378544983765</c:v>
                </c:pt>
                <c:pt idx="2675">
                  <c:v>0.28901507687880001</c:v>
                </c:pt>
                <c:pt idx="2676">
                  <c:v>0.32599771520597298</c:v>
                </c:pt>
                <c:pt idx="2677">
                  <c:v>0.35540135633216308</c:v>
                </c:pt>
                <c:pt idx="2678">
                  <c:v>0.37976698448832874</c:v>
                </c:pt>
                <c:pt idx="2679">
                  <c:v>0.39895038720908882</c:v>
                </c:pt>
                <c:pt idx="2680">
                  <c:v>0.41520280789676955</c:v>
                </c:pt>
                <c:pt idx="2681">
                  <c:v>0.43057952256188742</c:v>
                </c:pt>
                <c:pt idx="2682">
                  <c:v>0.44251600040757944</c:v>
                </c:pt>
                <c:pt idx="2683">
                  <c:v>0.45267455660137135</c:v>
                </c:pt>
                <c:pt idx="2684">
                  <c:v>0.45962831726161257</c:v>
                </c:pt>
                <c:pt idx="2685">
                  <c:v>0.46418862375842901</c:v>
                </c:pt>
                <c:pt idx="2686">
                  <c:v>0.46570878361177276</c:v>
                </c:pt>
                <c:pt idx="2687">
                  <c:v>0.46481217583247231</c:v>
                </c:pt>
                <c:pt idx="2688">
                  <c:v>0.46079447293266934</c:v>
                </c:pt>
                <c:pt idx="2689">
                  <c:v>0.45358096387683644</c:v>
                </c:pt>
                <c:pt idx="2690">
                  <c:v>0.44893025062648068</c:v>
                </c:pt>
                <c:pt idx="2691">
                  <c:v>0.44387637309146122</c:v>
                </c:pt>
                <c:pt idx="2692">
                  <c:v>0.43989125197951628</c:v>
                </c:pt>
                <c:pt idx="2693">
                  <c:v>0.43361650965311127</c:v>
                </c:pt>
                <c:pt idx="2694">
                  <c:v>0.42510421284363736</c:v>
                </c:pt>
                <c:pt idx="2695">
                  <c:v>0.4143239377332974</c:v>
                </c:pt>
                <c:pt idx="2696">
                  <c:v>0.40117896088990085</c:v>
                </c:pt>
                <c:pt idx="2697">
                  <c:v>0.38459213865345776</c:v>
                </c:pt>
                <c:pt idx="2698">
                  <c:v>0.36510035848877087</c:v>
                </c:pt>
                <c:pt idx="2699">
                  <c:v>0.34122066709611687</c:v>
                </c:pt>
                <c:pt idx="2700">
                  <c:v>0.312041890800072</c:v>
                </c:pt>
                <c:pt idx="2701">
                  <c:v>0.27578810767587802</c:v>
                </c:pt>
                <c:pt idx="2702">
                  <c:v>0.24754425932662208</c:v>
                </c:pt>
                <c:pt idx="2703">
                  <c:v>0.21507729347012952</c:v>
                </c:pt>
                <c:pt idx="2704">
                  <c:v>0.19702706802267492</c:v>
                </c:pt>
                <c:pt idx="2705">
                  <c:v>0.18524963240237408</c:v>
                </c:pt>
                <c:pt idx="2706">
                  <c:v>0.64206763781382969</c:v>
                </c:pt>
                <c:pt idx="2707">
                  <c:v>0.75768000854382855</c:v>
                </c:pt>
                <c:pt idx="2708">
                  <c:v>0.76205276407358435</c:v>
                </c:pt>
                <c:pt idx="2709">
                  <c:v>0.7709328801273142</c:v>
                </c:pt>
                <c:pt idx="2710">
                  <c:v>0.78879514101463943</c:v>
                </c:pt>
                <c:pt idx="2711">
                  <c:v>0.80637617867148903</c:v>
                </c:pt>
                <c:pt idx="2712">
                  <c:v>0.82271147094351926</c:v>
                </c:pt>
                <c:pt idx="2713">
                  <c:v>0.84516895636233913</c:v>
                </c:pt>
                <c:pt idx="2714">
                  <c:v>0.86540933096739014</c:v>
                </c:pt>
                <c:pt idx="2715">
                  <c:v>0.88331203423950233</c:v>
                </c:pt>
                <c:pt idx="2716">
                  <c:v>0.89944424407500967</c:v>
                </c:pt>
                <c:pt idx="2717">
                  <c:v>0.91309458727955017</c:v>
                </c:pt>
                <c:pt idx="2718">
                  <c:v>0.92478913152484332</c:v>
                </c:pt>
                <c:pt idx="2719">
                  <c:v>0.9340886360004812</c:v>
                </c:pt>
                <c:pt idx="2720">
                  <c:v>0.94007666241546228</c:v>
                </c:pt>
                <c:pt idx="2721">
                  <c:v>0.94424281534237209</c:v>
                </c:pt>
                <c:pt idx="2722">
                  <c:v>0.94660127842720243</c:v>
                </c:pt>
                <c:pt idx="2723">
                  <c:v>0.9456583636445135</c:v>
                </c:pt>
                <c:pt idx="2724">
                  <c:v>0.94158119577454491</c:v>
                </c:pt>
                <c:pt idx="2725">
                  <c:v>0.93495120531129317</c:v>
                </c:pt>
                <c:pt idx="2726">
                  <c:v>0.9254146088640739</c:v>
                </c:pt>
                <c:pt idx="2727">
                  <c:v>0.91238075471290747</c:v>
                </c:pt>
                <c:pt idx="2728">
                  <c:v>0.89420942459241881</c:v>
                </c:pt>
                <c:pt idx="2729">
                  <c:v>0.87130299661860444</c:v>
                </c:pt>
                <c:pt idx="2730">
                  <c:v>0.84168553803444945</c:v>
                </c:pt>
                <c:pt idx="2731">
                  <c:v>0.80327949411465982</c:v>
                </c:pt>
                <c:pt idx="2732">
                  <c:v>0.75639010300792953</c:v>
                </c:pt>
                <c:pt idx="2733">
                  <c:v>0.69765145287294017</c:v>
                </c:pt>
                <c:pt idx="2734">
                  <c:v>0.62184502584426793</c:v>
                </c:pt>
                <c:pt idx="2735">
                  <c:v>0.51896862796031418</c:v>
                </c:pt>
                <c:pt idx="2736">
                  <c:v>0.42438528570985234</c:v>
                </c:pt>
                <c:pt idx="2737">
                  <c:v>0.42496046505884316</c:v>
                </c:pt>
                <c:pt idx="2738">
                  <c:v>0.39915913596874986</c:v>
                </c:pt>
                <c:pt idx="2739">
                  <c:v>0.38106476923203253</c:v>
                </c:pt>
                <c:pt idx="2740">
                  <c:v>0.37881744218119345</c:v>
                </c:pt>
                <c:pt idx="2741">
                  <c:v>0.37749607657392148</c:v>
                </c:pt>
                <c:pt idx="2742">
                  <c:v>0.37178236543570292</c:v>
                </c:pt>
                <c:pt idx="2743">
                  <c:v>0.3601674758603749</c:v>
                </c:pt>
                <c:pt idx="2744">
                  <c:v>0.34982407516908859</c:v>
                </c:pt>
                <c:pt idx="2745">
                  <c:v>0.34189837821291108</c:v>
                </c:pt>
                <c:pt idx="2746">
                  <c:v>0.33786893249259131</c:v>
                </c:pt>
                <c:pt idx="2747">
                  <c:v>0.33793922048973601</c:v>
                </c:pt>
                <c:pt idx="2748">
                  <c:v>0.34820533122182951</c:v>
                </c:pt>
                <c:pt idx="2749">
                  <c:v>0.36945353577200712</c:v>
                </c:pt>
                <c:pt idx="2750">
                  <c:v>0.39599248377225749</c:v>
                </c:pt>
                <c:pt idx="2751">
                  <c:v>0.42711806008990777</c:v>
                </c:pt>
                <c:pt idx="2752">
                  <c:v>0.46202486526627728</c:v>
                </c:pt>
                <c:pt idx="2753">
                  <c:v>0.51096352462489547</c:v>
                </c:pt>
                <c:pt idx="2754">
                  <c:v>0.53855308004690827</c:v>
                </c:pt>
                <c:pt idx="2755">
                  <c:v>0.56296359221349046</c:v>
                </c:pt>
                <c:pt idx="2756">
                  <c:v>0.58191805083531711</c:v>
                </c:pt>
                <c:pt idx="2757">
                  <c:v>0.59159317759909524</c:v>
                </c:pt>
                <c:pt idx="2758">
                  <c:v>0.59913684348825169</c:v>
                </c:pt>
                <c:pt idx="2759">
                  <c:v>0.60061932670825346</c:v>
                </c:pt>
                <c:pt idx="2760">
                  <c:v>0.5998003315699707</c:v>
                </c:pt>
                <c:pt idx="2761">
                  <c:v>0.59628694040928487</c:v>
                </c:pt>
                <c:pt idx="2762">
                  <c:v>0.58901250476415024</c:v>
                </c:pt>
                <c:pt idx="2763">
                  <c:v>0.57982722140344989</c:v>
                </c:pt>
                <c:pt idx="2764">
                  <c:v>0.56853079628989256</c:v>
                </c:pt>
                <c:pt idx="2765">
                  <c:v>0.55479891380118929</c:v>
                </c:pt>
                <c:pt idx="2766">
                  <c:v>0.5367027781292274</c:v>
                </c:pt>
                <c:pt idx="2767">
                  <c:v>0.51310560300904451</c:v>
                </c:pt>
                <c:pt idx="2768">
                  <c:v>0.4846830816540772</c:v>
                </c:pt>
                <c:pt idx="2769">
                  <c:v>0.45269928481117</c:v>
                </c:pt>
                <c:pt idx="2770">
                  <c:v>0.41382594345591528</c:v>
                </c:pt>
                <c:pt idx="2771">
                  <c:v>0.36171853014549049</c:v>
                </c:pt>
                <c:pt idx="2772">
                  <c:v>0.29732696447427592</c:v>
                </c:pt>
                <c:pt idx="2773">
                  <c:v>0.28940238874642693</c:v>
                </c:pt>
                <c:pt idx="2774">
                  <c:v>0.28495800602155802</c:v>
                </c:pt>
                <c:pt idx="2775">
                  <c:v>0.28369655849326286</c:v>
                </c:pt>
                <c:pt idx="2776">
                  <c:v>0.2847381126256508</c:v>
                </c:pt>
                <c:pt idx="2777">
                  <c:v>0.28728117250232271</c:v>
                </c:pt>
                <c:pt idx="2778">
                  <c:v>0.29036320681168482</c:v>
                </c:pt>
                <c:pt idx="2779">
                  <c:v>0.29036113931422958</c:v>
                </c:pt>
                <c:pt idx="2780">
                  <c:v>0.28693575138493338</c:v>
                </c:pt>
                <c:pt idx="2781">
                  <c:v>0.27869906612171869</c:v>
                </c:pt>
                <c:pt idx="2782">
                  <c:v>0.26378583366418867</c:v>
                </c:pt>
                <c:pt idx="2783">
                  <c:v>0.22219180858604817</c:v>
                </c:pt>
                <c:pt idx="2784">
                  <c:v>0.19644740697597879</c:v>
                </c:pt>
                <c:pt idx="2785">
                  <c:v>0.16494625975030233</c:v>
                </c:pt>
                <c:pt idx="2786">
                  <c:v>0.13054993537572426</c:v>
                </c:pt>
                <c:pt idx="2787">
                  <c:v>0.10821687079989402</c:v>
                </c:pt>
                <c:pt idx="2788">
                  <c:v>7.8878451817797998E-2</c:v>
                </c:pt>
                <c:pt idx="2789">
                  <c:v>5.9630635865706792E-2</c:v>
                </c:pt>
                <c:pt idx="2790">
                  <c:v>3.3465659890693125E-2</c:v>
                </c:pt>
                <c:pt idx="2791">
                  <c:v>8.9785576587944858E-3</c:v>
                </c:pt>
                <c:pt idx="2792">
                  <c:v>4.1163175938329745E-3</c:v>
                </c:pt>
                <c:pt idx="2793">
                  <c:v>5.7815171625817106E-14</c:v>
                </c:pt>
                <c:pt idx="2794">
                  <c:v>5.7815171625817106E-14</c:v>
                </c:pt>
                <c:pt idx="2795">
                  <c:v>5.7815171625817106E-14</c:v>
                </c:pt>
                <c:pt idx="2796">
                  <c:v>5.7815171625817106E-14</c:v>
                </c:pt>
                <c:pt idx="2797">
                  <c:v>5.7815171625817106E-14</c:v>
                </c:pt>
                <c:pt idx="2798">
                  <c:v>5.7815171625817106E-14</c:v>
                </c:pt>
                <c:pt idx="2799">
                  <c:v>5.7815171625817106E-14</c:v>
                </c:pt>
                <c:pt idx="2800">
                  <c:v>5.7815171625817106E-14</c:v>
                </c:pt>
                <c:pt idx="2801">
                  <c:v>5.7815171625817106E-14</c:v>
                </c:pt>
                <c:pt idx="2802">
                  <c:v>5.7815171625817106E-14</c:v>
                </c:pt>
                <c:pt idx="2803">
                  <c:v>5.7815171625817106E-14</c:v>
                </c:pt>
                <c:pt idx="2804">
                  <c:v>5.7815171625817106E-14</c:v>
                </c:pt>
                <c:pt idx="2805">
                  <c:v>5.7815171625817106E-14</c:v>
                </c:pt>
                <c:pt idx="2806">
                  <c:v>5.7815171625817106E-14</c:v>
                </c:pt>
                <c:pt idx="2807">
                  <c:v>5.7815171625817106E-14</c:v>
                </c:pt>
                <c:pt idx="2808">
                  <c:v>5.7815171625817106E-14</c:v>
                </c:pt>
                <c:pt idx="2809">
                  <c:v>5.7815171625817106E-14</c:v>
                </c:pt>
                <c:pt idx="2810">
                  <c:v>5.7815171625817106E-14</c:v>
                </c:pt>
                <c:pt idx="2811">
                  <c:v>5.7815171625817106E-14</c:v>
                </c:pt>
                <c:pt idx="2812">
                  <c:v>5.7815171625817106E-14</c:v>
                </c:pt>
                <c:pt idx="2813">
                  <c:v>5.7815171625817106E-14</c:v>
                </c:pt>
                <c:pt idx="2814">
                  <c:v>5.7815171625817106E-14</c:v>
                </c:pt>
                <c:pt idx="2815">
                  <c:v>5.7815171625817106E-14</c:v>
                </c:pt>
                <c:pt idx="2816">
                  <c:v>5.7815171625817106E-14</c:v>
                </c:pt>
                <c:pt idx="2817">
                  <c:v>5.7815171625817106E-14</c:v>
                </c:pt>
                <c:pt idx="2818">
                  <c:v>5.7815171625817106E-14</c:v>
                </c:pt>
                <c:pt idx="2819">
                  <c:v>5.7815171625817106E-14</c:v>
                </c:pt>
                <c:pt idx="2820">
                  <c:v>5.7815171625817106E-14</c:v>
                </c:pt>
                <c:pt idx="2821">
                  <c:v>5.7815171625817106E-14</c:v>
                </c:pt>
                <c:pt idx="2822">
                  <c:v>9.9611599435510512E-2</c:v>
                </c:pt>
                <c:pt idx="2823">
                  <c:v>0.27170446600986675</c:v>
                </c:pt>
                <c:pt idx="2824">
                  <c:v>0.41199192896923348</c:v>
                </c:pt>
                <c:pt idx="2825">
                  <c:v>0.5156129155148047</c:v>
                </c:pt>
                <c:pt idx="2826">
                  <c:v>0.5156129155148047</c:v>
                </c:pt>
                <c:pt idx="2827">
                  <c:v>0.51445999498195483</c:v>
                </c:pt>
                <c:pt idx="2828">
                  <c:v>0.51453908977093021</c:v>
                </c:pt>
                <c:pt idx="2829">
                  <c:v>0.54851808388608458</c:v>
                </c:pt>
                <c:pt idx="2830">
                  <c:v>0.61771310106460042</c:v>
                </c:pt>
                <c:pt idx="2831">
                  <c:v>0.65600312276445116</c:v>
                </c:pt>
                <c:pt idx="2832">
                  <c:v>0.66394663582902824</c:v>
                </c:pt>
                <c:pt idx="2833">
                  <c:v>0.66624616981285045</c:v>
                </c:pt>
                <c:pt idx="2834">
                  <c:v>0.66709521296176366</c:v>
                </c:pt>
                <c:pt idx="2835">
                  <c:v>0.66649930857226369</c:v>
                </c:pt>
                <c:pt idx="2836">
                  <c:v>0.66445456902839328</c:v>
                </c:pt>
                <c:pt idx="2837">
                  <c:v>0.66094754790581356</c:v>
                </c:pt>
                <c:pt idx="2838">
                  <c:v>0.65595479163377235</c:v>
                </c:pt>
                <c:pt idx="2839">
                  <c:v>0.64944203517827614</c:v>
                </c:pt>
                <c:pt idx="2840">
                  <c:v>0.64136297542834042</c:v>
                </c:pt>
                <c:pt idx="2841">
                  <c:v>0.6316575149942294</c:v>
                </c:pt>
                <c:pt idx="2842">
                  <c:v>0.6202493103999982</c:v>
                </c:pt>
                <c:pt idx="2843">
                  <c:v>0.60704236973975645</c:v>
                </c:pt>
                <c:pt idx="2844">
                  <c:v>0.59191630411017016</c:v>
                </c:pt>
                <c:pt idx="2845">
                  <c:v>0.57471960492767671</c:v>
                </c:pt>
                <c:pt idx="2846">
                  <c:v>0.55525991959586285</c:v>
                </c:pt>
                <c:pt idx="2847">
                  <c:v>0.53328957718633507</c:v>
                </c:pt>
                <c:pt idx="2848">
                  <c:v>0.50848324334844575</c:v>
                </c:pt>
                <c:pt idx="2849">
                  <c:v>0.48040179558503587</c:v>
                </c:pt>
                <c:pt idx="2850">
                  <c:v>0.44843037635857863</c:v>
                </c:pt>
                <c:pt idx="2851">
                  <c:v>0.41166364970138436</c:v>
                </c:pt>
                <c:pt idx="2852">
                  <c:v>0.40385960351428796</c:v>
                </c:pt>
                <c:pt idx="2853">
                  <c:v>0.3962270628074826</c:v>
                </c:pt>
                <c:pt idx="2854">
                  <c:v>0.36671470184648597</c:v>
                </c:pt>
                <c:pt idx="2855">
                  <c:v>0.32598107938713633</c:v>
                </c:pt>
                <c:pt idx="2856">
                  <c:v>0.27690593472926334</c:v>
                </c:pt>
                <c:pt idx="2857">
                  <c:v>0.23455526356242273</c:v>
                </c:pt>
                <c:pt idx="2858">
                  <c:v>0.20906537613043238</c:v>
                </c:pt>
                <c:pt idx="2859">
                  <c:v>0.20211655536593223</c:v>
                </c:pt>
                <c:pt idx="2860">
                  <c:v>0.12065619910097936</c:v>
                </c:pt>
                <c:pt idx="2861">
                  <c:v>2.3536058216628866E-2</c:v>
                </c:pt>
                <c:pt idx="2862">
                  <c:v>1.7344551487745132E-13</c:v>
                </c:pt>
                <c:pt idx="2863">
                  <c:v>1.7344551487745132E-13</c:v>
                </c:pt>
                <c:pt idx="2864">
                  <c:v>1.7344551487745132E-13</c:v>
                </c:pt>
                <c:pt idx="2865">
                  <c:v>1.7344551487745132E-13</c:v>
                </c:pt>
                <c:pt idx="2866">
                  <c:v>1.7344551487745132E-13</c:v>
                </c:pt>
                <c:pt idx="2867">
                  <c:v>1.7344551487745132E-13</c:v>
                </c:pt>
                <c:pt idx="2868">
                  <c:v>1.7344551487745132E-13</c:v>
                </c:pt>
                <c:pt idx="2869">
                  <c:v>1.7344551487745132E-13</c:v>
                </c:pt>
                <c:pt idx="2870">
                  <c:v>1.7344551487745132E-13</c:v>
                </c:pt>
                <c:pt idx="2871">
                  <c:v>1.7344551487745132E-13</c:v>
                </c:pt>
                <c:pt idx="2872">
                  <c:v>1.7344551487745132E-13</c:v>
                </c:pt>
                <c:pt idx="2873">
                  <c:v>1.7344551487745132E-13</c:v>
                </c:pt>
                <c:pt idx="2874">
                  <c:v>1.7344551487745132E-13</c:v>
                </c:pt>
                <c:pt idx="2875">
                  <c:v>1.7344551487745132E-13</c:v>
                </c:pt>
                <c:pt idx="2876">
                  <c:v>1.7344551487745132E-13</c:v>
                </c:pt>
                <c:pt idx="2877">
                  <c:v>1.7344551487745132E-13</c:v>
                </c:pt>
                <c:pt idx="2878">
                  <c:v>1.7344551487745132E-13</c:v>
                </c:pt>
                <c:pt idx="2879">
                  <c:v>1.7344551487745132E-13</c:v>
                </c:pt>
                <c:pt idx="2880">
                  <c:v>1.7344551487745132E-13</c:v>
                </c:pt>
                <c:pt idx="2881">
                  <c:v>1.7344551487745132E-13</c:v>
                </c:pt>
                <c:pt idx="2882">
                  <c:v>1.7344551487745132E-13</c:v>
                </c:pt>
                <c:pt idx="2883">
                  <c:v>5.713872757505789E-2</c:v>
                </c:pt>
                <c:pt idx="2884">
                  <c:v>7.9447206311523841E-2</c:v>
                </c:pt>
                <c:pt idx="2885">
                  <c:v>9.9166864592562701E-2</c:v>
                </c:pt>
                <c:pt idx="2886">
                  <c:v>0.11541802703852973</c:v>
                </c:pt>
                <c:pt idx="2887">
                  <c:v>0.1294532573262871</c:v>
                </c:pt>
                <c:pt idx="2888">
                  <c:v>0.14188103366278554</c:v>
                </c:pt>
                <c:pt idx="2889">
                  <c:v>0.15387881350419155</c:v>
                </c:pt>
                <c:pt idx="2890">
                  <c:v>0.20662423141215186</c:v>
                </c:pt>
                <c:pt idx="2891">
                  <c:v>0.24731897416287468</c:v>
                </c:pt>
                <c:pt idx="2892">
                  <c:v>0.28329187338833728</c:v>
                </c:pt>
                <c:pt idx="2893">
                  <c:v>0.60336333912064655</c:v>
                </c:pt>
                <c:pt idx="2894">
                  <c:v>0.60614247299048696</c:v>
                </c:pt>
                <c:pt idx="2895">
                  <c:v>0.60614247299048707</c:v>
                </c:pt>
                <c:pt idx="2896">
                  <c:v>0.60614247299048707</c:v>
                </c:pt>
                <c:pt idx="2897">
                  <c:v>0.60614247299048707</c:v>
                </c:pt>
                <c:pt idx="2898">
                  <c:v>0.60614247299048685</c:v>
                </c:pt>
                <c:pt idx="2899">
                  <c:v>0.60614247299048685</c:v>
                </c:pt>
                <c:pt idx="2900">
                  <c:v>0.60614247299048685</c:v>
                </c:pt>
                <c:pt idx="2901">
                  <c:v>0.60614247299048707</c:v>
                </c:pt>
                <c:pt idx="2902">
                  <c:v>0.60614247299048685</c:v>
                </c:pt>
                <c:pt idx="2903">
                  <c:v>0.60614247299048685</c:v>
                </c:pt>
                <c:pt idx="2904">
                  <c:v>0.60614247299048685</c:v>
                </c:pt>
                <c:pt idx="2905">
                  <c:v>0.60614247299048685</c:v>
                </c:pt>
                <c:pt idx="2906">
                  <c:v>0.60614247299048674</c:v>
                </c:pt>
                <c:pt idx="2907">
                  <c:v>0.60614247299048674</c:v>
                </c:pt>
                <c:pt idx="2908">
                  <c:v>0.60614247299048662</c:v>
                </c:pt>
                <c:pt idx="2909">
                  <c:v>0.60614247299048662</c:v>
                </c:pt>
                <c:pt idx="2910">
                  <c:v>0.60614247299048662</c:v>
                </c:pt>
                <c:pt idx="2911">
                  <c:v>0.60614247299048662</c:v>
                </c:pt>
                <c:pt idx="2912">
                  <c:v>0.60614247299048662</c:v>
                </c:pt>
                <c:pt idx="2913">
                  <c:v>0.60452441372497601</c:v>
                </c:pt>
                <c:pt idx="2914">
                  <c:v>0.60270976280527944</c:v>
                </c:pt>
                <c:pt idx="2915">
                  <c:v>0.60013215915010554</c:v>
                </c:pt>
                <c:pt idx="2916">
                  <c:v>0.59709677619741586</c:v>
                </c:pt>
                <c:pt idx="2917">
                  <c:v>0.593561750349615</c:v>
                </c:pt>
                <c:pt idx="2918">
                  <c:v>0.58947906192725885</c:v>
                </c:pt>
                <c:pt idx="2919">
                  <c:v>0.58451061073662292</c:v>
                </c:pt>
                <c:pt idx="2920">
                  <c:v>0.5616423655336954</c:v>
                </c:pt>
                <c:pt idx="2921">
                  <c:v>0.53494058093605512</c:v>
                </c:pt>
                <c:pt idx="2922">
                  <c:v>0.50192135730944187</c:v>
                </c:pt>
                <c:pt idx="2923">
                  <c:v>4.4926157710365539E-2</c:v>
                </c:pt>
                <c:pt idx="2924">
                  <c:v>1.7344551487745132E-13</c:v>
                </c:pt>
                <c:pt idx="2925">
                  <c:v>1.7344551487745132E-13</c:v>
                </c:pt>
                <c:pt idx="2926">
                  <c:v>1.7344551487745132E-13</c:v>
                </c:pt>
                <c:pt idx="2927">
                  <c:v>1.7344551487745132E-13</c:v>
                </c:pt>
                <c:pt idx="2928">
                  <c:v>1.7344551487745132E-13</c:v>
                </c:pt>
                <c:pt idx="2929">
                  <c:v>1.7344551487745132E-13</c:v>
                </c:pt>
                <c:pt idx="2930">
                  <c:v>1.7344551487745132E-13</c:v>
                </c:pt>
                <c:pt idx="2931">
                  <c:v>1.7344551487745132E-13</c:v>
                </c:pt>
                <c:pt idx="2932">
                  <c:v>1.7344551487745132E-13</c:v>
                </c:pt>
                <c:pt idx="2933">
                  <c:v>1.7344551487745132E-13</c:v>
                </c:pt>
                <c:pt idx="2934">
                  <c:v>1.7344551487745132E-13</c:v>
                </c:pt>
                <c:pt idx="2935">
                  <c:v>1.7344551487745132E-13</c:v>
                </c:pt>
                <c:pt idx="2936">
                  <c:v>1.7344551487745132E-13</c:v>
                </c:pt>
                <c:pt idx="2937">
                  <c:v>1.7344551487745132E-13</c:v>
                </c:pt>
                <c:pt idx="2938">
                  <c:v>1.7344551487745132E-13</c:v>
                </c:pt>
                <c:pt idx="2939">
                  <c:v>1.7344551487745132E-13</c:v>
                </c:pt>
                <c:pt idx="2940">
                  <c:v>1.7344551487745132E-13</c:v>
                </c:pt>
                <c:pt idx="2941">
                  <c:v>1.7344551487745132E-13</c:v>
                </c:pt>
                <c:pt idx="2942">
                  <c:v>1.7344551487745132E-13</c:v>
                </c:pt>
                <c:pt idx="2943">
                  <c:v>1.7344551487745132E-13</c:v>
                </c:pt>
                <c:pt idx="2944">
                  <c:v>1.7344551487745132E-13</c:v>
                </c:pt>
                <c:pt idx="2945">
                  <c:v>1.7344551487745132E-13</c:v>
                </c:pt>
                <c:pt idx="2946">
                  <c:v>1.7344551487745132E-13</c:v>
                </c:pt>
                <c:pt idx="2947">
                  <c:v>1.7344551487745132E-13</c:v>
                </c:pt>
                <c:pt idx="2948">
                  <c:v>1.7344551487745132E-13</c:v>
                </c:pt>
                <c:pt idx="2949">
                  <c:v>1.7344551487745132E-13</c:v>
                </c:pt>
                <c:pt idx="2950">
                  <c:v>1.7344551487745132E-13</c:v>
                </c:pt>
                <c:pt idx="2951">
                  <c:v>1.7344551487745132E-13</c:v>
                </c:pt>
                <c:pt idx="2952">
                  <c:v>1.7344551487745132E-13</c:v>
                </c:pt>
                <c:pt idx="2953">
                  <c:v>1.7344551487745132E-13</c:v>
                </c:pt>
                <c:pt idx="2954">
                  <c:v>1.7344551487745132E-13</c:v>
                </c:pt>
                <c:pt idx="2955">
                  <c:v>1.7344551487745132E-13</c:v>
                </c:pt>
                <c:pt idx="2956">
                  <c:v>1.7344551487745132E-13</c:v>
                </c:pt>
                <c:pt idx="2957">
                  <c:v>1.7344551487745132E-13</c:v>
                </c:pt>
                <c:pt idx="2958">
                  <c:v>1.7344551487745132E-13</c:v>
                </c:pt>
                <c:pt idx="2959">
                  <c:v>1.7344551487745132E-13</c:v>
                </c:pt>
                <c:pt idx="2960">
                  <c:v>1.7344551487745132E-13</c:v>
                </c:pt>
                <c:pt idx="2961">
                  <c:v>1.7344551487745132E-13</c:v>
                </c:pt>
                <c:pt idx="2962">
                  <c:v>1.7344551487745132E-13</c:v>
                </c:pt>
                <c:pt idx="2963">
                  <c:v>1.7344551487745132E-13</c:v>
                </c:pt>
                <c:pt idx="2964">
                  <c:v>1.7344551487745132E-13</c:v>
                </c:pt>
                <c:pt idx="2965">
                  <c:v>8.8242321477776303E-2</c:v>
                </c:pt>
                <c:pt idx="2966">
                  <c:v>0.14951724029107197</c:v>
                </c:pt>
                <c:pt idx="2967">
                  <c:v>0.21241132464311413</c:v>
                </c:pt>
                <c:pt idx="2968">
                  <c:v>0.26753716002324696</c:v>
                </c:pt>
                <c:pt idx="2969">
                  <c:v>0.3097472286675898</c:v>
                </c:pt>
                <c:pt idx="2970">
                  <c:v>0.35197206290523408</c:v>
                </c:pt>
                <c:pt idx="2971">
                  <c:v>0.41130920581278646</c:v>
                </c:pt>
                <c:pt idx="2972">
                  <c:v>0.45885876830633787</c:v>
                </c:pt>
                <c:pt idx="2973">
                  <c:v>0.51218186469550375</c:v>
                </c:pt>
                <c:pt idx="2974">
                  <c:v>0.57075728908395296</c:v>
                </c:pt>
                <c:pt idx="2975">
                  <c:v>0.62546507889117964</c:v>
                </c:pt>
                <c:pt idx="2976">
                  <c:v>0.6611359921947294</c:v>
                </c:pt>
                <c:pt idx="2977">
                  <c:v>0.68624569663183488</c:v>
                </c:pt>
                <c:pt idx="2978">
                  <c:v>0.70291082595552867</c:v>
                </c:pt>
                <c:pt idx="2979">
                  <c:v>0.71244196336381282</c:v>
                </c:pt>
                <c:pt idx="2980">
                  <c:v>0.71578121844803999</c:v>
                </c:pt>
                <c:pt idx="2981">
                  <c:v>0.71365705077877406</c:v>
                </c:pt>
                <c:pt idx="2982">
                  <c:v>0.70677853178254624</c:v>
                </c:pt>
                <c:pt idx="2983">
                  <c:v>0.69557738295046856</c:v>
                </c:pt>
                <c:pt idx="2984">
                  <c:v>0.68058186548296162</c:v>
                </c:pt>
                <c:pt idx="2985">
                  <c:v>0.6621652323010857</c:v>
                </c:pt>
                <c:pt idx="2986">
                  <c:v>0.64045981409644326</c:v>
                </c:pt>
                <c:pt idx="2987">
                  <c:v>0.61757575713300306</c:v>
                </c:pt>
                <c:pt idx="2988">
                  <c:v>0.59373539303930056</c:v>
                </c:pt>
                <c:pt idx="2989">
                  <c:v>0.57523675431191879</c:v>
                </c:pt>
                <c:pt idx="2990">
                  <c:v>0.56799626204415066</c:v>
                </c:pt>
                <c:pt idx="2991">
                  <c:v>0.56799626204415066</c:v>
                </c:pt>
                <c:pt idx="2992">
                  <c:v>0.5699794903519575</c:v>
                </c:pt>
                <c:pt idx="2993">
                  <c:v>0.57311780830776515</c:v>
                </c:pt>
                <c:pt idx="2994">
                  <c:v>0.57949848678816973</c:v>
                </c:pt>
                <c:pt idx="2995">
                  <c:v>0.60928261749860357</c:v>
                </c:pt>
                <c:pt idx="2996">
                  <c:v>0.64335921942995589</c:v>
                </c:pt>
                <c:pt idx="2997">
                  <c:v>0.67926843269182779</c:v>
                </c:pt>
                <c:pt idx="2998">
                  <c:v>0.71137237928440245</c:v>
                </c:pt>
                <c:pt idx="2999">
                  <c:v>0.74003852079316923</c:v>
                </c:pt>
                <c:pt idx="3000">
                  <c:v>0.76484820553523258</c:v>
                </c:pt>
                <c:pt idx="3001">
                  <c:v>0.78020744779142948</c:v>
                </c:pt>
                <c:pt idx="3002">
                  <c:v>0.7914833959332277</c:v>
                </c:pt>
                <c:pt idx="3003">
                  <c:v>0.79282405139103407</c:v>
                </c:pt>
                <c:pt idx="3004">
                  <c:v>0.78078204760441006</c:v>
                </c:pt>
                <c:pt idx="3005">
                  <c:v>0.75666098762755396</c:v>
                </c:pt>
                <c:pt idx="3006">
                  <c:v>0.73452984709714408</c:v>
                </c:pt>
                <c:pt idx="3007">
                  <c:v>0.70954470927759405</c:v>
                </c:pt>
                <c:pt idx="3008">
                  <c:v>0.68151409425017173</c:v>
                </c:pt>
                <c:pt idx="3009">
                  <c:v>0.65016604187576799</c:v>
                </c:pt>
                <c:pt idx="3010">
                  <c:v>0.61548147298423372</c:v>
                </c:pt>
                <c:pt idx="3011">
                  <c:v>0.57741013652213169</c:v>
                </c:pt>
                <c:pt idx="3012">
                  <c:v>0.53562192593981106</c:v>
                </c:pt>
                <c:pt idx="3013">
                  <c:v>0.49006833998011917</c:v>
                </c:pt>
                <c:pt idx="3014">
                  <c:v>0.43914942178627153</c:v>
                </c:pt>
                <c:pt idx="3015">
                  <c:v>0.38161757637249455</c:v>
                </c:pt>
                <c:pt idx="3016">
                  <c:v>0.33182126287964242</c:v>
                </c:pt>
                <c:pt idx="3017">
                  <c:v>0.28311812174654938</c:v>
                </c:pt>
                <c:pt idx="3018">
                  <c:v>0.226012298917139</c:v>
                </c:pt>
                <c:pt idx="3019">
                  <c:v>0.18757602902224849</c:v>
                </c:pt>
                <c:pt idx="3020">
                  <c:v>0.17118536225590447</c:v>
                </c:pt>
                <c:pt idx="3021">
                  <c:v>0.16234296794737546</c:v>
                </c:pt>
                <c:pt idx="3022">
                  <c:v>0.15343436590308487</c:v>
                </c:pt>
                <c:pt idx="3023">
                  <c:v>0.14565429516438699</c:v>
                </c:pt>
                <c:pt idx="3024">
                  <c:v>0.13940235143602417</c:v>
                </c:pt>
                <c:pt idx="3025">
                  <c:v>0.13484896817388711</c:v>
                </c:pt>
                <c:pt idx="3026">
                  <c:v>0.13203868710864625</c:v>
                </c:pt>
                <c:pt idx="3027">
                  <c:v>0.13212157438190669</c:v>
                </c:pt>
                <c:pt idx="3028">
                  <c:v>0.13165317463976889</c:v>
                </c:pt>
                <c:pt idx="3029">
                  <c:v>0.13058548737512851</c:v>
                </c:pt>
                <c:pt idx="3030">
                  <c:v>0.12893665108497476</c:v>
                </c:pt>
                <c:pt idx="3031">
                  <c:v>0.12697449455591847</c:v>
                </c:pt>
                <c:pt idx="3032">
                  <c:v>0.12389376873938154</c:v>
                </c:pt>
                <c:pt idx="3033">
                  <c:v>0.12142815944285253</c:v>
                </c:pt>
                <c:pt idx="3034">
                  <c:v>0.11964639402454923</c:v>
                </c:pt>
                <c:pt idx="3035">
                  <c:v>0.11742890002634247</c:v>
                </c:pt>
                <c:pt idx="3036">
                  <c:v>0.11745763135583318</c:v>
                </c:pt>
                <c:pt idx="3037">
                  <c:v>0.11713817311504601</c:v>
                </c:pt>
                <c:pt idx="3038">
                  <c:v>0.11655225082011531</c:v>
                </c:pt>
                <c:pt idx="3039">
                  <c:v>0.11563591702901864</c:v>
                </c:pt>
                <c:pt idx="3040">
                  <c:v>0.11469996506779155</c:v>
                </c:pt>
                <c:pt idx="3041">
                  <c:v>0.11302665388031044</c:v>
                </c:pt>
                <c:pt idx="3042">
                  <c:v>0.1106606740180715</c:v>
                </c:pt>
                <c:pt idx="3043">
                  <c:v>0.10869913660930197</c:v>
                </c:pt>
                <c:pt idx="3044">
                  <c:v>0.10636454949134427</c:v>
                </c:pt>
                <c:pt idx="3045">
                  <c:v>0.10413385463219749</c:v>
                </c:pt>
                <c:pt idx="3046">
                  <c:v>0.10289080318194187</c:v>
                </c:pt>
                <c:pt idx="3047">
                  <c:v>0.10140194989006285</c:v>
                </c:pt>
                <c:pt idx="3048">
                  <c:v>9.9665165013411244E-2</c:v>
                </c:pt>
                <c:pt idx="3049">
                  <c:v>9.7376680094487203E-2</c:v>
                </c:pt>
                <c:pt idx="3050">
                  <c:v>0.10493230522882332</c:v>
                </c:pt>
                <c:pt idx="3051">
                  <c:v>0.19643749515430201</c:v>
                </c:pt>
                <c:pt idx="3052">
                  <c:v>0.28298217314844287</c:v>
                </c:pt>
                <c:pt idx="3053">
                  <c:v>0.36941872342641796</c:v>
                </c:pt>
                <c:pt idx="3054">
                  <c:v>0.45675370954370814</c:v>
                </c:pt>
                <c:pt idx="3055">
                  <c:v>0.54657378311037597</c:v>
                </c:pt>
                <c:pt idx="3056">
                  <c:v>0.65810119212613816</c:v>
                </c:pt>
                <c:pt idx="3057">
                  <c:v>0.80969803777459426</c:v>
                </c:pt>
                <c:pt idx="3058">
                  <c:v>0.96772982696375365</c:v>
                </c:pt>
                <c:pt idx="3059">
                  <c:v>1.1112110706085963</c:v>
                </c:pt>
                <c:pt idx="3060">
                  <c:v>1.2150317617521504</c:v>
                </c:pt>
                <c:pt idx="3061">
                  <c:v>1.2952640553549364</c:v>
                </c:pt>
                <c:pt idx="3062">
                  <c:v>1.3572865718095886</c:v>
                </c:pt>
                <c:pt idx="3063">
                  <c:v>1.4040239659666776</c:v>
                </c:pt>
                <c:pt idx="3064">
                  <c:v>1.4341441872379905</c:v>
                </c:pt>
                <c:pt idx="3065">
                  <c:v>1.450288775824127</c:v>
                </c:pt>
                <c:pt idx="3066">
                  <c:v>1.4592617202510119</c:v>
                </c:pt>
                <c:pt idx="3067">
                  <c:v>1.4568710396969646</c:v>
                </c:pt>
                <c:pt idx="3068">
                  <c:v>1.4462513069080272</c:v>
                </c:pt>
                <c:pt idx="3069">
                  <c:v>1.4276891915391263</c:v>
                </c:pt>
                <c:pt idx="3070">
                  <c:v>1.3997083180949033</c:v>
                </c:pt>
                <c:pt idx="3071">
                  <c:v>1.3636736032973178</c:v>
                </c:pt>
                <c:pt idx="3072">
                  <c:v>1.3202919627089091</c:v>
                </c:pt>
                <c:pt idx="3073">
                  <c:v>1.2707411644913877</c:v>
                </c:pt>
                <c:pt idx="3074">
                  <c:v>1.2150478274469703</c:v>
                </c:pt>
                <c:pt idx="3075">
                  <c:v>1.1534165802761496</c:v>
                </c:pt>
                <c:pt idx="3076">
                  <c:v>1.084418587535136</c:v>
                </c:pt>
                <c:pt idx="3077">
                  <c:v>1.0060370105281036</c:v>
                </c:pt>
                <c:pt idx="3078">
                  <c:v>0.91574265987145553</c:v>
                </c:pt>
                <c:pt idx="3079">
                  <c:v>0.81074815939647304</c:v>
                </c:pt>
                <c:pt idx="3080">
                  <c:v>0.72994655019603316</c:v>
                </c:pt>
                <c:pt idx="3081">
                  <c:v>0.69317695608278063</c:v>
                </c:pt>
                <c:pt idx="3082">
                  <c:v>0.66850734032230785</c:v>
                </c:pt>
                <c:pt idx="3083">
                  <c:v>0.65468679141242681</c:v>
                </c:pt>
                <c:pt idx="3084">
                  <c:v>0.6503747095921466</c:v>
                </c:pt>
                <c:pt idx="3085">
                  <c:v>0.65385125302411495</c:v>
                </c:pt>
                <c:pt idx="3086">
                  <c:v>0.66436723923584218</c:v>
                </c:pt>
                <c:pt idx="3087">
                  <c:v>0.66557389488288732</c:v>
                </c:pt>
                <c:pt idx="3088">
                  <c:v>0.64519513955213526</c:v>
                </c:pt>
                <c:pt idx="3089">
                  <c:v>0.60423336485017043</c:v>
                </c:pt>
                <c:pt idx="3090">
                  <c:v>0.56592681388592037</c:v>
                </c:pt>
                <c:pt idx="3091">
                  <c:v>0.52526023253745402</c:v>
                </c:pt>
                <c:pt idx="3092">
                  <c:v>0.48173929533814164</c:v>
                </c:pt>
                <c:pt idx="3093">
                  <c:v>0.43496767505750222</c:v>
                </c:pt>
                <c:pt idx="3094">
                  <c:v>0.39201321176028614</c:v>
                </c:pt>
                <c:pt idx="3095">
                  <c:v>0.35389870495521575</c:v>
                </c:pt>
                <c:pt idx="3096">
                  <c:v>0.30650189118430243</c:v>
                </c:pt>
                <c:pt idx="3097">
                  <c:v>0.26334277789912364</c:v>
                </c:pt>
                <c:pt idx="3098">
                  <c:v>0.21727961789040978</c:v>
                </c:pt>
                <c:pt idx="3099">
                  <c:v>0.16544681049806426</c:v>
                </c:pt>
                <c:pt idx="3100">
                  <c:v>0.11614081207803804</c:v>
                </c:pt>
                <c:pt idx="3101">
                  <c:v>6.9020244732988789E-2</c:v>
                </c:pt>
                <c:pt idx="3102">
                  <c:v>4.3546398079139605E-2</c:v>
                </c:pt>
                <c:pt idx="3103">
                  <c:v>1.3681032298783934E-2</c:v>
                </c:pt>
                <c:pt idx="3104">
                  <c:v>0</c:v>
                </c:pt>
                <c:pt idx="3105">
                  <c:v>0</c:v>
                </c:pt>
                <c:pt idx="3106">
                  <c:v>0</c:v>
                </c:pt>
                <c:pt idx="3107">
                  <c:v>0</c:v>
                </c:pt>
                <c:pt idx="3108">
                  <c:v>0</c:v>
                </c:pt>
                <c:pt idx="3109">
                  <c:v>0</c:v>
                </c:pt>
                <c:pt idx="3110">
                  <c:v>0</c:v>
                </c:pt>
                <c:pt idx="3111">
                  <c:v>0</c:v>
                </c:pt>
                <c:pt idx="3112">
                  <c:v>0</c:v>
                </c:pt>
                <c:pt idx="3113">
                  <c:v>0</c:v>
                </c:pt>
                <c:pt idx="3114">
                  <c:v>0</c:v>
                </c:pt>
                <c:pt idx="3115">
                  <c:v>0</c:v>
                </c:pt>
                <c:pt idx="3116">
                  <c:v>0</c:v>
                </c:pt>
                <c:pt idx="3117">
                  <c:v>0</c:v>
                </c:pt>
                <c:pt idx="3118">
                  <c:v>0</c:v>
                </c:pt>
                <c:pt idx="3119">
                  <c:v>0</c:v>
                </c:pt>
                <c:pt idx="3120">
                  <c:v>0</c:v>
                </c:pt>
                <c:pt idx="3121">
                  <c:v>0</c:v>
                </c:pt>
                <c:pt idx="3122">
                  <c:v>0</c:v>
                </c:pt>
                <c:pt idx="3123">
                  <c:v>0</c:v>
                </c:pt>
                <c:pt idx="3124">
                  <c:v>0</c:v>
                </c:pt>
                <c:pt idx="3125">
                  <c:v>0</c:v>
                </c:pt>
                <c:pt idx="3126">
                  <c:v>0</c:v>
                </c:pt>
                <c:pt idx="3127">
                  <c:v>0</c:v>
                </c:pt>
                <c:pt idx="3128">
                  <c:v>0</c:v>
                </c:pt>
                <c:pt idx="3129">
                  <c:v>0</c:v>
                </c:pt>
                <c:pt idx="3130">
                  <c:v>0</c:v>
                </c:pt>
                <c:pt idx="3131">
                  <c:v>9.5657918926301449E-4</c:v>
                </c:pt>
                <c:pt idx="3132">
                  <c:v>2.1441343642530789E-3</c:v>
                </c:pt>
                <c:pt idx="3133">
                  <c:v>3.6077504892284857E-3</c:v>
                </c:pt>
                <c:pt idx="3134">
                  <c:v>6.8637562337143356E-3</c:v>
                </c:pt>
                <c:pt idx="3135">
                  <c:v>1.1056011599500672E-2</c:v>
                </c:pt>
                <c:pt idx="3136">
                  <c:v>1.3863495483110918E-2</c:v>
                </c:pt>
                <c:pt idx="3137">
                  <c:v>1.650764576009282E-2</c:v>
                </c:pt>
                <c:pt idx="3138">
                  <c:v>1.8600181778291966E-2</c:v>
                </c:pt>
                <c:pt idx="3139">
                  <c:v>2.1226953177154107E-2</c:v>
                </c:pt>
                <c:pt idx="3140">
                  <c:v>2.4290985960849047E-2</c:v>
                </c:pt>
                <c:pt idx="3141">
                  <c:v>2.7195984878100134E-2</c:v>
                </c:pt>
                <c:pt idx="3142">
                  <c:v>3.0440832956657088E-2</c:v>
                </c:pt>
                <c:pt idx="3143">
                  <c:v>3.3923203021575546E-2</c:v>
                </c:pt>
                <c:pt idx="3144">
                  <c:v>3.8061736985098182E-2</c:v>
                </c:pt>
                <c:pt idx="3145">
                  <c:v>4.2267287596321375E-2</c:v>
                </c:pt>
                <c:pt idx="3146">
                  <c:v>4.6061327152321495E-2</c:v>
                </c:pt>
                <c:pt idx="3147">
                  <c:v>4.9500467416709056E-2</c:v>
                </c:pt>
                <c:pt idx="3148">
                  <c:v>5.3414115722623931E-2</c:v>
                </c:pt>
                <c:pt idx="3149">
                  <c:v>5.9019657652919985E-2</c:v>
                </c:pt>
                <c:pt idx="3150">
                  <c:v>6.4305304479235603E-2</c:v>
                </c:pt>
                <c:pt idx="3151">
                  <c:v>6.9270087303778996E-2</c:v>
                </c:pt>
                <c:pt idx="3152">
                  <c:v>7.3545201728151641E-2</c:v>
                </c:pt>
                <c:pt idx="3153">
                  <c:v>7.7950998583608225E-2</c:v>
                </c:pt>
                <c:pt idx="3154">
                  <c:v>8.2047544360988253E-2</c:v>
                </c:pt>
                <c:pt idx="3155">
                  <c:v>8.5450076818357937E-2</c:v>
                </c:pt>
                <c:pt idx="3156">
                  <c:v>8.821422316377138E-2</c:v>
                </c:pt>
                <c:pt idx="3157">
                  <c:v>9.033652167542601E-2</c:v>
                </c:pt>
                <c:pt idx="3158">
                  <c:v>9.1818292644948826E-2</c:v>
                </c:pt>
                <c:pt idx="3159">
                  <c:v>9.2955639186598771E-2</c:v>
                </c:pt>
                <c:pt idx="3160">
                  <c:v>9.3380673023799626E-2</c:v>
                </c:pt>
                <c:pt idx="3161">
                  <c:v>9.3366207851041966E-2</c:v>
                </c:pt>
                <c:pt idx="3162">
                  <c:v>9.2905580975983698E-2</c:v>
                </c:pt>
                <c:pt idx="3163">
                  <c:v>9.6010507816434554E-2</c:v>
                </c:pt>
                <c:pt idx="3164">
                  <c:v>9.9218672954008574E-2</c:v>
                </c:pt>
                <c:pt idx="3165">
                  <c:v>0.10255717340625133</c:v>
                </c:pt>
                <c:pt idx="3166">
                  <c:v>0.10518167995425282</c:v>
                </c:pt>
                <c:pt idx="3167">
                  <c:v>0.10735196610367317</c:v>
                </c:pt>
                <c:pt idx="3168">
                  <c:v>0.109105898372108</c:v>
                </c:pt>
                <c:pt idx="3169">
                  <c:v>0.11066846781548825</c:v>
                </c:pt>
                <c:pt idx="3170">
                  <c:v>0.11203187647367259</c:v>
                </c:pt>
                <c:pt idx="3171">
                  <c:v>0.11289290008859258</c:v>
                </c:pt>
                <c:pt idx="3172">
                  <c:v>0.1132449694541572</c:v>
                </c:pt>
                <c:pt idx="3173">
                  <c:v>0.11340444722729968</c:v>
                </c:pt>
                <c:pt idx="3174">
                  <c:v>0.1137253162021294</c:v>
                </c:pt>
                <c:pt idx="3175">
                  <c:v>0.11360017762336032</c:v>
                </c:pt>
                <c:pt idx="3176">
                  <c:v>0.11302877039319205</c:v>
                </c:pt>
                <c:pt idx="3177">
                  <c:v>0.11256153213283918</c:v>
                </c:pt>
                <c:pt idx="3178">
                  <c:v>0.11253573870591078</c:v>
                </c:pt>
                <c:pt idx="3179">
                  <c:v>0.11390738778094037</c:v>
                </c:pt>
                <c:pt idx="3180">
                  <c:v>0.1211699458094458</c:v>
                </c:pt>
                <c:pt idx="3181">
                  <c:v>0.12789663668851275</c:v>
                </c:pt>
                <c:pt idx="3182">
                  <c:v>0.13309714920768542</c:v>
                </c:pt>
                <c:pt idx="3183">
                  <c:v>0.13715216022809523</c:v>
                </c:pt>
                <c:pt idx="3184">
                  <c:v>0.14031808633018469</c:v>
                </c:pt>
                <c:pt idx="3185">
                  <c:v>0.14241265190255487</c:v>
                </c:pt>
                <c:pt idx="3186">
                  <c:v>0.14351523565309973</c:v>
                </c:pt>
                <c:pt idx="3187">
                  <c:v>0.14361627973081761</c:v>
                </c:pt>
                <c:pt idx="3188">
                  <c:v>0.14387514651247291</c:v>
                </c:pt>
                <c:pt idx="3189">
                  <c:v>0.15084965741393777</c:v>
                </c:pt>
                <c:pt idx="3190">
                  <c:v>0.1557638486095004</c:v>
                </c:pt>
                <c:pt idx="3191">
                  <c:v>0.15885580913388367</c:v>
                </c:pt>
                <c:pt idx="3192">
                  <c:v>0.16017590812096946</c:v>
                </c:pt>
                <c:pt idx="3193">
                  <c:v>0.16391799125930856</c:v>
                </c:pt>
                <c:pt idx="3194">
                  <c:v>0.16690630463751024</c:v>
                </c:pt>
                <c:pt idx="3195">
                  <c:v>0.16889950944506008</c:v>
                </c:pt>
                <c:pt idx="3196">
                  <c:v>0.16997989990015758</c:v>
                </c:pt>
                <c:pt idx="3197">
                  <c:v>0.17018250373360419</c:v>
                </c:pt>
                <c:pt idx="3198">
                  <c:v>0.16560463128148245</c:v>
                </c:pt>
                <c:pt idx="3199">
                  <c:v>0.16071910994420796</c:v>
                </c:pt>
                <c:pt idx="3200">
                  <c:v>0.18693229407705853</c:v>
                </c:pt>
                <c:pt idx="3201">
                  <c:v>0.22132286189321765</c:v>
                </c:pt>
                <c:pt idx="3202">
                  <c:v>0.2535123741387989</c:v>
                </c:pt>
                <c:pt idx="3203">
                  <c:v>0.29102668497454026</c:v>
                </c:pt>
                <c:pt idx="3204">
                  <c:v>0.32628907902554583</c:v>
                </c:pt>
                <c:pt idx="3205">
                  <c:v>0.35938335339625171</c:v>
                </c:pt>
                <c:pt idx="3206">
                  <c:v>0.39371717447936444</c:v>
                </c:pt>
                <c:pt idx="3207">
                  <c:v>0.43163667439852016</c:v>
                </c:pt>
                <c:pt idx="3208">
                  <c:v>0.46674506329729726</c:v>
                </c:pt>
                <c:pt idx="3209">
                  <c:v>0.50195857538787014</c:v>
                </c:pt>
                <c:pt idx="3210">
                  <c:v>0.53097779648331678</c:v>
                </c:pt>
                <c:pt idx="3211">
                  <c:v>0.55728992383327858</c:v>
                </c:pt>
                <c:pt idx="3212">
                  <c:v>0.58344518741960694</c:v>
                </c:pt>
                <c:pt idx="3213">
                  <c:v>0.60710593604886365</c:v>
                </c:pt>
                <c:pt idx="3214">
                  <c:v>0.6345139647549094</c:v>
                </c:pt>
                <c:pt idx="3215">
                  <c:v>0.65857137504716967</c:v>
                </c:pt>
                <c:pt idx="3216">
                  <c:v>0.67743703416413792</c:v>
                </c:pt>
                <c:pt idx="3217">
                  <c:v>0.69336141762405934</c:v>
                </c:pt>
                <c:pt idx="3218">
                  <c:v>0.70372562055543497</c:v>
                </c:pt>
                <c:pt idx="3219">
                  <c:v>0.68519375739556898</c:v>
                </c:pt>
                <c:pt idx="3220">
                  <c:v>0.68747573130340145</c:v>
                </c:pt>
                <c:pt idx="3221">
                  <c:v>0.6835882107180451</c:v>
                </c:pt>
                <c:pt idx="3222">
                  <c:v>0.67780919882309754</c:v>
                </c:pt>
                <c:pt idx="3223">
                  <c:v>0.66742273864418478</c:v>
                </c:pt>
                <c:pt idx="3224">
                  <c:v>0.65482118347551532</c:v>
                </c:pt>
                <c:pt idx="3225">
                  <c:v>0.64103954997322909</c:v>
                </c:pt>
                <c:pt idx="3226">
                  <c:v>0.62551684527793872</c:v>
                </c:pt>
                <c:pt idx="3227">
                  <c:v>0.60856245902507855</c:v>
                </c:pt>
                <c:pt idx="3228">
                  <c:v>0.59652904178055266</c:v>
                </c:pt>
                <c:pt idx="3229">
                  <c:v>0.5941468032734486</c:v>
                </c:pt>
                <c:pt idx="3230">
                  <c:v>0.59798958032272331</c:v>
                </c:pt>
                <c:pt idx="3231">
                  <c:v>0.60203322427234596</c:v>
                </c:pt>
                <c:pt idx="3232">
                  <c:v>0.60345894666903022</c:v>
                </c:pt>
                <c:pt idx="3233">
                  <c:v>0.60443898428324261</c:v>
                </c:pt>
                <c:pt idx="3234">
                  <c:v>0.60457481970332438</c:v>
                </c:pt>
                <c:pt idx="3235">
                  <c:v>0.60384109090746529</c:v>
                </c:pt>
                <c:pt idx="3236">
                  <c:v>0.60186366133476732</c:v>
                </c:pt>
                <c:pt idx="3237">
                  <c:v>0.5973158271016491</c:v>
                </c:pt>
                <c:pt idx="3238">
                  <c:v>0.59156644853708718</c:v>
                </c:pt>
                <c:pt idx="3239">
                  <c:v>0.58320885860387783</c:v>
                </c:pt>
                <c:pt idx="3240">
                  <c:v>0.57436632355338435</c:v>
                </c:pt>
                <c:pt idx="3241">
                  <c:v>0.56376524782467741</c:v>
                </c:pt>
                <c:pt idx="3242">
                  <c:v>0.54941131354685657</c:v>
                </c:pt>
                <c:pt idx="3243">
                  <c:v>0.53262133927064637</c:v>
                </c:pt>
                <c:pt idx="3244">
                  <c:v>0.50704605394324331</c:v>
                </c:pt>
                <c:pt idx="3245">
                  <c:v>0.47832006010093137</c:v>
                </c:pt>
                <c:pt idx="3246">
                  <c:v>0.447253292362704</c:v>
                </c:pt>
                <c:pt idx="3247">
                  <c:v>0.41051057847521016</c:v>
                </c:pt>
                <c:pt idx="3248">
                  <c:v>0.3695431278541656</c:v>
                </c:pt>
                <c:pt idx="3249">
                  <c:v>0.37966892942331087</c:v>
                </c:pt>
                <c:pt idx="3250">
                  <c:v>0.36370575530512378</c:v>
                </c:pt>
                <c:pt idx="3251">
                  <c:v>0.35508318445796166</c:v>
                </c:pt>
                <c:pt idx="3252">
                  <c:v>0.35476958409546233</c:v>
                </c:pt>
                <c:pt idx="3253">
                  <c:v>0.35659176819358729</c:v>
                </c:pt>
                <c:pt idx="3254">
                  <c:v>0.3575159890511066</c:v>
                </c:pt>
                <c:pt idx="3255">
                  <c:v>0.35516744599812744</c:v>
                </c:pt>
                <c:pt idx="3256">
                  <c:v>0.35032721140469414</c:v>
                </c:pt>
                <c:pt idx="3257">
                  <c:v>0.34439827081348207</c:v>
                </c:pt>
                <c:pt idx="3258">
                  <c:v>0.33537778338038721</c:v>
                </c:pt>
                <c:pt idx="3259">
                  <c:v>0.32219783958069975</c:v>
                </c:pt>
                <c:pt idx="3260">
                  <c:v>0.31698006824462355</c:v>
                </c:pt>
                <c:pt idx="3261">
                  <c:v>0.30976947857212589</c:v>
                </c:pt>
                <c:pt idx="3262">
                  <c:v>0.30840024133390009</c:v>
                </c:pt>
                <c:pt idx="3263">
                  <c:v>0.30499289441211264</c:v>
                </c:pt>
                <c:pt idx="3264">
                  <c:v>0.3017943021811415</c:v>
                </c:pt>
                <c:pt idx="3265">
                  <c:v>0.29972772529770819</c:v>
                </c:pt>
                <c:pt idx="3266">
                  <c:v>0.29576070150147055</c:v>
                </c:pt>
                <c:pt idx="3267">
                  <c:v>0.29306478667180424</c:v>
                </c:pt>
                <c:pt idx="3268">
                  <c:v>0.28957699292503658</c:v>
                </c:pt>
                <c:pt idx="3269">
                  <c:v>0.28392378462006579</c:v>
                </c:pt>
                <c:pt idx="3270">
                  <c:v>0.2753327229032021</c:v>
                </c:pt>
                <c:pt idx="3271">
                  <c:v>0.26324023992952067</c:v>
                </c:pt>
                <c:pt idx="3272">
                  <c:v>0.24836817746601145</c:v>
                </c:pt>
                <c:pt idx="3273">
                  <c:v>0.23212227020864498</c:v>
                </c:pt>
                <c:pt idx="3274">
                  <c:v>0.21715537734382218</c:v>
                </c:pt>
                <c:pt idx="3275">
                  <c:v>0.20316507481102389</c:v>
                </c:pt>
                <c:pt idx="3276">
                  <c:v>0.18800823087635318</c:v>
                </c:pt>
                <c:pt idx="3277">
                  <c:v>0.17284709836869169</c:v>
                </c:pt>
                <c:pt idx="3278">
                  <c:v>0.15676396094804368</c:v>
                </c:pt>
                <c:pt idx="3279">
                  <c:v>0.13968226628043845</c:v>
                </c:pt>
                <c:pt idx="3280">
                  <c:v>0.12191526482238965</c:v>
                </c:pt>
                <c:pt idx="3281">
                  <c:v>0.12886197932031895</c:v>
                </c:pt>
                <c:pt idx="3282">
                  <c:v>0.14832486342234077</c:v>
                </c:pt>
                <c:pt idx="3283">
                  <c:v>0.16869675426604019</c:v>
                </c:pt>
                <c:pt idx="3284">
                  <c:v>0.18829632710802935</c:v>
                </c:pt>
                <c:pt idx="3285">
                  <c:v>0.20681303176838353</c:v>
                </c:pt>
                <c:pt idx="3286">
                  <c:v>0.22304273118133014</c:v>
                </c:pt>
                <c:pt idx="3287">
                  <c:v>0.23963879470874649</c:v>
                </c:pt>
                <c:pt idx="3288">
                  <c:v>0.25487867478093945</c:v>
                </c:pt>
                <c:pt idx="3289">
                  <c:v>0.26994025254965465</c:v>
                </c:pt>
                <c:pt idx="3290">
                  <c:v>0.28473210291417683</c:v>
                </c:pt>
                <c:pt idx="3291">
                  <c:v>0.29904032128835262</c:v>
                </c:pt>
                <c:pt idx="3292">
                  <c:v>0.31381740065696018</c:v>
                </c:pt>
                <c:pt idx="3293">
                  <c:v>0.32749779472586044</c:v>
                </c:pt>
                <c:pt idx="3294">
                  <c:v>0.33841697718277758</c:v>
                </c:pt>
                <c:pt idx="3295">
                  <c:v>0.34628328285152271</c:v>
                </c:pt>
                <c:pt idx="3296">
                  <c:v>0.35055274553363158</c:v>
                </c:pt>
                <c:pt idx="3297">
                  <c:v>0.35300389914964397</c:v>
                </c:pt>
                <c:pt idx="3298">
                  <c:v>0.35237196774432589</c:v>
                </c:pt>
                <c:pt idx="3299">
                  <c:v>0.34904810695905297</c:v>
                </c:pt>
                <c:pt idx="3300">
                  <c:v>0.34394890876158135</c:v>
                </c:pt>
                <c:pt idx="3301">
                  <c:v>0.33833503460303382</c:v>
                </c:pt>
                <c:pt idx="3302">
                  <c:v>0.33095198939214771</c:v>
                </c:pt>
                <c:pt idx="3303">
                  <c:v>0.32130650931975641</c:v>
                </c:pt>
                <c:pt idx="3304">
                  <c:v>0.30841400893155579</c:v>
                </c:pt>
                <c:pt idx="3305">
                  <c:v>0.2988911226061774</c:v>
                </c:pt>
                <c:pt idx="3306">
                  <c:v>0.28664064206307649</c:v>
                </c:pt>
                <c:pt idx="3307">
                  <c:v>0.27311825730803035</c:v>
                </c:pt>
                <c:pt idx="3308">
                  <c:v>0.25726114297865416</c:v>
                </c:pt>
                <c:pt idx="3309">
                  <c:v>0.24206642480926782</c:v>
                </c:pt>
                <c:pt idx="3310">
                  <c:v>0.22404183940987465</c:v>
                </c:pt>
                <c:pt idx="3311">
                  <c:v>0.22079671952208527</c:v>
                </c:pt>
                <c:pt idx="3312">
                  <c:v>0.21906474183380364</c:v>
                </c:pt>
                <c:pt idx="3313">
                  <c:v>0.21787066858477713</c:v>
                </c:pt>
                <c:pt idx="3314">
                  <c:v>0.21606960889765331</c:v>
                </c:pt>
                <c:pt idx="3315">
                  <c:v>0.21358130834672129</c:v>
                </c:pt>
                <c:pt idx="3316">
                  <c:v>0.21024860008416507</c:v>
                </c:pt>
                <c:pt idx="3317">
                  <c:v>0.20737687103049188</c:v>
                </c:pt>
                <c:pt idx="3318">
                  <c:v>0.20744949684510622</c:v>
                </c:pt>
                <c:pt idx="3319">
                  <c:v>0.20902646970346481</c:v>
                </c:pt>
                <c:pt idx="3320">
                  <c:v>0.21364976112094672</c:v>
                </c:pt>
                <c:pt idx="3321">
                  <c:v>0.21822960923096824</c:v>
                </c:pt>
                <c:pt idx="3322">
                  <c:v>0.22409370761348391</c:v>
                </c:pt>
                <c:pt idx="3323">
                  <c:v>0.23000631739796848</c:v>
                </c:pt>
                <c:pt idx="3324">
                  <c:v>0.24178644981313127</c:v>
                </c:pt>
                <c:pt idx="3325">
                  <c:v>0.24686244001257385</c:v>
                </c:pt>
                <c:pt idx="3326">
                  <c:v>0.24547303222580852</c:v>
                </c:pt>
                <c:pt idx="3327">
                  <c:v>0.2435187280903312</c:v>
                </c:pt>
                <c:pt idx="3328">
                  <c:v>0.24005890471288432</c:v>
                </c:pt>
                <c:pt idx="3329">
                  <c:v>0.23541886200272907</c:v>
                </c:pt>
                <c:pt idx="3330">
                  <c:v>0.22970306355235134</c:v>
                </c:pt>
                <c:pt idx="3331">
                  <c:v>0.22305452489327987</c:v>
                </c:pt>
                <c:pt idx="3332">
                  <c:v>0.21550625482103247</c:v>
                </c:pt>
                <c:pt idx="3333">
                  <c:v>0.20827186817175392</c:v>
                </c:pt>
                <c:pt idx="3334">
                  <c:v>0.19922902290507535</c:v>
                </c:pt>
                <c:pt idx="3335">
                  <c:v>0.18905523069773419</c:v>
                </c:pt>
                <c:pt idx="3336">
                  <c:v>0.17694657342860509</c:v>
                </c:pt>
                <c:pt idx="3337">
                  <c:v>0.1654863002218139</c:v>
                </c:pt>
                <c:pt idx="3338">
                  <c:v>0.15363805376064626</c:v>
                </c:pt>
                <c:pt idx="3339">
                  <c:v>0.14154603733657342</c:v>
                </c:pt>
                <c:pt idx="3340">
                  <c:v>0.12916809480253108</c:v>
                </c:pt>
                <c:pt idx="3341">
                  <c:v>0.11689660937640936</c:v>
                </c:pt>
                <c:pt idx="3342">
                  <c:v>0.108610997166149</c:v>
                </c:pt>
                <c:pt idx="3343">
                  <c:v>0.10128356194857632</c:v>
                </c:pt>
                <c:pt idx="3344">
                  <c:v>9.5244092906735425E-2</c:v>
                </c:pt>
                <c:pt idx="3345">
                  <c:v>9.0508863146081753E-2</c:v>
                </c:pt>
                <c:pt idx="3346">
                  <c:v>8.8660417184826257E-2</c:v>
                </c:pt>
                <c:pt idx="3347">
                  <c:v>8.8228664920658145E-2</c:v>
                </c:pt>
                <c:pt idx="3348">
                  <c:v>9.1601145775793133E-2</c:v>
                </c:pt>
                <c:pt idx="3349">
                  <c:v>9.5642055865389805E-2</c:v>
                </c:pt>
                <c:pt idx="3350">
                  <c:v>9.9868566224577557E-2</c:v>
                </c:pt>
                <c:pt idx="3351">
                  <c:v>0.10334976924499099</c:v>
                </c:pt>
                <c:pt idx="3352">
                  <c:v>0.10636130666256016</c:v>
                </c:pt>
                <c:pt idx="3353">
                  <c:v>0.10810418818525386</c:v>
                </c:pt>
                <c:pt idx="3354">
                  <c:v>0.10137688155128449</c:v>
                </c:pt>
                <c:pt idx="3355">
                  <c:v>9.7612455142675039E-2</c:v>
                </c:pt>
                <c:pt idx="3356">
                  <c:v>9.7489609399708257E-2</c:v>
                </c:pt>
                <c:pt idx="3357">
                  <c:v>9.6862128364658032E-2</c:v>
                </c:pt>
                <c:pt idx="3358">
                  <c:v>9.6045425014502334E-2</c:v>
                </c:pt>
                <c:pt idx="3359">
                  <c:v>9.4735360105909036E-2</c:v>
                </c:pt>
                <c:pt idx="3360">
                  <c:v>0.10014366154829764</c:v>
                </c:pt>
                <c:pt idx="3361">
                  <c:v>0.10672561386328498</c:v>
                </c:pt>
                <c:pt idx="3362">
                  <c:v>0.11292348953013512</c:v>
                </c:pt>
                <c:pt idx="3363">
                  <c:v>0.11751423095614086</c:v>
                </c:pt>
                <c:pt idx="3364">
                  <c:v>0.12064458072081323</c:v>
                </c:pt>
                <c:pt idx="3365">
                  <c:v>0.12399304831642055</c:v>
                </c:pt>
                <c:pt idx="3366">
                  <c:v>0.12753931273006094</c:v>
                </c:pt>
                <c:pt idx="3367">
                  <c:v>0.13021118001003382</c:v>
                </c:pt>
                <c:pt idx="3368">
                  <c:v>0.13591313110072198</c:v>
                </c:pt>
                <c:pt idx="3369">
                  <c:v>0.14417331481091239</c:v>
                </c:pt>
                <c:pt idx="3370">
                  <c:v>0.15028924789990236</c:v>
                </c:pt>
                <c:pt idx="3371">
                  <c:v>0.1560711465813622</c:v>
                </c:pt>
                <c:pt idx="3372">
                  <c:v>0.16170473085809131</c:v>
                </c:pt>
                <c:pt idx="3373">
                  <c:v>0.16575913136674239</c:v>
                </c:pt>
                <c:pt idx="3374">
                  <c:v>0.16916653990384936</c:v>
                </c:pt>
                <c:pt idx="3375">
                  <c:v>0.17146740395128945</c:v>
                </c:pt>
                <c:pt idx="3376">
                  <c:v>0.17299682945039405</c:v>
                </c:pt>
                <c:pt idx="3377">
                  <c:v>0.17344787531905859</c:v>
                </c:pt>
                <c:pt idx="3378">
                  <c:v>0.17336295207887364</c:v>
                </c:pt>
                <c:pt idx="3379">
                  <c:v>0.17222077983808437</c:v>
                </c:pt>
                <c:pt idx="3380">
                  <c:v>0.17059140535760262</c:v>
                </c:pt>
                <c:pt idx="3381">
                  <c:v>0.16837108654251748</c:v>
                </c:pt>
                <c:pt idx="3382">
                  <c:v>0.16563678466307219</c:v>
                </c:pt>
                <c:pt idx="3383">
                  <c:v>0.16202906841967149</c:v>
                </c:pt>
                <c:pt idx="3384">
                  <c:v>0.15720175373327697</c:v>
                </c:pt>
                <c:pt idx="3385">
                  <c:v>0.15105414957258897</c:v>
                </c:pt>
                <c:pt idx="3386">
                  <c:v>0.14381080767783644</c:v>
                </c:pt>
                <c:pt idx="3387">
                  <c:v>0.13490812216298723</c:v>
                </c:pt>
                <c:pt idx="3388">
                  <c:v>0.12398134796028855</c:v>
                </c:pt>
                <c:pt idx="3389">
                  <c:v>0.11539686777517669</c:v>
                </c:pt>
                <c:pt idx="3390">
                  <c:v>0.12194129813448665</c:v>
                </c:pt>
                <c:pt idx="3391">
                  <c:v>0.14732741082976519</c:v>
                </c:pt>
                <c:pt idx="3392">
                  <c:v>0.17673553739295828</c:v>
                </c:pt>
                <c:pt idx="3393">
                  <c:v>0.21990047585537412</c:v>
                </c:pt>
                <c:pt idx="3394">
                  <c:v>0.2731155816186055</c:v>
                </c:pt>
                <c:pt idx="3395">
                  <c:v>0.31272643046861909</c:v>
                </c:pt>
                <c:pt idx="3396">
                  <c:v>0.34313526491941426</c:v>
                </c:pt>
                <c:pt idx="3397">
                  <c:v>0.36636130258329808</c:v>
                </c:pt>
                <c:pt idx="3398">
                  <c:v>0.38587427186097178</c:v>
                </c:pt>
                <c:pt idx="3399">
                  <c:v>0.40157307208658138</c:v>
                </c:pt>
                <c:pt idx="3400">
                  <c:v>0.41289006832776542</c:v>
                </c:pt>
                <c:pt idx="3401">
                  <c:v>0.42130482568956346</c:v>
                </c:pt>
                <c:pt idx="3402">
                  <c:v>0.42702624624246716</c:v>
                </c:pt>
                <c:pt idx="3403">
                  <c:v>0.4295494258893266</c:v>
                </c:pt>
                <c:pt idx="3404">
                  <c:v>0.42949189627401563</c:v>
                </c:pt>
                <c:pt idx="3405">
                  <c:v>0.4272036227482609</c:v>
                </c:pt>
                <c:pt idx="3406">
                  <c:v>0.42298663325050095</c:v>
                </c:pt>
                <c:pt idx="3407">
                  <c:v>0.41642595605799171</c:v>
                </c:pt>
                <c:pt idx="3408">
                  <c:v>0.40808875176052994</c:v>
                </c:pt>
                <c:pt idx="3409">
                  <c:v>0.39773827045557258</c:v>
                </c:pt>
                <c:pt idx="3410">
                  <c:v>0.38500916867909601</c:v>
                </c:pt>
                <c:pt idx="3411">
                  <c:v>0.37067689850008473</c:v>
                </c:pt>
                <c:pt idx="3412">
                  <c:v>0.35417903158809561</c:v>
                </c:pt>
                <c:pt idx="3413">
                  <c:v>0.33575888974612744</c:v>
                </c:pt>
                <c:pt idx="3414">
                  <c:v>0.31493901229762444</c:v>
                </c:pt>
                <c:pt idx="3415">
                  <c:v>0.29179154733208695</c:v>
                </c:pt>
                <c:pt idx="3416">
                  <c:v>0.26621900828627548</c:v>
                </c:pt>
                <c:pt idx="3417">
                  <c:v>0.23754224779280664</c:v>
                </c:pt>
                <c:pt idx="3418">
                  <c:v>0.20469896064204182</c:v>
                </c:pt>
                <c:pt idx="3419">
                  <c:v>0.17704714970118668</c:v>
                </c:pt>
                <c:pt idx="3420">
                  <c:v>0.15878385291410496</c:v>
                </c:pt>
                <c:pt idx="3421">
                  <c:v>0.15736912541814291</c:v>
                </c:pt>
                <c:pt idx="3422">
                  <c:v>0.16387934651642691</c:v>
                </c:pt>
                <c:pt idx="3423">
                  <c:v>0.17437065379850269</c:v>
                </c:pt>
                <c:pt idx="3424">
                  <c:v>0.18135393262024049</c:v>
                </c:pt>
                <c:pt idx="3425">
                  <c:v>0.18706642014398994</c:v>
                </c:pt>
                <c:pt idx="3426">
                  <c:v>0.19322538986226878</c:v>
                </c:pt>
                <c:pt idx="3427">
                  <c:v>0.19911023072351902</c:v>
                </c:pt>
                <c:pt idx="3428">
                  <c:v>0.20348494212752746</c:v>
                </c:pt>
                <c:pt idx="3429">
                  <c:v>0.20748395266727038</c:v>
                </c:pt>
                <c:pt idx="3430">
                  <c:v>0.21056794002460127</c:v>
                </c:pt>
                <c:pt idx="3431">
                  <c:v>0.21290689211814359</c:v>
                </c:pt>
                <c:pt idx="3432">
                  <c:v>0.21494662929991307</c:v>
                </c:pt>
                <c:pt idx="3433">
                  <c:v>0.21664298097679469</c:v>
                </c:pt>
                <c:pt idx="3434">
                  <c:v>0.21747566554136633</c:v>
                </c:pt>
                <c:pt idx="3435">
                  <c:v>0.21699583102299846</c:v>
                </c:pt>
                <c:pt idx="3436">
                  <c:v>0.21714341273402749</c:v>
                </c:pt>
                <c:pt idx="3437">
                  <c:v>0.21788701410175254</c:v>
                </c:pt>
                <c:pt idx="3438">
                  <c:v>0.21697345886017072</c:v>
                </c:pt>
                <c:pt idx="3439">
                  <c:v>0.21489696753142831</c:v>
                </c:pt>
                <c:pt idx="3440">
                  <c:v>0.21182110729457759</c:v>
                </c:pt>
                <c:pt idx="3441">
                  <c:v>0.2072655695946832</c:v>
                </c:pt>
                <c:pt idx="3442">
                  <c:v>0.20125784561451207</c:v>
                </c:pt>
                <c:pt idx="3443">
                  <c:v>0.19386037996551003</c:v>
                </c:pt>
                <c:pt idx="3444">
                  <c:v>0.18576781451132413</c:v>
                </c:pt>
                <c:pt idx="3445">
                  <c:v>0.17912986100200937</c:v>
                </c:pt>
                <c:pt idx="3446">
                  <c:v>0.17284379502190456</c:v>
                </c:pt>
                <c:pt idx="3447">
                  <c:v>0.16580961310723905</c:v>
                </c:pt>
                <c:pt idx="3448">
                  <c:v>0.15802011425038676</c:v>
                </c:pt>
                <c:pt idx="3449">
                  <c:v>0.14881080023176721</c:v>
                </c:pt>
                <c:pt idx="3450">
                  <c:v>0.14026635361795112</c:v>
                </c:pt>
                <c:pt idx="3451">
                  <c:v>0.13030175801374388</c:v>
                </c:pt>
                <c:pt idx="3452">
                  <c:v>0.12115398578126015</c:v>
                </c:pt>
                <c:pt idx="3453">
                  <c:v>0.11057841105427188</c:v>
                </c:pt>
                <c:pt idx="3454">
                  <c:v>0.10185260977184568</c:v>
                </c:pt>
                <c:pt idx="3455">
                  <c:v>9.2805983101053563E-2</c:v>
                </c:pt>
                <c:pt idx="3456">
                  <c:v>8.5143195420009157E-2</c:v>
                </c:pt>
                <c:pt idx="3457">
                  <c:v>7.829964856734159E-2</c:v>
                </c:pt>
                <c:pt idx="3458">
                  <c:v>7.0752787631139041E-2</c:v>
                </c:pt>
                <c:pt idx="3459">
                  <c:v>6.3323275859639885E-2</c:v>
                </c:pt>
                <c:pt idx="3460">
                  <c:v>5.4774361473831475E-2</c:v>
                </c:pt>
                <c:pt idx="3461">
                  <c:v>4.6367972955985756E-2</c:v>
                </c:pt>
                <c:pt idx="3462">
                  <c:v>3.9894906603261594E-2</c:v>
                </c:pt>
                <c:pt idx="3463">
                  <c:v>3.8581262478226706E-2</c:v>
                </c:pt>
                <c:pt idx="3464">
                  <c:v>4.1200413391995774E-2</c:v>
                </c:pt>
                <c:pt idx="3465">
                  <c:v>4.7650657296465587E-2</c:v>
                </c:pt>
                <c:pt idx="3466">
                  <c:v>6.5634987144574081E-2</c:v>
                </c:pt>
                <c:pt idx="3467">
                  <c:v>9.3723983680606623E-2</c:v>
                </c:pt>
                <c:pt idx="3468">
                  <c:v>0.17529659015781721</c:v>
                </c:pt>
                <c:pt idx="3469">
                  <c:v>0.25602536006677656</c:v>
                </c:pt>
                <c:pt idx="3470">
                  <c:v>0.34028448376482995</c:v>
                </c:pt>
                <c:pt idx="3471">
                  <c:v>0.45659757230777442</c:v>
                </c:pt>
                <c:pt idx="3472">
                  <c:v>0.54473659237694272</c:v>
                </c:pt>
                <c:pt idx="3473">
                  <c:v>0.62742420029861878</c:v>
                </c:pt>
                <c:pt idx="3474">
                  <c:v>0.74930643357830817</c:v>
                </c:pt>
                <c:pt idx="3475">
                  <c:v>0.85538099258458744</c:v>
                </c:pt>
                <c:pt idx="3476">
                  <c:v>0.89021089876561643</c:v>
                </c:pt>
                <c:pt idx="3477">
                  <c:v>0.9216813875078772</c:v>
                </c:pt>
                <c:pt idx="3478">
                  <c:v>0.94819318891159232</c:v>
                </c:pt>
                <c:pt idx="3479">
                  <c:v>0.972273683516097</c:v>
                </c:pt>
                <c:pt idx="3480">
                  <c:v>0.99249122327006534</c:v>
                </c:pt>
                <c:pt idx="3481">
                  <c:v>1.0093718688542204</c:v>
                </c:pt>
                <c:pt idx="3482">
                  <c:v>1.0247098399972903</c:v>
                </c:pt>
                <c:pt idx="3483">
                  <c:v>1.0380279682478224</c:v>
                </c:pt>
                <c:pt idx="3484">
                  <c:v>1.0495091976721544</c:v>
                </c:pt>
                <c:pt idx="3485">
                  <c:v>1.0593767884988556</c:v>
                </c:pt>
                <c:pt idx="3486">
                  <c:v>1.0677781546087013</c:v>
                </c:pt>
                <c:pt idx="3487">
                  <c:v>1.0748716552156299</c:v>
                </c:pt>
                <c:pt idx="3488">
                  <c:v>1.0812540267540116</c:v>
                </c:pt>
                <c:pt idx="3489">
                  <c:v>1.0850413857070296</c:v>
                </c:pt>
                <c:pt idx="3490">
                  <c:v>1.0882450422384868</c:v>
                </c:pt>
                <c:pt idx="3491">
                  <c:v>1.0910323484454285</c:v>
                </c:pt>
                <c:pt idx="3492">
                  <c:v>1.0933217748186694</c:v>
                </c:pt>
                <c:pt idx="3493">
                  <c:v>1.0950021719619214</c:v>
                </c:pt>
                <c:pt idx="3494">
                  <c:v>1.0964411052467125</c:v>
                </c:pt>
                <c:pt idx="3495">
                  <c:v>1.0972874659328025</c:v>
                </c:pt>
                <c:pt idx="3496">
                  <c:v>1.0976044975694546</c:v>
                </c:pt>
                <c:pt idx="3497">
                  <c:v>1.0969026471704533</c:v>
                </c:pt>
                <c:pt idx="3498">
                  <c:v>1.0887259413356187</c:v>
                </c:pt>
                <c:pt idx="3499">
                  <c:v>1.0728491064760868</c:v>
                </c:pt>
                <c:pt idx="3500">
                  <c:v>1.0467804080205958</c:v>
                </c:pt>
                <c:pt idx="3501">
                  <c:v>0.99231172340589902</c:v>
                </c:pt>
                <c:pt idx="3502">
                  <c:v>0.93770979595255621</c:v>
                </c:pt>
                <c:pt idx="3503">
                  <c:v>0.87388198246544624</c:v>
                </c:pt>
                <c:pt idx="3504">
                  <c:v>0.73617104909571995</c:v>
                </c:pt>
                <c:pt idx="3505">
                  <c:v>0.53779202802141102</c:v>
                </c:pt>
                <c:pt idx="3506">
                  <c:v>0.5574197743108944</c:v>
                </c:pt>
                <c:pt idx="3507">
                  <c:v>0.5706372645290182</c:v>
                </c:pt>
                <c:pt idx="3508">
                  <c:v>0.58021188427051629</c:v>
                </c:pt>
                <c:pt idx="3509">
                  <c:v>0.58467807799822891</c:v>
                </c:pt>
                <c:pt idx="3510">
                  <c:v>0.58647799679172286</c:v>
                </c:pt>
                <c:pt idx="3511">
                  <c:v>0.5860191415880478</c:v>
                </c:pt>
                <c:pt idx="3512">
                  <c:v>0.58161540001349687</c:v>
                </c:pt>
                <c:pt idx="3513">
                  <c:v>0.57438045800751492</c:v>
                </c:pt>
                <c:pt idx="3514">
                  <c:v>0.56455009311809767</c:v>
                </c:pt>
                <c:pt idx="3515">
                  <c:v>0.55221449692247648</c:v>
                </c:pt>
                <c:pt idx="3516">
                  <c:v>0.53753271853220319</c:v>
                </c:pt>
                <c:pt idx="3517">
                  <c:v>0.52058402504214984</c:v>
                </c:pt>
                <c:pt idx="3518">
                  <c:v>0.50005623093853313</c:v>
                </c:pt>
                <c:pt idx="3519">
                  <c:v>0.48239359854518715</c:v>
                </c:pt>
                <c:pt idx="3520">
                  <c:v>0.46293712637847201</c:v>
                </c:pt>
                <c:pt idx="3521">
                  <c:v>0.44043262769141223</c:v>
                </c:pt>
                <c:pt idx="3522">
                  <c:v>0.4159255875786253</c:v>
                </c:pt>
                <c:pt idx="3523">
                  <c:v>0.39089236305169983</c:v>
                </c:pt>
                <c:pt idx="3524">
                  <c:v>0.3622254641835107</c:v>
                </c:pt>
                <c:pt idx="3525">
                  <c:v>0.33279537818678995</c:v>
                </c:pt>
                <c:pt idx="3526">
                  <c:v>0.300790491561788</c:v>
                </c:pt>
                <c:pt idx="3527">
                  <c:v>0.26556134722884367</c:v>
                </c:pt>
                <c:pt idx="3528">
                  <c:v>0.22339021969281245</c:v>
                </c:pt>
                <c:pt idx="3529">
                  <c:v>0.1692622029219451</c:v>
                </c:pt>
                <c:pt idx="3530">
                  <c:v>0.12345391912235958</c:v>
                </c:pt>
                <c:pt idx="3531">
                  <c:v>4.174960422327692E-2</c:v>
                </c:pt>
                <c:pt idx="3532">
                  <c:v>2.8907585812908551E-13</c:v>
                </c:pt>
                <c:pt idx="3533">
                  <c:v>2.8907585812908551E-13</c:v>
                </c:pt>
                <c:pt idx="3534">
                  <c:v>2.8907585812908551E-13</c:v>
                </c:pt>
                <c:pt idx="3535">
                  <c:v>2.8907585812908551E-13</c:v>
                </c:pt>
                <c:pt idx="3536">
                  <c:v>2.8907585812908551E-13</c:v>
                </c:pt>
                <c:pt idx="3537">
                  <c:v>8.6566053105375101E-2</c:v>
                </c:pt>
                <c:pt idx="3538">
                  <c:v>0.12904583605355158</c:v>
                </c:pt>
                <c:pt idx="3539">
                  <c:v>0.17411477060938013</c:v>
                </c:pt>
                <c:pt idx="3540">
                  <c:v>0.21425501557786344</c:v>
                </c:pt>
                <c:pt idx="3541">
                  <c:v>0.25177999941571039</c:v>
                </c:pt>
                <c:pt idx="3542">
                  <c:v>0.28744341154751002</c:v>
                </c:pt>
                <c:pt idx="3543">
                  <c:v>0.3191320836282161</c:v>
                </c:pt>
                <c:pt idx="3544">
                  <c:v>0.34520759206710949</c:v>
                </c:pt>
                <c:pt idx="3545">
                  <c:v>0.36502033964704245</c:v>
                </c:pt>
                <c:pt idx="3546">
                  <c:v>0.38139567064439767</c:v>
                </c:pt>
                <c:pt idx="3547">
                  <c:v>0.39188031793255951</c:v>
                </c:pt>
                <c:pt idx="3548">
                  <c:v>0.39768081052677945</c:v>
                </c:pt>
                <c:pt idx="3549">
                  <c:v>0.40166676380764527</c:v>
                </c:pt>
                <c:pt idx="3550">
                  <c:v>0.3968821489112303</c:v>
                </c:pt>
                <c:pt idx="3551">
                  <c:v>0.39208896812916383</c:v>
                </c:pt>
                <c:pt idx="3552">
                  <c:v>0.38837930727571512</c:v>
                </c:pt>
                <c:pt idx="3553">
                  <c:v>0.38586435974059013</c:v>
                </c:pt>
                <c:pt idx="3554">
                  <c:v>0.38406220288257631</c:v>
                </c:pt>
                <c:pt idx="3555">
                  <c:v>0.38312295463690033</c:v>
                </c:pt>
                <c:pt idx="3556">
                  <c:v>0.38309248315987449</c:v>
                </c:pt>
                <c:pt idx="3557">
                  <c:v>0.38309248315987449</c:v>
                </c:pt>
                <c:pt idx="3558">
                  <c:v>0.3829688349971761</c:v>
                </c:pt>
                <c:pt idx="3559">
                  <c:v>0.38220912426512754</c:v>
                </c:pt>
                <c:pt idx="3560">
                  <c:v>0.38039815981518227</c:v>
                </c:pt>
                <c:pt idx="3561">
                  <c:v>0.37845024361050583</c:v>
                </c:pt>
                <c:pt idx="3562">
                  <c:v>0.37532834523148112</c:v>
                </c:pt>
                <c:pt idx="3563">
                  <c:v>0.37176000113779634</c:v>
                </c:pt>
                <c:pt idx="3564">
                  <c:v>0.36722109074923226</c:v>
                </c:pt>
                <c:pt idx="3565">
                  <c:v>0.36228799239224219</c:v>
                </c:pt>
                <c:pt idx="3566">
                  <c:v>0.35656391494268858</c:v>
                </c:pt>
                <c:pt idx="3567">
                  <c:v>0.3577912545481951</c:v>
                </c:pt>
                <c:pt idx="3568">
                  <c:v>0.35795304650128845</c:v>
                </c:pt>
                <c:pt idx="3569">
                  <c:v>0.35448252521977108</c:v>
                </c:pt>
                <c:pt idx="3570">
                  <c:v>0.34774985392531182</c:v>
                </c:pt>
                <c:pt idx="3571">
                  <c:v>0.33677327605748059</c:v>
                </c:pt>
                <c:pt idx="3572">
                  <c:v>0.32022739607533068</c:v>
                </c:pt>
                <c:pt idx="3573">
                  <c:v>0.29851385467579278</c:v>
                </c:pt>
                <c:pt idx="3574">
                  <c:v>0.27334689483629759</c:v>
                </c:pt>
                <c:pt idx="3575">
                  <c:v>0.24653255362284546</c:v>
                </c:pt>
                <c:pt idx="3576">
                  <c:v>0.21475223109546052</c:v>
                </c:pt>
                <c:pt idx="3577">
                  <c:v>0.18267297921120904</c:v>
                </c:pt>
                <c:pt idx="3578">
                  <c:v>0.1543655211050334</c:v>
                </c:pt>
                <c:pt idx="3579">
                  <c:v>0.11912137020808498</c:v>
                </c:pt>
                <c:pt idx="3580">
                  <c:v>0.12697986917909099</c:v>
                </c:pt>
                <c:pt idx="3581">
                  <c:v>0.13751839379026845</c:v>
                </c:pt>
                <c:pt idx="3582">
                  <c:v>0.14965447961400069</c:v>
                </c:pt>
                <c:pt idx="3583">
                  <c:v>0.16165480010352376</c:v>
                </c:pt>
                <c:pt idx="3584">
                  <c:v>0.17062236096307062</c:v>
                </c:pt>
                <c:pt idx="3585">
                  <c:v>0.17932642398713244</c:v>
                </c:pt>
                <c:pt idx="3586">
                  <c:v>0.18672955137281746</c:v>
                </c:pt>
                <c:pt idx="3587">
                  <c:v>0.19148673162658605</c:v>
                </c:pt>
                <c:pt idx="3588">
                  <c:v>0.19400134692325544</c:v>
                </c:pt>
                <c:pt idx="3589">
                  <c:v>0.19554894840114515</c:v>
                </c:pt>
                <c:pt idx="3590">
                  <c:v>0.19686574326126494</c:v>
                </c:pt>
                <c:pt idx="3591">
                  <c:v>0.19660709260888898</c:v>
                </c:pt>
                <c:pt idx="3592">
                  <c:v>0.19676606116891499</c:v>
                </c:pt>
                <c:pt idx="3593">
                  <c:v>0.19599184535511405</c:v>
                </c:pt>
                <c:pt idx="3594">
                  <c:v>0.19558525639090191</c:v>
                </c:pt>
                <c:pt idx="3595">
                  <c:v>0.19412761762912165</c:v>
                </c:pt>
                <c:pt idx="3596">
                  <c:v>0.192978925504176</c:v>
                </c:pt>
                <c:pt idx="3597">
                  <c:v>0.19084975739896276</c:v>
                </c:pt>
                <c:pt idx="3598">
                  <c:v>0.18746507820794867</c:v>
                </c:pt>
                <c:pt idx="3599">
                  <c:v>0.18322054571000321</c:v>
                </c:pt>
                <c:pt idx="3600">
                  <c:v>0.17767395386938298</c:v>
                </c:pt>
                <c:pt idx="3601">
                  <c:v>0.17039857151077295</c:v>
                </c:pt>
                <c:pt idx="3602">
                  <c:v>0.16152881879637065</c:v>
                </c:pt>
                <c:pt idx="3603">
                  <c:v>0.15317626008605831</c:v>
                </c:pt>
                <c:pt idx="3604">
                  <c:v>0.14598575604541089</c:v>
                </c:pt>
                <c:pt idx="3605">
                  <c:v>0.1371731872104375</c:v>
                </c:pt>
                <c:pt idx="3606">
                  <c:v>0.12608175900110363</c:v>
                </c:pt>
                <c:pt idx="3607">
                  <c:v>0.11203008378949296</c:v>
                </c:pt>
                <c:pt idx="3608">
                  <c:v>0.10528262848976144</c:v>
                </c:pt>
                <c:pt idx="3609">
                  <c:v>9.7376655611073365E-2</c:v>
                </c:pt>
                <c:pt idx="3610">
                  <c:v>8.7638412815137276E-2</c:v>
                </c:pt>
                <c:pt idx="3611">
                  <c:v>7.9630027864870126E-2</c:v>
                </c:pt>
                <c:pt idx="3612">
                  <c:v>7.3863628067814061E-2</c:v>
                </c:pt>
                <c:pt idx="3613">
                  <c:v>7.0376390853317081E-2</c:v>
                </c:pt>
                <c:pt idx="3614">
                  <c:v>6.6403497094479333E-2</c:v>
                </c:pt>
                <c:pt idx="3615">
                  <c:v>6.5520418928336766E-2</c:v>
                </c:pt>
                <c:pt idx="3616">
                  <c:v>6.6567042289246856E-2</c:v>
                </c:pt>
                <c:pt idx="3617">
                  <c:v>6.7467322913621841E-2</c:v>
                </c:pt>
                <c:pt idx="3618">
                  <c:v>6.79905518362625E-2</c:v>
                </c:pt>
                <c:pt idx="3619">
                  <c:v>6.85793383773598E-2</c:v>
                </c:pt>
                <c:pt idx="3620">
                  <c:v>6.8792551102783331E-2</c:v>
                </c:pt>
                <c:pt idx="3621">
                  <c:v>6.8877913109576264E-2</c:v>
                </c:pt>
                <c:pt idx="3622">
                  <c:v>6.8433359693852905E-2</c:v>
                </c:pt>
                <c:pt idx="3623">
                  <c:v>6.7848041673804191E-2</c:v>
                </c:pt>
                <c:pt idx="3624">
                  <c:v>6.6894713318496515E-2</c:v>
                </c:pt>
                <c:pt idx="3625">
                  <c:v>6.5309432668439624E-2</c:v>
                </c:pt>
                <c:pt idx="3626">
                  <c:v>0.35564125163759147</c:v>
                </c:pt>
                <c:pt idx="3627">
                  <c:v>0.48472610782022224</c:v>
                </c:pt>
                <c:pt idx="3628">
                  <c:v>0.48440297280621231</c:v>
                </c:pt>
                <c:pt idx="3629">
                  <c:v>0.48413631613354491</c:v>
                </c:pt>
                <c:pt idx="3630">
                  <c:v>0.48385937648108446</c:v>
                </c:pt>
                <c:pt idx="3631">
                  <c:v>0.4835766261653679</c:v>
                </c:pt>
                <c:pt idx="3632">
                  <c:v>0.48326171696884246</c:v>
                </c:pt>
                <c:pt idx="3633">
                  <c:v>0.48295010542347588</c:v>
                </c:pt>
                <c:pt idx="3634">
                  <c:v>0.48277778539335503</c:v>
                </c:pt>
                <c:pt idx="3635">
                  <c:v>0.48259304123957164</c:v>
                </c:pt>
                <c:pt idx="3636">
                  <c:v>0.48239938363694551</c:v>
                </c:pt>
                <c:pt idx="3637">
                  <c:v>0.4821984574456189</c:v>
                </c:pt>
                <c:pt idx="3638">
                  <c:v>0.48199229054463166</c:v>
                </c:pt>
                <c:pt idx="3639">
                  <c:v>0.48180424717907233</c:v>
                </c:pt>
                <c:pt idx="3640">
                  <c:v>0.48163685860757188</c:v>
                </c:pt>
                <c:pt idx="3641">
                  <c:v>0.48147015494946632</c:v>
                </c:pt>
                <c:pt idx="3642">
                  <c:v>0.48132489635345166</c:v>
                </c:pt>
                <c:pt idx="3643">
                  <c:v>0.48118431955563573</c:v>
                </c:pt>
                <c:pt idx="3644">
                  <c:v>0.48108264677546964</c:v>
                </c:pt>
                <c:pt idx="3645">
                  <c:v>0.48101510102872919</c:v>
                </c:pt>
                <c:pt idx="3646">
                  <c:v>0.48096534295360061</c:v>
                </c:pt>
                <c:pt idx="3647">
                  <c:v>0.48093114798307945</c:v>
                </c:pt>
                <c:pt idx="3648">
                  <c:v>0.48090302847905159</c:v>
                </c:pt>
                <c:pt idx="3649">
                  <c:v>0.48088705763843104</c:v>
                </c:pt>
                <c:pt idx="3650">
                  <c:v>0.48087546342754395</c:v>
                </c:pt>
                <c:pt idx="3651">
                  <c:v>0.48086793855902132</c:v>
                </c:pt>
                <c:pt idx="3652">
                  <c:v>0.48085988632195092</c:v>
                </c:pt>
                <c:pt idx="3653">
                  <c:v>0.48085790351073093</c:v>
                </c:pt>
                <c:pt idx="3654">
                  <c:v>0.48085738960730545</c:v>
                </c:pt>
                <c:pt idx="3655">
                  <c:v>0.48085738960730545</c:v>
                </c:pt>
                <c:pt idx="3656">
                  <c:v>0.33430093434694019</c:v>
                </c:pt>
                <c:pt idx="3657">
                  <c:v>3.133155603133826E-4</c:v>
                </c:pt>
                <c:pt idx="3658">
                  <c:v>0</c:v>
                </c:pt>
                <c:pt idx="3659">
                  <c:v>0</c:v>
                </c:pt>
                <c:pt idx="3660">
                  <c:v>0</c:v>
                </c:pt>
                <c:pt idx="3661">
                  <c:v>0</c:v>
                </c:pt>
                <c:pt idx="3662">
                  <c:v>0</c:v>
                </c:pt>
                <c:pt idx="3663">
                  <c:v>0</c:v>
                </c:pt>
                <c:pt idx="3664">
                  <c:v>0</c:v>
                </c:pt>
                <c:pt idx="3665">
                  <c:v>0</c:v>
                </c:pt>
                <c:pt idx="3666">
                  <c:v>0</c:v>
                </c:pt>
                <c:pt idx="3667">
                  <c:v>0</c:v>
                </c:pt>
                <c:pt idx="3668">
                  <c:v>0</c:v>
                </c:pt>
                <c:pt idx="3669">
                  <c:v>0</c:v>
                </c:pt>
                <c:pt idx="3670">
                  <c:v>0</c:v>
                </c:pt>
                <c:pt idx="3671">
                  <c:v>0</c:v>
                </c:pt>
                <c:pt idx="3672">
                  <c:v>0</c:v>
                </c:pt>
                <c:pt idx="3673">
                  <c:v>0</c:v>
                </c:pt>
                <c:pt idx="3674">
                  <c:v>0</c:v>
                </c:pt>
                <c:pt idx="3675">
                  <c:v>0</c:v>
                </c:pt>
                <c:pt idx="3676">
                  <c:v>0</c:v>
                </c:pt>
                <c:pt idx="3677">
                  <c:v>0</c:v>
                </c:pt>
                <c:pt idx="3678">
                  <c:v>0</c:v>
                </c:pt>
                <c:pt idx="3679">
                  <c:v>0</c:v>
                </c:pt>
                <c:pt idx="3680">
                  <c:v>0</c:v>
                </c:pt>
                <c:pt idx="3681">
                  <c:v>0</c:v>
                </c:pt>
                <c:pt idx="3682">
                  <c:v>0</c:v>
                </c:pt>
                <c:pt idx="3683">
                  <c:v>0</c:v>
                </c:pt>
                <c:pt idx="3684">
                  <c:v>0</c:v>
                </c:pt>
                <c:pt idx="3685">
                  <c:v>0</c:v>
                </c:pt>
                <c:pt idx="3686">
                  <c:v>0</c:v>
                </c:pt>
                <c:pt idx="3687">
                  <c:v>0</c:v>
                </c:pt>
                <c:pt idx="3688">
                  <c:v>0</c:v>
                </c:pt>
                <c:pt idx="3689">
                  <c:v>0</c:v>
                </c:pt>
                <c:pt idx="3690">
                  <c:v>2.6902306282850438E-3</c:v>
                </c:pt>
                <c:pt idx="3691">
                  <c:v>2.1310114633757631E-2</c:v>
                </c:pt>
                <c:pt idx="3692">
                  <c:v>5.1447386290007321E-2</c:v>
                </c:pt>
                <c:pt idx="3693">
                  <c:v>7.2084159322100647E-2</c:v>
                </c:pt>
                <c:pt idx="3694">
                  <c:v>8.6922739335061006E-2</c:v>
                </c:pt>
                <c:pt idx="3695">
                  <c:v>9.9882527788266132E-2</c:v>
                </c:pt>
                <c:pt idx="3696">
                  <c:v>0.11151043376321398</c:v>
                </c:pt>
                <c:pt idx="3697">
                  <c:v>0.1269396213579857</c:v>
                </c:pt>
                <c:pt idx="3698">
                  <c:v>0.14177827910951496</c:v>
                </c:pt>
                <c:pt idx="3699">
                  <c:v>0.15842343603424727</c:v>
                </c:pt>
                <c:pt idx="3700">
                  <c:v>0.17417952178546928</c:v>
                </c:pt>
                <c:pt idx="3701">
                  <c:v>0.20998878112144304</c:v>
                </c:pt>
                <c:pt idx="3702">
                  <c:v>0.24709762681608924</c:v>
                </c:pt>
                <c:pt idx="3703">
                  <c:v>0.27622437107362097</c:v>
                </c:pt>
                <c:pt idx="3704">
                  <c:v>0.30075391389950745</c:v>
                </c:pt>
                <c:pt idx="3705">
                  <c:v>0.32159230625765117</c:v>
                </c:pt>
                <c:pt idx="3706">
                  <c:v>0.33934697188150842</c:v>
                </c:pt>
                <c:pt idx="3707">
                  <c:v>0.33693117563939928</c:v>
                </c:pt>
                <c:pt idx="3708">
                  <c:v>0.33480155697072972</c:v>
                </c:pt>
                <c:pt idx="3709">
                  <c:v>0.34020833794287531</c:v>
                </c:pt>
                <c:pt idx="3710">
                  <c:v>0.3564576415743515</c:v>
                </c:pt>
                <c:pt idx="3711">
                  <c:v>0.40227830275821053</c:v>
                </c:pt>
                <c:pt idx="3712">
                  <c:v>0.46046471844154202</c:v>
                </c:pt>
                <c:pt idx="3713">
                  <c:v>0.57043319783953172</c:v>
                </c:pt>
                <c:pt idx="3714">
                  <c:v>0.67793067423689912</c:v>
                </c:pt>
                <c:pt idx="3715">
                  <c:v>0.68451956857935881</c:v>
                </c:pt>
                <c:pt idx="3716">
                  <c:v>0.69840416984609721</c:v>
                </c:pt>
                <c:pt idx="3717">
                  <c:v>0.69838069625727739</c:v>
                </c:pt>
                <c:pt idx="3718">
                  <c:v>0.69838069625727739</c:v>
                </c:pt>
                <c:pt idx="3719">
                  <c:v>0.69874587440485247</c:v>
                </c:pt>
                <c:pt idx="3720">
                  <c:v>0.69923669511603048</c:v>
                </c:pt>
                <c:pt idx="3721">
                  <c:v>0.70062557954939297</c:v>
                </c:pt>
                <c:pt idx="3722">
                  <c:v>0.70219047245589283</c:v>
                </c:pt>
                <c:pt idx="3723">
                  <c:v>0.70593014849250746</c:v>
                </c:pt>
                <c:pt idx="3724">
                  <c:v>0.7128766141826699</c:v>
                </c:pt>
                <c:pt idx="3725">
                  <c:v>0.71977674535180414</c:v>
                </c:pt>
                <c:pt idx="3726">
                  <c:v>0.72886628558605737</c:v>
                </c:pt>
                <c:pt idx="3727">
                  <c:v>0.73787838088497737</c:v>
                </c:pt>
                <c:pt idx="3728">
                  <c:v>0.74440536200177532</c:v>
                </c:pt>
                <c:pt idx="3729">
                  <c:v>0.7487682295089586</c:v>
                </c:pt>
                <c:pt idx="3730">
                  <c:v>0.75130910253955341</c:v>
                </c:pt>
                <c:pt idx="3731">
                  <c:v>0.7428557908925949</c:v>
                </c:pt>
                <c:pt idx="3732">
                  <c:v>0.7265911506828</c:v>
                </c:pt>
                <c:pt idx="3733">
                  <c:v>0.7075235841983134</c:v>
                </c:pt>
                <c:pt idx="3734">
                  <c:v>0.68409727466367187</c:v>
                </c:pt>
                <c:pt idx="3735">
                  <c:v>0.65533579640531725</c:v>
                </c:pt>
                <c:pt idx="3736">
                  <c:v>0.6181505772095145</c:v>
                </c:pt>
                <c:pt idx="3737">
                  <c:v>0.60402926597528217</c:v>
                </c:pt>
                <c:pt idx="3738">
                  <c:v>0.60645033906058976</c:v>
                </c:pt>
                <c:pt idx="3739">
                  <c:v>0.62127516660383775</c:v>
                </c:pt>
                <c:pt idx="3740">
                  <c:v>0.6540163720255765</c:v>
                </c:pt>
                <c:pt idx="3741">
                  <c:v>0.68726554979121313</c:v>
                </c:pt>
                <c:pt idx="3742">
                  <c:v>0.68643801098176738</c:v>
                </c:pt>
                <c:pt idx="3743">
                  <c:v>0.66586759244116289</c:v>
                </c:pt>
                <c:pt idx="3744">
                  <c:v>0.63155493958822562</c:v>
                </c:pt>
                <c:pt idx="3745">
                  <c:v>0.58271323133603381</c:v>
                </c:pt>
                <c:pt idx="3746">
                  <c:v>0.49662461732704299</c:v>
                </c:pt>
                <c:pt idx="3747">
                  <c:v>0.47542786605344117</c:v>
                </c:pt>
                <c:pt idx="3748">
                  <c:v>0.45127688085581891</c:v>
                </c:pt>
                <c:pt idx="3749">
                  <c:v>0.42616483930370069</c:v>
                </c:pt>
                <c:pt idx="3750">
                  <c:v>0.39735652090734885</c:v>
                </c:pt>
                <c:pt idx="3751">
                  <c:v>0.36700112617547448</c:v>
                </c:pt>
                <c:pt idx="3752">
                  <c:v>0.33515254168460423</c:v>
                </c:pt>
                <c:pt idx="3753">
                  <c:v>0.31142691957461804</c:v>
                </c:pt>
                <c:pt idx="3754">
                  <c:v>0.2961524178775839</c:v>
                </c:pt>
                <c:pt idx="3755">
                  <c:v>0.28172441751492117</c:v>
                </c:pt>
                <c:pt idx="3756">
                  <c:v>0.27279374718902161</c:v>
                </c:pt>
                <c:pt idx="3757">
                  <c:v>0.26700311043940506</c:v>
                </c:pt>
                <c:pt idx="3758">
                  <c:v>0.26089002080235835</c:v>
                </c:pt>
                <c:pt idx="3759">
                  <c:v>0.25606155410680953</c:v>
                </c:pt>
                <c:pt idx="3760">
                  <c:v>0.25258977168576791</c:v>
                </c:pt>
                <c:pt idx="3761">
                  <c:v>0.25028050703646992</c:v>
                </c:pt>
                <c:pt idx="3762">
                  <c:v>0.24904371213919846</c:v>
                </c:pt>
                <c:pt idx="3763">
                  <c:v>0.24934201448686713</c:v>
                </c:pt>
                <c:pt idx="3764">
                  <c:v>0.25023690664229492</c:v>
                </c:pt>
                <c:pt idx="3765">
                  <c:v>0.25071117744228794</c:v>
                </c:pt>
                <c:pt idx="3766">
                  <c:v>0.25047095788797646</c:v>
                </c:pt>
                <c:pt idx="3767">
                  <c:v>0.24803769186621158</c:v>
                </c:pt>
                <c:pt idx="3768">
                  <c:v>0.24375869983375256</c:v>
                </c:pt>
                <c:pt idx="3769">
                  <c:v>0.22720355554697114</c:v>
                </c:pt>
                <c:pt idx="3770">
                  <c:v>0.16716492455057377</c:v>
                </c:pt>
                <c:pt idx="3771">
                  <c:v>9.8295549931765674E-2</c:v>
                </c:pt>
                <c:pt idx="3772">
                  <c:v>0.32625798657264632</c:v>
                </c:pt>
                <c:pt idx="3773">
                  <c:v>0.4568142685193825</c:v>
                </c:pt>
                <c:pt idx="3774">
                  <c:v>0.49521345156609087</c:v>
                </c:pt>
                <c:pt idx="3775">
                  <c:v>0.69037905862344773</c:v>
                </c:pt>
                <c:pt idx="3776">
                  <c:v>0.77600962921889893</c:v>
                </c:pt>
                <c:pt idx="3777">
                  <c:v>0.8044497678067376</c:v>
                </c:pt>
                <c:pt idx="3778">
                  <c:v>0.83075913059697648</c:v>
                </c:pt>
                <c:pt idx="3779">
                  <c:v>0.8551344087792534</c:v>
                </c:pt>
                <c:pt idx="3780">
                  <c:v>0.87773674922969436</c:v>
                </c:pt>
                <c:pt idx="3781">
                  <c:v>0.88829340468225326</c:v>
                </c:pt>
                <c:pt idx="3782">
                  <c:v>0.89765348852453386</c:v>
                </c:pt>
                <c:pt idx="3783">
                  <c:v>0.90585409361725522</c:v>
                </c:pt>
                <c:pt idx="3784">
                  <c:v>0.91292646647504405</c:v>
                </c:pt>
                <c:pt idx="3785">
                  <c:v>0.91889665809745924</c:v>
                </c:pt>
                <c:pt idx="3786">
                  <c:v>0.92378603807339754</c:v>
                </c:pt>
                <c:pt idx="3787">
                  <c:v>0.92761169722066872</c:v>
                </c:pt>
                <c:pt idx="3788">
                  <c:v>0.93038675737914034</c:v>
                </c:pt>
                <c:pt idx="3789">
                  <c:v>0.93212060195928037</c:v>
                </c:pt>
                <c:pt idx="3790">
                  <c:v>0.93281903694767521</c:v>
                </c:pt>
                <c:pt idx="3791">
                  <c:v>0.93248438892650765</c:v>
                </c:pt>
                <c:pt idx="3792">
                  <c:v>0.93111554400938656</c:v>
                </c:pt>
                <c:pt idx="3793">
                  <c:v>0.92870792922465428</c:v>
                </c:pt>
                <c:pt idx="3794">
                  <c:v>0.92525343561544982</c:v>
                </c:pt>
                <c:pt idx="3795">
                  <c:v>0.92074028001181663</c:v>
                </c:pt>
                <c:pt idx="3796">
                  <c:v>0.91515279989676113</c:v>
                </c:pt>
                <c:pt idx="3797">
                  <c:v>0.90847117284266199</c:v>
                </c:pt>
                <c:pt idx="3798">
                  <c:v>0.90067104839556156</c:v>
                </c:pt>
                <c:pt idx="3799">
                  <c:v>0.891723075710389</c:v>
                </c:pt>
                <c:pt idx="3800">
                  <c:v>0.88159230424013446</c:v>
                </c:pt>
                <c:pt idx="3801">
                  <c:v>0.88104803993638559</c:v>
                </c:pt>
                <c:pt idx="3802">
                  <c:v>0.86309937500554113</c:v>
                </c:pt>
                <c:pt idx="3803">
                  <c:v>0.83916494857460444</c:v>
                </c:pt>
                <c:pt idx="3804">
                  <c:v>0.78124036913601813</c:v>
                </c:pt>
                <c:pt idx="3805">
                  <c:v>0.68773212676389017</c:v>
                </c:pt>
                <c:pt idx="3806">
                  <c:v>0.63309532415842451</c:v>
                </c:pt>
                <c:pt idx="3807">
                  <c:v>0.55872093666602674</c:v>
                </c:pt>
                <c:pt idx="3808">
                  <c:v>0.46456495996037694</c:v>
                </c:pt>
                <c:pt idx="3809">
                  <c:v>0.33431159168256847</c:v>
                </c:pt>
                <c:pt idx="3810">
                  <c:v>0</c:v>
                </c:pt>
                <c:pt idx="3811">
                  <c:v>0</c:v>
                </c:pt>
                <c:pt idx="3812">
                  <c:v>0</c:v>
                </c:pt>
                <c:pt idx="3813">
                  <c:v>0</c:v>
                </c:pt>
                <c:pt idx="3814">
                  <c:v>0</c:v>
                </c:pt>
                <c:pt idx="3815">
                  <c:v>0</c:v>
                </c:pt>
                <c:pt idx="3816">
                  <c:v>0</c:v>
                </c:pt>
                <c:pt idx="3817">
                  <c:v>0</c:v>
                </c:pt>
                <c:pt idx="3818">
                  <c:v>0</c:v>
                </c:pt>
                <c:pt idx="3819">
                  <c:v>0</c:v>
                </c:pt>
                <c:pt idx="3820">
                  <c:v>0</c:v>
                </c:pt>
                <c:pt idx="3821">
                  <c:v>0</c:v>
                </c:pt>
                <c:pt idx="3822">
                  <c:v>0</c:v>
                </c:pt>
                <c:pt idx="3823">
                  <c:v>0</c:v>
                </c:pt>
                <c:pt idx="3824">
                  <c:v>0</c:v>
                </c:pt>
                <c:pt idx="3825">
                  <c:v>0</c:v>
                </c:pt>
                <c:pt idx="3826">
                  <c:v>0</c:v>
                </c:pt>
                <c:pt idx="3827">
                  <c:v>0</c:v>
                </c:pt>
                <c:pt idx="3828">
                  <c:v>0</c:v>
                </c:pt>
                <c:pt idx="3829">
                  <c:v>0</c:v>
                </c:pt>
                <c:pt idx="3830">
                  <c:v>0</c:v>
                </c:pt>
                <c:pt idx="3831">
                  <c:v>0</c:v>
                </c:pt>
                <c:pt idx="3832">
                  <c:v>0</c:v>
                </c:pt>
                <c:pt idx="3833">
                  <c:v>0</c:v>
                </c:pt>
                <c:pt idx="3834">
                  <c:v>0</c:v>
                </c:pt>
                <c:pt idx="3835">
                  <c:v>0</c:v>
                </c:pt>
                <c:pt idx="3836">
                  <c:v>0</c:v>
                </c:pt>
                <c:pt idx="3837">
                  <c:v>0</c:v>
                </c:pt>
                <c:pt idx="3838">
                  <c:v>0</c:v>
                </c:pt>
                <c:pt idx="3839">
                  <c:v>0</c:v>
                </c:pt>
                <c:pt idx="3840">
                  <c:v>0.33429333426398955</c:v>
                </c:pt>
                <c:pt idx="3841">
                  <c:v>0.33429333426398949</c:v>
                </c:pt>
                <c:pt idx="3842">
                  <c:v>0.33429333426398949</c:v>
                </c:pt>
                <c:pt idx="3843">
                  <c:v>0.33429333426398949</c:v>
                </c:pt>
                <c:pt idx="3844">
                  <c:v>0.33429333426398949</c:v>
                </c:pt>
                <c:pt idx="3845">
                  <c:v>0.33429333426398949</c:v>
                </c:pt>
                <c:pt idx="3846">
                  <c:v>0.33429333426398949</c:v>
                </c:pt>
                <c:pt idx="3847">
                  <c:v>0.33429333426398949</c:v>
                </c:pt>
                <c:pt idx="3848">
                  <c:v>0.33429333426398949</c:v>
                </c:pt>
                <c:pt idx="3849">
                  <c:v>0.33429333426398949</c:v>
                </c:pt>
                <c:pt idx="3850">
                  <c:v>0.33429333426398949</c:v>
                </c:pt>
                <c:pt idx="3851">
                  <c:v>0.33429333426398949</c:v>
                </c:pt>
                <c:pt idx="3852">
                  <c:v>0.33429333426398949</c:v>
                </c:pt>
                <c:pt idx="3853">
                  <c:v>0.33429333426398949</c:v>
                </c:pt>
                <c:pt idx="3854">
                  <c:v>0.33429333426398949</c:v>
                </c:pt>
                <c:pt idx="3855">
                  <c:v>0.33429333426398949</c:v>
                </c:pt>
                <c:pt idx="3856">
                  <c:v>0.33429333426398949</c:v>
                </c:pt>
                <c:pt idx="3857">
                  <c:v>0.33429333426398949</c:v>
                </c:pt>
                <c:pt idx="3858">
                  <c:v>0.33429333426398949</c:v>
                </c:pt>
                <c:pt idx="3859">
                  <c:v>0.33429333426398949</c:v>
                </c:pt>
                <c:pt idx="3860">
                  <c:v>0.33429333426398944</c:v>
                </c:pt>
                <c:pt idx="3861">
                  <c:v>0.33429333426398944</c:v>
                </c:pt>
                <c:pt idx="3862">
                  <c:v>0.33429333426398944</c:v>
                </c:pt>
                <c:pt idx="3863">
                  <c:v>0.33429333426398944</c:v>
                </c:pt>
                <c:pt idx="3864">
                  <c:v>0.33429333426398944</c:v>
                </c:pt>
                <c:pt idx="3865">
                  <c:v>0.33429333426398944</c:v>
                </c:pt>
                <c:pt idx="3866">
                  <c:v>0.33429333426398944</c:v>
                </c:pt>
                <c:pt idx="3867">
                  <c:v>0.33429333426398944</c:v>
                </c:pt>
                <c:pt idx="3868">
                  <c:v>0.33429333426398944</c:v>
                </c:pt>
                <c:pt idx="3869">
                  <c:v>0.33429333426398944</c:v>
                </c:pt>
                <c:pt idx="3870">
                  <c:v>0</c:v>
                </c:pt>
                <c:pt idx="3871">
                  <c:v>0</c:v>
                </c:pt>
                <c:pt idx="3872">
                  <c:v>0</c:v>
                </c:pt>
                <c:pt idx="3873">
                  <c:v>0</c:v>
                </c:pt>
                <c:pt idx="3874">
                  <c:v>0</c:v>
                </c:pt>
                <c:pt idx="3875">
                  <c:v>0</c:v>
                </c:pt>
                <c:pt idx="3876">
                  <c:v>0</c:v>
                </c:pt>
                <c:pt idx="3877">
                  <c:v>0</c:v>
                </c:pt>
                <c:pt idx="3878">
                  <c:v>0</c:v>
                </c:pt>
                <c:pt idx="3879">
                  <c:v>0</c:v>
                </c:pt>
                <c:pt idx="3880">
                  <c:v>0</c:v>
                </c:pt>
                <c:pt idx="3881">
                  <c:v>0</c:v>
                </c:pt>
                <c:pt idx="3882">
                  <c:v>0</c:v>
                </c:pt>
                <c:pt idx="3883">
                  <c:v>0</c:v>
                </c:pt>
                <c:pt idx="3884">
                  <c:v>0</c:v>
                </c:pt>
                <c:pt idx="3885">
                  <c:v>0</c:v>
                </c:pt>
                <c:pt idx="3886">
                  <c:v>0</c:v>
                </c:pt>
                <c:pt idx="3887">
                  <c:v>0</c:v>
                </c:pt>
                <c:pt idx="3888">
                  <c:v>0</c:v>
                </c:pt>
                <c:pt idx="3889">
                  <c:v>0</c:v>
                </c:pt>
                <c:pt idx="3890">
                  <c:v>0</c:v>
                </c:pt>
                <c:pt idx="3891">
                  <c:v>0</c:v>
                </c:pt>
                <c:pt idx="3892">
                  <c:v>0</c:v>
                </c:pt>
                <c:pt idx="3893">
                  <c:v>0</c:v>
                </c:pt>
                <c:pt idx="3894">
                  <c:v>0</c:v>
                </c:pt>
                <c:pt idx="3895">
                  <c:v>0</c:v>
                </c:pt>
                <c:pt idx="3896">
                  <c:v>0</c:v>
                </c:pt>
                <c:pt idx="3897">
                  <c:v>0</c:v>
                </c:pt>
                <c:pt idx="3898">
                  <c:v>0</c:v>
                </c:pt>
                <c:pt idx="3899">
                  <c:v>0</c:v>
                </c:pt>
                <c:pt idx="3900">
                  <c:v>0</c:v>
                </c:pt>
                <c:pt idx="3901">
                  <c:v>0</c:v>
                </c:pt>
                <c:pt idx="3902">
                  <c:v>0</c:v>
                </c:pt>
                <c:pt idx="3903">
                  <c:v>0</c:v>
                </c:pt>
                <c:pt idx="3904">
                  <c:v>0</c:v>
                </c:pt>
                <c:pt idx="3905">
                  <c:v>0</c:v>
                </c:pt>
                <c:pt idx="3906">
                  <c:v>0</c:v>
                </c:pt>
                <c:pt idx="3907">
                  <c:v>0</c:v>
                </c:pt>
                <c:pt idx="3908">
                  <c:v>0</c:v>
                </c:pt>
                <c:pt idx="3909">
                  <c:v>0</c:v>
                </c:pt>
                <c:pt idx="3910">
                  <c:v>0</c:v>
                </c:pt>
                <c:pt idx="3911">
                  <c:v>0</c:v>
                </c:pt>
                <c:pt idx="3912">
                  <c:v>0</c:v>
                </c:pt>
                <c:pt idx="3913">
                  <c:v>0</c:v>
                </c:pt>
                <c:pt idx="3914">
                  <c:v>0</c:v>
                </c:pt>
                <c:pt idx="3915">
                  <c:v>0</c:v>
                </c:pt>
                <c:pt idx="3916">
                  <c:v>0</c:v>
                </c:pt>
                <c:pt idx="3917">
                  <c:v>0</c:v>
                </c:pt>
                <c:pt idx="3918">
                  <c:v>0</c:v>
                </c:pt>
                <c:pt idx="3919">
                  <c:v>0</c:v>
                </c:pt>
                <c:pt idx="3920">
                  <c:v>0</c:v>
                </c:pt>
                <c:pt idx="3921">
                  <c:v>0</c:v>
                </c:pt>
                <c:pt idx="3922">
                  <c:v>0</c:v>
                </c:pt>
                <c:pt idx="3923">
                  <c:v>0</c:v>
                </c:pt>
                <c:pt idx="3924">
                  <c:v>0</c:v>
                </c:pt>
                <c:pt idx="3925">
                  <c:v>0</c:v>
                </c:pt>
                <c:pt idx="3926">
                  <c:v>0</c:v>
                </c:pt>
                <c:pt idx="3927">
                  <c:v>0</c:v>
                </c:pt>
                <c:pt idx="3928">
                  <c:v>0</c:v>
                </c:pt>
                <c:pt idx="3929">
                  <c:v>0</c:v>
                </c:pt>
                <c:pt idx="3930">
                  <c:v>0</c:v>
                </c:pt>
                <c:pt idx="3931">
                  <c:v>0</c:v>
                </c:pt>
                <c:pt idx="3932">
                  <c:v>0</c:v>
                </c:pt>
                <c:pt idx="3933">
                  <c:v>0</c:v>
                </c:pt>
                <c:pt idx="3934">
                  <c:v>0</c:v>
                </c:pt>
                <c:pt idx="3935">
                  <c:v>0</c:v>
                </c:pt>
                <c:pt idx="3936">
                  <c:v>0</c:v>
                </c:pt>
                <c:pt idx="3937">
                  <c:v>0</c:v>
                </c:pt>
                <c:pt idx="3938">
                  <c:v>0</c:v>
                </c:pt>
                <c:pt idx="3939">
                  <c:v>0</c:v>
                </c:pt>
                <c:pt idx="3940">
                  <c:v>0</c:v>
                </c:pt>
                <c:pt idx="3941">
                  <c:v>0</c:v>
                </c:pt>
                <c:pt idx="3942">
                  <c:v>0</c:v>
                </c:pt>
                <c:pt idx="3943">
                  <c:v>0</c:v>
                </c:pt>
                <c:pt idx="3944">
                  <c:v>0</c:v>
                </c:pt>
                <c:pt idx="3945">
                  <c:v>0</c:v>
                </c:pt>
                <c:pt idx="3946">
                  <c:v>0</c:v>
                </c:pt>
                <c:pt idx="3947">
                  <c:v>0</c:v>
                </c:pt>
                <c:pt idx="3948">
                  <c:v>0</c:v>
                </c:pt>
                <c:pt idx="3949">
                  <c:v>0</c:v>
                </c:pt>
                <c:pt idx="3950">
                  <c:v>0</c:v>
                </c:pt>
                <c:pt idx="3951">
                  <c:v>0</c:v>
                </c:pt>
                <c:pt idx="3952">
                  <c:v>0</c:v>
                </c:pt>
                <c:pt idx="3953">
                  <c:v>0</c:v>
                </c:pt>
                <c:pt idx="3954">
                  <c:v>0</c:v>
                </c:pt>
                <c:pt idx="3955">
                  <c:v>0</c:v>
                </c:pt>
                <c:pt idx="3956">
                  <c:v>0</c:v>
                </c:pt>
                <c:pt idx="3957">
                  <c:v>0</c:v>
                </c:pt>
                <c:pt idx="3958">
                  <c:v>0</c:v>
                </c:pt>
                <c:pt idx="3959">
                  <c:v>0</c:v>
                </c:pt>
                <c:pt idx="3960">
                  <c:v>0</c:v>
                </c:pt>
                <c:pt idx="3961">
                  <c:v>0</c:v>
                </c:pt>
                <c:pt idx="3962">
                  <c:v>0</c:v>
                </c:pt>
                <c:pt idx="3963">
                  <c:v>0</c:v>
                </c:pt>
                <c:pt idx="3964">
                  <c:v>0</c:v>
                </c:pt>
                <c:pt idx="3965">
                  <c:v>0</c:v>
                </c:pt>
                <c:pt idx="3966">
                  <c:v>0</c:v>
                </c:pt>
                <c:pt idx="3967">
                  <c:v>0</c:v>
                </c:pt>
                <c:pt idx="3968">
                  <c:v>0</c:v>
                </c:pt>
                <c:pt idx="3969">
                  <c:v>0</c:v>
                </c:pt>
                <c:pt idx="3970">
                  <c:v>0</c:v>
                </c:pt>
                <c:pt idx="3971">
                  <c:v>0</c:v>
                </c:pt>
                <c:pt idx="3972">
                  <c:v>0</c:v>
                </c:pt>
                <c:pt idx="3973">
                  <c:v>0</c:v>
                </c:pt>
                <c:pt idx="3974">
                  <c:v>0</c:v>
                </c:pt>
                <c:pt idx="3975">
                  <c:v>0</c:v>
                </c:pt>
                <c:pt idx="3976">
                  <c:v>0</c:v>
                </c:pt>
                <c:pt idx="3977">
                  <c:v>0</c:v>
                </c:pt>
                <c:pt idx="3978">
                  <c:v>1.5167514805011372E-2</c:v>
                </c:pt>
                <c:pt idx="3979">
                  <c:v>0.16731174642126362</c:v>
                </c:pt>
                <c:pt idx="3980">
                  <c:v>0.23201212959736361</c:v>
                </c:pt>
                <c:pt idx="3981">
                  <c:v>0.27881764089575134</c:v>
                </c:pt>
                <c:pt idx="3982">
                  <c:v>0.31578816677266125</c:v>
                </c:pt>
                <c:pt idx="3983">
                  <c:v>0.34609001210263463</c:v>
                </c:pt>
                <c:pt idx="3984">
                  <c:v>0.37135921623862123</c:v>
                </c:pt>
                <c:pt idx="3985">
                  <c:v>0.39256882109780705</c:v>
                </c:pt>
                <c:pt idx="3986">
                  <c:v>0.41034879299868626</c:v>
                </c:pt>
                <c:pt idx="3987">
                  <c:v>0.42512965708996703</c:v>
                </c:pt>
                <c:pt idx="3988">
                  <c:v>0.43721568997919652</c:v>
                </c:pt>
                <c:pt idx="3989">
                  <c:v>0.446825619895653</c:v>
                </c:pt>
                <c:pt idx="3990">
                  <c:v>0.45411667050536897</c:v>
                </c:pt>
                <c:pt idx="3991">
                  <c:v>0.45919931083487797</c:v>
                </c:pt>
                <c:pt idx="3992">
                  <c:v>0.46214641025996245</c:v>
                </c:pt>
                <c:pt idx="3993">
                  <c:v>0.46299875028525694</c:v>
                </c:pt>
                <c:pt idx="3994">
                  <c:v>0.46176793069662975</c:v>
                </c:pt>
                <c:pt idx="3995">
                  <c:v>0.45843717309854259</c:v>
                </c:pt>
                <c:pt idx="3996">
                  <c:v>0.45296015535797007</c:v>
                </c:pt>
                <c:pt idx="3997">
                  <c:v>0.44525768248268049</c:v>
                </c:pt>
                <c:pt idx="3998">
                  <c:v>0.43521161069343761</c:v>
                </c:pt>
                <c:pt idx="3999">
                  <c:v>0.42265485819933762</c:v>
                </c:pt>
                <c:pt idx="4000">
                  <c:v>0.4073553154694638</c:v>
                </c:pt>
                <c:pt idx="4001">
                  <c:v>0.38898948279811857</c:v>
                </c:pt>
                <c:pt idx="4002">
                  <c:v>0.36709743014418839</c:v>
                </c:pt>
                <c:pt idx="4003">
                  <c:v>0.34100068843623166</c:v>
                </c:pt>
                <c:pt idx="4004">
                  <c:v>0.30963794440297315</c:v>
                </c:pt>
                <c:pt idx="4005">
                  <c:v>0.27118828241428689</c:v>
                </c:pt>
                <c:pt idx="4006">
                  <c:v>0.22199944420678369</c:v>
                </c:pt>
                <c:pt idx="4007">
                  <c:v>0.15197915232698342</c:v>
                </c:pt>
                <c:pt idx="4008">
                  <c:v>2.8907585812908551E-13</c:v>
                </c:pt>
                <c:pt idx="4009">
                  <c:v>2.8907585812908551E-13</c:v>
                </c:pt>
                <c:pt idx="4010">
                  <c:v>2.8907585812908551E-13</c:v>
                </c:pt>
                <c:pt idx="4011">
                  <c:v>2.8907585812908551E-13</c:v>
                </c:pt>
                <c:pt idx="4012">
                  <c:v>2.8907585812908551E-13</c:v>
                </c:pt>
                <c:pt idx="4013">
                  <c:v>2.8907585812908551E-13</c:v>
                </c:pt>
                <c:pt idx="4014">
                  <c:v>2.8907585812908551E-13</c:v>
                </c:pt>
                <c:pt idx="4015">
                  <c:v>3.4316643969573291E-3</c:v>
                </c:pt>
                <c:pt idx="4016">
                  <c:v>2.7395246710535372E-2</c:v>
                </c:pt>
                <c:pt idx="4017">
                  <c:v>4.0272997060799481E-2</c:v>
                </c:pt>
                <c:pt idx="4018">
                  <c:v>5.142505986167905E-2</c:v>
                </c:pt>
                <c:pt idx="4019">
                  <c:v>6.1654880315588162E-2</c:v>
                </c:pt>
                <c:pt idx="4020">
                  <c:v>7.3225048788560926E-2</c:v>
                </c:pt>
                <c:pt idx="4021">
                  <c:v>8.4003824503526614E-2</c:v>
                </c:pt>
                <c:pt idx="4022">
                  <c:v>9.4199583644359347E-2</c:v>
                </c:pt>
                <c:pt idx="4023">
                  <c:v>0.10709639619236204</c:v>
                </c:pt>
                <c:pt idx="4024">
                  <c:v>0.11895700661874239</c:v>
                </c:pt>
                <c:pt idx="4025">
                  <c:v>0.13005963863157755</c:v>
                </c:pt>
                <c:pt idx="4026">
                  <c:v>0.14042497607003773</c:v>
                </c:pt>
                <c:pt idx="4027">
                  <c:v>0.1489122939055493</c:v>
                </c:pt>
                <c:pt idx="4028">
                  <c:v>0.15815731577623465</c:v>
                </c:pt>
                <c:pt idx="4029">
                  <c:v>0.16674915402503107</c:v>
                </c:pt>
                <c:pt idx="4030">
                  <c:v>0.17468767011134567</c:v>
                </c:pt>
                <c:pt idx="4031">
                  <c:v>0.18199473154947171</c:v>
                </c:pt>
                <c:pt idx="4032">
                  <c:v>0.18860787212679728</c:v>
                </c:pt>
                <c:pt idx="4033">
                  <c:v>0.19352476069001148</c:v>
                </c:pt>
                <c:pt idx="4034">
                  <c:v>0.19779240087590352</c:v>
                </c:pt>
                <c:pt idx="4035">
                  <c:v>0.20132108601322196</c:v>
                </c:pt>
                <c:pt idx="4036">
                  <c:v>0.20500006896823611</c:v>
                </c:pt>
                <c:pt idx="4037">
                  <c:v>0.20775233727505582</c:v>
                </c:pt>
                <c:pt idx="4038">
                  <c:v>0.20943996847131527</c:v>
                </c:pt>
                <c:pt idx="4039">
                  <c:v>0.20995036885332888</c:v>
                </c:pt>
                <c:pt idx="4040">
                  <c:v>0.21226106349535781</c:v>
                </c:pt>
                <c:pt idx="4041">
                  <c:v>0.21184708246014533</c:v>
                </c:pt>
                <c:pt idx="4042">
                  <c:v>0.2118129204024469</c:v>
                </c:pt>
                <c:pt idx="4043">
                  <c:v>0.20964106157245971</c:v>
                </c:pt>
                <c:pt idx="4044">
                  <c:v>0.20513893442784881</c:v>
                </c:pt>
                <c:pt idx="4045">
                  <c:v>0.19940232689898857</c:v>
                </c:pt>
                <c:pt idx="4046">
                  <c:v>0.20032564750859175</c:v>
                </c:pt>
                <c:pt idx="4047">
                  <c:v>0.20068289211061108</c:v>
                </c:pt>
                <c:pt idx="4048">
                  <c:v>0.20169139226877283</c:v>
                </c:pt>
                <c:pt idx="4049">
                  <c:v>0.20203844978587351</c:v>
                </c:pt>
                <c:pt idx="4050">
                  <c:v>0.20192188465623442</c:v>
                </c:pt>
                <c:pt idx="4051">
                  <c:v>0.20036642512216574</c:v>
                </c:pt>
                <c:pt idx="4052">
                  <c:v>0.19748097420735922</c:v>
                </c:pt>
                <c:pt idx="4053">
                  <c:v>0.19561928953116187</c:v>
                </c:pt>
                <c:pt idx="4054">
                  <c:v>0.19281617427080261</c:v>
                </c:pt>
                <c:pt idx="4055">
                  <c:v>0.18921503014987359</c:v>
                </c:pt>
                <c:pt idx="4056">
                  <c:v>0.18483511868964758</c:v>
                </c:pt>
                <c:pt idx="4057">
                  <c:v>0.17861349644921987</c:v>
                </c:pt>
                <c:pt idx="4058">
                  <c:v>0.17282246879752131</c:v>
                </c:pt>
                <c:pt idx="4059">
                  <c:v>0.16641400266283543</c:v>
                </c:pt>
                <c:pt idx="4060">
                  <c:v>0.15942565952166321</c:v>
                </c:pt>
                <c:pt idx="4061">
                  <c:v>0.151928208196278</c:v>
                </c:pt>
                <c:pt idx="4062">
                  <c:v>0.14391016329544759</c:v>
                </c:pt>
                <c:pt idx="4063">
                  <c:v>0.13401900810935999</c:v>
                </c:pt>
                <c:pt idx="4064">
                  <c:v>0.1234103860149847</c:v>
                </c:pt>
                <c:pt idx="4065">
                  <c:v>0.11195755618717106</c:v>
                </c:pt>
                <c:pt idx="4066">
                  <c:v>0.10128133173864802</c:v>
                </c:pt>
                <c:pt idx="4067">
                  <c:v>8.9920357056453348E-2</c:v>
                </c:pt>
                <c:pt idx="4068">
                  <c:v>7.758170929354738E-2</c:v>
                </c:pt>
                <c:pt idx="4069">
                  <c:v>6.3795260049156047E-2</c:v>
                </c:pt>
                <c:pt idx="4070">
                  <c:v>5.5293120638495036E-2</c:v>
                </c:pt>
                <c:pt idx="4071">
                  <c:v>4.4171991116922792E-2</c:v>
                </c:pt>
                <c:pt idx="4072">
                  <c:v>3.7046657758573694E-2</c:v>
                </c:pt>
                <c:pt idx="4073">
                  <c:v>3.009172310918563E-2</c:v>
                </c:pt>
                <c:pt idx="4074">
                  <c:v>2.3473969608398308E-2</c:v>
                </c:pt>
                <c:pt idx="4075">
                  <c:v>1.7082520316862686E-2</c:v>
                </c:pt>
                <c:pt idx="4076">
                  <c:v>1.079439674522199E-2</c:v>
                </c:pt>
                <c:pt idx="4077">
                  <c:v>3.4569103886934846E-3</c:v>
                </c:pt>
                <c:pt idx="4078">
                  <c:v>1.0574696843643468E-4</c:v>
                </c:pt>
                <c:pt idx="4079">
                  <c:v>0</c:v>
                </c:pt>
                <c:pt idx="4080">
                  <c:v>0</c:v>
                </c:pt>
                <c:pt idx="4081">
                  <c:v>0</c:v>
                </c:pt>
                <c:pt idx="4082">
                  <c:v>0</c:v>
                </c:pt>
                <c:pt idx="4083">
                  <c:v>0</c:v>
                </c:pt>
                <c:pt idx="4084">
                  <c:v>0</c:v>
                </c:pt>
                <c:pt idx="4085">
                  <c:v>0</c:v>
                </c:pt>
                <c:pt idx="4086">
                  <c:v>0</c:v>
                </c:pt>
                <c:pt idx="4087">
                  <c:v>0</c:v>
                </c:pt>
                <c:pt idx="4088">
                  <c:v>0</c:v>
                </c:pt>
                <c:pt idx="4089">
                  <c:v>0</c:v>
                </c:pt>
                <c:pt idx="4090">
                  <c:v>0</c:v>
                </c:pt>
                <c:pt idx="4091">
                  <c:v>0</c:v>
                </c:pt>
                <c:pt idx="4092">
                  <c:v>0</c:v>
                </c:pt>
                <c:pt idx="4093">
                  <c:v>0</c:v>
                </c:pt>
                <c:pt idx="4094">
                  <c:v>0</c:v>
                </c:pt>
                <c:pt idx="4095">
                  <c:v>0</c:v>
                </c:pt>
                <c:pt idx="4096">
                  <c:v>0</c:v>
                </c:pt>
                <c:pt idx="4097">
                  <c:v>0</c:v>
                </c:pt>
                <c:pt idx="4098">
                  <c:v>0</c:v>
                </c:pt>
                <c:pt idx="4099">
                  <c:v>0</c:v>
                </c:pt>
                <c:pt idx="4100">
                  <c:v>0</c:v>
                </c:pt>
                <c:pt idx="4101">
                  <c:v>0.11234596632332007</c:v>
                </c:pt>
                <c:pt idx="4102">
                  <c:v>0.16435860171218034</c:v>
                </c:pt>
                <c:pt idx="4103">
                  <c:v>0.21876694099912614</c:v>
                </c:pt>
                <c:pt idx="4104">
                  <c:v>0.26215615852672453</c:v>
                </c:pt>
                <c:pt idx="4105">
                  <c:v>0.30057660232486028</c:v>
                </c:pt>
                <c:pt idx="4106">
                  <c:v>0.33173277790183509</c:v>
                </c:pt>
                <c:pt idx="4107">
                  <c:v>0.36897429082223004</c:v>
                </c:pt>
                <c:pt idx="4108">
                  <c:v>0.39961096084783349</c:v>
                </c:pt>
                <c:pt idx="4109">
                  <c:v>0.42752819293921407</c:v>
                </c:pt>
                <c:pt idx="4110">
                  <c:v>0.45545094532717795</c:v>
                </c:pt>
                <c:pt idx="4111">
                  <c:v>0.48068978110732719</c:v>
                </c:pt>
                <c:pt idx="4112">
                  <c:v>0.50133727543895612</c:v>
                </c:pt>
                <c:pt idx="4113">
                  <c:v>0.53931626873478544</c:v>
                </c:pt>
                <c:pt idx="4114">
                  <c:v>0.58308481724417005</c:v>
                </c:pt>
                <c:pt idx="4115">
                  <c:v>0.62334601983092675</c:v>
                </c:pt>
                <c:pt idx="4116">
                  <c:v>0.75578315966582799</c:v>
                </c:pt>
                <c:pt idx="4117">
                  <c:v>0.85420775991372222</c:v>
                </c:pt>
                <c:pt idx="4118">
                  <c:v>0.92592489478840956</c:v>
                </c:pt>
                <c:pt idx="4119">
                  <c:v>0.98543659716750898</c:v>
                </c:pt>
                <c:pt idx="4120">
                  <c:v>1.0317091440546038</c:v>
                </c:pt>
                <c:pt idx="4121">
                  <c:v>1.0729559318093329</c:v>
                </c:pt>
                <c:pt idx="4122">
                  <c:v>1.1098211430131772</c:v>
                </c:pt>
                <c:pt idx="4123">
                  <c:v>1.1427752772741935</c:v>
                </c:pt>
                <c:pt idx="4124">
                  <c:v>1.1656244718998467</c:v>
                </c:pt>
                <c:pt idx="4125">
                  <c:v>1.1861166608616565</c:v>
                </c:pt>
                <c:pt idx="4126">
                  <c:v>1.2044744436690162</c:v>
                </c:pt>
                <c:pt idx="4127">
                  <c:v>1.2202289623678828</c:v>
                </c:pt>
                <c:pt idx="4128">
                  <c:v>1.234208875399333</c:v>
                </c:pt>
                <c:pt idx="4129">
                  <c:v>1.2460334988009079</c:v>
                </c:pt>
                <c:pt idx="4130">
                  <c:v>1.2559321879914465</c:v>
                </c:pt>
                <c:pt idx="4131">
                  <c:v>1.2574815560967714</c:v>
                </c:pt>
                <c:pt idx="4132">
                  <c:v>1.2551468946552384</c:v>
                </c:pt>
                <c:pt idx="4133">
                  <c:v>1.2459678643235457</c:v>
                </c:pt>
                <c:pt idx="4134">
                  <c:v>1.2315873977183334</c:v>
                </c:pt>
                <c:pt idx="4135">
                  <c:v>1.2127166415476953</c:v>
                </c:pt>
                <c:pt idx="4136">
                  <c:v>1.1908071960194071</c:v>
                </c:pt>
                <c:pt idx="4137">
                  <c:v>1.1593461288128637</c:v>
                </c:pt>
                <c:pt idx="4138">
                  <c:v>1.1237797252405213</c:v>
                </c:pt>
                <c:pt idx="4139">
                  <c:v>1.0818736447704895</c:v>
                </c:pt>
                <c:pt idx="4140">
                  <c:v>1.0304888679510276</c:v>
                </c:pt>
                <c:pt idx="4141">
                  <c:v>0.97022555757256557</c:v>
                </c:pt>
                <c:pt idx="4142">
                  <c:v>0.9022172984246265</c:v>
                </c:pt>
                <c:pt idx="4143">
                  <c:v>0.79225116879018975</c:v>
                </c:pt>
                <c:pt idx="4144">
                  <c:v>0.63184163049814313</c:v>
                </c:pt>
                <c:pt idx="4145">
                  <c:v>0.39059662647426885</c:v>
                </c:pt>
                <c:pt idx="4146">
                  <c:v>0.37523108673218036</c:v>
                </c:pt>
                <c:pt idx="4147">
                  <c:v>0.36200643110551356</c:v>
                </c:pt>
                <c:pt idx="4148">
                  <c:v>0.35878474436968139</c:v>
                </c:pt>
                <c:pt idx="4149">
                  <c:v>0.35794020654487529</c:v>
                </c:pt>
                <c:pt idx="4150">
                  <c:v>0.36102724986486695</c:v>
                </c:pt>
                <c:pt idx="4151">
                  <c:v>0.36268130336929899</c:v>
                </c:pt>
                <c:pt idx="4152">
                  <c:v>0.36150117599074844</c:v>
                </c:pt>
                <c:pt idx="4153">
                  <c:v>0.35635335705237953</c:v>
                </c:pt>
                <c:pt idx="4154">
                  <c:v>0.35800359918666846</c:v>
                </c:pt>
                <c:pt idx="4155">
                  <c:v>0.35698758522187185</c:v>
                </c:pt>
                <c:pt idx="4156">
                  <c:v>0.35342751626706254</c:v>
                </c:pt>
                <c:pt idx="4157">
                  <c:v>0.34867282301854446</c:v>
                </c:pt>
                <c:pt idx="4158">
                  <c:v>0.3417463797463372</c:v>
                </c:pt>
                <c:pt idx="4159">
                  <c:v>0.33391234441824358</c:v>
                </c:pt>
                <c:pt idx="4160">
                  <c:v>0.32532176748474595</c:v>
                </c:pt>
                <c:pt idx="4161">
                  <c:v>0.31492121973183207</c:v>
                </c:pt>
                <c:pt idx="4162">
                  <c:v>0.30261614039508422</c:v>
                </c:pt>
                <c:pt idx="4163">
                  <c:v>0.28832737601097913</c:v>
                </c:pt>
                <c:pt idx="4164">
                  <c:v>0.27778898316883649</c:v>
                </c:pt>
                <c:pt idx="4165">
                  <c:v>0.26600141725107102</c:v>
                </c:pt>
                <c:pt idx="4166">
                  <c:v>0.25282394236489486</c:v>
                </c:pt>
                <c:pt idx="4167">
                  <c:v>0.23828116455795359</c:v>
                </c:pt>
                <c:pt idx="4168">
                  <c:v>0.22216714354368364</c:v>
                </c:pt>
                <c:pt idx="4169">
                  <c:v>0.2042663337074889</c:v>
                </c:pt>
                <c:pt idx="4170">
                  <c:v>0.18428434480581765</c:v>
                </c:pt>
                <c:pt idx="4171">
                  <c:v>0.16152359025610133</c:v>
                </c:pt>
                <c:pt idx="4172">
                  <c:v>0.13997691914192836</c:v>
                </c:pt>
                <c:pt idx="4173">
                  <c:v>0.11181500741106036</c:v>
                </c:pt>
                <c:pt idx="4174">
                  <c:v>7.8516734454466441E-2</c:v>
                </c:pt>
                <c:pt idx="4175">
                  <c:v>6.3637604934531175E-2</c:v>
                </c:pt>
                <c:pt idx="4176">
                  <c:v>4.962422021109749E-2</c:v>
                </c:pt>
                <c:pt idx="4177">
                  <c:v>3.2841111104462258E-2</c:v>
                </c:pt>
                <c:pt idx="4178">
                  <c:v>1.9611990544965881E-2</c:v>
                </c:pt>
                <c:pt idx="4179">
                  <c:v>1.2262626125692613E-2</c:v>
                </c:pt>
                <c:pt idx="4180">
                  <c:v>3.9545158678689846E-3</c:v>
                </c:pt>
                <c:pt idx="4181">
                  <c:v>9.0465509081185595E-5</c:v>
                </c:pt>
                <c:pt idx="4182">
                  <c:v>0</c:v>
                </c:pt>
                <c:pt idx="4183">
                  <c:v>0</c:v>
                </c:pt>
                <c:pt idx="4184">
                  <c:v>0</c:v>
                </c:pt>
                <c:pt idx="4185">
                  <c:v>0</c:v>
                </c:pt>
                <c:pt idx="4186">
                  <c:v>0</c:v>
                </c:pt>
                <c:pt idx="4187">
                  <c:v>0</c:v>
                </c:pt>
                <c:pt idx="4188">
                  <c:v>0.17999315282732695</c:v>
                </c:pt>
                <c:pt idx="4189">
                  <c:v>0.37418158470860413</c:v>
                </c:pt>
                <c:pt idx="4190">
                  <c:v>0.51344039556441545</c:v>
                </c:pt>
                <c:pt idx="4191">
                  <c:v>0.51344039556441545</c:v>
                </c:pt>
                <c:pt idx="4192">
                  <c:v>0.53803716642718935</c:v>
                </c:pt>
                <c:pt idx="4193">
                  <c:v>0.53803716642718935</c:v>
                </c:pt>
                <c:pt idx="4194">
                  <c:v>0.72728157962727014</c:v>
                </c:pt>
                <c:pt idx="4195">
                  <c:v>0.75276743242088306</c:v>
                </c:pt>
                <c:pt idx="4196">
                  <c:v>0.83313980104552354</c:v>
                </c:pt>
                <c:pt idx="4197">
                  <c:v>0.83313980104552354</c:v>
                </c:pt>
                <c:pt idx="4198">
                  <c:v>0.83313980104552343</c:v>
                </c:pt>
                <c:pt idx="4199">
                  <c:v>0.96621726350340786</c:v>
                </c:pt>
                <c:pt idx="4200">
                  <c:v>1.0319364614039976</c:v>
                </c:pt>
                <c:pt idx="4201">
                  <c:v>1.090184793361376</c:v>
                </c:pt>
                <c:pt idx="4202">
                  <c:v>1.090184793361376</c:v>
                </c:pt>
                <c:pt idx="4203">
                  <c:v>1.1038642890332753</c:v>
                </c:pt>
                <c:pt idx="4204">
                  <c:v>1.1038642890332753</c:v>
                </c:pt>
                <c:pt idx="4205">
                  <c:v>1.103864289033275</c:v>
                </c:pt>
                <c:pt idx="4206">
                  <c:v>1.153248957465927</c:v>
                </c:pt>
                <c:pt idx="4207">
                  <c:v>1.153248957465927</c:v>
                </c:pt>
                <c:pt idx="4208">
                  <c:v>1.153248957465927</c:v>
                </c:pt>
                <c:pt idx="4209">
                  <c:v>1.153248957465927</c:v>
                </c:pt>
                <c:pt idx="4210">
                  <c:v>1.1532489574659273</c:v>
                </c:pt>
                <c:pt idx="4211">
                  <c:v>1.1973896895104281</c:v>
                </c:pt>
                <c:pt idx="4212">
                  <c:v>1.1973896895104281</c:v>
                </c:pt>
                <c:pt idx="4213">
                  <c:v>1.2057462012298639</c:v>
                </c:pt>
                <c:pt idx="4214">
                  <c:v>1.2057462012298636</c:v>
                </c:pt>
                <c:pt idx="4215">
                  <c:v>1.2057462012298641</c:v>
                </c:pt>
                <c:pt idx="4216">
                  <c:v>1.2057462012298641</c:v>
                </c:pt>
                <c:pt idx="4217">
                  <c:v>1.3644499415565086</c:v>
                </c:pt>
                <c:pt idx="4218">
                  <c:v>1.3632493907876035</c:v>
                </c:pt>
                <c:pt idx="4219">
                  <c:v>1.331789348138851</c:v>
                </c:pt>
                <c:pt idx="4220">
                  <c:v>1.2797746628386144</c:v>
                </c:pt>
                <c:pt idx="4221">
                  <c:v>1.2797746628386144</c:v>
                </c:pt>
                <c:pt idx="4222">
                  <c:v>1.2797746628386144</c:v>
                </c:pt>
                <c:pt idx="4223">
                  <c:v>1.3080703477866282</c:v>
                </c:pt>
                <c:pt idx="4224">
                  <c:v>1.2294776121794917</c:v>
                </c:pt>
                <c:pt idx="4225">
                  <c:v>1.2137042104008859</c:v>
                </c:pt>
                <c:pt idx="4226">
                  <c:v>1.1679961316313316</c:v>
                </c:pt>
                <c:pt idx="4227">
                  <c:v>1.1700559000301698</c:v>
                </c:pt>
                <c:pt idx="4228">
                  <c:v>1.1700559000301696</c:v>
                </c:pt>
                <c:pt idx="4229">
                  <c:v>1.0841484353772981</c:v>
                </c:pt>
                <c:pt idx="4230">
                  <c:v>1.0086535045444949</c:v>
                </c:pt>
                <c:pt idx="4231">
                  <c:v>0.922864517546931</c:v>
                </c:pt>
                <c:pt idx="4232">
                  <c:v>1.0110439875829287</c:v>
                </c:pt>
                <c:pt idx="4233">
                  <c:v>1.0110439875829287</c:v>
                </c:pt>
                <c:pt idx="4234">
                  <c:v>1.0336627544748376</c:v>
                </c:pt>
                <c:pt idx="4235">
                  <c:v>1.1195669244240707</c:v>
                </c:pt>
                <c:pt idx="4236">
                  <c:v>1.0952049558883052</c:v>
                </c:pt>
                <c:pt idx="4237">
                  <c:v>1.0952049558883052</c:v>
                </c:pt>
                <c:pt idx="4238">
                  <c:v>1.0952049558883052</c:v>
                </c:pt>
                <c:pt idx="4239">
                  <c:v>1.0947645698988224</c:v>
                </c:pt>
                <c:pt idx="4240">
                  <c:v>1.0947645698988224</c:v>
                </c:pt>
                <c:pt idx="4241">
                  <c:v>1.0684856801142459</c:v>
                </c:pt>
                <c:pt idx="4242">
                  <c:v>1.0680343754638337</c:v>
                </c:pt>
                <c:pt idx="4243">
                  <c:v>1.0934433101051924</c:v>
                </c:pt>
                <c:pt idx="4244">
                  <c:v>1.0912379768530986</c:v>
                </c:pt>
                <c:pt idx="4245">
                  <c:v>1.0912379768530984</c:v>
                </c:pt>
                <c:pt idx="4246">
                  <c:v>1.0881431949167744</c:v>
                </c:pt>
                <c:pt idx="4247">
                  <c:v>1.0086553825500222</c:v>
                </c:pt>
                <c:pt idx="4248">
                  <c:v>1.0086553825500222</c:v>
                </c:pt>
                <c:pt idx="4249">
                  <c:v>1.0792562829288437</c:v>
                </c:pt>
                <c:pt idx="4250">
                  <c:v>1.0792562829288437</c:v>
                </c:pt>
                <c:pt idx="4251">
                  <c:v>1.0734379007248851</c:v>
                </c:pt>
                <c:pt idx="4252">
                  <c:v>1.0734379007248853</c:v>
                </c:pt>
                <c:pt idx="4253">
                  <c:v>1.0521326628471765</c:v>
                </c:pt>
                <c:pt idx="4254">
                  <c:v>1.0461635403515674</c:v>
                </c:pt>
                <c:pt idx="4255">
                  <c:v>1.0461635403515674</c:v>
                </c:pt>
                <c:pt idx="4256">
                  <c:v>1.011040865165443</c:v>
                </c:pt>
                <c:pt idx="4257">
                  <c:v>1.011040865165443</c:v>
                </c:pt>
                <c:pt idx="4258">
                  <c:v>1.0029083335852369</c:v>
                </c:pt>
                <c:pt idx="4259">
                  <c:v>1.0576155448900642</c:v>
                </c:pt>
                <c:pt idx="4260">
                  <c:v>1.0461667592176493</c:v>
                </c:pt>
                <c:pt idx="4261">
                  <c:v>1.0461667592176493</c:v>
                </c:pt>
                <c:pt idx="4262">
                  <c:v>1.0461667592176491</c:v>
                </c:pt>
                <c:pt idx="4263">
                  <c:v>1.0461667592176491</c:v>
                </c:pt>
                <c:pt idx="4264">
                  <c:v>1.0299227735807353</c:v>
                </c:pt>
                <c:pt idx="4265">
                  <c:v>0.91500532691119529</c:v>
                </c:pt>
                <c:pt idx="4266">
                  <c:v>0.89960863026300453</c:v>
                </c:pt>
                <c:pt idx="4267">
                  <c:v>0.88285325384012292</c:v>
                </c:pt>
                <c:pt idx="4268">
                  <c:v>0.92287158733631158</c:v>
                </c:pt>
                <c:pt idx="4269">
                  <c:v>0.98937384194572187</c:v>
                </c:pt>
                <c:pt idx="4270">
                  <c:v>0.98351562803353954</c:v>
                </c:pt>
                <c:pt idx="4271">
                  <c:v>0.98351562803353942</c:v>
                </c:pt>
                <c:pt idx="4272">
                  <c:v>1.0014736686101842</c:v>
                </c:pt>
                <c:pt idx="4273">
                  <c:v>0.98937384194572187</c:v>
                </c:pt>
                <c:pt idx="4274">
                  <c:v>1.0053125825379874</c:v>
                </c:pt>
                <c:pt idx="4275">
                  <c:v>0.98937384194572198</c:v>
                </c:pt>
                <c:pt idx="4276">
                  <c:v>0.98937384194572198</c:v>
                </c:pt>
                <c:pt idx="4277">
                  <c:v>0.93118121947650401</c:v>
                </c:pt>
                <c:pt idx="4278">
                  <c:v>0.98936980014390219</c:v>
                </c:pt>
                <c:pt idx="4279">
                  <c:v>0.92286246508960834</c:v>
                </c:pt>
                <c:pt idx="4280">
                  <c:v>0.9337595744419831</c:v>
                </c:pt>
                <c:pt idx="4281">
                  <c:v>0.94351046473130118</c:v>
                </c:pt>
                <c:pt idx="4282">
                  <c:v>0.96421838037732666</c:v>
                </c:pt>
                <c:pt idx="4283">
                  <c:v>0.97366439275175676</c:v>
                </c:pt>
                <c:pt idx="4284">
                  <c:v>1.0181627459786848</c:v>
                </c:pt>
                <c:pt idx="4285">
                  <c:v>1.0859315557272209</c:v>
                </c:pt>
                <c:pt idx="4286">
                  <c:v>1.0859315557272209</c:v>
                </c:pt>
                <c:pt idx="4287">
                  <c:v>1.0934468709743894</c:v>
                </c:pt>
                <c:pt idx="4288">
                  <c:v>1.1000354614137768</c:v>
                </c:pt>
                <c:pt idx="4289">
                  <c:v>1.0294554833704002</c:v>
                </c:pt>
                <c:pt idx="4290">
                  <c:v>1.0644235746470356</c:v>
                </c:pt>
                <c:pt idx="4291">
                  <c:v>1.0841552299254555</c:v>
                </c:pt>
                <c:pt idx="4292">
                  <c:v>1.0110408651654432</c:v>
                </c:pt>
                <c:pt idx="4293">
                  <c:v>0.97613431217343394</c:v>
                </c:pt>
                <c:pt idx="4294">
                  <c:v>0.97958302602947411</c:v>
                </c:pt>
                <c:pt idx="4295">
                  <c:v>0.97958302602947411</c:v>
                </c:pt>
                <c:pt idx="4296">
                  <c:v>0.97958302602947411</c:v>
                </c:pt>
                <c:pt idx="4297">
                  <c:v>0.98203913118185726</c:v>
                </c:pt>
                <c:pt idx="4298">
                  <c:v>0.89153371548729321</c:v>
                </c:pt>
                <c:pt idx="4299">
                  <c:v>0.85625602942084045</c:v>
                </c:pt>
                <c:pt idx="4300">
                  <c:v>0.82356137123799478</c:v>
                </c:pt>
                <c:pt idx="4301">
                  <c:v>0.8241464330884517</c:v>
                </c:pt>
                <c:pt idx="4302">
                  <c:v>0.82356137123799478</c:v>
                </c:pt>
                <c:pt idx="4303">
                  <c:v>0.8241464330884517</c:v>
                </c:pt>
                <c:pt idx="4304">
                  <c:v>0.8241464330884517</c:v>
                </c:pt>
                <c:pt idx="4305">
                  <c:v>0.82356213788276278</c:v>
                </c:pt>
                <c:pt idx="4306">
                  <c:v>0.82180599142390853</c:v>
                </c:pt>
                <c:pt idx="4307">
                  <c:v>0.91024410885907403</c:v>
                </c:pt>
                <c:pt idx="4308">
                  <c:v>0.92129436501044804</c:v>
                </c:pt>
                <c:pt idx="4309">
                  <c:v>1.0009811129845214</c:v>
                </c:pt>
                <c:pt idx="4310">
                  <c:v>1.073430058024869</c:v>
                </c:pt>
                <c:pt idx="4311">
                  <c:v>1.1104885479958329</c:v>
                </c:pt>
                <c:pt idx="4312">
                  <c:v>1.0734300580248688</c:v>
                </c:pt>
                <c:pt idx="4313">
                  <c:v>1.073430058024869</c:v>
                </c:pt>
                <c:pt idx="4314">
                  <c:v>1.1876277657147292</c:v>
                </c:pt>
                <c:pt idx="4315">
                  <c:v>1.0947599560329846</c:v>
                </c:pt>
                <c:pt idx="4316">
                  <c:v>1.0947599560329846</c:v>
                </c:pt>
                <c:pt idx="4317">
                  <c:v>1.0947599560329846</c:v>
                </c:pt>
                <c:pt idx="4318">
                  <c:v>1.0947599560329846</c:v>
                </c:pt>
                <c:pt idx="4319">
                  <c:v>1.0845930349701474</c:v>
                </c:pt>
                <c:pt idx="4320">
                  <c:v>1.1259944645542916</c:v>
                </c:pt>
                <c:pt idx="4321">
                  <c:v>1.0752207749183897</c:v>
                </c:pt>
                <c:pt idx="4322">
                  <c:v>1.0752207749183897</c:v>
                </c:pt>
                <c:pt idx="4323">
                  <c:v>1.0612422709952412</c:v>
                </c:pt>
                <c:pt idx="4324">
                  <c:v>1.0612422709952412</c:v>
                </c:pt>
                <c:pt idx="4325">
                  <c:v>1.1143844516092796</c:v>
                </c:pt>
                <c:pt idx="4326">
                  <c:v>1.1017781621427796</c:v>
                </c:pt>
                <c:pt idx="4327">
                  <c:v>1.1017781621427796</c:v>
                </c:pt>
                <c:pt idx="4328">
                  <c:v>1.0881409706308853</c:v>
                </c:pt>
                <c:pt idx="4329">
                  <c:v>1.0734335872148433</c:v>
                </c:pt>
                <c:pt idx="4330">
                  <c:v>1.0734335872148433</c:v>
                </c:pt>
                <c:pt idx="4331">
                  <c:v>1.0734335872148433</c:v>
                </c:pt>
                <c:pt idx="4332">
                  <c:v>1.0734335872148431</c:v>
                </c:pt>
                <c:pt idx="4333">
                  <c:v>1.0734335872148431</c:v>
                </c:pt>
                <c:pt idx="4334">
                  <c:v>1.1277103007024236</c:v>
                </c:pt>
                <c:pt idx="4335">
                  <c:v>1.1762158893682346</c:v>
                </c:pt>
                <c:pt idx="4336">
                  <c:v>1.1762158893682346</c:v>
                </c:pt>
                <c:pt idx="4337">
                  <c:v>1.1277103007024236</c:v>
                </c:pt>
                <c:pt idx="4338">
                  <c:v>1.0734335872148431</c:v>
                </c:pt>
                <c:pt idx="4339">
                  <c:v>1.0336562389118467</c:v>
                </c:pt>
                <c:pt idx="4340">
                  <c:v>0.9761346355284013</c:v>
                </c:pt>
                <c:pt idx="4341">
                  <c:v>0.92910319019713183</c:v>
                </c:pt>
                <c:pt idx="4342">
                  <c:v>0.92910319019713172</c:v>
                </c:pt>
                <c:pt idx="4343">
                  <c:v>0.94605710942778543</c:v>
                </c:pt>
                <c:pt idx="4344">
                  <c:v>0.79498517600579899</c:v>
                </c:pt>
                <c:pt idx="4345">
                  <c:v>0.77845398184515691</c:v>
                </c:pt>
                <c:pt idx="4346">
                  <c:v>0.77845398184515691</c:v>
                </c:pt>
                <c:pt idx="4347">
                  <c:v>0.77845398184515691</c:v>
                </c:pt>
                <c:pt idx="4348">
                  <c:v>0.79740566231928423</c:v>
                </c:pt>
                <c:pt idx="4349">
                  <c:v>0.79740566231928423</c:v>
                </c:pt>
                <c:pt idx="4350">
                  <c:v>0.71860690112524772</c:v>
                </c:pt>
                <c:pt idx="4351">
                  <c:v>0.7186069011252475</c:v>
                </c:pt>
                <c:pt idx="4352">
                  <c:v>0.7186069011252475</c:v>
                </c:pt>
                <c:pt idx="4353">
                  <c:v>0.735173413126332</c:v>
                </c:pt>
                <c:pt idx="4354">
                  <c:v>0.7577589684107352</c:v>
                </c:pt>
                <c:pt idx="4355">
                  <c:v>0.70026641616544871</c:v>
                </c:pt>
                <c:pt idx="4356">
                  <c:v>0.70026641616544893</c:v>
                </c:pt>
                <c:pt idx="4357">
                  <c:v>0.70026641616544893</c:v>
                </c:pt>
                <c:pt idx="4358">
                  <c:v>0.70026641616544893</c:v>
                </c:pt>
                <c:pt idx="4359">
                  <c:v>0.71859899332444288</c:v>
                </c:pt>
                <c:pt idx="4360">
                  <c:v>0.71050994289596614</c:v>
                </c:pt>
                <c:pt idx="4361">
                  <c:v>0.72460717700387378</c:v>
                </c:pt>
                <c:pt idx="4362">
                  <c:v>0.69681935099389003</c:v>
                </c:pt>
                <c:pt idx="4363">
                  <c:v>0.72460717700387411</c:v>
                </c:pt>
                <c:pt idx="4364">
                  <c:v>0.77285974645446642</c:v>
                </c:pt>
                <c:pt idx="4365">
                  <c:v>0.84947311432765338</c:v>
                </c:pt>
                <c:pt idx="4366">
                  <c:v>0.85343295473627612</c:v>
                </c:pt>
                <c:pt idx="4367">
                  <c:v>0.89098640788425598</c:v>
                </c:pt>
                <c:pt idx="4368">
                  <c:v>0.89350441079793741</c:v>
                </c:pt>
                <c:pt idx="4369">
                  <c:v>0.89350441079793741</c:v>
                </c:pt>
                <c:pt idx="4370">
                  <c:v>0.89284582125202805</c:v>
                </c:pt>
                <c:pt idx="4371">
                  <c:v>0.89284582125202805</c:v>
                </c:pt>
                <c:pt idx="4372">
                  <c:v>0.89110629542364106</c:v>
                </c:pt>
                <c:pt idx="4373">
                  <c:v>0.85104695212910675</c:v>
                </c:pt>
                <c:pt idx="4374">
                  <c:v>0.84581168492665748</c:v>
                </c:pt>
                <c:pt idx="4375">
                  <c:v>0.85243877615014529</c:v>
                </c:pt>
                <c:pt idx="4376">
                  <c:v>0.86868433153424285</c:v>
                </c:pt>
                <c:pt idx="4377">
                  <c:v>0.93210522580954369</c:v>
                </c:pt>
                <c:pt idx="4378">
                  <c:v>0.98388316330183168</c:v>
                </c:pt>
                <c:pt idx="4379">
                  <c:v>0.99218229358601262</c:v>
                </c:pt>
                <c:pt idx="4380">
                  <c:v>0.99218229358601295</c:v>
                </c:pt>
                <c:pt idx="4381">
                  <c:v>0.98022139811363695</c:v>
                </c:pt>
                <c:pt idx="4382">
                  <c:v>0.98268665342733807</c:v>
                </c:pt>
                <c:pt idx="4383">
                  <c:v>0.93368988712642231</c:v>
                </c:pt>
                <c:pt idx="4384">
                  <c:v>0.9513160966182117</c:v>
                </c:pt>
                <c:pt idx="4385">
                  <c:v>0.9513160966182117</c:v>
                </c:pt>
                <c:pt idx="4386">
                  <c:v>0.98639011757172534</c:v>
                </c:pt>
                <c:pt idx="4387">
                  <c:v>1.0333670592381807</c:v>
                </c:pt>
                <c:pt idx="4388">
                  <c:v>1.0603060973051908</c:v>
                </c:pt>
                <c:pt idx="4389">
                  <c:v>1.0673294095944905</c:v>
                </c:pt>
                <c:pt idx="4390">
                  <c:v>1.1601231258976039</c:v>
                </c:pt>
                <c:pt idx="4391">
                  <c:v>1.163237494497064</c:v>
                </c:pt>
                <c:pt idx="4392">
                  <c:v>1.1419325802683316</c:v>
                </c:pt>
                <c:pt idx="4393">
                  <c:v>1.0602546194000486</c:v>
                </c:pt>
                <c:pt idx="4394">
                  <c:v>1.0328541794314565</c:v>
                </c:pt>
                <c:pt idx="4395">
                  <c:v>1.0031524954486684</c:v>
                </c:pt>
                <c:pt idx="4396">
                  <c:v>1.0044776372419366</c:v>
                </c:pt>
                <c:pt idx="4397">
                  <c:v>1.0332091660976048</c:v>
                </c:pt>
                <c:pt idx="4398">
                  <c:v>1.0341141700550038</c:v>
                </c:pt>
                <c:pt idx="4399">
                  <c:v>1.0327074582512439</c:v>
                </c:pt>
                <c:pt idx="4400">
                  <c:v>1.0303642621672875</c:v>
                </c:pt>
                <c:pt idx="4401">
                  <c:v>1.0507202599699119</c:v>
                </c:pt>
                <c:pt idx="4402">
                  <c:v>1.0507202599699117</c:v>
                </c:pt>
                <c:pt idx="4403">
                  <c:v>1.0456569203563162</c:v>
                </c:pt>
                <c:pt idx="4404">
                  <c:v>1.045656920356316</c:v>
                </c:pt>
                <c:pt idx="4405">
                  <c:v>1.181968724752976</c:v>
                </c:pt>
                <c:pt idx="4406">
                  <c:v>1.1982621310265316</c:v>
                </c:pt>
                <c:pt idx="4407">
                  <c:v>1.181968724752976</c:v>
                </c:pt>
                <c:pt idx="4408">
                  <c:v>1.0926017737046678</c:v>
                </c:pt>
                <c:pt idx="4409">
                  <c:v>1.1038963351778723</c:v>
                </c:pt>
                <c:pt idx="4410">
                  <c:v>1.0669524954411089</c:v>
                </c:pt>
                <c:pt idx="4411">
                  <c:v>1.1067305973710162</c:v>
                </c:pt>
                <c:pt idx="4412">
                  <c:v>1.1571612240171369</c:v>
                </c:pt>
                <c:pt idx="4413">
                  <c:v>1.1571612240171372</c:v>
                </c:pt>
                <c:pt idx="4414">
                  <c:v>1.1116201653843838</c:v>
                </c:pt>
                <c:pt idx="4415">
                  <c:v>1.1116201653843838</c:v>
                </c:pt>
                <c:pt idx="4416">
                  <c:v>1.1116201653843838</c:v>
                </c:pt>
                <c:pt idx="4417">
                  <c:v>0.97037183642444658</c:v>
                </c:pt>
                <c:pt idx="4418">
                  <c:v>0.97037183642444658</c:v>
                </c:pt>
                <c:pt idx="4419">
                  <c:v>0.97037183642444658</c:v>
                </c:pt>
                <c:pt idx="4420">
                  <c:v>1.1207914113925366</c:v>
                </c:pt>
                <c:pt idx="4421">
                  <c:v>1.1207914113925366</c:v>
                </c:pt>
                <c:pt idx="4422">
                  <c:v>1.1411296391280707</c:v>
                </c:pt>
                <c:pt idx="4423">
                  <c:v>1.1362293151057796</c:v>
                </c:pt>
                <c:pt idx="4424">
                  <c:v>1.1174198367246524</c:v>
                </c:pt>
                <c:pt idx="4425">
                  <c:v>1.1195735042273096</c:v>
                </c:pt>
                <c:pt idx="4426">
                  <c:v>1.1208636808693357</c:v>
                </c:pt>
                <c:pt idx="4427">
                  <c:v>1.1429932876785247</c:v>
                </c:pt>
                <c:pt idx="4428">
                  <c:v>1.145098766507707</c:v>
                </c:pt>
                <c:pt idx="4429">
                  <c:v>1.1463601241751444</c:v>
                </c:pt>
                <c:pt idx="4430">
                  <c:v>1.1700673223042082</c:v>
                </c:pt>
                <c:pt idx="4431">
                  <c:v>1.2435132800154234</c:v>
                </c:pt>
                <c:pt idx="4432">
                  <c:v>1.3533264104446141</c:v>
                </c:pt>
                <c:pt idx="4433">
                  <c:v>1.3759183854438124</c:v>
                </c:pt>
                <c:pt idx="4434">
                  <c:v>1.3533257883587342</c:v>
                </c:pt>
                <c:pt idx="4435">
                  <c:v>1.289158961961985</c:v>
                </c:pt>
                <c:pt idx="4436">
                  <c:v>1.2887854245708295</c:v>
                </c:pt>
                <c:pt idx="4437">
                  <c:v>1.289158961961985</c:v>
                </c:pt>
                <c:pt idx="4438">
                  <c:v>1.289158961961985</c:v>
                </c:pt>
                <c:pt idx="4439">
                  <c:v>1.2650176656074241</c:v>
                </c:pt>
                <c:pt idx="4440">
                  <c:v>1.2661598972765133</c:v>
                </c:pt>
                <c:pt idx="4441">
                  <c:v>1.189660797903743</c:v>
                </c:pt>
                <c:pt idx="4442">
                  <c:v>1.1896607979037428</c:v>
                </c:pt>
                <c:pt idx="4443">
                  <c:v>1.2164880787950945</c:v>
                </c:pt>
                <c:pt idx="4444">
                  <c:v>1.2797820634735091</c:v>
                </c:pt>
                <c:pt idx="4445">
                  <c:v>1.2477627698745721</c:v>
                </c:pt>
                <c:pt idx="4446">
                  <c:v>1.2797820634735093</c:v>
                </c:pt>
                <c:pt idx="4447">
                  <c:v>1.293260915439072</c:v>
                </c:pt>
                <c:pt idx="4448">
                  <c:v>1.293260915439072</c:v>
                </c:pt>
                <c:pt idx="4449">
                  <c:v>1.3036477983613599</c:v>
                </c:pt>
                <c:pt idx="4450">
                  <c:v>1.2005449019976921</c:v>
                </c:pt>
                <c:pt idx="4451">
                  <c:v>1.2294873695975914</c:v>
                </c:pt>
                <c:pt idx="4452">
                  <c:v>1.2512331719492624</c:v>
                </c:pt>
                <c:pt idx="4453">
                  <c:v>1.2585277233530778</c:v>
                </c:pt>
                <c:pt idx="4454">
                  <c:v>1.2585277233530776</c:v>
                </c:pt>
                <c:pt idx="4455">
                  <c:v>1.2585277233530776</c:v>
                </c:pt>
                <c:pt idx="4456">
                  <c:v>1.2585277233530776</c:v>
                </c:pt>
                <c:pt idx="4457">
                  <c:v>1.219649979730856</c:v>
                </c:pt>
                <c:pt idx="4458">
                  <c:v>1.219649979730856</c:v>
                </c:pt>
                <c:pt idx="4459">
                  <c:v>1.2279171888098637</c:v>
                </c:pt>
                <c:pt idx="4460">
                  <c:v>1.2005419217715978</c:v>
                </c:pt>
                <c:pt idx="4461">
                  <c:v>1.1617995354067194</c:v>
                </c:pt>
                <c:pt idx="4462">
                  <c:v>0.94606778788011181</c:v>
                </c:pt>
                <c:pt idx="4463">
                  <c:v>0.98937341660404476</c:v>
                </c:pt>
                <c:pt idx="4464">
                  <c:v>1.0053140481530112</c:v>
                </c:pt>
                <c:pt idx="4465">
                  <c:v>1.1208582353991399</c:v>
                </c:pt>
                <c:pt idx="4466">
                  <c:v>1.1208582353991401</c:v>
                </c:pt>
                <c:pt idx="4467">
                  <c:v>1.1208582353991399</c:v>
                </c:pt>
                <c:pt idx="4468">
                  <c:v>1.1208582353991399</c:v>
                </c:pt>
                <c:pt idx="4469">
                  <c:v>1.1298477061497971</c:v>
                </c:pt>
                <c:pt idx="4470">
                  <c:v>1.1298477061497969</c:v>
                </c:pt>
                <c:pt idx="4471">
                  <c:v>1.1298477061497969</c:v>
                </c:pt>
                <c:pt idx="4472">
                  <c:v>1.1208582353991399</c:v>
                </c:pt>
                <c:pt idx="4473">
                  <c:v>1.0666857285078413</c:v>
                </c:pt>
                <c:pt idx="4474">
                  <c:v>1.0666857285078408</c:v>
                </c:pt>
                <c:pt idx="4475">
                  <c:v>1.0859327187304006</c:v>
                </c:pt>
                <c:pt idx="4476">
                  <c:v>1.0181643998240015</c:v>
                </c:pt>
                <c:pt idx="4477">
                  <c:v>1.01104232249944</c:v>
                </c:pt>
                <c:pt idx="4478">
                  <c:v>1.01104232249944</c:v>
                </c:pt>
                <c:pt idx="4479">
                  <c:v>1.00290959288749</c:v>
                </c:pt>
                <c:pt idx="4480">
                  <c:v>0.99374139791549332</c:v>
                </c:pt>
                <c:pt idx="4481">
                  <c:v>0.92910500268968121</c:v>
                </c:pt>
                <c:pt idx="4482">
                  <c:v>0.95367014491324686</c:v>
                </c:pt>
                <c:pt idx="4483">
                  <c:v>0.98203666673709133</c:v>
                </c:pt>
                <c:pt idx="4484">
                  <c:v>0.98936746032009504</c:v>
                </c:pt>
                <c:pt idx="4485">
                  <c:v>0.99567724141358693</c:v>
                </c:pt>
                <c:pt idx="4486">
                  <c:v>1.0912362411819783</c:v>
                </c:pt>
                <c:pt idx="4487">
                  <c:v>1.114389078838486</c:v>
                </c:pt>
                <c:pt idx="4488">
                  <c:v>1.1450892089727134</c:v>
                </c:pt>
                <c:pt idx="4489">
                  <c:v>1.1924859709095534</c:v>
                </c:pt>
                <c:pt idx="4490">
                  <c:v>1.1924859709095532</c:v>
                </c:pt>
                <c:pt idx="4491">
                  <c:v>1.1924859709095532</c:v>
                </c:pt>
                <c:pt idx="4492">
                  <c:v>1.2665330451420491</c:v>
                </c:pt>
                <c:pt idx="4493">
                  <c:v>1.2431163765949795</c:v>
                </c:pt>
                <c:pt idx="4494">
                  <c:v>1.2857809421944149</c:v>
                </c:pt>
                <c:pt idx="4495">
                  <c:v>1.2431163765949793</c:v>
                </c:pt>
                <c:pt idx="4496">
                  <c:v>1.2196429047014197</c:v>
                </c:pt>
                <c:pt idx="4497">
                  <c:v>1.2435043942723814</c:v>
                </c:pt>
                <c:pt idx="4498">
                  <c:v>1.2431175616953576</c:v>
                </c:pt>
                <c:pt idx="4499">
                  <c:v>1.3099123654157077</c:v>
                </c:pt>
                <c:pt idx="4500">
                  <c:v>1.3110133155596564</c:v>
                </c:pt>
                <c:pt idx="4501">
                  <c:v>1.3299829318799414</c:v>
                </c:pt>
                <c:pt idx="4502">
                  <c:v>1.327445823800899</c:v>
                </c:pt>
                <c:pt idx="4503">
                  <c:v>1.327445823800899</c:v>
                </c:pt>
                <c:pt idx="4504">
                  <c:v>1.3274458238008988</c:v>
                </c:pt>
                <c:pt idx="4505">
                  <c:v>1.2980886950064154</c:v>
                </c:pt>
                <c:pt idx="4506">
                  <c:v>1.2932561958451869</c:v>
                </c:pt>
                <c:pt idx="4507">
                  <c:v>1.2876576240930921</c:v>
                </c:pt>
                <c:pt idx="4508">
                  <c:v>1.281282937716244</c:v>
                </c:pt>
                <c:pt idx="4509">
                  <c:v>1.2812829377162442</c:v>
                </c:pt>
                <c:pt idx="4510">
                  <c:v>1.2741204875854821</c:v>
                </c:pt>
                <c:pt idx="4511">
                  <c:v>1.2741204875854817</c:v>
                </c:pt>
                <c:pt idx="4512">
                  <c:v>1.1762171417961818</c:v>
                </c:pt>
                <c:pt idx="4513">
                  <c:v>1.176217141796182</c:v>
                </c:pt>
                <c:pt idx="4514">
                  <c:v>1.1762617779101505</c:v>
                </c:pt>
                <c:pt idx="4515">
                  <c:v>1.1762617779101501</c:v>
                </c:pt>
                <c:pt idx="4516">
                  <c:v>1.1631639599582058</c:v>
                </c:pt>
                <c:pt idx="4517">
                  <c:v>1.1762617779101503</c:v>
                </c:pt>
                <c:pt idx="4518">
                  <c:v>1.1618594301549772</c:v>
                </c:pt>
                <c:pt idx="4519">
                  <c:v>1.1000805101414333</c:v>
                </c:pt>
                <c:pt idx="4520">
                  <c:v>1.1530604912724642</c:v>
                </c:pt>
                <c:pt idx="4521">
                  <c:v>1.153060491272464</c:v>
                </c:pt>
                <c:pt idx="4522">
                  <c:v>1.111807775254418</c:v>
                </c:pt>
                <c:pt idx="4523">
                  <c:v>1.1252263628326242</c:v>
                </c:pt>
                <c:pt idx="4524">
                  <c:v>1.0818043143449092</c:v>
                </c:pt>
                <c:pt idx="4525">
                  <c:v>1.043338003427569</c:v>
                </c:pt>
                <c:pt idx="4526">
                  <c:v>1.0585360535329984</c:v>
                </c:pt>
                <c:pt idx="4527">
                  <c:v>1.0025896090711408</c:v>
                </c:pt>
                <c:pt idx="4528">
                  <c:v>1.0585360535329982</c:v>
                </c:pt>
                <c:pt idx="4529">
                  <c:v>0.98096150723410602</c:v>
                </c:pt>
                <c:pt idx="4530">
                  <c:v>1.0310165895812462</c:v>
                </c:pt>
                <c:pt idx="4531">
                  <c:v>1.0709631615982858</c:v>
                </c:pt>
                <c:pt idx="4532">
                  <c:v>1.0887772188970404</c:v>
                </c:pt>
                <c:pt idx="4533">
                  <c:v>1.1042946910655738</c:v>
                </c:pt>
                <c:pt idx="4534">
                  <c:v>1.0925969805855114</c:v>
                </c:pt>
                <c:pt idx="4535">
                  <c:v>1.0925969805855114</c:v>
                </c:pt>
                <c:pt idx="4536">
                  <c:v>1.0925969805855114</c:v>
                </c:pt>
                <c:pt idx="4537">
                  <c:v>1.0925969805855114</c:v>
                </c:pt>
                <c:pt idx="4538">
                  <c:v>1.0925969805855111</c:v>
                </c:pt>
                <c:pt idx="4539">
                  <c:v>1.1834802172929997</c:v>
                </c:pt>
                <c:pt idx="4540">
                  <c:v>1.1993790417965868</c:v>
                </c:pt>
                <c:pt idx="4541">
                  <c:v>1.1993790417965866</c:v>
                </c:pt>
                <c:pt idx="4542">
                  <c:v>1.1993790417965868</c:v>
                </c:pt>
                <c:pt idx="4543">
                  <c:v>1.2313533109745658</c:v>
                </c:pt>
                <c:pt idx="4544">
                  <c:v>1.2314408489901363</c:v>
                </c:pt>
                <c:pt idx="4545">
                  <c:v>1.2387424363189046</c:v>
                </c:pt>
                <c:pt idx="4546">
                  <c:v>1.179556016231174</c:v>
                </c:pt>
                <c:pt idx="4547">
                  <c:v>1.1416031710359513</c:v>
                </c:pt>
                <c:pt idx="4548">
                  <c:v>1.1416031710359513</c:v>
                </c:pt>
                <c:pt idx="4549">
                  <c:v>1.1416031710359515</c:v>
                </c:pt>
                <c:pt idx="4550">
                  <c:v>1.0988431043738285</c:v>
                </c:pt>
                <c:pt idx="4551">
                  <c:v>1.1078894239685173</c:v>
                </c:pt>
                <c:pt idx="4552">
                  <c:v>1.109956155085414</c:v>
                </c:pt>
                <c:pt idx="4553">
                  <c:v>1.1010162490428914</c:v>
                </c:pt>
                <c:pt idx="4554">
                  <c:v>1.091805393240957</c:v>
                </c:pt>
                <c:pt idx="4555">
                  <c:v>1.091805393240957</c:v>
                </c:pt>
                <c:pt idx="4556">
                  <c:v>1.1010162490428914</c:v>
                </c:pt>
                <c:pt idx="4557">
                  <c:v>1.109956155085414</c:v>
                </c:pt>
                <c:pt idx="4558">
                  <c:v>1.0451467266314272</c:v>
                </c:pt>
                <c:pt idx="4559">
                  <c:v>1.0092654495331614</c:v>
                </c:pt>
                <c:pt idx="4560">
                  <c:v>0.93546331398118576</c:v>
                </c:pt>
                <c:pt idx="4561">
                  <c:v>0.88735094672156023</c:v>
                </c:pt>
                <c:pt idx="4562">
                  <c:v>0.88010724699146925</c:v>
                </c:pt>
                <c:pt idx="4563">
                  <c:v>0.85624963854342895</c:v>
                </c:pt>
                <c:pt idx="4564">
                  <c:v>0.85624963854342895</c:v>
                </c:pt>
                <c:pt idx="4565">
                  <c:v>0.85624963854342895</c:v>
                </c:pt>
                <c:pt idx="4566">
                  <c:v>0.90440082270166888</c:v>
                </c:pt>
                <c:pt idx="4567">
                  <c:v>0.98203291599210707</c:v>
                </c:pt>
                <c:pt idx="4568">
                  <c:v>1.0029026674275729</c:v>
                </c:pt>
                <c:pt idx="4569">
                  <c:v>1.0029026674275729</c:v>
                </c:pt>
                <c:pt idx="4570">
                  <c:v>0.98203291599210685</c:v>
                </c:pt>
                <c:pt idx="4571">
                  <c:v>1.0029026674275729</c:v>
                </c:pt>
                <c:pt idx="4572">
                  <c:v>1.0029026674275729</c:v>
                </c:pt>
                <c:pt idx="4573">
                  <c:v>0.95366418599194747</c:v>
                </c:pt>
                <c:pt idx="4574">
                  <c:v>0.96421292340186904</c:v>
                </c:pt>
                <c:pt idx="4575">
                  <c:v>0.96421292340186915</c:v>
                </c:pt>
                <c:pt idx="4576">
                  <c:v>1.0110348282596553</c:v>
                </c:pt>
                <c:pt idx="4577">
                  <c:v>1.0774652408773369</c:v>
                </c:pt>
                <c:pt idx="4578">
                  <c:v>1.1195609088018614</c:v>
                </c:pt>
                <c:pt idx="4579">
                  <c:v>1.142981134486966</c:v>
                </c:pt>
                <c:pt idx="4580">
                  <c:v>1.1651029965077224</c:v>
                </c:pt>
                <c:pt idx="4581">
                  <c:v>1.1651029965077224</c:v>
                </c:pt>
                <c:pt idx="4582">
                  <c:v>1.1613761561578417</c:v>
                </c:pt>
                <c:pt idx="4583">
                  <c:v>1.1651029965077226</c:v>
                </c:pt>
                <c:pt idx="4584">
                  <c:v>1.1613761561578417</c:v>
                </c:pt>
                <c:pt idx="4585">
                  <c:v>1.1429811344869665</c:v>
                </c:pt>
                <c:pt idx="4586">
                  <c:v>1.1208524143314547</c:v>
                </c:pt>
                <c:pt idx="4587">
                  <c:v>1.1208524143314551</c:v>
                </c:pt>
                <c:pt idx="4588">
                  <c:v>1.1212820850750953</c:v>
                </c:pt>
                <c:pt idx="4589">
                  <c:v>1.1450863599666263</c:v>
                </c:pt>
                <c:pt idx="4590">
                  <c:v>1.1463476394945475</c:v>
                </c:pt>
                <c:pt idx="4591">
                  <c:v>1.1463476394945475</c:v>
                </c:pt>
                <c:pt idx="4592">
                  <c:v>1.1676530001773906</c:v>
                </c:pt>
                <c:pt idx="4593">
                  <c:v>1.1907138272230968</c:v>
                </c:pt>
                <c:pt idx="4594">
                  <c:v>1.1887812399153357</c:v>
                </c:pt>
                <c:pt idx="4595">
                  <c:v>1.4135383071502996</c:v>
                </c:pt>
                <c:pt idx="4596">
                  <c:v>1.4135383071502998</c:v>
                </c:pt>
                <c:pt idx="4597">
                  <c:v>1.3509638410154428</c:v>
                </c:pt>
                <c:pt idx="4598">
                  <c:v>1.3266612676690561</c:v>
                </c:pt>
                <c:pt idx="4599">
                  <c:v>1.3280642105821008</c:v>
                </c:pt>
                <c:pt idx="4600">
                  <c:v>1.3512395478103656</c:v>
                </c:pt>
                <c:pt idx="4601">
                  <c:v>1.3283935769186461</c:v>
                </c:pt>
                <c:pt idx="4602">
                  <c:v>1.3458488733038334</c:v>
                </c:pt>
                <c:pt idx="4603">
                  <c:v>1.412747953631504</c:v>
                </c:pt>
                <c:pt idx="4604">
                  <c:v>1.4314543673361542</c:v>
                </c:pt>
                <c:pt idx="4605">
                  <c:v>1.4540060259865024</c:v>
                </c:pt>
                <c:pt idx="4606">
                  <c:v>1.4923415399131794</c:v>
                </c:pt>
                <c:pt idx="4607">
                  <c:v>1.4291729286867654</c:v>
                </c:pt>
                <c:pt idx="4608">
                  <c:v>1.4111192773576229</c:v>
                </c:pt>
                <c:pt idx="4609">
                  <c:v>1.3509639791317434</c:v>
                </c:pt>
                <c:pt idx="4610">
                  <c:v>1.3266617255927082</c:v>
                </c:pt>
                <c:pt idx="4611">
                  <c:v>1.3850912671987721</c:v>
                </c:pt>
                <c:pt idx="4612">
                  <c:v>1.4088053393670243</c:v>
                </c:pt>
                <c:pt idx="4613">
                  <c:v>1.4626430934283354</c:v>
                </c:pt>
                <c:pt idx="4614">
                  <c:v>1.4857679678090785</c:v>
                </c:pt>
                <c:pt idx="4615">
                  <c:v>1.4886096044712178</c:v>
                </c:pt>
                <c:pt idx="4616">
                  <c:v>1.488609604471218</c:v>
                </c:pt>
                <c:pt idx="4617">
                  <c:v>1.4886096044712178</c:v>
                </c:pt>
                <c:pt idx="4618">
                  <c:v>1.5396592051834073</c:v>
                </c:pt>
                <c:pt idx="4619">
                  <c:v>1.5800480698804811</c:v>
                </c:pt>
                <c:pt idx="4620">
                  <c:v>1.5800480698804813</c:v>
                </c:pt>
                <c:pt idx="4621">
                  <c:v>1.5767602999762504</c:v>
                </c:pt>
                <c:pt idx="4622">
                  <c:v>1.5643283173195541</c:v>
                </c:pt>
                <c:pt idx="4623">
                  <c:v>1.5643283173195541</c:v>
                </c:pt>
                <c:pt idx="4624">
                  <c:v>1.587557852109055</c:v>
                </c:pt>
                <c:pt idx="4625">
                  <c:v>1.3745167155023652</c:v>
                </c:pt>
                <c:pt idx="4626">
                  <c:v>1.4101553034875378</c:v>
                </c:pt>
                <c:pt idx="4627">
                  <c:v>1.436216776777294</c:v>
                </c:pt>
                <c:pt idx="4628">
                  <c:v>1.436216776777294</c:v>
                </c:pt>
                <c:pt idx="4629">
                  <c:v>1.389502617870501</c:v>
                </c:pt>
                <c:pt idx="4630">
                  <c:v>1.4240898543304443</c:v>
                </c:pt>
                <c:pt idx="4631">
                  <c:v>1.4240898543304439</c:v>
                </c:pt>
                <c:pt idx="4632">
                  <c:v>1.4101539602257041</c:v>
                </c:pt>
                <c:pt idx="4633">
                  <c:v>1.3372095374151471</c:v>
                </c:pt>
                <c:pt idx="4634">
                  <c:v>1.3245422278407519</c:v>
                </c:pt>
                <c:pt idx="4635">
                  <c:v>1.327451452319208</c:v>
                </c:pt>
                <c:pt idx="4636">
                  <c:v>1.2831646401740933</c:v>
                </c:pt>
                <c:pt idx="4637">
                  <c:v>1.2831638200929023</c:v>
                </c:pt>
                <c:pt idx="4638">
                  <c:v>1.2831638200929023</c:v>
                </c:pt>
                <c:pt idx="4639">
                  <c:v>1.3797657118461137</c:v>
                </c:pt>
                <c:pt idx="4640">
                  <c:v>1.3912383348913557</c:v>
                </c:pt>
                <c:pt idx="4641">
                  <c:v>1.3461871862463262</c:v>
                </c:pt>
                <c:pt idx="4642">
                  <c:v>1.3154208616370244</c:v>
                </c:pt>
                <c:pt idx="4643">
                  <c:v>1.2661570713696297</c:v>
                </c:pt>
                <c:pt idx="4644">
                  <c:v>1.2243806152453216</c:v>
                </c:pt>
                <c:pt idx="4645">
                  <c:v>1.2137117536429478</c:v>
                </c:pt>
                <c:pt idx="4646">
                  <c:v>1.2137117536429478</c:v>
                </c:pt>
                <c:pt idx="4647">
                  <c:v>1.2137117536429478</c:v>
                </c:pt>
                <c:pt idx="4648">
                  <c:v>1.2137117536429483</c:v>
                </c:pt>
                <c:pt idx="4649">
                  <c:v>1.1000331655449558</c:v>
                </c:pt>
                <c:pt idx="4650">
                  <c:v>1.1000331655449558</c:v>
                </c:pt>
                <c:pt idx="4651">
                  <c:v>1.1019382986634758</c:v>
                </c:pt>
                <c:pt idx="4652">
                  <c:v>1.1474061727141072</c:v>
                </c:pt>
                <c:pt idx="4653">
                  <c:v>1.1917936379490728</c:v>
                </c:pt>
                <c:pt idx="4654">
                  <c:v>1.1381016175808953</c:v>
                </c:pt>
                <c:pt idx="4655">
                  <c:v>1.1532066923863795</c:v>
                </c:pt>
                <c:pt idx="4656">
                  <c:v>1.1044932351728121</c:v>
                </c:pt>
                <c:pt idx="4657">
                  <c:v>1.0481710081552609</c:v>
                </c:pt>
                <c:pt idx="4658">
                  <c:v>1.0636474397593063</c:v>
                </c:pt>
                <c:pt idx="4659">
                  <c:v>1.0510322049209233</c:v>
                </c:pt>
                <c:pt idx="4660">
                  <c:v>1.0636474397593061</c:v>
                </c:pt>
                <c:pt idx="4661">
                  <c:v>1.075390737452804</c:v>
                </c:pt>
                <c:pt idx="4662">
                  <c:v>1.0861205463007517</c:v>
                </c:pt>
                <c:pt idx="4663">
                  <c:v>1.1303575020340138</c:v>
                </c:pt>
                <c:pt idx="4664">
                  <c:v>1.1780018893137667</c:v>
                </c:pt>
                <c:pt idx="4665">
                  <c:v>1.1430389222520296</c:v>
                </c:pt>
                <c:pt idx="4666">
                  <c:v>1.1430389222520292</c:v>
                </c:pt>
                <c:pt idx="4667">
                  <c:v>1.1430389222520296</c:v>
                </c:pt>
                <c:pt idx="4668">
                  <c:v>1.1430389222520296</c:v>
                </c:pt>
                <c:pt idx="4669">
                  <c:v>1.0315195678399931</c:v>
                </c:pt>
                <c:pt idx="4670">
                  <c:v>1.0202157744316735</c:v>
                </c:pt>
                <c:pt idx="4671">
                  <c:v>1.0202157744316735</c:v>
                </c:pt>
                <c:pt idx="4672">
                  <c:v>1.0031100851724779</c:v>
                </c:pt>
                <c:pt idx="4673">
                  <c:v>1.0136545152155743</c:v>
                </c:pt>
                <c:pt idx="4674">
                  <c:v>1.0136545152155743</c:v>
                </c:pt>
                <c:pt idx="4675">
                  <c:v>1.0592735759445349</c:v>
                </c:pt>
                <c:pt idx="4676">
                  <c:v>1.1219261420886453</c:v>
                </c:pt>
                <c:pt idx="4677">
                  <c:v>1.1305118008623007</c:v>
                </c:pt>
                <c:pt idx="4678">
                  <c:v>1.0859854144522618</c:v>
                </c:pt>
                <c:pt idx="4679">
                  <c:v>1.0859854144522616</c:v>
                </c:pt>
                <c:pt idx="4680">
                  <c:v>1.0956863203797969</c:v>
                </c:pt>
                <c:pt idx="4681">
                  <c:v>1.0946063200350422</c:v>
                </c:pt>
                <c:pt idx="4682">
                  <c:v>1.0574936343437185</c:v>
                </c:pt>
                <c:pt idx="4683">
                  <c:v>0.99351347080745456</c:v>
                </c:pt>
                <c:pt idx="4684">
                  <c:v>0.99351347080745467</c:v>
                </c:pt>
                <c:pt idx="4685">
                  <c:v>0.98170451848649209</c:v>
                </c:pt>
                <c:pt idx="4686">
                  <c:v>1.0026321143246268</c:v>
                </c:pt>
                <c:pt idx="4687">
                  <c:v>1.045805368145214</c:v>
                </c:pt>
                <c:pt idx="4688">
                  <c:v>1.0238787741390558</c:v>
                </c:pt>
                <c:pt idx="4689">
                  <c:v>0.98170451848649187</c:v>
                </c:pt>
                <c:pt idx="4690">
                  <c:v>0.90972579454995695</c:v>
                </c:pt>
                <c:pt idx="4691">
                  <c:v>0.9039391119162643</c:v>
                </c:pt>
                <c:pt idx="4692">
                  <c:v>0.9039391119162643</c:v>
                </c:pt>
                <c:pt idx="4693">
                  <c:v>0.81410136820025369</c:v>
                </c:pt>
                <c:pt idx="4694">
                  <c:v>0.79452173975150397</c:v>
                </c:pt>
                <c:pt idx="4695">
                  <c:v>0.76543065783155417</c:v>
                </c:pt>
                <c:pt idx="4696">
                  <c:v>0.76543065783155417</c:v>
                </c:pt>
                <c:pt idx="4697">
                  <c:v>0.76543065783155417</c:v>
                </c:pt>
                <c:pt idx="4698">
                  <c:v>0.77137074479029399</c:v>
                </c:pt>
                <c:pt idx="4699">
                  <c:v>0.76449142143097359</c:v>
                </c:pt>
                <c:pt idx="4700">
                  <c:v>0.77137074479029399</c:v>
                </c:pt>
                <c:pt idx="4701">
                  <c:v>0.7769502939054157</c:v>
                </c:pt>
                <c:pt idx="4702">
                  <c:v>0.78125791726272409</c:v>
                </c:pt>
                <c:pt idx="4703">
                  <c:v>0.77695029390541592</c:v>
                </c:pt>
                <c:pt idx="4704">
                  <c:v>0.78125791726272453</c:v>
                </c:pt>
                <c:pt idx="4705">
                  <c:v>0.73293896754800403</c:v>
                </c:pt>
                <c:pt idx="4706">
                  <c:v>0.61961952535517018</c:v>
                </c:pt>
                <c:pt idx="4707">
                  <c:v>0.61961952535517018</c:v>
                </c:pt>
                <c:pt idx="4708">
                  <c:v>0.62299780209780975</c:v>
                </c:pt>
                <c:pt idx="4709">
                  <c:v>0.62382674626538592</c:v>
                </c:pt>
                <c:pt idx="4710">
                  <c:v>0.6238267462653857</c:v>
                </c:pt>
                <c:pt idx="4711">
                  <c:v>0.66577658510536608</c:v>
                </c:pt>
                <c:pt idx="4712">
                  <c:v>0.66789119038042499</c:v>
                </c:pt>
                <c:pt idx="4713">
                  <c:v>0.70450205415824196</c:v>
                </c:pt>
                <c:pt idx="4714">
                  <c:v>0.69974940839516964</c:v>
                </c:pt>
                <c:pt idx="4715">
                  <c:v>0.70450205415824207</c:v>
                </c:pt>
                <c:pt idx="4716">
                  <c:v>0.65057343146498392</c:v>
                </c:pt>
                <c:pt idx="4717">
                  <c:v>0.74945593193457438</c:v>
                </c:pt>
                <c:pt idx="4718">
                  <c:v>0.78225871426103188</c:v>
                </c:pt>
                <c:pt idx="4719">
                  <c:v>0.82126647470098491</c:v>
                </c:pt>
                <c:pt idx="4720">
                  <c:v>0.82669616434468884</c:v>
                </c:pt>
                <c:pt idx="4721">
                  <c:v>0.82518971383731554</c:v>
                </c:pt>
                <c:pt idx="4722">
                  <c:v>0.82518971383731554</c:v>
                </c:pt>
                <c:pt idx="4723">
                  <c:v>0.82251007307400081</c:v>
                </c:pt>
                <c:pt idx="4724">
                  <c:v>0.77724467179292789</c:v>
                </c:pt>
                <c:pt idx="4725">
                  <c:v>0.77065800374068438</c:v>
                </c:pt>
                <c:pt idx="4726">
                  <c:v>0.79091911471471965</c:v>
                </c:pt>
                <c:pt idx="4727">
                  <c:v>0.79091911471471965</c:v>
                </c:pt>
                <c:pt idx="4728">
                  <c:v>0.79121458206959894</c:v>
                </c:pt>
                <c:pt idx="4729">
                  <c:v>0.78100840388132053</c:v>
                </c:pt>
                <c:pt idx="4730">
                  <c:v>0.8061086516351933</c:v>
                </c:pt>
                <c:pt idx="4731">
                  <c:v>0.81718083423597498</c:v>
                </c:pt>
                <c:pt idx="4732">
                  <c:v>0.89628838825920409</c:v>
                </c:pt>
                <c:pt idx="4733">
                  <c:v>0.93863516770203015</c:v>
                </c:pt>
                <c:pt idx="4734">
                  <c:v>1.006344964383284</c:v>
                </c:pt>
                <c:pt idx="4735">
                  <c:v>0.99447279059426819</c:v>
                </c:pt>
                <c:pt idx="4736">
                  <c:v>0.99447279059426819</c:v>
                </c:pt>
                <c:pt idx="4737">
                  <c:v>0.99447279059426819</c:v>
                </c:pt>
                <c:pt idx="4738">
                  <c:v>1.006344964383284</c:v>
                </c:pt>
                <c:pt idx="4739">
                  <c:v>1.0062162515479187</c:v>
                </c:pt>
                <c:pt idx="4740">
                  <c:v>1.0062162515479187</c:v>
                </c:pt>
                <c:pt idx="4741">
                  <c:v>0.98878224388076497</c:v>
                </c:pt>
                <c:pt idx="4742">
                  <c:v>0.98878224388076497</c:v>
                </c:pt>
                <c:pt idx="4743">
                  <c:v>0.96883904444148794</c:v>
                </c:pt>
                <c:pt idx="4744">
                  <c:v>0.96883904444148794</c:v>
                </c:pt>
                <c:pt idx="4745">
                  <c:v>0.96883904444148794</c:v>
                </c:pt>
                <c:pt idx="4746">
                  <c:v>0.97749229899435075</c:v>
                </c:pt>
                <c:pt idx="4747">
                  <c:v>0.86398605700191555</c:v>
                </c:pt>
                <c:pt idx="4748">
                  <c:v>0.91727212606793473</c:v>
                </c:pt>
                <c:pt idx="4749">
                  <c:v>0.85814559482256403</c:v>
                </c:pt>
                <c:pt idx="4750">
                  <c:v>0.83626933976885121</c:v>
                </c:pt>
                <c:pt idx="4751">
                  <c:v>0.83626933976885109</c:v>
                </c:pt>
                <c:pt idx="4752">
                  <c:v>0.89935423081420418</c:v>
                </c:pt>
                <c:pt idx="4753">
                  <c:v>0.89935423081420418</c:v>
                </c:pt>
                <c:pt idx="4754">
                  <c:v>1.0224132912281434</c:v>
                </c:pt>
                <c:pt idx="4755">
                  <c:v>1.0411715644175494</c:v>
                </c:pt>
                <c:pt idx="4756">
                  <c:v>1.0224132912281434</c:v>
                </c:pt>
                <c:pt idx="4757">
                  <c:v>1.0656232776980423</c:v>
                </c:pt>
                <c:pt idx="4758">
                  <c:v>1.0656232776980423</c:v>
                </c:pt>
                <c:pt idx="4759">
                  <c:v>1.1298468237769292</c:v>
                </c:pt>
                <c:pt idx="4760">
                  <c:v>1.11171830383057</c:v>
                </c:pt>
                <c:pt idx="4761">
                  <c:v>1.1039672003548278</c:v>
                </c:pt>
                <c:pt idx="4762">
                  <c:v>1.0584449544282772</c:v>
                </c:pt>
                <c:pt idx="4763">
                  <c:v>1.0130292055374899</c:v>
                </c:pt>
                <c:pt idx="4764">
                  <c:v>0.94291070836695223</c:v>
                </c:pt>
                <c:pt idx="4765">
                  <c:v>1.0130292055374899</c:v>
                </c:pt>
                <c:pt idx="4766">
                  <c:v>1.0584449544282772</c:v>
                </c:pt>
                <c:pt idx="4767">
                  <c:v>1.0584449544282772</c:v>
                </c:pt>
                <c:pt idx="4768">
                  <c:v>1.0503007730845646</c:v>
                </c:pt>
                <c:pt idx="4769">
                  <c:v>1.050757265338963</c:v>
                </c:pt>
                <c:pt idx="4770">
                  <c:v>1.050757265338963</c:v>
                </c:pt>
                <c:pt idx="4771">
                  <c:v>1.0934404229864092</c:v>
                </c:pt>
                <c:pt idx="4772">
                  <c:v>1.0859251600183721</c:v>
                </c:pt>
                <c:pt idx="4773">
                  <c:v>1.0859251600183721</c:v>
                </c:pt>
                <c:pt idx="4774">
                  <c:v>1.0859251600183724</c:v>
                </c:pt>
                <c:pt idx="4775">
                  <c:v>1.0774637759598953</c:v>
                </c:pt>
                <c:pt idx="4776">
                  <c:v>1.0680337844165697</c:v>
                </c:pt>
                <c:pt idx="4777">
                  <c:v>1.0576092764387059</c:v>
                </c:pt>
                <c:pt idx="4778">
                  <c:v>1.0576092764387057</c:v>
                </c:pt>
                <c:pt idx="4779">
                  <c:v>1.1039614868136596</c:v>
                </c:pt>
                <c:pt idx="4780">
                  <c:v>1.1208518511515664</c:v>
                </c:pt>
                <c:pt idx="4781">
                  <c:v>1.1208518511515664</c:v>
                </c:pt>
                <c:pt idx="4782">
                  <c:v>1.0734343716133403</c:v>
                </c:pt>
                <c:pt idx="4783">
                  <c:v>1.0734343716133403</c:v>
                </c:pt>
                <c:pt idx="4784">
                  <c:v>1.0014705163540458</c:v>
                </c:pt>
                <c:pt idx="4785">
                  <c:v>0.98937065113805356</c:v>
                </c:pt>
                <c:pt idx="4786">
                  <c:v>0.98937065113805367</c:v>
                </c:pt>
                <c:pt idx="4787">
                  <c:v>0.93376689992861706</c:v>
                </c:pt>
                <c:pt idx="4788">
                  <c:v>0.93376689992861706</c:v>
                </c:pt>
                <c:pt idx="4789">
                  <c:v>0.89100058104009872</c:v>
                </c:pt>
                <c:pt idx="4790">
                  <c:v>0.89100058104009872</c:v>
                </c:pt>
                <c:pt idx="4791">
                  <c:v>0.89100058104009872</c:v>
                </c:pt>
                <c:pt idx="4792">
                  <c:v>0.87847600722834951</c:v>
                </c:pt>
                <c:pt idx="4793">
                  <c:v>0.87847600722834951</c:v>
                </c:pt>
                <c:pt idx="4794">
                  <c:v>0.87847600722834951</c:v>
                </c:pt>
                <c:pt idx="4795">
                  <c:v>0.81474639520880854</c:v>
                </c:pt>
                <c:pt idx="4796">
                  <c:v>0.75777063391285482</c:v>
                </c:pt>
                <c:pt idx="4797">
                  <c:v>0.8328730445472079</c:v>
                </c:pt>
                <c:pt idx="4798">
                  <c:v>0.8328730445472079</c:v>
                </c:pt>
                <c:pt idx="4799">
                  <c:v>0.8328730445472079</c:v>
                </c:pt>
                <c:pt idx="4800">
                  <c:v>0.89746289280060165</c:v>
                </c:pt>
                <c:pt idx="4801">
                  <c:v>0.84493628127438891</c:v>
                </c:pt>
                <c:pt idx="4802">
                  <c:v>0.84493628127438891</c:v>
                </c:pt>
                <c:pt idx="4803">
                  <c:v>0.85795061603318623</c:v>
                </c:pt>
                <c:pt idx="4804">
                  <c:v>0.85795061603318612</c:v>
                </c:pt>
                <c:pt idx="4805">
                  <c:v>0.86966316442156077</c:v>
                </c:pt>
                <c:pt idx="4806">
                  <c:v>0.86966316442156077</c:v>
                </c:pt>
                <c:pt idx="4807">
                  <c:v>0.86966316442156089</c:v>
                </c:pt>
                <c:pt idx="4808">
                  <c:v>0.81000858783584218</c:v>
                </c:pt>
                <c:pt idx="4809">
                  <c:v>0.75010973742007347</c:v>
                </c:pt>
                <c:pt idx="4810">
                  <c:v>0.73518887235490815</c:v>
                </c:pt>
                <c:pt idx="4811">
                  <c:v>0.73518887235490815</c:v>
                </c:pt>
                <c:pt idx="4812">
                  <c:v>0.73518887235490815</c:v>
                </c:pt>
                <c:pt idx="4813">
                  <c:v>0.73518887235490815</c:v>
                </c:pt>
                <c:pt idx="4814">
                  <c:v>0.67720776811507422</c:v>
                </c:pt>
                <c:pt idx="4815">
                  <c:v>0.76031043451184199</c:v>
                </c:pt>
                <c:pt idx="4816">
                  <c:v>0.76031043451184199</c:v>
                </c:pt>
                <c:pt idx="4817">
                  <c:v>0.7577692452343191</c:v>
                </c:pt>
                <c:pt idx="4818">
                  <c:v>0.77148378186940603</c:v>
                </c:pt>
                <c:pt idx="4819">
                  <c:v>0.77148378186940603</c:v>
                </c:pt>
                <c:pt idx="4820">
                  <c:v>0.77148378186940603</c:v>
                </c:pt>
                <c:pt idx="4821">
                  <c:v>0.78791788898500004</c:v>
                </c:pt>
                <c:pt idx="4822">
                  <c:v>0.78791788898500015</c:v>
                </c:pt>
                <c:pt idx="4823">
                  <c:v>0.85093586494433127</c:v>
                </c:pt>
                <c:pt idx="4824">
                  <c:v>0.92305947479053607</c:v>
                </c:pt>
                <c:pt idx="4825">
                  <c:v>0.92305947479053607</c:v>
                </c:pt>
                <c:pt idx="4826">
                  <c:v>0.9255625303520465</c:v>
                </c:pt>
                <c:pt idx="4827">
                  <c:v>0.99991304798258485</c:v>
                </c:pt>
                <c:pt idx="4828">
                  <c:v>1.0521205777959513</c:v>
                </c:pt>
                <c:pt idx="4829">
                  <c:v>1.0521205777959513</c:v>
                </c:pt>
                <c:pt idx="4830">
                  <c:v>1.0521205777959513</c:v>
                </c:pt>
                <c:pt idx="4831">
                  <c:v>1.040796173322371</c:v>
                </c:pt>
                <c:pt idx="4832">
                  <c:v>1.040796173322371</c:v>
                </c:pt>
                <c:pt idx="4833">
                  <c:v>1.024279232898049</c:v>
                </c:pt>
                <c:pt idx="4834">
                  <c:v>1.024279232898049</c:v>
                </c:pt>
                <c:pt idx="4835">
                  <c:v>1.0065346687283103</c:v>
                </c:pt>
                <c:pt idx="4836">
                  <c:v>1.0529398126371603</c:v>
                </c:pt>
                <c:pt idx="4837">
                  <c:v>1.115498388385008</c:v>
                </c:pt>
                <c:pt idx="4838">
                  <c:v>1.124359356014869</c:v>
                </c:pt>
                <c:pt idx="4839">
                  <c:v>1.115498388385008</c:v>
                </c:pt>
                <c:pt idx="4840">
                  <c:v>1.124359356014869</c:v>
                </c:pt>
                <c:pt idx="4841">
                  <c:v>1.2432609632246789</c:v>
                </c:pt>
                <c:pt idx="4842">
                  <c:v>1.2841245698854205</c:v>
                </c:pt>
                <c:pt idx="4843">
                  <c:v>1.2841245698854205</c:v>
                </c:pt>
                <c:pt idx="4844">
                  <c:v>1.3201566194497016</c:v>
                </c:pt>
                <c:pt idx="4845">
                  <c:v>1.3201566194497014</c:v>
                </c:pt>
                <c:pt idx="4846">
                  <c:v>1.3283778741384764</c:v>
                </c:pt>
                <c:pt idx="4847">
                  <c:v>1.3283778741384764</c:v>
                </c:pt>
                <c:pt idx="4848">
                  <c:v>1.3256301545597746</c:v>
                </c:pt>
                <c:pt idx="4849">
                  <c:v>1.3256301545597744</c:v>
                </c:pt>
                <c:pt idx="4850">
                  <c:v>1.3317936150385621</c:v>
                </c:pt>
                <c:pt idx="4851">
                  <c:v>1.3317936150385621</c:v>
                </c:pt>
                <c:pt idx="4852">
                  <c:v>1.3472585717910193</c:v>
                </c:pt>
                <c:pt idx="4853">
                  <c:v>1.3472585717910193</c:v>
                </c:pt>
                <c:pt idx="4854">
                  <c:v>1.298090883841595</c:v>
                </c:pt>
                <c:pt idx="4855">
                  <c:v>1.372757786024893</c:v>
                </c:pt>
                <c:pt idx="4856">
                  <c:v>1.3543861657677261</c:v>
                </c:pt>
                <c:pt idx="4857">
                  <c:v>1.2857853616128712</c:v>
                </c:pt>
                <c:pt idx="4858">
                  <c:v>1.2822579870096698</c:v>
                </c:pt>
                <c:pt idx="4859">
                  <c:v>1.3077030224176305</c:v>
                </c:pt>
                <c:pt idx="4860">
                  <c:v>1.2397801136902242</c:v>
                </c:pt>
                <c:pt idx="4861">
                  <c:v>1.2386929803313209</c:v>
                </c:pt>
                <c:pt idx="4862">
                  <c:v>1.236826224474171</c:v>
                </c:pt>
                <c:pt idx="4863">
                  <c:v>1.2618133562256795</c:v>
                </c:pt>
                <c:pt idx="4864">
                  <c:v>1.2599809389170245</c:v>
                </c:pt>
                <c:pt idx="4865">
                  <c:v>1.2599809389170242</c:v>
                </c:pt>
                <c:pt idx="4866">
                  <c:v>1.2386969645911965</c:v>
                </c:pt>
                <c:pt idx="4867">
                  <c:v>1.1581458503277546</c:v>
                </c:pt>
                <c:pt idx="4868">
                  <c:v>1.1891750607269369</c:v>
                </c:pt>
                <c:pt idx="4869">
                  <c:v>1.2498488544311452</c:v>
                </c:pt>
                <c:pt idx="4870">
                  <c:v>1.2550522350826503</c:v>
                </c:pt>
                <c:pt idx="4871">
                  <c:v>1.1215434028268108</c:v>
                </c:pt>
                <c:pt idx="4872">
                  <c:v>1.1646630485350045</c:v>
                </c:pt>
                <c:pt idx="4873">
                  <c:v>1.1871436269908251</c:v>
                </c:pt>
                <c:pt idx="4874">
                  <c:v>1.0766065908064435</c:v>
                </c:pt>
                <c:pt idx="4875">
                  <c:v>1.0624529559439162</c:v>
                </c:pt>
                <c:pt idx="4876">
                  <c:v>1.0744332610668399</c:v>
                </c:pt>
                <c:pt idx="4877">
                  <c:v>1.1214464631750389</c:v>
                </c:pt>
                <c:pt idx="4878">
                  <c:v>1.1214464631750389</c:v>
                </c:pt>
                <c:pt idx="4879">
                  <c:v>1.0744332610668399</c:v>
                </c:pt>
                <c:pt idx="4880">
                  <c:v>1.0744332610668399</c:v>
                </c:pt>
                <c:pt idx="4881">
                  <c:v>1.1214464631750389</c:v>
                </c:pt>
                <c:pt idx="4882">
                  <c:v>1.0744332610668399</c:v>
                </c:pt>
                <c:pt idx="4883">
                  <c:v>1.0584317863339192</c:v>
                </c:pt>
                <c:pt idx="4884">
                  <c:v>1.0584317863339194</c:v>
                </c:pt>
                <c:pt idx="4885">
                  <c:v>0.99420159954825482</c:v>
                </c:pt>
                <c:pt idx="4886">
                  <c:v>1.0031601729810939</c:v>
                </c:pt>
                <c:pt idx="4887">
                  <c:v>1.0031601729810939</c:v>
                </c:pt>
                <c:pt idx="4888">
                  <c:v>0.98561313232294678</c:v>
                </c:pt>
                <c:pt idx="4889">
                  <c:v>0.96325755651348155</c:v>
                </c:pt>
                <c:pt idx="4890">
                  <c:v>0.99899274094710655</c:v>
                </c:pt>
                <c:pt idx="4891">
                  <c:v>0.99899274094710588</c:v>
                </c:pt>
                <c:pt idx="4892">
                  <c:v>1.036645862163625</c:v>
                </c:pt>
                <c:pt idx="4893">
                  <c:v>1.0041749932404118</c:v>
                </c:pt>
                <c:pt idx="4894">
                  <c:v>1.0041749932404118</c:v>
                </c:pt>
                <c:pt idx="4895">
                  <c:v>1.0041749932404118</c:v>
                </c:pt>
                <c:pt idx="4896">
                  <c:v>1.0397893225431576</c:v>
                </c:pt>
                <c:pt idx="4897">
                  <c:v>1.0397893225431578</c:v>
                </c:pt>
                <c:pt idx="4898">
                  <c:v>1.0041749932404118</c:v>
                </c:pt>
                <c:pt idx="4899">
                  <c:v>0.92192225976255693</c:v>
                </c:pt>
                <c:pt idx="4900">
                  <c:v>0.91528938487665923</c:v>
                </c:pt>
                <c:pt idx="4901">
                  <c:v>0.87778177787723477</c:v>
                </c:pt>
                <c:pt idx="4902">
                  <c:v>0.77880278532020653</c:v>
                </c:pt>
                <c:pt idx="4903">
                  <c:v>0.71121139169599823</c:v>
                </c:pt>
                <c:pt idx="4904">
                  <c:v>0.71053304763508873</c:v>
                </c:pt>
                <c:pt idx="4905">
                  <c:v>0.71053304763508873</c:v>
                </c:pt>
                <c:pt idx="4906">
                  <c:v>0.71053304763508862</c:v>
                </c:pt>
                <c:pt idx="4907">
                  <c:v>0.78278338869012587</c:v>
                </c:pt>
                <c:pt idx="4908">
                  <c:v>0.82357006014395528</c:v>
                </c:pt>
                <c:pt idx="4909">
                  <c:v>0.85626008509875928</c:v>
                </c:pt>
                <c:pt idx="4910">
                  <c:v>0.8591869604714174</c:v>
                </c:pt>
                <c:pt idx="4911">
                  <c:v>0.82173501032336982</c:v>
                </c:pt>
                <c:pt idx="4912">
                  <c:v>0.85204656047794647</c:v>
                </c:pt>
                <c:pt idx="4913">
                  <c:v>0.88022241283555513</c:v>
                </c:pt>
                <c:pt idx="4914">
                  <c:v>0.88022241283555536</c:v>
                </c:pt>
                <c:pt idx="4915">
                  <c:v>0.88531695854330561</c:v>
                </c:pt>
                <c:pt idx="4916">
                  <c:v>0.90646174309696714</c:v>
                </c:pt>
                <c:pt idx="4917">
                  <c:v>0.90646174309696714</c:v>
                </c:pt>
                <c:pt idx="4918">
                  <c:v>0.90646174309696725</c:v>
                </c:pt>
                <c:pt idx="4919">
                  <c:v>0.98359452075280829</c:v>
                </c:pt>
                <c:pt idx="4920">
                  <c:v>0.98359452075280807</c:v>
                </c:pt>
                <c:pt idx="4921">
                  <c:v>0.98359452075280807</c:v>
                </c:pt>
                <c:pt idx="4922">
                  <c:v>0.95475709409705301</c:v>
                </c:pt>
                <c:pt idx="4923">
                  <c:v>1.0058542246105677</c:v>
                </c:pt>
                <c:pt idx="4924">
                  <c:v>1.0058542246105675</c:v>
                </c:pt>
                <c:pt idx="4925">
                  <c:v>0.9917057515850205</c:v>
                </c:pt>
                <c:pt idx="4926">
                  <c:v>1.0498975236580443</c:v>
                </c:pt>
                <c:pt idx="4927">
                  <c:v>1.0677927938134633</c:v>
                </c:pt>
                <c:pt idx="4928">
                  <c:v>1.1694209422225195</c:v>
                </c:pt>
                <c:pt idx="4929">
                  <c:v>1.1871376117771044</c:v>
                </c:pt>
                <c:pt idx="4930">
                  <c:v>1.1754450168289585</c:v>
                </c:pt>
                <c:pt idx="4931">
                  <c:v>1.1938794394622412</c:v>
                </c:pt>
                <c:pt idx="4932">
                  <c:v>1.1938794394622412</c:v>
                </c:pt>
                <c:pt idx="4933">
                  <c:v>1.2112384097104569</c:v>
                </c:pt>
                <c:pt idx="4934">
                  <c:v>1.2508951142022333</c:v>
                </c:pt>
                <c:pt idx="4935">
                  <c:v>1.3024673427213769</c:v>
                </c:pt>
                <c:pt idx="4936">
                  <c:v>1.391404958252598</c:v>
                </c:pt>
                <c:pt idx="4937">
                  <c:v>1.4379513950001503</c:v>
                </c:pt>
                <c:pt idx="4938">
                  <c:v>1.6259868970969034</c:v>
                </c:pt>
                <c:pt idx="4939">
                  <c:v>1.6166798234957973</c:v>
                </c:pt>
                <c:pt idx="4940">
                  <c:v>1.6392107766681019</c:v>
                </c:pt>
                <c:pt idx="4941">
                  <c:v>1.6587849328286421</c:v>
                </c:pt>
                <c:pt idx="4942">
                  <c:v>1.6955502248736185</c:v>
                </c:pt>
                <c:pt idx="4943">
                  <c:v>1.678132621245169</c:v>
                </c:pt>
                <c:pt idx="4944">
                  <c:v>1.6759902077610644</c:v>
                </c:pt>
                <c:pt idx="4945">
                  <c:v>1.7211083243967875</c:v>
                </c:pt>
                <c:pt idx="4946">
                  <c:v>1.7362047312048752</c:v>
                </c:pt>
                <c:pt idx="4947">
                  <c:v>1.7663598046130047</c:v>
                </c:pt>
                <c:pt idx="4948">
                  <c:v>1.7911741831844721</c:v>
                </c:pt>
                <c:pt idx="4949">
                  <c:v>1.740079174214725</c:v>
                </c:pt>
                <c:pt idx="4950">
                  <c:v>1.7975644657848451</c:v>
                </c:pt>
                <c:pt idx="4951">
                  <c:v>1.8060204485392894</c:v>
                </c:pt>
                <c:pt idx="4952">
                  <c:v>1.7603905933134329</c:v>
                </c:pt>
                <c:pt idx="4953">
                  <c:v>1.6741969529211915</c:v>
                </c:pt>
                <c:pt idx="4954">
                  <c:v>1.7426316693483843</c:v>
                </c:pt>
                <c:pt idx="4955">
                  <c:v>1.7264205084535713</c:v>
                </c:pt>
                <c:pt idx="4956">
                  <c:v>1.5151778420924054</c:v>
                </c:pt>
                <c:pt idx="4957">
                  <c:v>1.5110657199546988</c:v>
                </c:pt>
                <c:pt idx="4958">
                  <c:v>1.2272180466532829</c:v>
                </c:pt>
                <c:pt idx="4959">
                  <c:v>1.2094580427835142</c:v>
                </c:pt>
                <c:pt idx="4960">
                  <c:v>1.0865500813801863</c:v>
                </c:pt>
                <c:pt idx="4961">
                  <c:v>1.1343381454920125</c:v>
                </c:pt>
                <c:pt idx="4962">
                  <c:v>1.0420980822089596</c:v>
                </c:pt>
                <c:pt idx="4963">
                  <c:v>1.0075669631456208</c:v>
                </c:pt>
                <c:pt idx="4964">
                  <c:v>1.0001503666858866</c:v>
                </c:pt>
                <c:pt idx="4965">
                  <c:v>1.0571079607466705</c:v>
                </c:pt>
                <c:pt idx="4966">
                  <c:v>1.102137053268506</c:v>
                </c:pt>
                <c:pt idx="4967">
                  <c:v>1.1405477311868244</c:v>
                </c:pt>
                <c:pt idx="4968">
                  <c:v>1.0731128140203716</c:v>
                </c:pt>
                <c:pt idx="4969">
                  <c:v>1.0342277429489359</c:v>
                </c:pt>
                <c:pt idx="4970">
                  <c:v>1.0269720147061545</c:v>
                </c:pt>
                <c:pt idx="4971">
                  <c:v>1.0187194189268125</c:v>
                </c:pt>
                <c:pt idx="4972">
                  <c:v>1.1207502847141753</c:v>
                </c:pt>
                <c:pt idx="4973">
                  <c:v>1.1106576166635782</c:v>
                </c:pt>
                <c:pt idx="4974">
                  <c:v>1.0663407246624002</c:v>
                </c:pt>
                <c:pt idx="4975">
                  <c:v>1.0663407246623999</c:v>
                </c:pt>
                <c:pt idx="4976">
                  <c:v>1.0663407246623999</c:v>
                </c:pt>
                <c:pt idx="4977">
                  <c:v>1.0663407246623999</c:v>
                </c:pt>
                <c:pt idx="4978">
                  <c:v>1.0663407246623999</c:v>
                </c:pt>
                <c:pt idx="4979">
                  <c:v>1.0828958176909254</c:v>
                </c:pt>
                <c:pt idx="4980">
                  <c:v>1.0663407246624002</c:v>
                </c:pt>
                <c:pt idx="4981">
                  <c:v>1.0828958176909258</c:v>
                </c:pt>
                <c:pt idx="4982">
                  <c:v>1.0318061562614165</c:v>
                </c:pt>
                <c:pt idx="4983">
                  <c:v>1.0318061562614165</c:v>
                </c:pt>
                <c:pt idx="4984">
                  <c:v>0.97027843681321924</c:v>
                </c:pt>
                <c:pt idx="4985">
                  <c:v>0.97027843681321924</c:v>
                </c:pt>
                <c:pt idx="4986">
                  <c:v>1.0318061562614167</c:v>
                </c:pt>
                <c:pt idx="4987">
                  <c:v>1.0828958176909254</c:v>
                </c:pt>
                <c:pt idx="4988">
                  <c:v>1.0983248170172892</c:v>
                </c:pt>
                <c:pt idx="4989">
                  <c:v>1.1126745688583985</c:v>
                </c:pt>
                <c:pt idx="4990">
                  <c:v>1.0715617738010805</c:v>
                </c:pt>
                <c:pt idx="4991">
                  <c:v>1.0181661687879453</c:v>
                </c:pt>
                <c:pt idx="4992">
                  <c:v>1.0181661687879453</c:v>
                </c:pt>
                <c:pt idx="4993">
                  <c:v>1.0555922266167153</c:v>
                </c:pt>
                <c:pt idx="4994">
                  <c:v>1.0555922266167153</c:v>
                </c:pt>
                <c:pt idx="4995">
                  <c:v>1.0033230774817379</c:v>
                </c:pt>
                <c:pt idx="4996">
                  <c:v>0.99144382804809927</c:v>
                </c:pt>
                <c:pt idx="4997">
                  <c:v>0.92102323179439638</c:v>
                </c:pt>
                <c:pt idx="4998">
                  <c:v>0.9432839617734512</c:v>
                </c:pt>
                <c:pt idx="4999">
                  <c:v>0.95188579638897053</c:v>
                </c:pt>
                <c:pt idx="5000">
                  <c:v>0.95940697673078668</c:v>
                </c:pt>
                <c:pt idx="5001">
                  <c:v>0.96587274805584478</c:v>
                </c:pt>
                <c:pt idx="5002">
                  <c:v>0.8909119344999108</c:v>
                </c:pt>
                <c:pt idx="5003">
                  <c:v>0.89091193449991057</c:v>
                </c:pt>
                <c:pt idx="5004">
                  <c:v>0.89091193449991057</c:v>
                </c:pt>
                <c:pt idx="5005">
                  <c:v>0.89091193449991057</c:v>
                </c:pt>
                <c:pt idx="5006">
                  <c:v>0.8909119344999108</c:v>
                </c:pt>
                <c:pt idx="5007">
                  <c:v>0.8909119344999108</c:v>
                </c:pt>
                <c:pt idx="5008">
                  <c:v>0.8909119344999108</c:v>
                </c:pt>
                <c:pt idx="5009">
                  <c:v>0.89041374241926752</c:v>
                </c:pt>
                <c:pt idx="5010">
                  <c:v>0.89041374241926752</c:v>
                </c:pt>
                <c:pt idx="5011">
                  <c:v>0.91819619160306576</c:v>
                </c:pt>
                <c:pt idx="5012">
                  <c:v>0.94563169479716025</c:v>
                </c:pt>
                <c:pt idx="5013">
                  <c:v>0.97130201221871404</c:v>
                </c:pt>
                <c:pt idx="5014">
                  <c:v>0.97571618725273779</c:v>
                </c:pt>
                <c:pt idx="5015">
                  <c:v>0.98394904029163965</c:v>
                </c:pt>
                <c:pt idx="5016">
                  <c:v>0.96637441766411969</c:v>
                </c:pt>
                <c:pt idx="5017">
                  <c:v>0.89147772477582576</c:v>
                </c:pt>
                <c:pt idx="5018">
                  <c:v>0.88613435992231493</c:v>
                </c:pt>
                <c:pt idx="5019">
                  <c:v>0.92332838667158568</c:v>
                </c:pt>
                <c:pt idx="5020">
                  <c:v>0.94308772997379042</c:v>
                </c:pt>
                <c:pt idx="5021">
                  <c:v>0.94948407337714813</c:v>
                </c:pt>
                <c:pt idx="5022">
                  <c:v>0.95451263626304461</c:v>
                </c:pt>
                <c:pt idx="5023">
                  <c:v>0.95451263626304472</c:v>
                </c:pt>
                <c:pt idx="5024">
                  <c:v>0.95851029247441621</c:v>
                </c:pt>
                <c:pt idx="5025">
                  <c:v>0.98432573300097015</c:v>
                </c:pt>
                <c:pt idx="5026">
                  <c:v>0.94948407337714846</c:v>
                </c:pt>
                <c:pt idx="5027">
                  <c:v>0.94948407337714835</c:v>
                </c:pt>
                <c:pt idx="5028">
                  <c:v>0.92373783993282277</c:v>
                </c:pt>
                <c:pt idx="5029">
                  <c:v>0.91854081549748889</c:v>
                </c:pt>
                <c:pt idx="5030">
                  <c:v>0.91225879187345937</c:v>
                </c:pt>
                <c:pt idx="5031">
                  <c:v>0.90486917163237113</c:v>
                </c:pt>
                <c:pt idx="5032">
                  <c:v>0.77040099305326559</c:v>
                </c:pt>
                <c:pt idx="5033">
                  <c:v>0.7704009930532657</c:v>
                </c:pt>
                <c:pt idx="5034">
                  <c:v>0.7704009930532657</c:v>
                </c:pt>
                <c:pt idx="5035">
                  <c:v>0.7704009930532657</c:v>
                </c:pt>
                <c:pt idx="5036">
                  <c:v>0.78276820561594429</c:v>
                </c:pt>
                <c:pt idx="5037">
                  <c:v>0.80704427757064712</c:v>
                </c:pt>
                <c:pt idx="5038">
                  <c:v>0.81885825365888321</c:v>
                </c:pt>
                <c:pt idx="5039">
                  <c:v>0.87233484689804364</c:v>
                </c:pt>
                <c:pt idx="5040">
                  <c:v>0.94960714769331966</c:v>
                </c:pt>
                <c:pt idx="5041">
                  <c:v>0.97355992729486396</c:v>
                </c:pt>
                <c:pt idx="5042">
                  <c:v>0.94948286107555346</c:v>
                </c:pt>
                <c:pt idx="5043">
                  <c:v>1.0028141059884721</c:v>
                </c:pt>
                <c:pt idx="5044">
                  <c:v>1.0367934532949208</c:v>
                </c:pt>
                <c:pt idx="5045">
                  <c:v>1.0336430040307059</c:v>
                </c:pt>
                <c:pt idx="5046">
                  <c:v>1.0110274382681443</c:v>
                </c:pt>
                <c:pt idx="5047">
                  <c:v>1.0110274382681443</c:v>
                </c:pt>
                <c:pt idx="5048">
                  <c:v>1.0124559450384445</c:v>
                </c:pt>
                <c:pt idx="5049">
                  <c:v>0.98202530775381536</c:v>
                </c:pt>
                <c:pt idx="5050">
                  <c:v>0.95416208761236732</c:v>
                </c:pt>
                <c:pt idx="5051">
                  <c:v>0.95416208761236709</c:v>
                </c:pt>
                <c:pt idx="5052">
                  <c:v>0.98202530775381536</c:v>
                </c:pt>
                <c:pt idx="5053">
                  <c:v>1.0406179951488415</c:v>
                </c:pt>
                <c:pt idx="5054">
                  <c:v>1.0406179951488415</c:v>
                </c:pt>
                <c:pt idx="5055">
                  <c:v>1.0124640521446009</c:v>
                </c:pt>
                <c:pt idx="5056">
                  <c:v>1.0912379768267655</c:v>
                </c:pt>
                <c:pt idx="5057">
                  <c:v>1.0881436784198419</c:v>
                </c:pt>
                <c:pt idx="5058">
                  <c:v>1.0841523179451096</c:v>
                </c:pt>
                <c:pt idx="5059">
                  <c:v>1.0792539427451915</c:v>
                </c:pt>
                <c:pt idx="5060">
                  <c:v>1.0734361360420683</c:v>
                </c:pt>
                <c:pt idx="5061">
                  <c:v>1.0666838539114614</c:v>
                </c:pt>
                <c:pt idx="5062">
                  <c:v>1.0666838539114614</c:v>
                </c:pt>
                <c:pt idx="5063">
                  <c:v>1.1298472403306401</c:v>
                </c:pt>
                <c:pt idx="5064">
                  <c:v>1.1630399757364001</c:v>
                </c:pt>
                <c:pt idx="5065">
                  <c:v>1.1551439574117306</c:v>
                </c:pt>
                <c:pt idx="5066">
                  <c:v>1.1945050961145731</c:v>
                </c:pt>
                <c:pt idx="5067">
                  <c:v>1.2105329512196319</c:v>
                </c:pt>
                <c:pt idx="5068">
                  <c:v>1.2196508425181274</c:v>
                </c:pt>
                <c:pt idx="5069">
                  <c:v>1.2041498221834244</c:v>
                </c:pt>
                <c:pt idx="5070">
                  <c:v>1.1463514950164475</c:v>
                </c:pt>
                <c:pt idx="5071">
                  <c:v>1.1379171415050573</c:v>
                </c:pt>
                <c:pt idx="5072">
                  <c:v>1.1379171415050573</c:v>
                </c:pt>
                <c:pt idx="5073">
                  <c:v>1.0406212311464005</c:v>
                </c:pt>
                <c:pt idx="5074">
                  <c:v>1.0313227615236598</c:v>
                </c:pt>
                <c:pt idx="5075">
                  <c:v>1.0392328581394972</c:v>
                </c:pt>
                <c:pt idx="5076">
                  <c:v>1.0392328581394972</c:v>
                </c:pt>
                <c:pt idx="5077">
                  <c:v>1.0792516025990655</c:v>
                </c:pt>
                <c:pt idx="5078">
                  <c:v>1.0841503766205332</c:v>
                </c:pt>
                <c:pt idx="5079">
                  <c:v>1.0881421310402584</c:v>
                </c:pt>
                <c:pt idx="5080">
                  <c:v>1.0881421310402584</c:v>
                </c:pt>
                <c:pt idx="5081">
                  <c:v>1.0912368195620157</c:v>
                </c:pt>
                <c:pt idx="5082">
                  <c:v>1.0571562151661289</c:v>
                </c:pt>
                <c:pt idx="5083">
                  <c:v>1.0124636363613413</c:v>
                </c:pt>
                <c:pt idx="5084">
                  <c:v>1.0124636363613417</c:v>
                </c:pt>
                <c:pt idx="5085">
                  <c:v>1.0129395963881764</c:v>
                </c:pt>
                <c:pt idx="5086">
                  <c:v>0.95365734452088702</c:v>
                </c:pt>
                <c:pt idx="5087">
                  <c:v>0.95214106774420082</c:v>
                </c:pt>
                <c:pt idx="5088">
                  <c:v>0.95214106774420082</c:v>
                </c:pt>
                <c:pt idx="5089">
                  <c:v>0.95214106774420082</c:v>
                </c:pt>
                <c:pt idx="5090">
                  <c:v>0.94960841182884492</c:v>
                </c:pt>
                <c:pt idx="5091">
                  <c:v>0.97167159058708308</c:v>
                </c:pt>
                <c:pt idx="5092">
                  <c:v>0.97612277681334869</c:v>
                </c:pt>
                <c:pt idx="5093">
                  <c:v>0.8646385521422143</c:v>
                </c:pt>
                <c:pt idx="5094">
                  <c:v>0.83804580680226504</c:v>
                </c:pt>
                <c:pt idx="5095">
                  <c:v>0.8562414042458103</c:v>
                </c:pt>
                <c:pt idx="5096">
                  <c:v>0.85624140424581052</c:v>
                </c:pt>
                <c:pt idx="5097">
                  <c:v>0.79497802795488826</c:v>
                </c:pt>
                <c:pt idx="5098">
                  <c:v>0.81472779576703513</c:v>
                </c:pt>
                <c:pt idx="5099">
                  <c:v>0.94196757711364065</c:v>
                </c:pt>
                <c:pt idx="5100">
                  <c:v>0.94605010171450854</c:v>
                </c:pt>
                <c:pt idx="5101">
                  <c:v>1.0680306313195287</c:v>
                </c:pt>
                <c:pt idx="5102">
                  <c:v>1.0774598691409374</c:v>
                </c:pt>
                <c:pt idx="5103">
                  <c:v>1.1195597808344486</c:v>
                </c:pt>
                <c:pt idx="5104">
                  <c:v>1.1259946514031562</c:v>
                </c:pt>
                <c:pt idx="5105">
                  <c:v>1.1315418896000051</c:v>
                </c:pt>
                <c:pt idx="5106">
                  <c:v>1.1315418896000051</c:v>
                </c:pt>
                <c:pt idx="5107">
                  <c:v>1.2137042104008859</c:v>
                </c:pt>
                <c:pt idx="5108">
                  <c:v>1.241953714358633</c:v>
                </c:pt>
                <c:pt idx="5109">
                  <c:v>1.2431162072162392</c:v>
                </c:pt>
                <c:pt idx="5110">
                  <c:v>1.2857863437797836</c:v>
                </c:pt>
                <c:pt idx="5111">
                  <c:v>1.2831607036721024</c:v>
                </c:pt>
                <c:pt idx="5112">
                  <c:v>1.2707137532554889</c:v>
                </c:pt>
                <c:pt idx="5113">
                  <c:v>1.2716450136062993</c:v>
                </c:pt>
                <c:pt idx="5114">
                  <c:v>1.243434776746785</c:v>
                </c:pt>
                <c:pt idx="5115">
                  <c:v>1.2917224029301713</c:v>
                </c:pt>
                <c:pt idx="5116">
                  <c:v>1.2429860795901027</c:v>
                </c:pt>
                <c:pt idx="5117">
                  <c:v>1.230660359169923</c:v>
                </c:pt>
                <c:pt idx="5118">
                  <c:v>1.1789668855989592</c:v>
                </c:pt>
                <c:pt idx="5119">
                  <c:v>1.1219862073924363</c:v>
                </c:pt>
                <c:pt idx="5120">
                  <c:v>1.1102805951710339</c:v>
                </c:pt>
                <c:pt idx="5121">
                  <c:v>1.1160963854370998</c:v>
                </c:pt>
                <c:pt idx="5122">
                  <c:v>1.0485878547309262</c:v>
                </c:pt>
                <c:pt idx="5123">
                  <c:v>1.0248330613288461</c:v>
                </c:pt>
                <c:pt idx="5124">
                  <c:v>1.0769739811602246</c:v>
                </c:pt>
                <c:pt idx="5125">
                  <c:v>1.0968627631241239</c:v>
                </c:pt>
                <c:pt idx="5126">
                  <c:v>1.0968627631241239</c:v>
                </c:pt>
                <c:pt idx="5127">
                  <c:v>1.1183642178983619</c:v>
                </c:pt>
                <c:pt idx="5128">
                  <c:v>1.1324362593158814</c:v>
                </c:pt>
                <c:pt idx="5129">
                  <c:v>1.1324362593158814</c:v>
                </c:pt>
                <c:pt idx="5130">
                  <c:v>1.0447089862333878</c:v>
                </c:pt>
                <c:pt idx="5131">
                  <c:v>1.0878246684271478</c:v>
                </c:pt>
                <c:pt idx="5132">
                  <c:v>1.128815342832187</c:v>
                </c:pt>
                <c:pt idx="5133">
                  <c:v>1.1759980167146531</c:v>
                </c:pt>
                <c:pt idx="5134">
                  <c:v>1.2020523418966946</c:v>
                </c:pt>
                <c:pt idx="5135">
                  <c:v>1.341155692976828</c:v>
                </c:pt>
                <c:pt idx="5136">
                  <c:v>1.2803791568635414</c:v>
                </c:pt>
                <c:pt idx="5137">
                  <c:v>1.4025862359398211</c:v>
                </c:pt>
                <c:pt idx="5138">
                  <c:v>1.4907427330006988</c:v>
                </c:pt>
                <c:pt idx="5139">
                  <c:v>1.5149693929062862</c:v>
                </c:pt>
                <c:pt idx="5140">
                  <c:v>1.5651555264879626</c:v>
                </c:pt>
                <c:pt idx="5141">
                  <c:v>1.5694115587069259</c:v>
                </c:pt>
                <c:pt idx="5142">
                  <c:v>1.5942404847496607</c:v>
                </c:pt>
                <c:pt idx="5143">
                  <c:v>1.5426186257975358</c:v>
                </c:pt>
                <c:pt idx="5144">
                  <c:v>1.4481035679525722</c:v>
                </c:pt>
                <c:pt idx="5145">
                  <c:v>1.4632003642087605</c:v>
                </c:pt>
                <c:pt idx="5146">
                  <c:v>1.6280855744631617</c:v>
                </c:pt>
                <c:pt idx="5147">
                  <c:v>1.5534175359770237</c:v>
                </c:pt>
                <c:pt idx="5148">
                  <c:v>1.6126548075683389</c:v>
                </c:pt>
                <c:pt idx="5149">
                  <c:v>1.6664778602689332</c:v>
                </c:pt>
                <c:pt idx="5150">
                  <c:v>1.6704166374921727</c:v>
                </c:pt>
                <c:pt idx="5151">
                  <c:v>1.7075976215032083</c:v>
                </c:pt>
                <c:pt idx="5152">
                  <c:v>1.7239842442845756</c:v>
                </c:pt>
                <c:pt idx="5153">
                  <c:v>1.7201708797514248</c:v>
                </c:pt>
                <c:pt idx="5154">
                  <c:v>1.7871032240488871</c:v>
                </c:pt>
                <c:pt idx="5155">
                  <c:v>1.846153593078645</c:v>
                </c:pt>
                <c:pt idx="5156">
                  <c:v>1.7216115559692455</c:v>
                </c:pt>
                <c:pt idx="5157">
                  <c:v>1.696406878223119</c:v>
                </c:pt>
                <c:pt idx="5158">
                  <c:v>1.6563439132054736</c:v>
                </c:pt>
                <c:pt idx="5159">
                  <c:v>1.6003071382197811</c:v>
                </c:pt>
                <c:pt idx="5160">
                  <c:v>1.5658285596059507</c:v>
                </c:pt>
                <c:pt idx="5161">
                  <c:v>1.5660047488935616</c:v>
                </c:pt>
                <c:pt idx="5162">
                  <c:v>1.5043116959218026</c:v>
                </c:pt>
                <c:pt idx="5163">
                  <c:v>1.4310426098103544</c:v>
                </c:pt>
                <c:pt idx="5164">
                  <c:v>1.3600577534768712</c:v>
                </c:pt>
                <c:pt idx="5165">
                  <c:v>1.3618913204117211</c:v>
                </c:pt>
                <c:pt idx="5166">
                  <c:v>1.3270517048628523</c:v>
                </c:pt>
                <c:pt idx="5167">
                  <c:v>1.3137692531488936</c:v>
                </c:pt>
                <c:pt idx="5168">
                  <c:v>1.3287455875682361</c:v>
                </c:pt>
                <c:pt idx="5169">
                  <c:v>1.2914648091432761</c:v>
                </c:pt>
                <c:pt idx="5170">
                  <c:v>1.2435587753819894</c:v>
                </c:pt>
                <c:pt idx="5171">
                  <c:v>1.1906944886542901</c:v>
                </c:pt>
                <c:pt idx="5172">
                  <c:v>1.1316715753077404</c:v>
                </c:pt>
                <c:pt idx="5173">
                  <c:v>1.0640601091896567</c:v>
                </c:pt>
                <c:pt idx="5174">
                  <c:v>0.97979054752865313</c:v>
                </c:pt>
                <c:pt idx="5175">
                  <c:v>0.87678043890288049</c:v>
                </c:pt>
                <c:pt idx="5176">
                  <c:v>0.88239314906820199</c:v>
                </c:pt>
                <c:pt idx="5177">
                  <c:v>0.62958386179759129</c:v>
                </c:pt>
                <c:pt idx="5178">
                  <c:v>0.64039308191634425</c:v>
                </c:pt>
                <c:pt idx="5179">
                  <c:v>0.64954137705095893</c:v>
                </c:pt>
                <c:pt idx="5180">
                  <c:v>0.64954137705095882</c:v>
                </c:pt>
                <c:pt idx="5181">
                  <c:v>0.65709812238416598</c:v>
                </c:pt>
                <c:pt idx="5182">
                  <c:v>0.6631177310138332</c:v>
                </c:pt>
                <c:pt idx="5183">
                  <c:v>0.66764178174652167</c:v>
                </c:pt>
                <c:pt idx="5184">
                  <c:v>0.6626999661092926</c:v>
                </c:pt>
                <c:pt idx="5185">
                  <c:v>0.61854474726254371</c:v>
                </c:pt>
                <c:pt idx="5186">
                  <c:v>0.61670254835408989</c:v>
                </c:pt>
                <c:pt idx="5187">
                  <c:v>0.61328598771810428</c:v>
                </c:pt>
                <c:pt idx="5188">
                  <c:v>0.60826853701380168</c:v>
                </c:pt>
                <c:pt idx="5189">
                  <c:v>0.60161014312846273</c:v>
                </c:pt>
                <c:pt idx="5190">
                  <c:v>0.53126265938332939</c:v>
                </c:pt>
                <c:pt idx="5191">
                  <c:v>0.44140483166072864</c:v>
                </c:pt>
                <c:pt idx="5192">
                  <c:v>0.44268860913018643</c:v>
                </c:pt>
                <c:pt idx="5193">
                  <c:v>0.44268860913018643</c:v>
                </c:pt>
                <c:pt idx="5194">
                  <c:v>0.42163501042411344</c:v>
                </c:pt>
                <c:pt idx="5195">
                  <c:v>0.39705440456147084</c:v>
                </c:pt>
                <c:pt idx="5196">
                  <c:v>0.36824116982296168</c:v>
                </c:pt>
                <c:pt idx="5197">
                  <c:v>0.36824116982296168</c:v>
                </c:pt>
                <c:pt idx="5198">
                  <c:v>0.16708448056640138</c:v>
                </c:pt>
                <c:pt idx="5199">
                  <c:v>9.2900500997726027E-3</c:v>
                </c:pt>
                <c:pt idx="5200">
                  <c:v>1.7344551487745132E-13</c:v>
                </c:pt>
                <c:pt idx="5201">
                  <c:v>1.7344551487745132E-13</c:v>
                </c:pt>
                <c:pt idx="5202">
                  <c:v>1.7344551487745132E-13</c:v>
                </c:pt>
                <c:pt idx="5203">
                  <c:v>1.7344551487745132E-13</c:v>
                </c:pt>
                <c:pt idx="5204">
                  <c:v>1.7344551487745132E-13</c:v>
                </c:pt>
                <c:pt idx="5205">
                  <c:v>1.7344551487745132E-13</c:v>
                </c:pt>
                <c:pt idx="5206">
                  <c:v>1.7344551487745132E-13</c:v>
                </c:pt>
                <c:pt idx="5207">
                  <c:v>1.7344551487745132E-13</c:v>
                </c:pt>
                <c:pt idx="5208">
                  <c:v>1.7344551487745132E-13</c:v>
                </c:pt>
                <c:pt idx="5209">
                  <c:v>1.7344551487745132E-13</c:v>
                </c:pt>
                <c:pt idx="5210">
                  <c:v>1.7344551487745132E-13</c:v>
                </c:pt>
                <c:pt idx="5211">
                  <c:v>1.7344551487745132E-13</c:v>
                </c:pt>
                <c:pt idx="5212">
                  <c:v>1.7344551487745132E-13</c:v>
                </c:pt>
                <c:pt idx="5213">
                  <c:v>1.7344551487745132E-13</c:v>
                </c:pt>
                <c:pt idx="5214">
                  <c:v>1.7344551487745132E-13</c:v>
                </c:pt>
                <c:pt idx="5215">
                  <c:v>1.7344551487745132E-13</c:v>
                </c:pt>
                <c:pt idx="5216">
                  <c:v>1.7344551487745132E-13</c:v>
                </c:pt>
                <c:pt idx="5217">
                  <c:v>1.7344551487745132E-13</c:v>
                </c:pt>
                <c:pt idx="5218">
                  <c:v>1.7344551487745132E-13</c:v>
                </c:pt>
                <c:pt idx="5219">
                  <c:v>1.7344551487745132E-13</c:v>
                </c:pt>
                <c:pt idx="5220">
                  <c:v>1.7344551487745132E-13</c:v>
                </c:pt>
                <c:pt idx="5221">
                  <c:v>1.7344551487745132E-13</c:v>
                </c:pt>
                <c:pt idx="5222">
                  <c:v>1.7344551487745132E-13</c:v>
                </c:pt>
                <c:pt idx="5223">
                  <c:v>1.7344551487745132E-13</c:v>
                </c:pt>
                <c:pt idx="5224">
                  <c:v>1.7344551487745132E-13</c:v>
                </c:pt>
                <c:pt idx="5225">
                  <c:v>1.7344551487745132E-13</c:v>
                </c:pt>
                <c:pt idx="5226">
                  <c:v>1.7344551487745132E-13</c:v>
                </c:pt>
                <c:pt idx="5227">
                  <c:v>1.7344551487745132E-13</c:v>
                </c:pt>
                <c:pt idx="5228">
                  <c:v>1.7344551487745132E-13</c:v>
                </c:pt>
                <c:pt idx="5229">
                  <c:v>1.7344551487745132E-13</c:v>
                </c:pt>
                <c:pt idx="5230">
                  <c:v>1.7344551487745132E-13</c:v>
                </c:pt>
                <c:pt idx="5231">
                  <c:v>1.7344551487745132E-13</c:v>
                </c:pt>
                <c:pt idx="5232">
                  <c:v>1.7344551487745132E-13</c:v>
                </c:pt>
                <c:pt idx="5233">
                  <c:v>1.7344551487745132E-13</c:v>
                </c:pt>
                <c:pt idx="5234">
                  <c:v>1.7344551487745132E-13</c:v>
                </c:pt>
                <c:pt idx="5235">
                  <c:v>1.7344551487745132E-13</c:v>
                </c:pt>
                <c:pt idx="5236">
                  <c:v>1.7344551487745132E-13</c:v>
                </c:pt>
                <c:pt idx="5237">
                  <c:v>1.7344551487745132E-13</c:v>
                </c:pt>
                <c:pt idx="5238">
                  <c:v>1.7344551487745132E-13</c:v>
                </c:pt>
                <c:pt idx="5239">
                  <c:v>1.7344551487745132E-13</c:v>
                </c:pt>
                <c:pt idx="5240">
                  <c:v>1.7344551487745132E-13</c:v>
                </c:pt>
                <c:pt idx="5241">
                  <c:v>1.7344551487745132E-13</c:v>
                </c:pt>
                <c:pt idx="5242">
                  <c:v>1.7344551487745132E-13</c:v>
                </c:pt>
                <c:pt idx="5243">
                  <c:v>1.7344551487745132E-13</c:v>
                </c:pt>
                <c:pt idx="5244">
                  <c:v>1.7344551487745132E-13</c:v>
                </c:pt>
                <c:pt idx="5245">
                  <c:v>1.7344551487745132E-13</c:v>
                </c:pt>
                <c:pt idx="5246">
                  <c:v>1.7344551487745132E-13</c:v>
                </c:pt>
                <c:pt idx="5247">
                  <c:v>1.7344551487745132E-13</c:v>
                </c:pt>
                <c:pt idx="5248">
                  <c:v>1.7344551487745132E-13</c:v>
                </c:pt>
                <c:pt idx="5249">
                  <c:v>1.7344551487745132E-13</c:v>
                </c:pt>
                <c:pt idx="5250">
                  <c:v>1.7344551487745132E-13</c:v>
                </c:pt>
                <c:pt idx="5251">
                  <c:v>1.7344551487745132E-13</c:v>
                </c:pt>
                <c:pt idx="5252">
                  <c:v>1.7344551487745132E-13</c:v>
                </c:pt>
                <c:pt idx="5253">
                  <c:v>1.7344551487745132E-13</c:v>
                </c:pt>
                <c:pt idx="5254">
                  <c:v>1.7344551487745132E-13</c:v>
                </c:pt>
                <c:pt idx="5255">
                  <c:v>1.7344551487745132E-13</c:v>
                </c:pt>
                <c:pt idx="5256">
                  <c:v>1.7344551487745132E-13</c:v>
                </c:pt>
                <c:pt idx="5257">
                  <c:v>1.7344551487745132E-13</c:v>
                </c:pt>
                <c:pt idx="5258">
                  <c:v>1.7344551487745132E-13</c:v>
                </c:pt>
                <c:pt idx="5259">
                  <c:v>1.7344551487745132E-13</c:v>
                </c:pt>
                <c:pt idx="5260">
                  <c:v>1.7344551487745132E-13</c:v>
                </c:pt>
                <c:pt idx="5261">
                  <c:v>1.7344551487745132E-13</c:v>
                </c:pt>
                <c:pt idx="5262">
                  <c:v>1.7344551487745132E-13</c:v>
                </c:pt>
                <c:pt idx="5263">
                  <c:v>1.7344551487745132E-13</c:v>
                </c:pt>
                <c:pt idx="5264">
                  <c:v>1.7344551487745132E-13</c:v>
                </c:pt>
                <c:pt idx="5265">
                  <c:v>1.7344551487745132E-13</c:v>
                </c:pt>
                <c:pt idx="5266">
                  <c:v>1.7344551487745132E-13</c:v>
                </c:pt>
                <c:pt idx="5267">
                  <c:v>1.7344551487745132E-13</c:v>
                </c:pt>
                <c:pt idx="5268">
                  <c:v>1.7344551487745132E-13</c:v>
                </c:pt>
                <c:pt idx="5269">
                  <c:v>1.7344551487745132E-13</c:v>
                </c:pt>
                <c:pt idx="5270">
                  <c:v>1.7344551487745132E-13</c:v>
                </c:pt>
                <c:pt idx="5271">
                  <c:v>1.7344551487745132E-13</c:v>
                </c:pt>
                <c:pt idx="5272">
                  <c:v>0.50145825881456318</c:v>
                </c:pt>
                <c:pt idx="5273">
                  <c:v>0.612187385331177</c:v>
                </c:pt>
                <c:pt idx="5274">
                  <c:v>0.68845246456037335</c:v>
                </c:pt>
                <c:pt idx="5275">
                  <c:v>0.74307929635139502</c:v>
                </c:pt>
                <c:pt idx="5276">
                  <c:v>0.7822942010726126</c:v>
                </c:pt>
                <c:pt idx="5277">
                  <c:v>0.80369610513754441</c:v>
                </c:pt>
                <c:pt idx="5278">
                  <c:v>0.80310774723058242</c:v>
                </c:pt>
                <c:pt idx="5279">
                  <c:v>0.80282744638245096</c:v>
                </c:pt>
                <c:pt idx="5280">
                  <c:v>0.80832015054332751</c:v>
                </c:pt>
                <c:pt idx="5281">
                  <c:v>0.82096980767229388</c:v>
                </c:pt>
                <c:pt idx="5282">
                  <c:v>0.83767798618421596</c:v>
                </c:pt>
                <c:pt idx="5283">
                  <c:v>0.85830669021576345</c:v>
                </c:pt>
                <c:pt idx="5284">
                  <c:v>0.87567017986596041</c:v>
                </c:pt>
                <c:pt idx="5285">
                  <c:v>0.89017992716179528</c:v>
                </c:pt>
                <c:pt idx="5286">
                  <c:v>0.90215534578247669</c:v>
                </c:pt>
                <c:pt idx="5287">
                  <c:v>0.91197550320078158</c:v>
                </c:pt>
                <c:pt idx="5288">
                  <c:v>0.91466644998233038</c:v>
                </c:pt>
                <c:pt idx="5289">
                  <c:v>0.91657213439460772</c:v>
                </c:pt>
                <c:pt idx="5290">
                  <c:v>0.91708151469685029</c:v>
                </c:pt>
                <c:pt idx="5291">
                  <c:v>0.91712034077955096</c:v>
                </c:pt>
                <c:pt idx="5292">
                  <c:v>0.91705223872130059</c:v>
                </c:pt>
                <c:pt idx="5293">
                  <c:v>0.9169748914316741</c:v>
                </c:pt>
                <c:pt idx="5294">
                  <c:v>0.91697398079247405</c:v>
                </c:pt>
                <c:pt idx="5295">
                  <c:v>0.9171265172920009</c:v>
                </c:pt>
                <c:pt idx="5296">
                  <c:v>0.91818964983806328</c:v>
                </c:pt>
                <c:pt idx="5297">
                  <c:v>0.91966562171771471</c:v>
                </c:pt>
                <c:pt idx="5298">
                  <c:v>0.92158133041675971</c:v>
                </c:pt>
                <c:pt idx="5299">
                  <c:v>0.92532741445208189</c:v>
                </c:pt>
                <c:pt idx="5300">
                  <c:v>0.93043039724471466</c:v>
                </c:pt>
                <c:pt idx="5301">
                  <c:v>0.93704811833110746</c:v>
                </c:pt>
                <c:pt idx="5302">
                  <c:v>0.78801824148054145</c:v>
                </c:pt>
                <c:pt idx="5303">
                  <c:v>0.73378058254274336</c:v>
                </c:pt>
                <c:pt idx="5304">
                  <c:v>0.68742158967557376</c:v>
                </c:pt>
                <c:pt idx="5305">
                  <c:v>0.64459286772321545</c:v>
                </c:pt>
                <c:pt idx="5306">
                  <c:v>0.61262929317297687</c:v>
                </c:pt>
                <c:pt idx="5307">
                  <c:v>0.61746071587857332</c:v>
                </c:pt>
                <c:pt idx="5308">
                  <c:v>0.68848772257461566</c:v>
                </c:pt>
                <c:pt idx="5309">
                  <c:v>0.78053411489261793</c:v>
                </c:pt>
                <c:pt idx="5310">
                  <c:v>0.85142490918020641</c:v>
                </c:pt>
                <c:pt idx="5311">
                  <c:v>0.8757374094184287</c:v>
                </c:pt>
                <c:pt idx="5312">
                  <c:v>0.89007320812134794</c:v>
                </c:pt>
                <c:pt idx="5313">
                  <c:v>0.89144213254175364</c:v>
                </c:pt>
                <c:pt idx="5314">
                  <c:v>0.88659157893958374</c:v>
                </c:pt>
                <c:pt idx="5315">
                  <c:v>0.87077366845646331</c:v>
                </c:pt>
                <c:pt idx="5316">
                  <c:v>0.8519066594653153</c:v>
                </c:pt>
                <c:pt idx="5317">
                  <c:v>0.83065554396199892</c:v>
                </c:pt>
                <c:pt idx="5318">
                  <c:v>0.81867859153841038</c:v>
                </c:pt>
                <c:pt idx="5319">
                  <c:v>0.806365038871665</c:v>
                </c:pt>
                <c:pt idx="5320">
                  <c:v>0.79790806399004599</c:v>
                </c:pt>
                <c:pt idx="5321">
                  <c:v>0.79216471667361998</c:v>
                </c:pt>
                <c:pt idx="5322">
                  <c:v>0.78836726001031321</c:v>
                </c:pt>
                <c:pt idx="5323">
                  <c:v>0.78571563202883132</c:v>
                </c:pt>
                <c:pt idx="5324">
                  <c:v>0.78501053610353255</c:v>
                </c:pt>
                <c:pt idx="5325">
                  <c:v>0.78658462552851693</c:v>
                </c:pt>
                <c:pt idx="5326">
                  <c:v>0.79176438627968004</c:v>
                </c:pt>
                <c:pt idx="5327">
                  <c:v>0.79915378007940896</c:v>
                </c:pt>
                <c:pt idx="5328">
                  <c:v>0.80851160531389299</c:v>
                </c:pt>
                <c:pt idx="5329">
                  <c:v>0.81971767093769454</c:v>
                </c:pt>
                <c:pt idx="5330">
                  <c:v>0.83194442688435222</c:v>
                </c:pt>
                <c:pt idx="5331">
                  <c:v>0.84429338311457658</c:v>
                </c:pt>
                <c:pt idx="5332">
                  <c:v>0.85509648753849021</c:v>
                </c:pt>
                <c:pt idx="5333">
                  <c:v>0.86285562088962764</c:v>
                </c:pt>
                <c:pt idx="5334">
                  <c:v>0.86868234907798325</c:v>
                </c:pt>
                <c:pt idx="5335">
                  <c:v>0.87600640539424135</c:v>
                </c:pt>
                <c:pt idx="5336">
                  <c:v>0.87350162552763977</c:v>
                </c:pt>
                <c:pt idx="5337">
                  <c:v>0.85094456193789858</c:v>
                </c:pt>
                <c:pt idx="5338">
                  <c:v>0.79725365038127527</c:v>
                </c:pt>
                <c:pt idx="5339">
                  <c:v>0.75992326483123107</c:v>
                </c:pt>
                <c:pt idx="5340">
                  <c:v>0.71710973440016312</c:v>
                </c:pt>
                <c:pt idx="5341">
                  <c:v>0.70418431158748207</c:v>
                </c:pt>
                <c:pt idx="5342">
                  <c:v>0.68627804290170835</c:v>
                </c:pt>
                <c:pt idx="5343">
                  <c:v>0.66600086837031047</c:v>
                </c:pt>
                <c:pt idx="5344">
                  <c:v>0.64388187222230264</c:v>
                </c:pt>
                <c:pt idx="5345">
                  <c:v>0.6363843374152387</c:v>
                </c:pt>
                <c:pt idx="5346">
                  <c:v>0.62914275508426176</c:v>
                </c:pt>
                <c:pt idx="5347">
                  <c:v>0.62172873209472945</c:v>
                </c:pt>
                <c:pt idx="5348">
                  <c:v>0.61398994966103881</c:v>
                </c:pt>
                <c:pt idx="5349">
                  <c:v>0.61599146079462441</c:v>
                </c:pt>
                <c:pt idx="5350">
                  <c:v>0.61849387445107673</c:v>
                </c:pt>
                <c:pt idx="5351">
                  <c:v>0.61100562096950273</c:v>
                </c:pt>
                <c:pt idx="5352">
                  <c:v>0.76181584704655725</c:v>
                </c:pt>
                <c:pt idx="5353">
                  <c:v>0.87971203826327316</c:v>
                </c:pt>
                <c:pt idx="5354">
                  <c:v>0.9779235930599558</c:v>
                </c:pt>
                <c:pt idx="5355">
                  <c:v>1.0647617424078526</c:v>
                </c:pt>
                <c:pt idx="5356">
                  <c:v>1.14042384567993</c:v>
                </c:pt>
                <c:pt idx="5357">
                  <c:v>1.2034431372406502</c:v>
                </c:pt>
                <c:pt idx="5358">
                  <c:v>1.2584620534002176</c:v>
                </c:pt>
                <c:pt idx="5359">
                  <c:v>1.3061591512138107</c:v>
                </c:pt>
                <c:pt idx="5360">
                  <c:v>1.3470463130395744</c:v>
                </c:pt>
                <c:pt idx="5361">
                  <c:v>1.3814067711909921</c:v>
                </c:pt>
                <c:pt idx="5362">
                  <c:v>1.4095929492904551</c:v>
                </c:pt>
                <c:pt idx="5363">
                  <c:v>1.4317431515484724</c:v>
                </c:pt>
                <c:pt idx="5364">
                  <c:v>1.4478691758295408</c:v>
                </c:pt>
                <c:pt idx="5365">
                  <c:v>1.4578975406876029</c:v>
                </c:pt>
                <c:pt idx="5366">
                  <c:v>1.4617239432036602</c:v>
                </c:pt>
                <c:pt idx="5367">
                  <c:v>1.4592583112627693</c:v>
                </c:pt>
                <c:pt idx="5368">
                  <c:v>1.450149699153032</c:v>
                </c:pt>
                <c:pt idx="5369">
                  <c:v>1.4361058089006309</c:v>
                </c:pt>
                <c:pt idx="5370">
                  <c:v>1.4160157700230529</c:v>
                </c:pt>
                <c:pt idx="5371">
                  <c:v>1.3883875172008981</c:v>
                </c:pt>
                <c:pt idx="5372">
                  <c:v>1.3521615352754517</c:v>
                </c:pt>
                <c:pt idx="5373">
                  <c:v>1.3064546901934466</c:v>
                </c:pt>
                <c:pt idx="5374">
                  <c:v>1.2500480721738305</c:v>
                </c:pt>
                <c:pt idx="5375">
                  <c:v>1.1810457931545097</c:v>
                </c:pt>
                <c:pt idx="5376">
                  <c:v>1.0964736454519255</c:v>
                </c:pt>
                <c:pt idx="5377">
                  <c:v>0.99226673736167192</c:v>
                </c:pt>
                <c:pt idx="5378">
                  <c:v>0.86102544203719478</c:v>
                </c:pt>
                <c:pt idx="5379">
                  <c:v>0.68656214922862924</c:v>
                </c:pt>
                <c:pt idx="5380">
                  <c:v>0.41725633204636853</c:v>
                </c:pt>
                <c:pt idx="5381">
                  <c:v>0.37503482850944753</c:v>
                </c:pt>
                <c:pt idx="5382">
                  <c:v>0.37494194190204105</c:v>
                </c:pt>
                <c:pt idx="5383">
                  <c:v>0.37493041524806792</c:v>
                </c:pt>
                <c:pt idx="5384">
                  <c:v>0.37508529414548192</c:v>
                </c:pt>
                <c:pt idx="5385">
                  <c:v>0.3731982579117829</c:v>
                </c:pt>
                <c:pt idx="5386">
                  <c:v>0.36875770037227662</c:v>
                </c:pt>
                <c:pt idx="5387">
                  <c:v>0.36697453985729822</c:v>
                </c:pt>
                <c:pt idx="5388">
                  <c:v>0.36534363041233786</c:v>
                </c:pt>
                <c:pt idx="5389">
                  <c:v>0.36421731733221763</c:v>
                </c:pt>
                <c:pt idx="5390">
                  <c:v>0.36323668470460613</c:v>
                </c:pt>
                <c:pt idx="5391">
                  <c:v>0.36265600583593977</c:v>
                </c:pt>
                <c:pt idx="5392">
                  <c:v>0.36237820002924481</c:v>
                </c:pt>
                <c:pt idx="5393">
                  <c:v>0.36248101945665184</c:v>
                </c:pt>
                <c:pt idx="5394">
                  <c:v>0.3629008965603277</c:v>
                </c:pt>
                <c:pt idx="5395">
                  <c:v>0.36119350462848554</c:v>
                </c:pt>
                <c:pt idx="5396">
                  <c:v>0.36002167651266809</c:v>
                </c:pt>
                <c:pt idx="5397">
                  <c:v>0.35935084286786639</c:v>
                </c:pt>
                <c:pt idx="5398">
                  <c:v>0.35910163115358845</c:v>
                </c:pt>
                <c:pt idx="5399">
                  <c:v>0.35951183530315411</c:v>
                </c:pt>
                <c:pt idx="5400">
                  <c:v>0.35820772983427845</c:v>
                </c:pt>
                <c:pt idx="5401">
                  <c:v>0.35671620337219551</c:v>
                </c:pt>
                <c:pt idx="5402">
                  <c:v>0.35558561803607508</c:v>
                </c:pt>
                <c:pt idx="5403">
                  <c:v>0.35299894901548357</c:v>
                </c:pt>
                <c:pt idx="5404">
                  <c:v>0.35027775275507406</c:v>
                </c:pt>
                <c:pt idx="5405">
                  <c:v>0.34797069237490286</c:v>
                </c:pt>
                <c:pt idx="5406">
                  <c:v>0.34635986919572176</c:v>
                </c:pt>
                <c:pt idx="5407">
                  <c:v>0.34520131742419596</c:v>
                </c:pt>
                <c:pt idx="5408">
                  <c:v>0.34211024786056216</c:v>
                </c:pt>
                <c:pt idx="5409">
                  <c:v>0.33955203044110754</c:v>
                </c:pt>
                <c:pt idx="5410">
                  <c:v>0.33766384882830031</c:v>
                </c:pt>
                <c:pt idx="5411">
                  <c:v>0.33655156754672944</c:v>
                </c:pt>
                <c:pt idx="5412">
                  <c:v>0.33389190794868495</c:v>
                </c:pt>
                <c:pt idx="5413">
                  <c:v>0.33189420059755659</c:v>
                </c:pt>
                <c:pt idx="5414">
                  <c:v>0.33062971573472194</c:v>
                </c:pt>
                <c:pt idx="5415">
                  <c:v>0.3302693650618197</c:v>
                </c:pt>
                <c:pt idx="5416">
                  <c:v>0.3285098645092529</c:v>
                </c:pt>
                <c:pt idx="5417">
                  <c:v>0.32707471480837708</c:v>
                </c:pt>
                <c:pt idx="5418">
                  <c:v>0.32625787576104948</c:v>
                </c:pt>
                <c:pt idx="5419">
                  <c:v>0.32389845679711315</c:v>
                </c:pt>
                <c:pt idx="5420">
                  <c:v>0.32216730354386702</c:v>
                </c:pt>
                <c:pt idx="5421">
                  <c:v>0.32131610803272809</c:v>
                </c:pt>
                <c:pt idx="5422">
                  <c:v>0.31735384275934014</c:v>
                </c:pt>
                <c:pt idx="5423">
                  <c:v>0.31102663091450194</c:v>
                </c:pt>
                <c:pt idx="5424">
                  <c:v>0.30264288436565107</c:v>
                </c:pt>
                <c:pt idx="5425">
                  <c:v>0.29089046043121058</c:v>
                </c:pt>
                <c:pt idx="5426">
                  <c:v>0.27759337896711261</c:v>
                </c:pt>
                <c:pt idx="5427">
                  <c:v>0.26317238885748034</c:v>
                </c:pt>
                <c:pt idx="5428">
                  <c:v>0.24796765434223711</c:v>
                </c:pt>
                <c:pt idx="5429">
                  <c:v>0.23251380716420345</c:v>
                </c:pt>
                <c:pt idx="5430">
                  <c:v>0.21714586518212245</c:v>
                </c:pt>
                <c:pt idx="5431">
                  <c:v>0.20242939333255716</c:v>
                </c:pt>
                <c:pt idx="5432">
                  <c:v>0.188631580185985</c:v>
                </c:pt>
                <c:pt idx="5433">
                  <c:v>0.17346025363672515</c:v>
                </c:pt>
                <c:pt idx="5434">
                  <c:v>0.15942383413101555</c:v>
                </c:pt>
                <c:pt idx="5435">
                  <c:v>0.14782204617131661</c:v>
                </c:pt>
                <c:pt idx="5436">
                  <c:v>0.13972048538637194</c:v>
                </c:pt>
                <c:pt idx="5437">
                  <c:v>0.13521414161082632</c:v>
                </c:pt>
                <c:pt idx="5438">
                  <c:v>0.13206340546995615</c:v>
                </c:pt>
                <c:pt idx="5439">
                  <c:v>0.13189098041272257</c:v>
                </c:pt>
                <c:pt idx="5440">
                  <c:v>0.1353678680567301</c:v>
                </c:pt>
                <c:pt idx="5441">
                  <c:v>0.14216655810084966</c:v>
                </c:pt>
                <c:pt idx="5442">
                  <c:v>0.15045111573781128</c:v>
                </c:pt>
                <c:pt idx="5443">
                  <c:v>0.1589836968932653</c:v>
                </c:pt>
                <c:pt idx="5444">
                  <c:v>0.16870599510710851</c:v>
                </c:pt>
                <c:pt idx="5445">
                  <c:v>0.17723137294955399</c:v>
                </c:pt>
                <c:pt idx="5446">
                  <c:v>0.18561298307865801</c:v>
                </c:pt>
                <c:pt idx="5447">
                  <c:v>0.19311860561222316</c:v>
                </c:pt>
                <c:pt idx="5448">
                  <c:v>0.1991804534054166</c:v>
                </c:pt>
                <c:pt idx="5449">
                  <c:v>0.20491927850705971</c:v>
                </c:pt>
                <c:pt idx="5450">
                  <c:v>0.20818900206348467</c:v>
                </c:pt>
                <c:pt idx="5451">
                  <c:v>0.20808406406679109</c:v>
                </c:pt>
                <c:pt idx="5452">
                  <c:v>0.2085424346873771</c:v>
                </c:pt>
                <c:pt idx="5453">
                  <c:v>0.20961543431939117</c:v>
                </c:pt>
                <c:pt idx="5454">
                  <c:v>0.21128820118247729</c:v>
                </c:pt>
                <c:pt idx="5455">
                  <c:v>0.21020299545364618</c:v>
                </c:pt>
                <c:pt idx="5456">
                  <c:v>0.20952545489172048</c:v>
                </c:pt>
                <c:pt idx="5457">
                  <c:v>0.2094459128967536</c:v>
                </c:pt>
                <c:pt idx="5458">
                  <c:v>0.2084024352855719</c:v>
                </c:pt>
                <c:pt idx="5459">
                  <c:v>0.20796691586080149</c:v>
                </c:pt>
                <c:pt idx="5460">
                  <c:v>0.20814536462354927</c:v>
                </c:pt>
                <c:pt idx="5461">
                  <c:v>0.2089923086270625</c:v>
                </c:pt>
                <c:pt idx="5462">
                  <c:v>0.21022509382586219</c:v>
                </c:pt>
                <c:pt idx="5463">
                  <c:v>0.2178063835126392</c:v>
                </c:pt>
                <c:pt idx="5464">
                  <c:v>0.22965084926707913</c:v>
                </c:pt>
                <c:pt idx="5465">
                  <c:v>0.24082309557679701</c:v>
                </c:pt>
                <c:pt idx="5466">
                  <c:v>0.25131532259035227</c:v>
                </c:pt>
                <c:pt idx="5467">
                  <c:v>0.2653893809602052</c:v>
                </c:pt>
                <c:pt idx="5468">
                  <c:v>0.2785167842651578</c:v>
                </c:pt>
                <c:pt idx="5469">
                  <c:v>0.28956182042845224</c:v>
                </c:pt>
                <c:pt idx="5470">
                  <c:v>0.30138407339098344</c:v>
                </c:pt>
                <c:pt idx="5471">
                  <c:v>0.31226722577695276</c:v>
                </c:pt>
                <c:pt idx="5472">
                  <c:v>0.32799286199055916</c:v>
                </c:pt>
                <c:pt idx="5473">
                  <c:v>0.34286530684212396</c:v>
                </c:pt>
                <c:pt idx="5474">
                  <c:v>0.35410381360774618</c:v>
                </c:pt>
                <c:pt idx="5475">
                  <c:v>0.36262994450559977</c:v>
                </c:pt>
                <c:pt idx="5476">
                  <c:v>0.36993217797576827</c:v>
                </c:pt>
                <c:pt idx="5477">
                  <c:v>0.3795778945799993</c:v>
                </c:pt>
                <c:pt idx="5478">
                  <c:v>0.38608507696967453</c:v>
                </c:pt>
                <c:pt idx="5479">
                  <c:v>0.38978025404756306</c:v>
                </c:pt>
                <c:pt idx="5480">
                  <c:v>0.39094255701970282</c:v>
                </c:pt>
                <c:pt idx="5481">
                  <c:v>0.3898551639884138</c:v>
                </c:pt>
                <c:pt idx="5482">
                  <c:v>0.38668668541486678</c:v>
                </c:pt>
                <c:pt idx="5483">
                  <c:v>0.38166379545994189</c:v>
                </c:pt>
                <c:pt idx="5484">
                  <c:v>0.37483055820031702</c:v>
                </c:pt>
                <c:pt idx="5485">
                  <c:v>0.36463057607020638</c:v>
                </c:pt>
                <c:pt idx="5486">
                  <c:v>0.35256912732175893</c:v>
                </c:pt>
                <c:pt idx="5487">
                  <c:v>0.33875425323973207</c:v>
                </c:pt>
                <c:pt idx="5488">
                  <c:v>0.32121798984764521</c:v>
                </c:pt>
                <c:pt idx="5489">
                  <c:v>0.30129300936260223</c:v>
                </c:pt>
                <c:pt idx="5490">
                  <c:v>0.27882122469973442</c:v>
                </c:pt>
                <c:pt idx="5491">
                  <c:v>0.25605802181762999</c:v>
                </c:pt>
                <c:pt idx="5492">
                  <c:v>0.23030417184370289</c:v>
                </c:pt>
                <c:pt idx="5493">
                  <c:v>0.20946196330080397</c:v>
                </c:pt>
                <c:pt idx="5494">
                  <c:v>0.1918321420927499</c:v>
                </c:pt>
                <c:pt idx="5495">
                  <c:v>0.17273135207596299</c:v>
                </c:pt>
                <c:pt idx="5496">
                  <c:v>0.151749931529746</c:v>
                </c:pt>
                <c:pt idx="5497">
                  <c:v>0.13471085616221656</c:v>
                </c:pt>
                <c:pt idx="5498">
                  <c:v>0.11653662268607289</c:v>
                </c:pt>
                <c:pt idx="5499">
                  <c:v>9.6558326463859076E-2</c:v>
                </c:pt>
                <c:pt idx="5500">
                  <c:v>7.7756286992033991E-2</c:v>
                </c:pt>
                <c:pt idx="5501">
                  <c:v>5.599388031421345E-2</c:v>
                </c:pt>
                <c:pt idx="5502">
                  <c:v>4.4273687129966599E-2</c:v>
                </c:pt>
                <c:pt idx="5503">
                  <c:v>3.6848127837097532E-2</c:v>
                </c:pt>
                <c:pt idx="5504">
                  <c:v>2.6605283626123556E-2</c:v>
                </c:pt>
                <c:pt idx="5505">
                  <c:v>1.6207639941723674E-2</c:v>
                </c:pt>
                <c:pt idx="5506">
                  <c:v>0</c:v>
                </c:pt>
                <c:pt idx="5507">
                  <c:v>0</c:v>
                </c:pt>
                <c:pt idx="5508">
                  <c:v>0</c:v>
                </c:pt>
                <c:pt idx="5509">
                  <c:v>0</c:v>
                </c:pt>
                <c:pt idx="5510">
                  <c:v>0</c:v>
                </c:pt>
                <c:pt idx="5511">
                  <c:v>0</c:v>
                </c:pt>
                <c:pt idx="5512">
                  <c:v>0</c:v>
                </c:pt>
                <c:pt idx="5513">
                  <c:v>0</c:v>
                </c:pt>
                <c:pt idx="5514">
                  <c:v>0</c:v>
                </c:pt>
                <c:pt idx="5515">
                  <c:v>0</c:v>
                </c:pt>
                <c:pt idx="5516">
                  <c:v>0</c:v>
                </c:pt>
                <c:pt idx="5517">
                  <c:v>0</c:v>
                </c:pt>
                <c:pt idx="5518">
                  <c:v>0</c:v>
                </c:pt>
                <c:pt idx="5519">
                  <c:v>0</c:v>
                </c:pt>
                <c:pt idx="5520">
                  <c:v>0</c:v>
                </c:pt>
                <c:pt idx="5521">
                  <c:v>0</c:v>
                </c:pt>
                <c:pt idx="5522">
                  <c:v>0</c:v>
                </c:pt>
                <c:pt idx="5523">
                  <c:v>0</c:v>
                </c:pt>
                <c:pt idx="5524">
                  <c:v>0</c:v>
                </c:pt>
                <c:pt idx="5525">
                  <c:v>0</c:v>
                </c:pt>
                <c:pt idx="5526">
                  <c:v>0</c:v>
                </c:pt>
                <c:pt idx="5527">
                  <c:v>0</c:v>
                </c:pt>
                <c:pt idx="5528">
                  <c:v>0</c:v>
                </c:pt>
                <c:pt idx="5529">
                  <c:v>0</c:v>
                </c:pt>
                <c:pt idx="5530">
                  <c:v>0</c:v>
                </c:pt>
                <c:pt idx="5531">
                  <c:v>0</c:v>
                </c:pt>
                <c:pt idx="5532">
                  <c:v>0</c:v>
                </c:pt>
                <c:pt idx="5533">
                  <c:v>0</c:v>
                </c:pt>
                <c:pt idx="5534">
                  <c:v>0</c:v>
                </c:pt>
                <c:pt idx="5535">
                  <c:v>0</c:v>
                </c:pt>
                <c:pt idx="5536">
                  <c:v>0</c:v>
                </c:pt>
                <c:pt idx="5537">
                  <c:v>0</c:v>
                </c:pt>
                <c:pt idx="5538">
                  <c:v>0</c:v>
                </c:pt>
                <c:pt idx="5539">
                  <c:v>0</c:v>
                </c:pt>
                <c:pt idx="5540">
                  <c:v>0</c:v>
                </c:pt>
                <c:pt idx="5541">
                  <c:v>0</c:v>
                </c:pt>
                <c:pt idx="5542">
                  <c:v>0</c:v>
                </c:pt>
                <c:pt idx="5543">
                  <c:v>0</c:v>
                </c:pt>
                <c:pt idx="5544">
                  <c:v>0</c:v>
                </c:pt>
                <c:pt idx="5545">
                  <c:v>0</c:v>
                </c:pt>
                <c:pt idx="5546">
                  <c:v>0</c:v>
                </c:pt>
                <c:pt idx="5547">
                  <c:v>0</c:v>
                </c:pt>
                <c:pt idx="5548">
                  <c:v>0</c:v>
                </c:pt>
                <c:pt idx="5549">
                  <c:v>0</c:v>
                </c:pt>
                <c:pt idx="5550">
                  <c:v>0</c:v>
                </c:pt>
                <c:pt idx="5551">
                  <c:v>0</c:v>
                </c:pt>
                <c:pt idx="5552">
                  <c:v>0</c:v>
                </c:pt>
                <c:pt idx="5553">
                  <c:v>0</c:v>
                </c:pt>
                <c:pt idx="5554">
                  <c:v>0</c:v>
                </c:pt>
                <c:pt idx="5555">
                  <c:v>0</c:v>
                </c:pt>
                <c:pt idx="5556">
                  <c:v>0</c:v>
                </c:pt>
                <c:pt idx="5557">
                  <c:v>0</c:v>
                </c:pt>
                <c:pt idx="5558">
                  <c:v>0</c:v>
                </c:pt>
                <c:pt idx="5559">
                  <c:v>0</c:v>
                </c:pt>
                <c:pt idx="5560">
                  <c:v>0</c:v>
                </c:pt>
                <c:pt idx="5561">
                  <c:v>0</c:v>
                </c:pt>
                <c:pt idx="5562">
                  <c:v>0</c:v>
                </c:pt>
                <c:pt idx="5563">
                  <c:v>0</c:v>
                </c:pt>
                <c:pt idx="5564">
                  <c:v>0</c:v>
                </c:pt>
                <c:pt idx="5565">
                  <c:v>0</c:v>
                </c:pt>
                <c:pt idx="5566">
                  <c:v>0</c:v>
                </c:pt>
                <c:pt idx="5567">
                  <c:v>0</c:v>
                </c:pt>
                <c:pt idx="5568">
                  <c:v>0</c:v>
                </c:pt>
                <c:pt idx="5569">
                  <c:v>0</c:v>
                </c:pt>
                <c:pt idx="5570">
                  <c:v>0</c:v>
                </c:pt>
                <c:pt idx="5571">
                  <c:v>0</c:v>
                </c:pt>
                <c:pt idx="5572">
                  <c:v>0</c:v>
                </c:pt>
                <c:pt idx="5573">
                  <c:v>0</c:v>
                </c:pt>
                <c:pt idx="5574">
                  <c:v>0</c:v>
                </c:pt>
                <c:pt idx="5575">
                  <c:v>0</c:v>
                </c:pt>
                <c:pt idx="5576">
                  <c:v>0</c:v>
                </c:pt>
                <c:pt idx="5577">
                  <c:v>0</c:v>
                </c:pt>
                <c:pt idx="5578">
                  <c:v>0</c:v>
                </c:pt>
                <c:pt idx="5579">
                  <c:v>0</c:v>
                </c:pt>
                <c:pt idx="5580">
                  <c:v>0</c:v>
                </c:pt>
                <c:pt idx="5581">
                  <c:v>0</c:v>
                </c:pt>
                <c:pt idx="5582">
                  <c:v>0</c:v>
                </c:pt>
                <c:pt idx="5583">
                  <c:v>0</c:v>
                </c:pt>
                <c:pt idx="5584">
                  <c:v>0</c:v>
                </c:pt>
                <c:pt idx="5585">
                  <c:v>0</c:v>
                </c:pt>
                <c:pt idx="5586">
                  <c:v>0</c:v>
                </c:pt>
                <c:pt idx="5587">
                  <c:v>0</c:v>
                </c:pt>
                <c:pt idx="5588">
                  <c:v>0</c:v>
                </c:pt>
                <c:pt idx="5589">
                  <c:v>0</c:v>
                </c:pt>
                <c:pt idx="5590">
                  <c:v>0</c:v>
                </c:pt>
                <c:pt idx="5591">
                  <c:v>0</c:v>
                </c:pt>
                <c:pt idx="5592">
                  <c:v>0</c:v>
                </c:pt>
                <c:pt idx="5593">
                  <c:v>0</c:v>
                </c:pt>
                <c:pt idx="5594">
                  <c:v>0</c:v>
                </c:pt>
                <c:pt idx="5595">
                  <c:v>2.0041478755231816E-2</c:v>
                </c:pt>
                <c:pt idx="5596">
                  <c:v>6.3155291671549124E-2</c:v>
                </c:pt>
                <c:pt idx="5597">
                  <c:v>0.11592965229196188</c:v>
                </c:pt>
                <c:pt idx="5598">
                  <c:v>0.16225929502721118</c:v>
                </c:pt>
                <c:pt idx="5599">
                  <c:v>0.22080027185700074</c:v>
                </c:pt>
                <c:pt idx="5600">
                  <c:v>0.27476489186995556</c:v>
                </c:pt>
                <c:pt idx="5601">
                  <c:v>0.32678929239337756</c:v>
                </c:pt>
                <c:pt idx="5602">
                  <c:v>0.3777660209271283</c:v>
                </c:pt>
                <c:pt idx="5603">
                  <c:v>0.43847529890328968</c:v>
                </c:pt>
                <c:pt idx="5604">
                  <c:v>0.60269897274838036</c:v>
                </c:pt>
                <c:pt idx="5605">
                  <c:v>0.74359185315481124</c:v>
                </c:pt>
                <c:pt idx="5606">
                  <c:v>0.7792554919367648</c:v>
                </c:pt>
                <c:pt idx="5607">
                  <c:v>0.80486470001517019</c:v>
                </c:pt>
                <c:pt idx="5608">
                  <c:v>0.82298085287050593</c:v>
                </c:pt>
                <c:pt idx="5609">
                  <c:v>0.83082174596854153</c:v>
                </c:pt>
                <c:pt idx="5610">
                  <c:v>0.83224982912420775</c:v>
                </c:pt>
                <c:pt idx="5611">
                  <c:v>0.83162701182438226</c:v>
                </c:pt>
                <c:pt idx="5612">
                  <c:v>0.84232684411264125</c:v>
                </c:pt>
                <c:pt idx="5613">
                  <c:v>0.88046506742926578</c:v>
                </c:pt>
                <c:pt idx="5614">
                  <c:v>0.91016170846400068</c:v>
                </c:pt>
                <c:pt idx="5615">
                  <c:v>0.93402367863495839</c:v>
                </c:pt>
                <c:pt idx="5616">
                  <c:v>0.95233069522861236</c:v>
                </c:pt>
                <c:pt idx="5617">
                  <c:v>0.96291537946844807</c:v>
                </c:pt>
                <c:pt idx="5618">
                  <c:v>0.97003869561859668</c:v>
                </c:pt>
                <c:pt idx="5619">
                  <c:v>0.97360501213309625</c:v>
                </c:pt>
                <c:pt idx="5620">
                  <c:v>0.97392913148756932</c:v>
                </c:pt>
                <c:pt idx="5621">
                  <c:v>0.96909759396182871</c:v>
                </c:pt>
                <c:pt idx="5622">
                  <c:v>0.96094645588676986</c:v>
                </c:pt>
                <c:pt idx="5623">
                  <c:v>0.94895459263677551</c:v>
                </c:pt>
                <c:pt idx="5624">
                  <c:v>0.9340821627185476</c:v>
                </c:pt>
                <c:pt idx="5625">
                  <c:v>0.92051329085816735</c:v>
                </c:pt>
                <c:pt idx="5626">
                  <c:v>0.91189350246004131</c:v>
                </c:pt>
                <c:pt idx="5627">
                  <c:v>0.90734894924052112</c:v>
                </c:pt>
                <c:pt idx="5628">
                  <c:v>0.90407326815072142</c:v>
                </c:pt>
                <c:pt idx="5629">
                  <c:v>0.90340437601951562</c:v>
                </c:pt>
                <c:pt idx="5630">
                  <c:v>0.90337412163882824</c:v>
                </c:pt>
                <c:pt idx="5631">
                  <c:v>0.90368764950910974</c:v>
                </c:pt>
                <c:pt idx="5632">
                  <c:v>0.9039692745485407</c:v>
                </c:pt>
                <c:pt idx="5633">
                  <c:v>0.90283306910197603</c:v>
                </c:pt>
                <c:pt idx="5634">
                  <c:v>0.86558035368046238</c:v>
                </c:pt>
                <c:pt idx="5635">
                  <c:v>0.81003491042738418</c:v>
                </c:pt>
                <c:pt idx="5636">
                  <c:v>0.71836582245053238</c:v>
                </c:pt>
                <c:pt idx="5637">
                  <c:v>0.62070040857722719</c:v>
                </c:pt>
                <c:pt idx="5638">
                  <c:v>0.51334442174027173</c:v>
                </c:pt>
                <c:pt idx="5639">
                  <c:v>0.41026312594019526</c:v>
                </c:pt>
                <c:pt idx="5640">
                  <c:v>0.31201756924357904</c:v>
                </c:pt>
                <c:pt idx="5641">
                  <c:v>0.19231971994536301</c:v>
                </c:pt>
                <c:pt idx="5642">
                  <c:v>0.19140728318666284</c:v>
                </c:pt>
                <c:pt idx="5643">
                  <c:v>0.17915414007630576</c:v>
                </c:pt>
                <c:pt idx="5644">
                  <c:v>0.16803014124601584</c:v>
                </c:pt>
                <c:pt idx="5645">
                  <c:v>0.15599833099538046</c:v>
                </c:pt>
                <c:pt idx="5646">
                  <c:v>0.1432607781209124</c:v>
                </c:pt>
                <c:pt idx="5647">
                  <c:v>0.13661140321802254</c:v>
                </c:pt>
                <c:pt idx="5648">
                  <c:v>0.12917358662094941</c:v>
                </c:pt>
                <c:pt idx="5649">
                  <c:v>0.12055457179296478</c:v>
                </c:pt>
                <c:pt idx="5650">
                  <c:v>0.10985948279870261</c:v>
                </c:pt>
                <c:pt idx="5651">
                  <c:v>0.10481150604895335</c:v>
                </c:pt>
                <c:pt idx="5652">
                  <c:v>0.10052561791589761</c:v>
                </c:pt>
                <c:pt idx="5653">
                  <c:v>0.10019139114758237</c:v>
                </c:pt>
                <c:pt idx="5654">
                  <c:v>0.10032224072259086</c:v>
                </c:pt>
                <c:pt idx="5655">
                  <c:v>0.10090350282957883</c:v>
                </c:pt>
                <c:pt idx="5656">
                  <c:v>0.10151226673912157</c:v>
                </c:pt>
                <c:pt idx="5657">
                  <c:v>0.10258750906820906</c:v>
                </c:pt>
                <c:pt idx="5658">
                  <c:v>0.10366657322482074</c:v>
                </c:pt>
                <c:pt idx="5659">
                  <c:v>0.10475013468786504</c:v>
                </c:pt>
                <c:pt idx="5660">
                  <c:v>0.10541712582522117</c:v>
                </c:pt>
                <c:pt idx="5661">
                  <c:v>0.10840316786021259</c:v>
                </c:pt>
                <c:pt idx="5662">
                  <c:v>0.10732764364942209</c:v>
                </c:pt>
                <c:pt idx="5663">
                  <c:v>0.10493111796270491</c:v>
                </c:pt>
                <c:pt idx="5664">
                  <c:v>0.10124405346422066</c:v>
                </c:pt>
                <c:pt idx="5665">
                  <c:v>9.5708915204925429E-2</c:v>
                </c:pt>
                <c:pt idx="5666">
                  <c:v>9.0576479882239699E-2</c:v>
                </c:pt>
                <c:pt idx="5667">
                  <c:v>8.554374381261548E-2</c:v>
                </c:pt>
                <c:pt idx="5668">
                  <c:v>8.1875871478623907E-2</c:v>
                </c:pt>
                <c:pt idx="5669">
                  <c:v>7.8496520441681691E-2</c:v>
                </c:pt>
                <c:pt idx="5670">
                  <c:v>7.8264134225917173E-2</c:v>
                </c:pt>
                <c:pt idx="5671">
                  <c:v>8.0798751093714483E-2</c:v>
                </c:pt>
                <c:pt idx="5672">
                  <c:v>8.6411765489329162E-2</c:v>
                </c:pt>
                <c:pt idx="5673">
                  <c:v>9.2098711098067859E-2</c:v>
                </c:pt>
                <c:pt idx="5674">
                  <c:v>9.7782764495965402E-2</c:v>
                </c:pt>
                <c:pt idx="5675">
                  <c:v>0.10353257746911421</c:v>
                </c:pt>
                <c:pt idx="5676">
                  <c:v>0.10910454110261045</c:v>
                </c:pt>
                <c:pt idx="5677">
                  <c:v>0.11445503189840493</c:v>
                </c:pt>
                <c:pt idx="5678">
                  <c:v>0.11952116907032465</c:v>
                </c:pt>
                <c:pt idx="5679">
                  <c:v>0.1246987197948005</c:v>
                </c:pt>
                <c:pt idx="5680">
                  <c:v>0.12940683931271332</c:v>
                </c:pt>
                <c:pt idx="5681">
                  <c:v>0.13359958284773404</c:v>
                </c:pt>
                <c:pt idx="5682">
                  <c:v>0.13814530735750283</c:v>
                </c:pt>
                <c:pt idx="5683">
                  <c:v>0.14204648012953702</c:v>
                </c:pt>
                <c:pt idx="5684">
                  <c:v>0.15076860346150911</c:v>
                </c:pt>
                <c:pt idx="5685">
                  <c:v>0.15819996021466023</c:v>
                </c:pt>
                <c:pt idx="5686">
                  <c:v>0.16391862911371125</c:v>
                </c:pt>
                <c:pt idx="5687">
                  <c:v>0.16735846522202416</c:v>
                </c:pt>
                <c:pt idx="5688">
                  <c:v>0.16902594979932611</c:v>
                </c:pt>
                <c:pt idx="5689">
                  <c:v>0.16844976610723339</c:v>
                </c:pt>
                <c:pt idx="5690">
                  <c:v>0.16626518409498592</c:v>
                </c:pt>
                <c:pt idx="5691">
                  <c:v>0.15837833098112389</c:v>
                </c:pt>
                <c:pt idx="5692">
                  <c:v>0.15197754791021084</c:v>
                </c:pt>
                <c:pt idx="5693">
                  <c:v>0.144789197708065</c:v>
                </c:pt>
                <c:pt idx="5694">
                  <c:v>0.13735021516405679</c:v>
                </c:pt>
                <c:pt idx="5695">
                  <c:v>0.13511963085794212</c:v>
                </c:pt>
                <c:pt idx="5696">
                  <c:v>0.13221618130664689</c:v>
                </c:pt>
                <c:pt idx="5697">
                  <c:v>0.12838675507269709</c:v>
                </c:pt>
                <c:pt idx="5698">
                  <c:v>0.12616140304328294</c:v>
                </c:pt>
                <c:pt idx="5699">
                  <c:v>0.1226132176776524</c:v>
                </c:pt>
                <c:pt idx="5700">
                  <c:v>0.12124515152832153</c:v>
                </c:pt>
                <c:pt idx="5701">
                  <c:v>0.11937608401711734</c:v>
                </c:pt>
                <c:pt idx="5702">
                  <c:v>0.11858359676395666</c:v>
                </c:pt>
                <c:pt idx="5703">
                  <c:v>0.11715737963840041</c:v>
                </c:pt>
                <c:pt idx="5704">
                  <c:v>0.11506452118723576</c:v>
                </c:pt>
                <c:pt idx="5705">
                  <c:v>0.11229478761762822</c:v>
                </c:pt>
                <c:pt idx="5706">
                  <c:v>0.10858723395009469</c:v>
                </c:pt>
                <c:pt idx="5707">
                  <c:v>0.10404744881766768</c:v>
                </c:pt>
                <c:pt idx="5708">
                  <c:v>9.8580459403645557E-2</c:v>
                </c:pt>
                <c:pt idx="5709">
                  <c:v>9.2812731745363655E-2</c:v>
                </c:pt>
                <c:pt idx="5710">
                  <c:v>8.6527934107000881E-2</c:v>
                </c:pt>
                <c:pt idx="5711">
                  <c:v>8.4268153170218948E-2</c:v>
                </c:pt>
                <c:pt idx="5712">
                  <c:v>8.212716193161855E-2</c:v>
                </c:pt>
                <c:pt idx="5713">
                  <c:v>8.166810689932523E-2</c:v>
                </c:pt>
                <c:pt idx="5714">
                  <c:v>9.0718366242497905E-2</c:v>
                </c:pt>
                <c:pt idx="5715">
                  <c:v>0.15190024120009146</c:v>
                </c:pt>
                <c:pt idx="5716">
                  <c:v>0.20507155128631488</c:v>
                </c:pt>
                <c:pt idx="5717">
                  <c:v>0.24707545032635436</c:v>
                </c:pt>
                <c:pt idx="5718">
                  <c:v>0.28191804239086865</c:v>
                </c:pt>
                <c:pt idx="5719">
                  <c:v>0.31185474092895754</c:v>
                </c:pt>
                <c:pt idx="5720">
                  <c:v>0.33804640273520897</c:v>
                </c:pt>
                <c:pt idx="5721">
                  <c:v>0.36121227483954571</c:v>
                </c:pt>
                <c:pt idx="5722">
                  <c:v>0.38304252274652661</c:v>
                </c:pt>
                <c:pt idx="5723">
                  <c:v>0.40287793058008814</c:v>
                </c:pt>
                <c:pt idx="5724">
                  <c:v>0.42017409997891392</c:v>
                </c:pt>
                <c:pt idx="5725">
                  <c:v>0.43525996318264776</c:v>
                </c:pt>
                <c:pt idx="5726">
                  <c:v>0.44816744646509238</c:v>
                </c:pt>
                <c:pt idx="5727">
                  <c:v>0.45953333920497857</c:v>
                </c:pt>
                <c:pt idx="5728">
                  <c:v>0.46887545048951934</c:v>
                </c:pt>
                <c:pt idx="5729">
                  <c:v>0.47625938882410407</c:v>
                </c:pt>
                <c:pt idx="5730">
                  <c:v>0.48147030064364721</c:v>
                </c:pt>
                <c:pt idx="5731">
                  <c:v>0.48462339165460816</c:v>
                </c:pt>
                <c:pt idx="5732">
                  <c:v>0.48551404998495978</c:v>
                </c:pt>
                <c:pt idx="5733">
                  <c:v>0.48451540606106869</c:v>
                </c:pt>
                <c:pt idx="5734">
                  <c:v>0.48147292867469882</c:v>
                </c:pt>
                <c:pt idx="5735">
                  <c:v>0.47585258319113699</c:v>
                </c:pt>
                <c:pt idx="5736">
                  <c:v>0.46767125465458625</c:v>
                </c:pt>
                <c:pt idx="5737">
                  <c:v>0.45650370981332311</c:v>
                </c:pt>
                <c:pt idx="5738">
                  <c:v>0.44170489609417268</c:v>
                </c:pt>
                <c:pt idx="5739">
                  <c:v>0.42335696684929558</c:v>
                </c:pt>
                <c:pt idx="5740">
                  <c:v>0.39975155154766689</c:v>
                </c:pt>
                <c:pt idx="5741">
                  <c:v>0.36279841492862275</c:v>
                </c:pt>
                <c:pt idx="5742">
                  <c:v>0.31656141512815605</c:v>
                </c:pt>
                <c:pt idx="5743">
                  <c:v>0.24926273101564164</c:v>
                </c:pt>
                <c:pt idx="5744">
                  <c:v>0.12809436098682944</c:v>
                </c:pt>
                <c:pt idx="5745">
                  <c:v>0.12346929970082378</c:v>
                </c:pt>
                <c:pt idx="5746">
                  <c:v>0.12505664646535411</c:v>
                </c:pt>
                <c:pt idx="5747">
                  <c:v>0.12666232207390243</c:v>
                </c:pt>
                <c:pt idx="5748">
                  <c:v>0.12966334453594902</c:v>
                </c:pt>
                <c:pt idx="5749">
                  <c:v>0.13190856136347118</c:v>
                </c:pt>
                <c:pt idx="5750">
                  <c:v>0.13348093362743962</c:v>
                </c:pt>
                <c:pt idx="5751">
                  <c:v>0.13437145550418111</c:v>
                </c:pt>
                <c:pt idx="5752">
                  <c:v>0.13578805220966741</c:v>
                </c:pt>
                <c:pt idx="5753">
                  <c:v>0.13723329693175226</c:v>
                </c:pt>
                <c:pt idx="5754">
                  <c:v>0.13933381573234599</c:v>
                </c:pt>
                <c:pt idx="5755">
                  <c:v>0.1408487152617868</c:v>
                </c:pt>
                <c:pt idx="5756">
                  <c:v>0.14233978187529672</c:v>
                </c:pt>
                <c:pt idx="5757">
                  <c:v>0.1437747181997292</c:v>
                </c:pt>
                <c:pt idx="5758">
                  <c:v>0.1446227879240837</c:v>
                </c:pt>
                <c:pt idx="5759">
                  <c:v>0.14552051219174905</c:v>
                </c:pt>
                <c:pt idx="5760">
                  <c:v>0.14577535407412551</c:v>
                </c:pt>
                <c:pt idx="5761">
                  <c:v>0.14971047193356546</c:v>
                </c:pt>
                <c:pt idx="5762">
                  <c:v>0.15397037022633825</c:v>
                </c:pt>
                <c:pt idx="5763">
                  <c:v>0.15899259413371891</c:v>
                </c:pt>
                <c:pt idx="5764">
                  <c:v>0.16333234739392682</c:v>
                </c:pt>
                <c:pt idx="5765">
                  <c:v>0.18777618286747247</c:v>
                </c:pt>
                <c:pt idx="5766">
                  <c:v>0.21387511459200867</c:v>
                </c:pt>
                <c:pt idx="5767">
                  <c:v>0.23672556654345422</c:v>
                </c:pt>
                <c:pt idx="5768">
                  <c:v>0.25689884434601706</c:v>
                </c:pt>
                <c:pt idx="5769">
                  <c:v>0.27534153862859712</c:v>
                </c:pt>
                <c:pt idx="5770">
                  <c:v>0.29224718520445508</c:v>
                </c:pt>
                <c:pt idx="5771">
                  <c:v>0.30764654283272258</c:v>
                </c:pt>
                <c:pt idx="5772">
                  <c:v>0.32181949592256021</c:v>
                </c:pt>
                <c:pt idx="5773">
                  <c:v>0.33461107079773234</c:v>
                </c:pt>
                <c:pt idx="5774">
                  <c:v>0.34603421874265688</c:v>
                </c:pt>
                <c:pt idx="5775">
                  <c:v>0.35614978480059278</c:v>
                </c:pt>
                <c:pt idx="5776">
                  <c:v>0.3649029917675749</c:v>
                </c:pt>
                <c:pt idx="5777">
                  <c:v>0.37238346026037461</c:v>
                </c:pt>
                <c:pt idx="5778">
                  <c:v>0.37807919386654476</c:v>
                </c:pt>
                <c:pt idx="5779">
                  <c:v>0.3824013645388824</c:v>
                </c:pt>
                <c:pt idx="5780">
                  <c:v>0.38531612498104656</c:v>
                </c:pt>
                <c:pt idx="5781">
                  <c:v>0.38680323752744772</c:v>
                </c:pt>
                <c:pt idx="5782">
                  <c:v>0.38681401190410453</c:v>
                </c:pt>
                <c:pt idx="5783">
                  <c:v>0.38526441697265507</c:v>
                </c:pt>
                <c:pt idx="5784">
                  <c:v>0.38135038583190767</c:v>
                </c:pt>
                <c:pt idx="5785">
                  <c:v>0.37554840134605771</c:v>
                </c:pt>
                <c:pt idx="5786">
                  <c:v>0.37008111568007912</c:v>
                </c:pt>
                <c:pt idx="5787">
                  <c:v>0.36566909440972117</c:v>
                </c:pt>
                <c:pt idx="5788">
                  <c:v>0.36262641825097303</c:v>
                </c:pt>
                <c:pt idx="5789">
                  <c:v>0.35469305819315089</c:v>
                </c:pt>
                <c:pt idx="5790">
                  <c:v>0.34428703199501953</c:v>
                </c:pt>
                <c:pt idx="5791">
                  <c:v>0.3314371542404066</c:v>
                </c:pt>
                <c:pt idx="5792">
                  <c:v>0.3115622968334536</c:v>
                </c:pt>
                <c:pt idx="5793">
                  <c:v>0.28162231353699252</c:v>
                </c:pt>
                <c:pt idx="5794">
                  <c:v>0.23932975486428423</c:v>
                </c:pt>
                <c:pt idx="5795">
                  <c:v>0.26545748054477375</c:v>
                </c:pt>
                <c:pt idx="5796">
                  <c:v>0.29681817290234025</c:v>
                </c:pt>
                <c:pt idx="5797">
                  <c:v>0.32240789106344758</c:v>
                </c:pt>
                <c:pt idx="5798">
                  <c:v>0.3446614894673678</c:v>
                </c:pt>
                <c:pt idx="5799">
                  <c:v>0.36994738114086217</c:v>
                </c:pt>
                <c:pt idx="5800">
                  <c:v>0.39755462081233556</c:v>
                </c:pt>
                <c:pt idx="5801">
                  <c:v>0.42410176280092693</c:v>
                </c:pt>
                <c:pt idx="5802">
                  <c:v>0.47193109315364212</c:v>
                </c:pt>
                <c:pt idx="5803">
                  <c:v>0.52153431848408305</c:v>
                </c:pt>
                <c:pt idx="5804">
                  <c:v>0.56231821772273782</c:v>
                </c:pt>
                <c:pt idx="5805">
                  <c:v>0.59588368207834419</c:v>
                </c:pt>
                <c:pt idx="5806">
                  <c:v>0.62329089133292648</c:v>
                </c:pt>
                <c:pt idx="5807">
                  <c:v>0.64630948350366912</c:v>
                </c:pt>
                <c:pt idx="5808">
                  <c:v>0.64630948350366912</c:v>
                </c:pt>
                <c:pt idx="5809">
                  <c:v>0.64630948350366912</c:v>
                </c:pt>
                <c:pt idx="5810">
                  <c:v>0.64630948350366912</c:v>
                </c:pt>
                <c:pt idx="5811">
                  <c:v>0.64630948350366912</c:v>
                </c:pt>
                <c:pt idx="5812">
                  <c:v>0.64630948350366912</c:v>
                </c:pt>
                <c:pt idx="5813">
                  <c:v>0.64630948350366912</c:v>
                </c:pt>
                <c:pt idx="5814">
                  <c:v>0.64630948350366912</c:v>
                </c:pt>
                <c:pt idx="5815">
                  <c:v>0.64630948350366912</c:v>
                </c:pt>
                <c:pt idx="5816">
                  <c:v>0.65019344538758095</c:v>
                </c:pt>
                <c:pt idx="5817">
                  <c:v>0.65723684738972643</c:v>
                </c:pt>
                <c:pt idx="5818">
                  <c:v>0.66660992788407025</c:v>
                </c:pt>
                <c:pt idx="5819">
                  <c:v>0.67569335029847932</c:v>
                </c:pt>
                <c:pt idx="5820">
                  <c:v>0.68526713544773199</c:v>
                </c:pt>
                <c:pt idx="5821">
                  <c:v>0.69587405340175912</c:v>
                </c:pt>
                <c:pt idx="5822">
                  <c:v>0.70588371978575604</c:v>
                </c:pt>
                <c:pt idx="5823">
                  <c:v>0.71498387042442746</c:v>
                </c:pt>
                <c:pt idx="5824">
                  <c:v>0.72287480752482902</c:v>
                </c:pt>
                <c:pt idx="5825">
                  <c:v>0.72924942166717166</c:v>
                </c:pt>
                <c:pt idx="5826">
                  <c:v>0.73277248799432015</c:v>
                </c:pt>
                <c:pt idx="5827">
                  <c:v>0.73492329711732474</c:v>
                </c:pt>
                <c:pt idx="5828">
                  <c:v>0.73532516952291704</c:v>
                </c:pt>
                <c:pt idx="5829">
                  <c:v>0.73150723719526689</c:v>
                </c:pt>
                <c:pt idx="5830">
                  <c:v>0.72358430769731197</c:v>
                </c:pt>
                <c:pt idx="5831">
                  <c:v>0.71099609211791936</c:v>
                </c:pt>
                <c:pt idx="5832">
                  <c:v>0.67580999825426857</c:v>
                </c:pt>
                <c:pt idx="5833">
                  <c:v>0.62233512431648741</c:v>
                </c:pt>
                <c:pt idx="5834">
                  <c:v>0.5551081746796469</c:v>
                </c:pt>
                <c:pt idx="5835">
                  <c:v>0.46770685772450815</c:v>
                </c:pt>
                <c:pt idx="5836">
                  <c:v>0.34415383415301742</c:v>
                </c:pt>
                <c:pt idx="5837">
                  <c:v>6.2234581843166478E-2</c:v>
                </c:pt>
                <c:pt idx="5838">
                  <c:v>6.8994713329141907E-2</c:v>
                </c:pt>
                <c:pt idx="5839">
                  <c:v>7.7768189003052698E-2</c:v>
                </c:pt>
                <c:pt idx="5840">
                  <c:v>8.642451394806247E-2</c:v>
                </c:pt>
                <c:pt idx="5841">
                  <c:v>9.4950302801038541E-2</c:v>
                </c:pt>
                <c:pt idx="5842">
                  <c:v>0.10332207376858064</c:v>
                </c:pt>
                <c:pt idx="5843">
                  <c:v>0.11159052755947535</c:v>
                </c:pt>
                <c:pt idx="5844">
                  <c:v>0.12111206825359001</c:v>
                </c:pt>
                <c:pt idx="5845">
                  <c:v>0.13165452441107689</c:v>
                </c:pt>
                <c:pt idx="5846">
                  <c:v>0.14305150273770464</c:v>
                </c:pt>
                <c:pt idx="5847">
                  <c:v>0.15351509637215266</c:v>
                </c:pt>
                <c:pt idx="5848">
                  <c:v>0.16318948234640193</c:v>
                </c:pt>
                <c:pt idx="5849">
                  <c:v>0.17201742516230922</c:v>
                </c:pt>
                <c:pt idx="5850">
                  <c:v>0.18000500706689013</c:v>
                </c:pt>
                <c:pt idx="5851">
                  <c:v>0.18720813609781914</c:v>
                </c:pt>
                <c:pt idx="5852">
                  <c:v>0.19351123045680671</c:v>
                </c:pt>
                <c:pt idx="5853">
                  <c:v>0.19891888381686817</c:v>
                </c:pt>
                <c:pt idx="5854">
                  <c:v>0.2045704534453201</c:v>
                </c:pt>
                <c:pt idx="5855">
                  <c:v>0.21022980551046611</c:v>
                </c:pt>
                <c:pt idx="5856">
                  <c:v>0.21452051173186731</c:v>
                </c:pt>
                <c:pt idx="5857">
                  <c:v>0.21734755733959127</c:v>
                </c:pt>
                <c:pt idx="5858">
                  <c:v>0.2297443958592105</c:v>
                </c:pt>
                <c:pt idx="5859">
                  <c:v>0.23924101835716807</c:v>
                </c:pt>
                <c:pt idx="5860">
                  <c:v>0.24542768331072223</c:v>
                </c:pt>
                <c:pt idx="5861">
                  <c:v>0.2487534244832407</c:v>
                </c:pt>
                <c:pt idx="5862">
                  <c:v>0.24960545249172847</c:v>
                </c:pt>
                <c:pt idx="5863">
                  <c:v>0.24784799101767838</c:v>
                </c:pt>
                <c:pt idx="5864">
                  <c:v>0.2443380628505174</c:v>
                </c:pt>
                <c:pt idx="5865">
                  <c:v>0.23925238681005487</c:v>
                </c:pt>
                <c:pt idx="5866">
                  <c:v>0.22905003793241213</c:v>
                </c:pt>
                <c:pt idx="5867">
                  <c:v>0.21929488996519733</c:v>
                </c:pt>
                <c:pt idx="5868">
                  <c:v>0.21103850627392395</c:v>
                </c:pt>
                <c:pt idx="5869">
                  <c:v>0.20557392337799912</c:v>
                </c:pt>
                <c:pt idx="5870">
                  <c:v>0.2015236486261385</c:v>
                </c:pt>
                <c:pt idx="5871">
                  <c:v>0.19946423186668974</c:v>
                </c:pt>
                <c:pt idx="5872">
                  <c:v>0.19896726666819708</c:v>
                </c:pt>
                <c:pt idx="5873">
                  <c:v>0.2000530576930466</c:v>
                </c:pt>
                <c:pt idx="5874">
                  <c:v>0.20339518763156278</c:v>
                </c:pt>
                <c:pt idx="5875">
                  <c:v>0.20795600464130901</c:v>
                </c:pt>
                <c:pt idx="5876">
                  <c:v>0.21448170613803008</c:v>
                </c:pt>
                <c:pt idx="5877">
                  <c:v>0.22156714916558609</c:v>
                </c:pt>
                <c:pt idx="5878">
                  <c:v>0.22906306953772346</c:v>
                </c:pt>
                <c:pt idx="5879">
                  <c:v>0.24205290902692045</c:v>
                </c:pt>
                <c:pt idx="5880">
                  <c:v>0.2544507787253445</c:v>
                </c:pt>
                <c:pt idx="5881">
                  <c:v>0.27914386446374395</c:v>
                </c:pt>
                <c:pt idx="5882">
                  <c:v>0.30262313269440705</c:v>
                </c:pt>
                <c:pt idx="5883">
                  <c:v>0.32239690817380301</c:v>
                </c:pt>
                <c:pt idx="5884">
                  <c:v>0.34074057973662564</c:v>
                </c:pt>
                <c:pt idx="5885">
                  <c:v>0.3819463448593145</c:v>
                </c:pt>
                <c:pt idx="5886">
                  <c:v>0.41732323673366473</c:v>
                </c:pt>
                <c:pt idx="5887">
                  <c:v>0.44597019815052164</c:v>
                </c:pt>
                <c:pt idx="5888">
                  <c:v>0.46207983287327659</c:v>
                </c:pt>
                <c:pt idx="5889">
                  <c:v>0.47179030219565543</c:v>
                </c:pt>
                <c:pt idx="5890">
                  <c:v>0.47828623963344258</c:v>
                </c:pt>
                <c:pt idx="5891">
                  <c:v>0.48059135695605876</c:v>
                </c:pt>
                <c:pt idx="5892">
                  <c:v>0.47813775157512689</c:v>
                </c:pt>
                <c:pt idx="5893">
                  <c:v>0.47225571407041972</c:v>
                </c:pt>
                <c:pt idx="5894">
                  <c:v>0.46214605749490867</c:v>
                </c:pt>
                <c:pt idx="5895">
                  <c:v>0.44757446636697884</c:v>
                </c:pt>
                <c:pt idx="5896">
                  <c:v>0.44217062449762484</c:v>
                </c:pt>
                <c:pt idx="5897">
                  <c:v>0.44044190949236711</c:v>
                </c:pt>
                <c:pt idx="5898">
                  <c:v>0.43770729918102841</c:v>
                </c:pt>
                <c:pt idx="5899">
                  <c:v>0.43340075533719868</c:v>
                </c:pt>
                <c:pt idx="5900">
                  <c:v>0.42701142442813672</c:v>
                </c:pt>
                <c:pt idx="5901">
                  <c:v>0.41900823949933519</c:v>
                </c:pt>
                <c:pt idx="5902">
                  <c:v>0.40917256156210313</c:v>
                </c:pt>
                <c:pt idx="5903">
                  <c:v>0.40176793946981215</c:v>
                </c:pt>
                <c:pt idx="5904">
                  <c:v>0.38240062555476689</c:v>
                </c:pt>
                <c:pt idx="5905">
                  <c:v>0.35774713213773235</c:v>
                </c:pt>
                <c:pt idx="5906">
                  <c:v>0.33121557582718014</c:v>
                </c:pt>
                <c:pt idx="5907">
                  <c:v>0.31487021367288531</c:v>
                </c:pt>
                <c:pt idx="5908">
                  <c:v>0.2984998527953111</c:v>
                </c:pt>
                <c:pt idx="5909">
                  <c:v>0.29024216748443327</c:v>
                </c:pt>
                <c:pt idx="5910">
                  <c:v>0.27617960300482636</c:v>
                </c:pt>
                <c:pt idx="5911">
                  <c:v>0.27189532809800138</c:v>
                </c:pt>
                <c:pt idx="5912">
                  <c:v>0.26794089343580119</c:v>
                </c:pt>
                <c:pt idx="5913">
                  <c:v>0.258624859503642</c:v>
                </c:pt>
                <c:pt idx="5914">
                  <c:v>0.25949494512232685</c:v>
                </c:pt>
                <c:pt idx="5915">
                  <c:v>0.26798475147519785</c:v>
                </c:pt>
                <c:pt idx="5916">
                  <c:v>0.27567189048405083</c:v>
                </c:pt>
                <c:pt idx="5917">
                  <c:v>0.28269937913564119</c:v>
                </c:pt>
                <c:pt idx="5918">
                  <c:v>0.28914327111461779</c:v>
                </c:pt>
                <c:pt idx="5919">
                  <c:v>0.29506687619176042</c:v>
                </c:pt>
                <c:pt idx="5920">
                  <c:v>0.30052444420184515</c:v>
                </c:pt>
                <c:pt idx="5921">
                  <c:v>0.30556052249299936</c:v>
                </c:pt>
                <c:pt idx="5922">
                  <c:v>0.31025786774547737</c:v>
                </c:pt>
                <c:pt idx="5923">
                  <c:v>0.31460486516415681</c:v>
                </c:pt>
                <c:pt idx="5924">
                  <c:v>0.3186318247865576</c:v>
                </c:pt>
                <c:pt idx="5925">
                  <c:v>0.3223655524835059</c:v>
                </c:pt>
                <c:pt idx="5926">
                  <c:v>0.32587616561571142</c:v>
                </c:pt>
                <c:pt idx="5927">
                  <c:v>0.32913262080334188</c:v>
                </c:pt>
                <c:pt idx="5928">
                  <c:v>0.33215617357043065</c:v>
                </c:pt>
                <c:pt idx="5929">
                  <c:v>0.3349629175332644</c:v>
                </c:pt>
                <c:pt idx="5930">
                  <c:v>0.337562693706073</c:v>
                </c:pt>
                <c:pt idx="5931">
                  <c:v>0.33997108017984551</c:v>
                </c:pt>
                <c:pt idx="5932">
                  <c:v>0.34209822441073684</c:v>
                </c:pt>
                <c:pt idx="5933">
                  <c:v>0.34209822441073684</c:v>
                </c:pt>
                <c:pt idx="5934">
                  <c:v>0.34426724341260023</c:v>
                </c:pt>
                <c:pt idx="5935">
                  <c:v>0.34455464108960515</c:v>
                </c:pt>
                <c:pt idx="5936">
                  <c:v>0.34076375772470957</c:v>
                </c:pt>
                <c:pt idx="5937">
                  <c:v>0.31241973846100796</c:v>
                </c:pt>
                <c:pt idx="5938">
                  <c:v>0.2777860098051983</c:v>
                </c:pt>
                <c:pt idx="5939">
                  <c:v>0.23408729433485284</c:v>
                </c:pt>
                <c:pt idx="5940">
                  <c:v>0.19219019369578061</c:v>
                </c:pt>
                <c:pt idx="5941">
                  <c:v>0.14664665632744223</c:v>
                </c:pt>
                <c:pt idx="5942">
                  <c:v>8.1665908016903571E-2</c:v>
                </c:pt>
                <c:pt idx="5943">
                  <c:v>1.1563034325163421E-13</c:v>
                </c:pt>
                <c:pt idx="5944">
                  <c:v>1.1563034325163421E-13</c:v>
                </c:pt>
                <c:pt idx="5945">
                  <c:v>1.1563034325163421E-13</c:v>
                </c:pt>
                <c:pt idx="5946">
                  <c:v>1.1563034325163421E-13</c:v>
                </c:pt>
                <c:pt idx="5947">
                  <c:v>1.1563034325163421E-13</c:v>
                </c:pt>
                <c:pt idx="5948">
                  <c:v>1.1563034325163421E-13</c:v>
                </c:pt>
                <c:pt idx="5949">
                  <c:v>1.1563034325163421E-13</c:v>
                </c:pt>
                <c:pt idx="5950">
                  <c:v>1.1563034325163421E-13</c:v>
                </c:pt>
                <c:pt idx="5951">
                  <c:v>1.1563034325163421E-13</c:v>
                </c:pt>
                <c:pt idx="5952">
                  <c:v>1.1563034325163421E-13</c:v>
                </c:pt>
                <c:pt idx="5953">
                  <c:v>1.1563034325163421E-13</c:v>
                </c:pt>
                <c:pt idx="5954">
                  <c:v>1.1563034325163421E-13</c:v>
                </c:pt>
                <c:pt idx="5955">
                  <c:v>1.1563034325163421E-13</c:v>
                </c:pt>
                <c:pt idx="5956">
                  <c:v>1.1563034325163421E-13</c:v>
                </c:pt>
                <c:pt idx="5957">
                  <c:v>1.1563034325163421E-13</c:v>
                </c:pt>
                <c:pt idx="5958">
                  <c:v>1.1563034325163421E-13</c:v>
                </c:pt>
                <c:pt idx="5959">
                  <c:v>1.1563034325163421E-13</c:v>
                </c:pt>
                <c:pt idx="5960">
                  <c:v>1.1563034325163421E-13</c:v>
                </c:pt>
                <c:pt idx="5961">
                  <c:v>1.1563034325163421E-13</c:v>
                </c:pt>
                <c:pt idx="5962">
                  <c:v>1.1563034325163421E-13</c:v>
                </c:pt>
                <c:pt idx="5963">
                  <c:v>1.1563034325163421E-13</c:v>
                </c:pt>
                <c:pt idx="5964">
                  <c:v>1.1563034325163421E-13</c:v>
                </c:pt>
                <c:pt idx="5965">
                  <c:v>1.1563034325163421E-13</c:v>
                </c:pt>
                <c:pt idx="5966">
                  <c:v>1.1563034325163421E-13</c:v>
                </c:pt>
                <c:pt idx="5967">
                  <c:v>1.1563034325163421E-13</c:v>
                </c:pt>
                <c:pt idx="5968">
                  <c:v>1.1563034325163421E-13</c:v>
                </c:pt>
                <c:pt idx="5969">
                  <c:v>1.1563034325163421E-13</c:v>
                </c:pt>
                <c:pt idx="5970">
                  <c:v>1.1563034325163421E-13</c:v>
                </c:pt>
                <c:pt idx="5971">
                  <c:v>1.1563034325163421E-13</c:v>
                </c:pt>
                <c:pt idx="5972">
                  <c:v>1.1563034325163421E-13</c:v>
                </c:pt>
                <c:pt idx="5973">
                  <c:v>1.1563034325163421E-13</c:v>
                </c:pt>
                <c:pt idx="5974">
                  <c:v>1.1563034325163421E-13</c:v>
                </c:pt>
                <c:pt idx="5975">
                  <c:v>1.1563034325163421E-13</c:v>
                </c:pt>
                <c:pt idx="5976">
                  <c:v>1.1563034325163421E-13</c:v>
                </c:pt>
                <c:pt idx="5977">
                  <c:v>1.1563034325163421E-13</c:v>
                </c:pt>
                <c:pt idx="5978">
                  <c:v>1.1563034325163421E-13</c:v>
                </c:pt>
                <c:pt idx="5979">
                  <c:v>1.1563034325163421E-13</c:v>
                </c:pt>
                <c:pt idx="5980">
                  <c:v>1.1563034325163421E-13</c:v>
                </c:pt>
                <c:pt idx="5981">
                  <c:v>1.1563034325163421E-13</c:v>
                </c:pt>
                <c:pt idx="5982">
                  <c:v>1.1563034325163421E-13</c:v>
                </c:pt>
                <c:pt idx="5983">
                  <c:v>1.1563034325163421E-13</c:v>
                </c:pt>
                <c:pt idx="5984">
                  <c:v>1.1563034325163421E-13</c:v>
                </c:pt>
                <c:pt idx="5985">
                  <c:v>1.1563034325163421E-13</c:v>
                </c:pt>
                <c:pt idx="5986">
                  <c:v>1.1563034325163421E-13</c:v>
                </c:pt>
                <c:pt idx="5987">
                  <c:v>1.1563034325163421E-13</c:v>
                </c:pt>
                <c:pt idx="5988">
                  <c:v>1.1563034325163421E-13</c:v>
                </c:pt>
                <c:pt idx="5989">
                  <c:v>1.1563034325163421E-13</c:v>
                </c:pt>
                <c:pt idx="5990">
                  <c:v>1.1563034325163421E-13</c:v>
                </c:pt>
                <c:pt idx="5991">
                  <c:v>1.1563034325163421E-13</c:v>
                </c:pt>
                <c:pt idx="5992">
                  <c:v>1.1563034325163421E-13</c:v>
                </c:pt>
                <c:pt idx="5993">
                  <c:v>1.1563034325163421E-13</c:v>
                </c:pt>
                <c:pt idx="5994">
                  <c:v>1.1563034325163421E-13</c:v>
                </c:pt>
                <c:pt idx="5995">
                  <c:v>1.1563034325163421E-13</c:v>
                </c:pt>
                <c:pt idx="5996">
                  <c:v>1.1563034325163421E-13</c:v>
                </c:pt>
                <c:pt idx="5997">
                  <c:v>1.1563034325163421E-13</c:v>
                </c:pt>
                <c:pt idx="5998">
                  <c:v>1.1563034325163421E-13</c:v>
                </c:pt>
                <c:pt idx="5999">
                  <c:v>1.1563034325163421E-13</c:v>
                </c:pt>
                <c:pt idx="6000">
                  <c:v>1.1563034325163421E-13</c:v>
                </c:pt>
                <c:pt idx="6001">
                  <c:v>1.1563034325163421E-13</c:v>
                </c:pt>
                <c:pt idx="6002">
                  <c:v>1.1563034325163421E-13</c:v>
                </c:pt>
                <c:pt idx="6003">
                  <c:v>1.1563034325163421E-13</c:v>
                </c:pt>
                <c:pt idx="6004">
                  <c:v>1.1563034325163421E-13</c:v>
                </c:pt>
                <c:pt idx="6005">
                  <c:v>1.1563034325163421E-13</c:v>
                </c:pt>
                <c:pt idx="6006">
                  <c:v>1.1563034325163421E-13</c:v>
                </c:pt>
                <c:pt idx="6007">
                  <c:v>1.1563034325163421E-13</c:v>
                </c:pt>
                <c:pt idx="6008">
                  <c:v>8.0749823782010448E-3</c:v>
                </c:pt>
                <c:pt idx="6009">
                  <c:v>2.5291511306774695E-2</c:v>
                </c:pt>
                <c:pt idx="6010">
                  <c:v>3.798986147270729E-2</c:v>
                </c:pt>
                <c:pt idx="6011">
                  <c:v>6.6384409779141756E-2</c:v>
                </c:pt>
                <c:pt idx="6012">
                  <c:v>0.1141649590872066</c:v>
                </c:pt>
                <c:pt idx="6013">
                  <c:v>0.14652470422351424</c:v>
                </c:pt>
                <c:pt idx="6014">
                  <c:v>0.1739004119180628</c:v>
                </c:pt>
                <c:pt idx="6015">
                  <c:v>0.19936670611680515</c:v>
                </c:pt>
                <c:pt idx="6016">
                  <c:v>0.23013368031776402</c:v>
                </c:pt>
                <c:pt idx="6017">
                  <c:v>0.27055229250243601</c:v>
                </c:pt>
                <c:pt idx="6018">
                  <c:v>0.26928605829742691</c:v>
                </c:pt>
                <c:pt idx="6019">
                  <c:v>0.26928605829742691</c:v>
                </c:pt>
                <c:pt idx="6020">
                  <c:v>0.26765646101082946</c:v>
                </c:pt>
                <c:pt idx="6021">
                  <c:v>0.26726757459048239</c:v>
                </c:pt>
                <c:pt idx="6022">
                  <c:v>0.29692932437133546</c:v>
                </c:pt>
                <c:pt idx="6023">
                  <c:v>0.31386039773672331</c:v>
                </c:pt>
                <c:pt idx="6024">
                  <c:v>0.32373300443091946</c:v>
                </c:pt>
                <c:pt idx="6025">
                  <c:v>0.33133548683336944</c:v>
                </c:pt>
                <c:pt idx="6026">
                  <c:v>0.33406283132422387</c:v>
                </c:pt>
                <c:pt idx="6027">
                  <c:v>0.33521425898693152</c:v>
                </c:pt>
                <c:pt idx="6028">
                  <c:v>0.33376991234720166</c:v>
                </c:pt>
                <c:pt idx="6029">
                  <c:v>0.32925659037827315</c:v>
                </c:pt>
                <c:pt idx="6030">
                  <c:v>0.32292038112964411</c:v>
                </c:pt>
                <c:pt idx="6031">
                  <c:v>0.31474483600081005</c:v>
                </c:pt>
                <c:pt idx="6032">
                  <c:v>0.30565590355583727</c:v>
                </c:pt>
                <c:pt idx="6033">
                  <c:v>0.29616252440934349</c:v>
                </c:pt>
                <c:pt idx="6034">
                  <c:v>0.28650847340943725</c:v>
                </c:pt>
                <c:pt idx="6035">
                  <c:v>0.27698852347595598</c:v>
                </c:pt>
                <c:pt idx="6036">
                  <c:v>0.26784615639810871</c:v>
                </c:pt>
                <c:pt idx="6037">
                  <c:v>0.25937917496887009</c:v>
                </c:pt>
                <c:pt idx="6038">
                  <c:v>0.25461938983301646</c:v>
                </c:pt>
                <c:pt idx="6039">
                  <c:v>0.25945813029724213</c:v>
                </c:pt>
                <c:pt idx="6040">
                  <c:v>0.2673187903185118</c:v>
                </c:pt>
                <c:pt idx="6041">
                  <c:v>0.27925493319774208</c:v>
                </c:pt>
                <c:pt idx="6042">
                  <c:v>0.29101147966611141</c:v>
                </c:pt>
                <c:pt idx="6043">
                  <c:v>0.30147632108386879</c:v>
                </c:pt>
                <c:pt idx="6044">
                  <c:v>0.31080161735041284</c:v>
                </c:pt>
                <c:pt idx="6045">
                  <c:v>0.31781497503498007</c:v>
                </c:pt>
                <c:pt idx="6046">
                  <c:v>0.32118411491519211</c:v>
                </c:pt>
                <c:pt idx="6047">
                  <c:v>0.31445838787946256</c:v>
                </c:pt>
                <c:pt idx="6048">
                  <c:v>0.32655382011308182</c:v>
                </c:pt>
                <c:pt idx="6049">
                  <c:v>0.33695925947588123</c:v>
                </c:pt>
                <c:pt idx="6050">
                  <c:v>0.3522984904359196</c:v>
                </c:pt>
                <c:pt idx="6051">
                  <c:v>0.36890840722786877</c:v>
                </c:pt>
                <c:pt idx="6052">
                  <c:v>0.36210199616406968</c:v>
                </c:pt>
                <c:pt idx="6053">
                  <c:v>0.35748253179714168</c:v>
                </c:pt>
                <c:pt idx="6054">
                  <c:v>0.35323941940889331</c:v>
                </c:pt>
                <c:pt idx="6055">
                  <c:v>0.34521914116080205</c:v>
                </c:pt>
                <c:pt idx="6056">
                  <c:v>0.33778637523035338</c:v>
                </c:pt>
                <c:pt idx="6057">
                  <c:v>0.32699056348842304</c:v>
                </c:pt>
                <c:pt idx="6058">
                  <c:v>0.32304443031082541</c:v>
                </c:pt>
                <c:pt idx="6059">
                  <c:v>0.32726602425932705</c:v>
                </c:pt>
                <c:pt idx="6060">
                  <c:v>0.32789084622890258</c:v>
                </c:pt>
                <c:pt idx="6061">
                  <c:v>0.33048203915330387</c:v>
                </c:pt>
                <c:pt idx="6062">
                  <c:v>0.33501489117582434</c:v>
                </c:pt>
                <c:pt idx="6063">
                  <c:v>0.33757243177577284</c:v>
                </c:pt>
                <c:pt idx="6064">
                  <c:v>0.33840211759590766</c:v>
                </c:pt>
                <c:pt idx="6065">
                  <c:v>0.33772043158256609</c:v>
                </c:pt>
                <c:pt idx="6066">
                  <c:v>0.3355711774001407</c:v>
                </c:pt>
                <c:pt idx="6067">
                  <c:v>0.33268314707352431</c:v>
                </c:pt>
                <c:pt idx="6068">
                  <c:v>0.32914396952606978</c:v>
                </c:pt>
                <c:pt idx="6069">
                  <c:v>0.32842308708248136</c:v>
                </c:pt>
                <c:pt idx="6070">
                  <c:v>0.32695383648950338</c:v>
                </c:pt>
                <c:pt idx="6071">
                  <c:v>0.32347485676012394</c:v>
                </c:pt>
                <c:pt idx="6072">
                  <c:v>0.31800590918831906</c:v>
                </c:pt>
                <c:pt idx="6073">
                  <c:v>0.31085306561275183</c:v>
                </c:pt>
                <c:pt idx="6074">
                  <c:v>0.30209915229093914</c:v>
                </c:pt>
                <c:pt idx="6075">
                  <c:v>0.29089714403989531</c:v>
                </c:pt>
                <c:pt idx="6076">
                  <c:v>0.28023235326725199</c:v>
                </c:pt>
                <c:pt idx="6077">
                  <c:v>0.27079728825551763</c:v>
                </c:pt>
                <c:pt idx="6078">
                  <c:v>0.25904361645264729</c:v>
                </c:pt>
                <c:pt idx="6079">
                  <c:v>0.24817287820839568</c:v>
                </c:pt>
                <c:pt idx="6080">
                  <c:v>0.23750651972425951</c:v>
                </c:pt>
                <c:pt idx="6081">
                  <c:v>0.22805313964126669</c:v>
                </c:pt>
                <c:pt idx="6082">
                  <c:v>0.21831802657990637</c:v>
                </c:pt>
                <c:pt idx="6083">
                  <c:v>0.20627613393241115</c:v>
                </c:pt>
                <c:pt idx="6084">
                  <c:v>0.19200108802825031</c:v>
                </c:pt>
                <c:pt idx="6085">
                  <c:v>0.17594026747086625</c:v>
                </c:pt>
                <c:pt idx="6086">
                  <c:v>0.15636988049185233</c:v>
                </c:pt>
                <c:pt idx="6087">
                  <c:v>0.13502841607555294</c:v>
                </c:pt>
                <c:pt idx="6088">
                  <c:v>0.12702667940103698</c:v>
                </c:pt>
                <c:pt idx="6089">
                  <c:v>0.12825096863963834</c:v>
                </c:pt>
                <c:pt idx="6090">
                  <c:v>0.12752795350537596</c:v>
                </c:pt>
                <c:pt idx="6091">
                  <c:v>0.12909344374249557</c:v>
                </c:pt>
                <c:pt idx="6092">
                  <c:v>0.15144450216963984</c:v>
                </c:pt>
                <c:pt idx="6093">
                  <c:v>0.16928433731638426</c:v>
                </c:pt>
                <c:pt idx="6094">
                  <c:v>0.18680802871906627</c:v>
                </c:pt>
                <c:pt idx="6095">
                  <c:v>0.20122564478593219</c:v>
                </c:pt>
                <c:pt idx="6096">
                  <c:v>0.21394243865111368</c:v>
                </c:pt>
                <c:pt idx="6097">
                  <c:v>0.2249623642522465</c:v>
                </c:pt>
                <c:pt idx="6098">
                  <c:v>0.23458233466027456</c:v>
                </c:pt>
                <c:pt idx="6099">
                  <c:v>0.24251825830766291</c:v>
                </c:pt>
                <c:pt idx="6100">
                  <c:v>0.24895378958048864</c:v>
                </c:pt>
                <c:pt idx="6101">
                  <c:v>0.25402306618118786</c:v>
                </c:pt>
                <c:pt idx="6102">
                  <c:v>0.26833126918628242</c:v>
                </c:pt>
                <c:pt idx="6103">
                  <c:v>0.28760699964199615</c:v>
                </c:pt>
                <c:pt idx="6104">
                  <c:v>0.3057893177780211</c:v>
                </c:pt>
                <c:pt idx="6105">
                  <c:v>0.31976562861873919</c:v>
                </c:pt>
                <c:pt idx="6106">
                  <c:v>0.34169776883376024</c:v>
                </c:pt>
                <c:pt idx="6107">
                  <c:v>0.35980210851996347</c:v>
                </c:pt>
                <c:pt idx="6108">
                  <c:v>0.373463682271018</c:v>
                </c:pt>
                <c:pt idx="6109">
                  <c:v>0.38593398246899258</c:v>
                </c:pt>
                <c:pt idx="6110">
                  <c:v>0.39518999251562698</c:v>
                </c:pt>
                <c:pt idx="6111">
                  <c:v>0.40146363934333973</c:v>
                </c:pt>
                <c:pt idx="6112">
                  <c:v>0.40430071405610157</c:v>
                </c:pt>
                <c:pt idx="6113">
                  <c:v>0.40380535964139425</c:v>
                </c:pt>
                <c:pt idx="6114">
                  <c:v>0.40050053392837659</c:v>
                </c:pt>
                <c:pt idx="6115">
                  <c:v>0.39614473975323328</c:v>
                </c:pt>
                <c:pt idx="6116">
                  <c:v>0.38894914443557249</c:v>
                </c:pt>
                <c:pt idx="6117">
                  <c:v>0.38088043166405677</c:v>
                </c:pt>
                <c:pt idx="6118">
                  <c:v>0.36942007502424373</c:v>
                </c:pt>
                <c:pt idx="6119">
                  <c:v>0.35557204952733557</c:v>
                </c:pt>
                <c:pt idx="6120">
                  <c:v>0.33792889941218673</c:v>
                </c:pt>
                <c:pt idx="6121">
                  <c:v>0.31698804894408383</c:v>
                </c:pt>
                <c:pt idx="6122">
                  <c:v>0.30992229771671559</c:v>
                </c:pt>
                <c:pt idx="6123">
                  <c:v>0.30233457191432578</c:v>
                </c:pt>
                <c:pt idx="6124">
                  <c:v>0.29518824916343139</c:v>
                </c:pt>
                <c:pt idx="6125">
                  <c:v>0.28600340812437569</c:v>
                </c:pt>
                <c:pt idx="6126">
                  <c:v>0.27576248450278962</c:v>
                </c:pt>
                <c:pt idx="6127">
                  <c:v>0.26309711324498342</c:v>
                </c:pt>
                <c:pt idx="6128">
                  <c:v>0.24766360318825739</c:v>
                </c:pt>
                <c:pt idx="6129">
                  <c:v>0.22836827125702777</c:v>
                </c:pt>
                <c:pt idx="6130">
                  <c:v>0.20520373998942873</c:v>
                </c:pt>
                <c:pt idx="6131">
                  <c:v>0.17660242687129846</c:v>
                </c:pt>
                <c:pt idx="6132">
                  <c:v>0.16079086193550099</c:v>
                </c:pt>
                <c:pt idx="6133">
                  <c:v>0.15160171826066188</c:v>
                </c:pt>
                <c:pt idx="6134">
                  <c:v>0.14485700443167504</c:v>
                </c:pt>
                <c:pt idx="6135">
                  <c:v>0.13684991570514507</c:v>
                </c:pt>
                <c:pt idx="6136">
                  <c:v>0.14083168987819611</c:v>
                </c:pt>
                <c:pt idx="6137">
                  <c:v>0.14482665016564117</c:v>
                </c:pt>
                <c:pt idx="6138">
                  <c:v>0.14669340605596415</c:v>
                </c:pt>
                <c:pt idx="6139">
                  <c:v>0.14969077462392197</c:v>
                </c:pt>
                <c:pt idx="6140">
                  <c:v>0.15277017998512249</c:v>
                </c:pt>
                <c:pt idx="6141">
                  <c:v>0.15529860822229302</c:v>
                </c:pt>
                <c:pt idx="6142">
                  <c:v>0.15606136979108684</c:v>
                </c:pt>
                <c:pt idx="6143">
                  <c:v>0.14967565945606759</c:v>
                </c:pt>
                <c:pt idx="6144">
                  <c:v>0.14340013997568854</c:v>
                </c:pt>
                <c:pt idx="6145">
                  <c:v>0.14862281629254404</c:v>
                </c:pt>
                <c:pt idx="6146">
                  <c:v>0.17961762243178453</c:v>
                </c:pt>
                <c:pt idx="6147">
                  <c:v>0.23459830877935295</c:v>
                </c:pt>
                <c:pt idx="6148">
                  <c:v>0.30668356093727139</c:v>
                </c:pt>
                <c:pt idx="6149">
                  <c:v>0.39118187805271881</c:v>
                </c:pt>
                <c:pt idx="6150">
                  <c:v>0.51641172647695222</c:v>
                </c:pt>
                <c:pt idx="6151">
                  <c:v>0.67017529095582362</c:v>
                </c:pt>
                <c:pt idx="6152">
                  <c:v>0.7871270299353571</c:v>
                </c:pt>
                <c:pt idx="6153">
                  <c:v>0.81964742440204796</c:v>
                </c:pt>
                <c:pt idx="6154">
                  <c:v>0.81931969340537258</c:v>
                </c:pt>
                <c:pt idx="6155">
                  <c:v>0.81828158245569138</c:v>
                </c:pt>
                <c:pt idx="6156">
                  <c:v>0.81630213865604773</c:v>
                </c:pt>
                <c:pt idx="6157">
                  <c:v>0.81349748095500485</c:v>
                </c:pt>
                <c:pt idx="6158">
                  <c:v>0.80983224893082595</c:v>
                </c:pt>
                <c:pt idx="6159">
                  <c:v>0.80548967408887717</c:v>
                </c:pt>
                <c:pt idx="6160">
                  <c:v>0.79994794491830146</c:v>
                </c:pt>
                <c:pt idx="6161">
                  <c:v>0.79309573547233514</c:v>
                </c:pt>
                <c:pt idx="6162">
                  <c:v>0.78510017363747975</c:v>
                </c:pt>
                <c:pt idx="6163">
                  <c:v>0.77588640667178621</c:v>
                </c:pt>
                <c:pt idx="6164">
                  <c:v>0.76465686355541507</c:v>
                </c:pt>
                <c:pt idx="6165">
                  <c:v>0.7511133733387213</c:v>
                </c:pt>
                <c:pt idx="6166">
                  <c:v>0.73496055836540408</c:v>
                </c:pt>
                <c:pt idx="6167">
                  <c:v>0.71632696601161616</c:v>
                </c:pt>
                <c:pt idx="6168">
                  <c:v>0.69593923626083076</c:v>
                </c:pt>
                <c:pt idx="6169">
                  <c:v>0.67310191728481938</c:v>
                </c:pt>
                <c:pt idx="6170">
                  <c:v>0.64688115592295892</c:v>
                </c:pt>
                <c:pt idx="6171">
                  <c:v>0.61733757341772122</c:v>
                </c:pt>
                <c:pt idx="6172">
                  <c:v>0.58463985727245515</c:v>
                </c:pt>
                <c:pt idx="6173">
                  <c:v>0.56430187640248974</c:v>
                </c:pt>
                <c:pt idx="6174">
                  <c:v>0.54301131668791425</c:v>
                </c:pt>
                <c:pt idx="6175">
                  <c:v>0.53262645584285473</c:v>
                </c:pt>
                <c:pt idx="6176">
                  <c:v>0.53077626274244838</c:v>
                </c:pt>
                <c:pt idx="6177">
                  <c:v>0.53244911929280392</c:v>
                </c:pt>
                <c:pt idx="6178">
                  <c:v>0.53261732092118175</c:v>
                </c:pt>
                <c:pt idx="6179">
                  <c:v>0.52560957546064646</c:v>
                </c:pt>
                <c:pt idx="6180">
                  <c:v>0.48569025489793871</c:v>
                </c:pt>
                <c:pt idx="6181">
                  <c:v>0.36943859386386024</c:v>
                </c:pt>
                <c:pt idx="6182">
                  <c:v>0.16917800578100622</c:v>
                </c:pt>
                <c:pt idx="6183">
                  <c:v>0</c:v>
                </c:pt>
                <c:pt idx="6184">
                  <c:v>0</c:v>
                </c:pt>
                <c:pt idx="6185">
                  <c:v>0</c:v>
                </c:pt>
                <c:pt idx="6186">
                  <c:v>0</c:v>
                </c:pt>
                <c:pt idx="6187">
                  <c:v>0</c:v>
                </c:pt>
                <c:pt idx="6188">
                  <c:v>0</c:v>
                </c:pt>
                <c:pt idx="6189">
                  <c:v>0</c:v>
                </c:pt>
                <c:pt idx="6190">
                  <c:v>0</c:v>
                </c:pt>
                <c:pt idx="6191">
                  <c:v>0</c:v>
                </c:pt>
                <c:pt idx="6192">
                  <c:v>0</c:v>
                </c:pt>
                <c:pt idx="6193">
                  <c:v>0</c:v>
                </c:pt>
                <c:pt idx="6194">
                  <c:v>0</c:v>
                </c:pt>
                <c:pt idx="6195">
                  <c:v>0</c:v>
                </c:pt>
                <c:pt idx="6196">
                  <c:v>0</c:v>
                </c:pt>
                <c:pt idx="6197">
                  <c:v>0</c:v>
                </c:pt>
                <c:pt idx="6198">
                  <c:v>2.1637670089736983E-2</c:v>
                </c:pt>
                <c:pt idx="6199">
                  <c:v>3.100295388266432E-2</c:v>
                </c:pt>
                <c:pt idx="6200">
                  <c:v>3.8351995566829444E-2</c:v>
                </c:pt>
                <c:pt idx="6201">
                  <c:v>4.606621661261711E-2</c:v>
                </c:pt>
                <c:pt idx="6202">
                  <c:v>5.2756532777336877E-2</c:v>
                </c:pt>
                <c:pt idx="6203">
                  <c:v>5.8740622888783858E-2</c:v>
                </c:pt>
                <c:pt idx="6204">
                  <c:v>6.4200460983780752E-2</c:v>
                </c:pt>
                <c:pt idx="6205">
                  <c:v>6.8734556654936274E-2</c:v>
                </c:pt>
                <c:pt idx="6206">
                  <c:v>7.2945736773445777E-2</c:v>
                </c:pt>
                <c:pt idx="6207">
                  <c:v>7.7291446998287258E-2</c:v>
                </c:pt>
                <c:pt idx="6208">
                  <c:v>8.127106761660155E-2</c:v>
                </c:pt>
                <c:pt idx="6209">
                  <c:v>8.488265659222903E-2</c:v>
                </c:pt>
                <c:pt idx="6210">
                  <c:v>8.8578791822655586E-2</c:v>
                </c:pt>
                <c:pt idx="6211">
                  <c:v>9.1861446005848876E-2</c:v>
                </c:pt>
                <c:pt idx="6212">
                  <c:v>9.4775096618829172E-2</c:v>
                </c:pt>
                <c:pt idx="6213">
                  <c:v>9.7290058135471993E-2</c:v>
                </c:pt>
                <c:pt idx="6214">
                  <c:v>9.9378058320854987E-2</c:v>
                </c:pt>
                <c:pt idx="6215">
                  <c:v>0.10107417856281901</c:v>
                </c:pt>
                <c:pt idx="6216">
                  <c:v>0.10375741115183822</c:v>
                </c:pt>
                <c:pt idx="6217">
                  <c:v>0.10578760794731276</c:v>
                </c:pt>
                <c:pt idx="6218">
                  <c:v>0.10719196194820464</c:v>
                </c:pt>
                <c:pt idx="6219">
                  <c:v>0.11030335739782905</c:v>
                </c:pt>
                <c:pt idx="6220">
                  <c:v>0.11283959212125672</c:v>
                </c:pt>
                <c:pt idx="6221">
                  <c:v>0.11478626582424421</c:v>
                </c:pt>
                <c:pt idx="6222">
                  <c:v>0.11565532912984422</c:v>
                </c:pt>
                <c:pt idx="6223">
                  <c:v>0.11578668723256608</c:v>
                </c:pt>
                <c:pt idx="6224">
                  <c:v>0.11466933125197702</c:v>
                </c:pt>
                <c:pt idx="6225">
                  <c:v>0.11341022003621563</c:v>
                </c:pt>
                <c:pt idx="6226">
                  <c:v>0.11099530114661482</c:v>
                </c:pt>
                <c:pt idx="6227">
                  <c:v>0.10633291241032561</c:v>
                </c:pt>
                <c:pt idx="6228">
                  <c:v>0.10908055137192722</c:v>
                </c:pt>
                <c:pt idx="6229">
                  <c:v>0.11120829614483062</c:v>
                </c:pt>
                <c:pt idx="6230">
                  <c:v>0.11235749534772654</c:v>
                </c:pt>
                <c:pt idx="6231">
                  <c:v>0.11371632262013776</c:v>
                </c:pt>
                <c:pt idx="6232">
                  <c:v>0.1146080922317478</c:v>
                </c:pt>
                <c:pt idx="6233">
                  <c:v>0.11510302413828459</c:v>
                </c:pt>
                <c:pt idx="6234">
                  <c:v>0.11517949597293159</c:v>
                </c:pt>
                <c:pt idx="6235">
                  <c:v>0.11445315376278582</c:v>
                </c:pt>
                <c:pt idx="6236">
                  <c:v>0.11506859825940882</c:v>
                </c:pt>
                <c:pt idx="6237">
                  <c:v>0.1154580083258001</c:v>
                </c:pt>
                <c:pt idx="6238">
                  <c:v>0.11522597640760557</c:v>
                </c:pt>
                <c:pt idx="6239">
                  <c:v>0.11437396804418139</c:v>
                </c:pt>
                <c:pt idx="6240">
                  <c:v>0.11374580474710233</c:v>
                </c:pt>
                <c:pt idx="6241">
                  <c:v>0.11248180507997427</c:v>
                </c:pt>
                <c:pt idx="6242">
                  <c:v>0.11058774550769557</c:v>
                </c:pt>
                <c:pt idx="6243">
                  <c:v>0.1080481578518202</c:v>
                </c:pt>
                <c:pt idx="6244">
                  <c:v>0.10477102545186477</c:v>
                </c:pt>
                <c:pt idx="6245">
                  <c:v>0.10112143565069122</c:v>
                </c:pt>
                <c:pt idx="6246">
                  <c:v>9.868528611211029E-2</c:v>
                </c:pt>
                <c:pt idx="6247">
                  <c:v>9.5554830589371656E-2</c:v>
                </c:pt>
                <c:pt idx="6248">
                  <c:v>9.1753061562241708E-2</c:v>
                </c:pt>
                <c:pt idx="6249">
                  <c:v>9.0298264715439475E-2</c:v>
                </c:pt>
                <c:pt idx="6250">
                  <c:v>8.8863965983904308E-2</c:v>
                </c:pt>
                <c:pt idx="6251">
                  <c:v>8.74991459507585E-2</c:v>
                </c:pt>
                <c:pt idx="6252">
                  <c:v>8.6552411190441894E-2</c:v>
                </c:pt>
                <c:pt idx="6253">
                  <c:v>8.5679784072984572E-2</c:v>
                </c:pt>
                <c:pt idx="6254">
                  <c:v>8.4425564768619663E-2</c:v>
                </c:pt>
                <c:pt idx="6255">
                  <c:v>8.4097806651645624E-2</c:v>
                </c:pt>
                <c:pt idx="6256">
                  <c:v>8.433525774402742E-2</c:v>
                </c:pt>
                <c:pt idx="6257">
                  <c:v>8.38706030309984E-2</c:v>
                </c:pt>
                <c:pt idx="6258">
                  <c:v>8.4002547528684607E-2</c:v>
                </c:pt>
                <c:pt idx="6259">
                  <c:v>8.3861422970473221E-2</c:v>
                </c:pt>
                <c:pt idx="6260">
                  <c:v>8.3041084550276423E-2</c:v>
                </c:pt>
                <c:pt idx="6261">
                  <c:v>8.1969502738502495E-2</c:v>
                </c:pt>
                <c:pt idx="6262">
                  <c:v>8.0575182639683746E-2</c:v>
                </c:pt>
                <c:pt idx="6263">
                  <c:v>7.8893551881439566E-2</c:v>
                </c:pt>
                <c:pt idx="6264">
                  <c:v>7.6877824558640701E-2</c:v>
                </c:pt>
                <c:pt idx="6265">
                  <c:v>7.4516498679093698E-2</c:v>
                </c:pt>
                <c:pt idx="6266">
                  <c:v>7.4200171939230009E-2</c:v>
                </c:pt>
                <c:pt idx="6267">
                  <c:v>7.3730729357434063E-2</c:v>
                </c:pt>
                <c:pt idx="6268">
                  <c:v>7.3135405177789548E-2</c:v>
                </c:pt>
                <c:pt idx="6269">
                  <c:v>7.2389588345454794E-2</c:v>
                </c:pt>
                <c:pt idx="6270">
                  <c:v>7.1951604630867735E-2</c:v>
                </c:pt>
                <c:pt idx="6271">
                  <c:v>7.1382377236108838E-2</c:v>
                </c:pt>
                <c:pt idx="6272">
                  <c:v>7.0700513073827631E-2</c:v>
                </c:pt>
                <c:pt idx="6273">
                  <c:v>6.9924220477907792E-2</c:v>
                </c:pt>
                <c:pt idx="6274">
                  <c:v>6.9006747557203138E-2</c:v>
                </c:pt>
                <c:pt idx="6275">
                  <c:v>6.8439711087377814E-2</c:v>
                </c:pt>
                <c:pt idx="6276">
                  <c:v>6.7787870906536415E-2</c:v>
                </c:pt>
                <c:pt idx="6277">
                  <c:v>6.7003627928688858E-2</c:v>
                </c:pt>
                <c:pt idx="6278">
                  <c:v>6.6184811744255598E-2</c:v>
                </c:pt>
                <c:pt idx="6279">
                  <c:v>6.5647713956621639E-2</c:v>
                </c:pt>
                <c:pt idx="6280">
                  <c:v>6.5384731890984524E-2</c:v>
                </c:pt>
                <c:pt idx="6281">
                  <c:v>6.5857718823633588E-2</c:v>
                </c:pt>
                <c:pt idx="6282">
                  <c:v>6.7840466767094917E-2</c:v>
                </c:pt>
                <c:pt idx="6283">
                  <c:v>7.0438801168345638E-2</c:v>
                </c:pt>
                <c:pt idx="6284">
                  <c:v>7.3514617842183494E-2</c:v>
                </c:pt>
                <c:pt idx="6285">
                  <c:v>7.7148048361471058E-2</c:v>
                </c:pt>
                <c:pt idx="6286">
                  <c:v>8.1570838221401654E-2</c:v>
                </c:pt>
                <c:pt idx="6287">
                  <c:v>8.6295753378029069E-2</c:v>
                </c:pt>
                <c:pt idx="6288">
                  <c:v>9.1233131079031873E-2</c:v>
                </c:pt>
                <c:pt idx="6289">
                  <c:v>0.10107709460325046</c:v>
                </c:pt>
                <c:pt idx="6290">
                  <c:v>0.11037081989472378</c:v>
                </c:pt>
                <c:pt idx="6291">
                  <c:v>0.11906708513289897</c:v>
                </c:pt>
                <c:pt idx="6292">
                  <c:v>0.12737023313266632</c:v>
                </c:pt>
                <c:pt idx="6293">
                  <c:v>0.13520567068400297</c:v>
                </c:pt>
                <c:pt idx="6294">
                  <c:v>0.14254558416627999</c:v>
                </c:pt>
                <c:pt idx="6295">
                  <c:v>0.14954723840123951</c:v>
                </c:pt>
                <c:pt idx="6296">
                  <c:v>0.15613721361185684</c:v>
                </c:pt>
                <c:pt idx="6297">
                  <c:v>0.1622034706131571</c:v>
                </c:pt>
                <c:pt idx="6298">
                  <c:v>0.16793762908490856</c:v>
                </c:pt>
                <c:pt idx="6299">
                  <c:v>0.17320818402580732</c:v>
                </c:pt>
                <c:pt idx="6300">
                  <c:v>0.17792844310786046</c:v>
                </c:pt>
                <c:pt idx="6301">
                  <c:v>0.1822014804757752</c:v>
                </c:pt>
                <c:pt idx="6302">
                  <c:v>0.18595629172156905</c:v>
                </c:pt>
                <c:pt idx="6303">
                  <c:v>0.18907966712227733</c:v>
                </c:pt>
                <c:pt idx="6304">
                  <c:v>0.19157733017846834</c:v>
                </c:pt>
                <c:pt idx="6305">
                  <c:v>0.19349715783490865</c:v>
                </c:pt>
                <c:pt idx="6306">
                  <c:v>0.19465842315366078</c:v>
                </c:pt>
                <c:pt idx="6307">
                  <c:v>0.19508477774736427</c:v>
                </c:pt>
                <c:pt idx="6308">
                  <c:v>0.19470174357842399</c:v>
                </c:pt>
                <c:pt idx="6309">
                  <c:v>0.19374093134815787</c:v>
                </c:pt>
                <c:pt idx="6310">
                  <c:v>0.19226366093998212</c:v>
                </c:pt>
                <c:pt idx="6311">
                  <c:v>0.19066302651590253</c:v>
                </c:pt>
                <c:pt idx="6312">
                  <c:v>0.18873532149152525</c:v>
                </c:pt>
                <c:pt idx="6313">
                  <c:v>0.18769601289183435</c:v>
                </c:pt>
                <c:pt idx="6314">
                  <c:v>0.18617909018987738</c:v>
                </c:pt>
                <c:pt idx="6315">
                  <c:v>0.18447526976611919</c:v>
                </c:pt>
                <c:pt idx="6316">
                  <c:v>0.1835097843958626</c:v>
                </c:pt>
                <c:pt idx="6317">
                  <c:v>0.18212206574361112</c:v>
                </c:pt>
                <c:pt idx="6318">
                  <c:v>0.18411391906598185</c:v>
                </c:pt>
                <c:pt idx="6319">
                  <c:v>0.19039491559487837</c:v>
                </c:pt>
                <c:pt idx="6320">
                  <c:v>0.19605576903679017</c:v>
                </c:pt>
                <c:pt idx="6321">
                  <c:v>0.20233125716950828</c:v>
                </c:pt>
                <c:pt idx="6322">
                  <c:v>0.20923341073160143</c:v>
                </c:pt>
                <c:pt idx="6323">
                  <c:v>0.21521676493064154</c:v>
                </c:pt>
                <c:pt idx="6324">
                  <c:v>0.22046780491268428</c:v>
                </c:pt>
                <c:pt idx="6325">
                  <c:v>0.23159261453478833</c:v>
                </c:pt>
                <c:pt idx="6326">
                  <c:v>0.24123344112822828</c:v>
                </c:pt>
                <c:pt idx="6327">
                  <c:v>0.25065830072319734</c:v>
                </c:pt>
                <c:pt idx="6328">
                  <c:v>0.26011810264173668</c:v>
                </c:pt>
                <c:pt idx="6329">
                  <c:v>0.26933242172336386</c:v>
                </c:pt>
                <c:pt idx="6330">
                  <c:v>0.2880901528783818</c:v>
                </c:pt>
                <c:pt idx="6331">
                  <c:v>0.30390230134327362</c:v>
                </c:pt>
                <c:pt idx="6332">
                  <c:v>0.31707874773945721</c:v>
                </c:pt>
                <c:pt idx="6333">
                  <c:v>0.32802971387402935</c:v>
                </c:pt>
                <c:pt idx="6334">
                  <c:v>0.33694429536952303</c:v>
                </c:pt>
                <c:pt idx="6335">
                  <c:v>0.34517789827307205</c:v>
                </c:pt>
                <c:pt idx="6336">
                  <c:v>0.35146921959976174</c:v>
                </c:pt>
                <c:pt idx="6337">
                  <c:v>0.35595481829019487</c:v>
                </c:pt>
                <c:pt idx="6338">
                  <c:v>0.35882235068462859</c:v>
                </c:pt>
                <c:pt idx="6339">
                  <c:v>0.35984958855832205</c:v>
                </c:pt>
                <c:pt idx="6340">
                  <c:v>0.36129342708888496</c:v>
                </c:pt>
                <c:pt idx="6341">
                  <c:v>0.36091925120030688</c:v>
                </c:pt>
                <c:pt idx="6342">
                  <c:v>0.35856367413178036</c:v>
                </c:pt>
                <c:pt idx="6343">
                  <c:v>0.35552963406562299</c:v>
                </c:pt>
                <c:pt idx="6344">
                  <c:v>0.35052080193521062</c:v>
                </c:pt>
                <c:pt idx="6345">
                  <c:v>0.34208166889332481</c:v>
                </c:pt>
                <c:pt idx="6346">
                  <c:v>0.33091415696594528</c:v>
                </c:pt>
                <c:pt idx="6347">
                  <c:v>0.31615006111365912</c:v>
                </c:pt>
                <c:pt idx="6348">
                  <c:v>0.30247750875425677</c:v>
                </c:pt>
                <c:pt idx="6349">
                  <c:v>0.28729243305731811</c:v>
                </c:pt>
                <c:pt idx="6350">
                  <c:v>0.26922950544418345</c:v>
                </c:pt>
                <c:pt idx="6351">
                  <c:v>0.25042677666942009</c:v>
                </c:pt>
                <c:pt idx="6352">
                  <c:v>0.23102085910590414</c:v>
                </c:pt>
                <c:pt idx="6353">
                  <c:v>0.20933265095296991</c:v>
                </c:pt>
                <c:pt idx="6354">
                  <c:v>0.1854914899206625</c:v>
                </c:pt>
                <c:pt idx="6355">
                  <c:v>0.16889801314548178</c:v>
                </c:pt>
                <c:pt idx="6356">
                  <c:v>0.15187769270152432</c:v>
                </c:pt>
                <c:pt idx="6357">
                  <c:v>0.13633082225158491</c:v>
                </c:pt>
                <c:pt idx="6358">
                  <c:v>0.12371007022382483</c:v>
                </c:pt>
                <c:pt idx="6359">
                  <c:v>0.11415245776875996</c:v>
                </c:pt>
                <c:pt idx="6360">
                  <c:v>0.11826170098626038</c:v>
                </c:pt>
                <c:pt idx="6361">
                  <c:v>0.13302161107432153</c:v>
                </c:pt>
                <c:pt idx="6362">
                  <c:v>0.14868853851735592</c:v>
                </c:pt>
                <c:pt idx="6363">
                  <c:v>0.16374258386493384</c:v>
                </c:pt>
                <c:pt idx="6364">
                  <c:v>0.1878344487831671</c:v>
                </c:pt>
                <c:pt idx="6365">
                  <c:v>0.2091125321402737</c:v>
                </c:pt>
                <c:pt idx="6366">
                  <c:v>0.2279115800331388</c:v>
                </c:pt>
                <c:pt idx="6367">
                  <c:v>0.24356241202815598</c:v>
                </c:pt>
                <c:pt idx="6368">
                  <c:v>0.25724102187541115</c:v>
                </c:pt>
                <c:pt idx="6369">
                  <c:v>0.27090903438912678</c:v>
                </c:pt>
                <c:pt idx="6370">
                  <c:v>0.28669991115075988</c:v>
                </c:pt>
                <c:pt idx="6371">
                  <c:v>0.29822603472882703</c:v>
                </c:pt>
                <c:pt idx="6372">
                  <c:v>0.30579284382266125</c:v>
                </c:pt>
                <c:pt idx="6373">
                  <c:v>0.30942589905866236</c:v>
                </c:pt>
                <c:pt idx="6374">
                  <c:v>0.3090974283447942</c:v>
                </c:pt>
                <c:pt idx="6375">
                  <c:v>0.30652626131692612</c:v>
                </c:pt>
                <c:pt idx="6376">
                  <c:v>0.30258581020798248</c:v>
                </c:pt>
                <c:pt idx="6377">
                  <c:v>0.29742609427019917</c:v>
                </c:pt>
                <c:pt idx="6378">
                  <c:v>0.29029335455264599</c:v>
                </c:pt>
                <c:pt idx="6379">
                  <c:v>0.28203609405812252</c:v>
                </c:pt>
                <c:pt idx="6380">
                  <c:v>0.27376228302176631</c:v>
                </c:pt>
                <c:pt idx="6381">
                  <c:v>0.26370058117053868</c:v>
                </c:pt>
                <c:pt idx="6382">
                  <c:v>0.25187863583550163</c:v>
                </c:pt>
                <c:pt idx="6383">
                  <c:v>0.23909419852526043</c:v>
                </c:pt>
                <c:pt idx="6384">
                  <c:v>0.22651935473790913</c:v>
                </c:pt>
                <c:pt idx="6385">
                  <c:v>0.21330216712730365</c:v>
                </c:pt>
                <c:pt idx="6386">
                  <c:v>0.1981748966750696</c:v>
                </c:pt>
                <c:pt idx="6387">
                  <c:v>0.18099036005705751</c:v>
                </c:pt>
                <c:pt idx="6388">
                  <c:v>0.16241970821589444</c:v>
                </c:pt>
                <c:pt idx="6389">
                  <c:v>0.14071017525857127</c:v>
                </c:pt>
                <c:pt idx="6390">
                  <c:v>0.11625022377139774</c:v>
                </c:pt>
                <c:pt idx="6391">
                  <c:v>0.10122406220438489</c:v>
                </c:pt>
                <c:pt idx="6392">
                  <c:v>8.5405955151364107E-2</c:v>
                </c:pt>
                <c:pt idx="6393">
                  <c:v>6.6214067910975338E-2</c:v>
                </c:pt>
                <c:pt idx="6394">
                  <c:v>5.8798167427614553E-2</c:v>
                </c:pt>
                <c:pt idx="6395">
                  <c:v>5.1242144727557233E-2</c:v>
                </c:pt>
                <c:pt idx="6396">
                  <c:v>4.3374549376630107E-2</c:v>
                </c:pt>
                <c:pt idx="6397">
                  <c:v>3.2820498860282529E-2</c:v>
                </c:pt>
                <c:pt idx="6398">
                  <c:v>1.904071661299413E-2</c:v>
                </c:pt>
                <c:pt idx="6399">
                  <c:v>5.7815171625817106E-14</c:v>
                </c:pt>
                <c:pt idx="6400">
                  <c:v>5.7815171625817106E-14</c:v>
                </c:pt>
                <c:pt idx="6401">
                  <c:v>5.7815171625817106E-14</c:v>
                </c:pt>
                <c:pt idx="6402">
                  <c:v>5.7815171625817106E-14</c:v>
                </c:pt>
                <c:pt idx="6403">
                  <c:v>5.7815171625817106E-14</c:v>
                </c:pt>
                <c:pt idx="6404">
                  <c:v>5.7815171625817106E-14</c:v>
                </c:pt>
                <c:pt idx="6405">
                  <c:v>5.7815171625817106E-14</c:v>
                </c:pt>
                <c:pt idx="6406">
                  <c:v>5.7815171625817106E-14</c:v>
                </c:pt>
                <c:pt idx="6407">
                  <c:v>5.7815171625817106E-14</c:v>
                </c:pt>
                <c:pt idx="6408">
                  <c:v>5.7815171625817106E-14</c:v>
                </c:pt>
                <c:pt idx="6409">
                  <c:v>5.7815171625817106E-14</c:v>
                </c:pt>
                <c:pt idx="6410">
                  <c:v>5.7815171625817106E-14</c:v>
                </c:pt>
                <c:pt idx="6411">
                  <c:v>5.7815171625817106E-14</c:v>
                </c:pt>
                <c:pt idx="6412">
                  <c:v>5.7815171625817106E-14</c:v>
                </c:pt>
                <c:pt idx="6413">
                  <c:v>5.7815171625817106E-14</c:v>
                </c:pt>
                <c:pt idx="6414">
                  <c:v>5.7815171625817106E-14</c:v>
                </c:pt>
                <c:pt idx="6415">
                  <c:v>5.7815171625817106E-14</c:v>
                </c:pt>
                <c:pt idx="6416">
                  <c:v>5.7815171625817106E-14</c:v>
                </c:pt>
                <c:pt idx="6417">
                  <c:v>5.7815171625817106E-14</c:v>
                </c:pt>
                <c:pt idx="6418">
                  <c:v>9.9712161297034578E-3</c:v>
                </c:pt>
                <c:pt idx="6419">
                  <c:v>2.223571267294153E-2</c:v>
                </c:pt>
                <c:pt idx="6420">
                  <c:v>3.2909738848867637E-2</c:v>
                </c:pt>
                <c:pt idx="6421">
                  <c:v>5.0541716035163511E-2</c:v>
                </c:pt>
                <c:pt idx="6422">
                  <c:v>6.5811250451053682E-2</c:v>
                </c:pt>
                <c:pt idx="6423">
                  <c:v>7.9970918359599061E-2</c:v>
                </c:pt>
                <c:pt idx="6424">
                  <c:v>9.3520985386817912E-2</c:v>
                </c:pt>
                <c:pt idx="6425">
                  <c:v>0.10680265795826015</c:v>
                </c:pt>
                <c:pt idx="6426">
                  <c:v>0.12221470157637926</c:v>
                </c:pt>
                <c:pt idx="6427">
                  <c:v>0.13462251459553082</c:v>
                </c:pt>
                <c:pt idx="6428">
                  <c:v>0.14678239740842727</c:v>
                </c:pt>
                <c:pt idx="6429">
                  <c:v>0.15860450238139104</c:v>
                </c:pt>
                <c:pt idx="6430">
                  <c:v>0.17015486648634845</c:v>
                </c:pt>
                <c:pt idx="6431">
                  <c:v>0.18339842538714798</c:v>
                </c:pt>
                <c:pt idx="6432">
                  <c:v>0.20690885821784438</c:v>
                </c:pt>
                <c:pt idx="6433">
                  <c:v>0.22764193102905766</c:v>
                </c:pt>
                <c:pt idx="6434">
                  <c:v>0.24634127982113585</c:v>
                </c:pt>
                <c:pt idx="6435">
                  <c:v>0.26725046357766469</c:v>
                </c:pt>
                <c:pt idx="6436">
                  <c:v>0.2897288347216127</c:v>
                </c:pt>
                <c:pt idx="6437">
                  <c:v>0.30629877246852982</c:v>
                </c:pt>
                <c:pt idx="6438">
                  <c:v>0.31910793569887758</c:v>
                </c:pt>
                <c:pt idx="6439">
                  <c:v>0.32816161972786023</c:v>
                </c:pt>
                <c:pt idx="6440">
                  <c:v>0.3338034943332599</c:v>
                </c:pt>
                <c:pt idx="6441">
                  <c:v>0.3363381797794513</c:v>
                </c:pt>
                <c:pt idx="6442">
                  <c:v>0.33587534152508791</c:v>
                </c:pt>
                <c:pt idx="6443">
                  <c:v>0.3325096707396421</c:v>
                </c:pt>
                <c:pt idx="6444">
                  <c:v>0.32625060207554696</c:v>
                </c:pt>
                <c:pt idx="6445">
                  <c:v>0.31698039552979784</c:v>
                </c:pt>
                <c:pt idx="6446">
                  <c:v>0.30453275761620396</c:v>
                </c:pt>
                <c:pt idx="6447">
                  <c:v>0.28681314614319803</c:v>
                </c:pt>
                <c:pt idx="6448">
                  <c:v>0.26952460092546904</c:v>
                </c:pt>
                <c:pt idx="6449">
                  <c:v>0.25303665293738176</c:v>
                </c:pt>
                <c:pt idx="6450">
                  <c:v>0.23561157881339798</c:v>
                </c:pt>
                <c:pt idx="6451">
                  <c:v>0.22119438540076894</c:v>
                </c:pt>
                <c:pt idx="6452">
                  <c:v>0.20697595492856086</c:v>
                </c:pt>
                <c:pt idx="6453">
                  <c:v>0.19350705464305898</c:v>
                </c:pt>
                <c:pt idx="6454">
                  <c:v>0.18072382703274498</c:v>
                </c:pt>
                <c:pt idx="6455">
                  <c:v>0.16896194515649371</c:v>
                </c:pt>
                <c:pt idx="6456">
                  <c:v>0.16162585179435621</c:v>
                </c:pt>
                <c:pt idx="6457">
                  <c:v>0.15416241843985187</c:v>
                </c:pt>
                <c:pt idx="6458">
                  <c:v>0.14822966931525283</c:v>
                </c:pt>
                <c:pt idx="6459">
                  <c:v>0.1442311660645898</c:v>
                </c:pt>
                <c:pt idx="6460">
                  <c:v>0.14233711296435894</c:v>
                </c:pt>
                <c:pt idx="6461">
                  <c:v>0.14349696219068092</c:v>
                </c:pt>
                <c:pt idx="6462">
                  <c:v>0.14965604195650883</c:v>
                </c:pt>
                <c:pt idx="6463">
                  <c:v>0.15567690732969919</c:v>
                </c:pt>
                <c:pt idx="6464">
                  <c:v>0.16345799471685782</c:v>
                </c:pt>
                <c:pt idx="6465">
                  <c:v>0.16876916347828372</c:v>
                </c:pt>
                <c:pt idx="6466">
                  <c:v>0.1693704385080923</c:v>
                </c:pt>
                <c:pt idx="6467">
                  <c:v>0.16961909410843728</c:v>
                </c:pt>
                <c:pt idx="6468">
                  <c:v>0.16826691791985185</c:v>
                </c:pt>
                <c:pt idx="6469">
                  <c:v>0.16607790690707749</c:v>
                </c:pt>
                <c:pt idx="6470">
                  <c:v>0.16308840381208189</c:v>
                </c:pt>
                <c:pt idx="6471">
                  <c:v>0.15921871804840612</c:v>
                </c:pt>
                <c:pt idx="6472">
                  <c:v>0.1544535882918146</c:v>
                </c:pt>
                <c:pt idx="6473">
                  <c:v>0.14864766227205847</c:v>
                </c:pt>
                <c:pt idx="6474">
                  <c:v>0.14168593821292783</c:v>
                </c:pt>
                <c:pt idx="6475">
                  <c:v>0.13343177204823417</c:v>
                </c:pt>
                <c:pt idx="6476">
                  <c:v>0.12398270214864959</c:v>
                </c:pt>
                <c:pt idx="6477">
                  <c:v>0.11972328295878346</c:v>
                </c:pt>
                <c:pt idx="6478">
                  <c:v>0.11591713089065599</c:v>
                </c:pt>
                <c:pt idx="6479">
                  <c:v>0.1126386698796884</c:v>
                </c:pt>
                <c:pt idx="6480">
                  <c:v>0.10984339713121373</c:v>
                </c:pt>
                <c:pt idx="6481">
                  <c:v>0.1123308110991053</c:v>
                </c:pt>
                <c:pt idx="6482">
                  <c:v>0.11383506964254619</c:v>
                </c:pt>
                <c:pt idx="6483">
                  <c:v>0.12032352135618107</c:v>
                </c:pt>
                <c:pt idx="6484">
                  <c:v>0.12554235797726354</c:v>
                </c:pt>
                <c:pt idx="6485">
                  <c:v>0.12967202486622748</c:v>
                </c:pt>
                <c:pt idx="6486">
                  <c:v>0.13459455091671033</c:v>
                </c:pt>
                <c:pt idx="6487">
                  <c:v>0.13869161036377312</c:v>
                </c:pt>
                <c:pt idx="6488">
                  <c:v>0.14160886568602365</c:v>
                </c:pt>
                <c:pt idx="6489">
                  <c:v>0.1438070552063897</c:v>
                </c:pt>
                <c:pt idx="6490">
                  <c:v>0.14531168644128606</c:v>
                </c:pt>
                <c:pt idx="6491">
                  <c:v>0.14568501192236258</c:v>
                </c:pt>
                <c:pt idx="6492">
                  <c:v>0.1458419692913647</c:v>
                </c:pt>
                <c:pt idx="6493">
                  <c:v>0.14532062210684493</c:v>
                </c:pt>
                <c:pt idx="6494">
                  <c:v>0.146368692777918</c:v>
                </c:pt>
                <c:pt idx="6495">
                  <c:v>0.14735407682549498</c:v>
                </c:pt>
                <c:pt idx="6496">
                  <c:v>0.14743792388169669</c:v>
                </c:pt>
                <c:pt idx="6497">
                  <c:v>0.14555693159617791</c:v>
                </c:pt>
                <c:pt idx="6498">
                  <c:v>0.1415625634994708</c:v>
                </c:pt>
                <c:pt idx="6499">
                  <c:v>0.13613673586694</c:v>
                </c:pt>
                <c:pt idx="6500">
                  <c:v>0.12964178723774356</c:v>
                </c:pt>
                <c:pt idx="6501">
                  <c:v>0.12240488805019158</c:v>
                </c:pt>
                <c:pt idx="6502">
                  <c:v>0.11473261498212446</c:v>
                </c:pt>
                <c:pt idx="6503">
                  <c:v>0.10690756146807089</c:v>
                </c:pt>
                <c:pt idx="6504">
                  <c:v>9.9454561078723719E-2</c:v>
                </c:pt>
                <c:pt idx="6505">
                  <c:v>9.2836010075821915E-2</c:v>
                </c:pt>
                <c:pt idx="6506">
                  <c:v>8.8275781554526173E-2</c:v>
                </c:pt>
                <c:pt idx="6507">
                  <c:v>8.6538648502726842E-2</c:v>
                </c:pt>
                <c:pt idx="6508">
                  <c:v>8.9080544760171035E-2</c:v>
                </c:pt>
                <c:pt idx="6509">
                  <c:v>9.9686368156456928E-2</c:v>
                </c:pt>
                <c:pt idx="6510">
                  <c:v>0.14930124047775098</c:v>
                </c:pt>
                <c:pt idx="6511">
                  <c:v>0.2063405137353139</c:v>
                </c:pt>
                <c:pt idx="6512">
                  <c:v>0.26559772404350457</c:v>
                </c:pt>
                <c:pt idx="6513">
                  <c:v>0.32064109656722772</c:v>
                </c:pt>
                <c:pt idx="6514">
                  <c:v>0.37593929263893788</c:v>
                </c:pt>
                <c:pt idx="6515">
                  <c:v>0.43384262783337496</c:v>
                </c:pt>
                <c:pt idx="6516">
                  <c:v>0.48218589908288279</c:v>
                </c:pt>
                <c:pt idx="6517">
                  <c:v>0.52351721876397062</c:v>
                </c:pt>
                <c:pt idx="6518">
                  <c:v>0.55905458904638949</c:v>
                </c:pt>
                <c:pt idx="6519">
                  <c:v>0.58949317986734207</c:v>
                </c:pt>
                <c:pt idx="6520">
                  <c:v>0.61711597835170928</c:v>
                </c:pt>
                <c:pt idx="6521">
                  <c:v>0.64018412081286735</c:v>
                </c:pt>
                <c:pt idx="6522">
                  <c:v>0.65760517877265234</c:v>
                </c:pt>
                <c:pt idx="6523">
                  <c:v>0.67230010895983905</c:v>
                </c:pt>
                <c:pt idx="6524">
                  <c:v>0.68419390082905773</c:v>
                </c:pt>
                <c:pt idx="6525">
                  <c:v>0.69255947467592094</c:v>
                </c:pt>
                <c:pt idx="6526">
                  <c:v>0.69255947467592083</c:v>
                </c:pt>
                <c:pt idx="6527">
                  <c:v>0.69361335440324778</c:v>
                </c:pt>
                <c:pt idx="6528">
                  <c:v>0.69573982670487611</c:v>
                </c:pt>
                <c:pt idx="6529">
                  <c:v>0.69894299661210457</c:v>
                </c:pt>
                <c:pt idx="6530">
                  <c:v>0.70311352293494545</c:v>
                </c:pt>
                <c:pt idx="6531">
                  <c:v>0.70817891066540639</c:v>
                </c:pt>
                <c:pt idx="6532">
                  <c:v>0.71406923918535148</c:v>
                </c:pt>
                <c:pt idx="6533">
                  <c:v>0.72066519987196498</c:v>
                </c:pt>
                <c:pt idx="6534">
                  <c:v>0.72798088023806495</c:v>
                </c:pt>
                <c:pt idx="6535">
                  <c:v>0.7358969605426644</c:v>
                </c:pt>
                <c:pt idx="6536">
                  <c:v>0.74428944836802946</c:v>
                </c:pt>
                <c:pt idx="6537">
                  <c:v>0.7531513189872725</c:v>
                </c:pt>
                <c:pt idx="6538">
                  <c:v>0.76237650731022477</c:v>
                </c:pt>
                <c:pt idx="6539">
                  <c:v>0.77280984073731163</c:v>
                </c:pt>
                <c:pt idx="6540">
                  <c:v>0.78571781855404244</c:v>
                </c:pt>
                <c:pt idx="6541">
                  <c:v>0.79672588042466619</c:v>
                </c:pt>
                <c:pt idx="6542">
                  <c:v>0.80414526800830222</c:v>
                </c:pt>
                <c:pt idx="6543">
                  <c:v>0.80759568650952618</c:v>
                </c:pt>
                <c:pt idx="6544">
                  <c:v>0.80527952870990194</c:v>
                </c:pt>
                <c:pt idx="6545">
                  <c:v>0.79456380173435792</c:v>
                </c:pt>
                <c:pt idx="6546">
                  <c:v>0.77934269435967907</c:v>
                </c:pt>
                <c:pt idx="6547">
                  <c:v>0.75903024951355846</c:v>
                </c:pt>
                <c:pt idx="6548">
                  <c:v>0.73302541766174212</c:v>
                </c:pt>
                <c:pt idx="6549">
                  <c:v>0.70051954850220421</c:v>
                </c:pt>
                <c:pt idx="6550">
                  <c:v>0.6582023920676584</c:v>
                </c:pt>
                <c:pt idx="6551">
                  <c:v>0.60584109921738527</c:v>
                </c:pt>
                <c:pt idx="6552">
                  <c:v>0.54257929796795079</c:v>
                </c:pt>
                <c:pt idx="6553">
                  <c:v>0.45792141464488434</c:v>
                </c:pt>
                <c:pt idx="6554">
                  <c:v>0.33429333426398983</c:v>
                </c:pt>
                <c:pt idx="6555">
                  <c:v>5.7815171625817106E-14</c:v>
                </c:pt>
                <c:pt idx="6556">
                  <c:v>5.7815171625817106E-14</c:v>
                </c:pt>
                <c:pt idx="6557">
                  <c:v>5.7815171625817106E-14</c:v>
                </c:pt>
                <c:pt idx="6558">
                  <c:v>5.7815171625817106E-14</c:v>
                </c:pt>
                <c:pt idx="6559">
                  <c:v>5.7815171625817106E-14</c:v>
                </c:pt>
                <c:pt idx="6560">
                  <c:v>5.7815171625817106E-14</c:v>
                </c:pt>
                <c:pt idx="6561">
                  <c:v>5.7815171625817106E-14</c:v>
                </c:pt>
                <c:pt idx="6562">
                  <c:v>5.7815171625817106E-14</c:v>
                </c:pt>
                <c:pt idx="6563">
                  <c:v>5.7815171625817106E-14</c:v>
                </c:pt>
                <c:pt idx="6564">
                  <c:v>5.7815171625817106E-14</c:v>
                </c:pt>
                <c:pt idx="6565">
                  <c:v>5.7815171625817106E-14</c:v>
                </c:pt>
                <c:pt idx="6566">
                  <c:v>5.7815171625817106E-14</c:v>
                </c:pt>
                <c:pt idx="6567">
                  <c:v>5.7815171625817106E-14</c:v>
                </c:pt>
                <c:pt idx="6568">
                  <c:v>5.7815171625817106E-14</c:v>
                </c:pt>
                <c:pt idx="6569">
                  <c:v>5.7815171625817106E-14</c:v>
                </c:pt>
                <c:pt idx="6570">
                  <c:v>5.7815171625817106E-14</c:v>
                </c:pt>
                <c:pt idx="6571">
                  <c:v>5.7815171625817106E-14</c:v>
                </c:pt>
                <c:pt idx="6572">
                  <c:v>5.7815171625817106E-14</c:v>
                </c:pt>
                <c:pt idx="6573">
                  <c:v>5.7815171625817106E-14</c:v>
                </c:pt>
                <c:pt idx="6574">
                  <c:v>5.7815171625817106E-14</c:v>
                </c:pt>
                <c:pt idx="6575">
                  <c:v>5.7815171625817106E-14</c:v>
                </c:pt>
                <c:pt idx="6576">
                  <c:v>5.7815171625817106E-14</c:v>
                </c:pt>
                <c:pt idx="6577">
                  <c:v>5.7815171625817106E-14</c:v>
                </c:pt>
                <c:pt idx="6578">
                  <c:v>5.7815171625817106E-14</c:v>
                </c:pt>
                <c:pt idx="6579">
                  <c:v>5.7815171625817106E-14</c:v>
                </c:pt>
                <c:pt idx="6580">
                  <c:v>5.7815171625817106E-14</c:v>
                </c:pt>
                <c:pt idx="6581">
                  <c:v>5.7815171625817106E-14</c:v>
                </c:pt>
                <c:pt idx="6582">
                  <c:v>5.7815171625817106E-14</c:v>
                </c:pt>
                <c:pt idx="6583">
                  <c:v>5.7815171625817106E-14</c:v>
                </c:pt>
                <c:pt idx="6584">
                  <c:v>5.7815171625817106E-14</c:v>
                </c:pt>
                <c:pt idx="6585">
                  <c:v>5.7815171625817106E-14</c:v>
                </c:pt>
                <c:pt idx="6586">
                  <c:v>5.7815171625817106E-14</c:v>
                </c:pt>
                <c:pt idx="6587">
                  <c:v>5.7815171625817106E-14</c:v>
                </c:pt>
                <c:pt idx="6588">
                  <c:v>5.7815171625817106E-14</c:v>
                </c:pt>
                <c:pt idx="6589">
                  <c:v>5.7815171625817106E-14</c:v>
                </c:pt>
                <c:pt idx="6590">
                  <c:v>5.7815171625817106E-14</c:v>
                </c:pt>
                <c:pt idx="6591">
                  <c:v>5.7815171625817106E-14</c:v>
                </c:pt>
                <c:pt idx="6592">
                  <c:v>5.7815171625817106E-14</c:v>
                </c:pt>
                <c:pt idx="6593">
                  <c:v>5.7815171625817106E-14</c:v>
                </c:pt>
                <c:pt idx="6594">
                  <c:v>5.7815171625817106E-14</c:v>
                </c:pt>
                <c:pt idx="6595">
                  <c:v>5.7815171625817106E-14</c:v>
                </c:pt>
                <c:pt idx="6596">
                  <c:v>5.7815171625817106E-14</c:v>
                </c:pt>
                <c:pt idx="6597">
                  <c:v>5.7815171625817106E-14</c:v>
                </c:pt>
                <c:pt idx="6598">
                  <c:v>5.7815171625817106E-14</c:v>
                </c:pt>
                <c:pt idx="6599">
                  <c:v>5.7815171625817106E-14</c:v>
                </c:pt>
                <c:pt idx="6600">
                  <c:v>5.7815171625817106E-14</c:v>
                </c:pt>
                <c:pt idx="6601">
                  <c:v>5.7815171625817106E-14</c:v>
                </c:pt>
                <c:pt idx="6602">
                  <c:v>5.7815171625817106E-14</c:v>
                </c:pt>
                <c:pt idx="6603">
                  <c:v>5.7815171625817106E-14</c:v>
                </c:pt>
                <c:pt idx="6604">
                  <c:v>6.0260800925068941E-3</c:v>
                </c:pt>
                <c:pt idx="6605">
                  <c:v>1.4643813139831116E-2</c:v>
                </c:pt>
                <c:pt idx="6606">
                  <c:v>2.2770100263657032E-2</c:v>
                </c:pt>
                <c:pt idx="6607">
                  <c:v>2.9193761349216339E-2</c:v>
                </c:pt>
                <c:pt idx="6608">
                  <c:v>3.480303627804985E-2</c:v>
                </c:pt>
                <c:pt idx="6609">
                  <c:v>3.9992999507013842E-2</c:v>
                </c:pt>
                <c:pt idx="6610">
                  <c:v>4.486270906961641E-2</c:v>
                </c:pt>
                <c:pt idx="6611">
                  <c:v>7.3985995539810792E-2</c:v>
                </c:pt>
                <c:pt idx="6612">
                  <c:v>9.3970928126437425E-2</c:v>
                </c:pt>
                <c:pt idx="6613">
                  <c:v>0.10980734410168197</c:v>
                </c:pt>
                <c:pt idx="6614">
                  <c:v>0.12311543336460072</c:v>
                </c:pt>
                <c:pt idx="6615">
                  <c:v>0.13526157717482715</c:v>
                </c:pt>
                <c:pt idx="6616">
                  <c:v>0.14632599906678928</c:v>
                </c:pt>
                <c:pt idx="6617">
                  <c:v>0.15594530105891855</c:v>
                </c:pt>
                <c:pt idx="6618">
                  <c:v>0.16761166565016339</c:v>
                </c:pt>
                <c:pt idx="6619">
                  <c:v>0.1781621020668758</c:v>
                </c:pt>
                <c:pt idx="6620">
                  <c:v>0.18717303643330183</c:v>
                </c:pt>
                <c:pt idx="6621">
                  <c:v>0.19528380654339592</c:v>
                </c:pt>
                <c:pt idx="6622">
                  <c:v>0.20549913675479828</c:v>
                </c:pt>
                <c:pt idx="6623">
                  <c:v>0.21392169643550404</c:v>
                </c:pt>
                <c:pt idx="6624">
                  <c:v>0.22024984042917173</c:v>
                </c:pt>
                <c:pt idx="6625">
                  <c:v>0.22509007617032553</c:v>
                </c:pt>
                <c:pt idx="6626">
                  <c:v>0.2280591526924414</c:v>
                </c:pt>
                <c:pt idx="6627">
                  <c:v>0.22997320887276931</c:v>
                </c:pt>
                <c:pt idx="6628">
                  <c:v>0.2307682256869828</c:v>
                </c:pt>
                <c:pt idx="6629">
                  <c:v>0.23151670110019087</c:v>
                </c:pt>
                <c:pt idx="6630">
                  <c:v>0.23044313620673496</c:v>
                </c:pt>
                <c:pt idx="6631">
                  <c:v>0.2320955336684922</c:v>
                </c:pt>
                <c:pt idx="6632">
                  <c:v>0.23265977702156829</c:v>
                </c:pt>
                <c:pt idx="6633">
                  <c:v>0.23185381424246645</c:v>
                </c:pt>
                <c:pt idx="6634">
                  <c:v>0.23023197269995013</c:v>
                </c:pt>
                <c:pt idx="6635">
                  <c:v>0.22842521686038367</c:v>
                </c:pt>
                <c:pt idx="6636">
                  <c:v>0.22556640122106383</c:v>
                </c:pt>
                <c:pt idx="6637">
                  <c:v>0.22059632970565696</c:v>
                </c:pt>
                <c:pt idx="6638">
                  <c:v>0.21419290844187414</c:v>
                </c:pt>
                <c:pt idx="6639">
                  <c:v>0.20571099893566025</c:v>
                </c:pt>
                <c:pt idx="6640">
                  <c:v>0.20080451274120678</c:v>
                </c:pt>
                <c:pt idx="6641">
                  <c:v>0.22429890529970514</c:v>
                </c:pt>
                <c:pt idx="6642">
                  <c:v>0.25204899494758087</c:v>
                </c:pt>
                <c:pt idx="6643">
                  <c:v>0.31899553739987224</c:v>
                </c:pt>
                <c:pt idx="6644">
                  <c:v>0.36809223326393586</c:v>
                </c:pt>
                <c:pt idx="6645">
                  <c:v>0.41582782973938559</c:v>
                </c:pt>
                <c:pt idx="6646">
                  <c:v>0.4627608507496962</c:v>
                </c:pt>
                <c:pt idx="6647">
                  <c:v>0.50846279556610186</c:v>
                </c:pt>
                <c:pt idx="6648">
                  <c:v>0.59591907004887357</c:v>
                </c:pt>
                <c:pt idx="6649">
                  <c:v>0.6879709010679409</c:v>
                </c:pt>
                <c:pt idx="6650">
                  <c:v>0.75116216670663227</c:v>
                </c:pt>
                <c:pt idx="6651">
                  <c:v>0.80650463099111702</c:v>
                </c:pt>
                <c:pt idx="6652">
                  <c:v>0.85609480692304596</c:v>
                </c:pt>
                <c:pt idx="6653">
                  <c:v>0.90008408095374237</c:v>
                </c:pt>
                <c:pt idx="6654">
                  <c:v>0.9392524500632462</c:v>
                </c:pt>
                <c:pt idx="6655">
                  <c:v>0.97350897732309272</c:v>
                </c:pt>
                <c:pt idx="6656">
                  <c:v>1.0041584710276112</c:v>
                </c:pt>
                <c:pt idx="6657">
                  <c:v>1.0316758165207656</c:v>
                </c:pt>
                <c:pt idx="6658">
                  <c:v>1.0562265226662619</c:v>
                </c:pt>
                <c:pt idx="6659">
                  <c:v>1.0779805626871366</c:v>
                </c:pt>
                <c:pt idx="6660">
                  <c:v>1.0971252562468761</c:v>
                </c:pt>
                <c:pt idx="6661">
                  <c:v>1.1131853123119977</c:v>
                </c:pt>
                <c:pt idx="6662">
                  <c:v>1.1259470349246847</c:v>
                </c:pt>
                <c:pt idx="6663">
                  <c:v>1.1324217949571793</c:v>
                </c:pt>
                <c:pt idx="6664">
                  <c:v>1.1337341057082462</c:v>
                </c:pt>
                <c:pt idx="6665">
                  <c:v>1.1327933034431805</c:v>
                </c:pt>
                <c:pt idx="6666">
                  <c:v>1.1287028917775561</c:v>
                </c:pt>
                <c:pt idx="6667">
                  <c:v>1.123934529657999</c:v>
                </c:pt>
                <c:pt idx="6668">
                  <c:v>1.1181874236350555</c:v>
                </c:pt>
                <c:pt idx="6669">
                  <c:v>1.1115873703432597</c:v>
                </c:pt>
                <c:pt idx="6670">
                  <c:v>1.1018173821347974</c:v>
                </c:pt>
                <c:pt idx="6671">
                  <c:v>1.0845022887605826</c:v>
                </c:pt>
                <c:pt idx="6672">
                  <c:v>1.0615995802989573</c:v>
                </c:pt>
                <c:pt idx="6673">
                  <c:v>1.0142018834880255</c:v>
                </c:pt>
                <c:pt idx="6674">
                  <c:v>0.9635802484697078</c:v>
                </c:pt>
                <c:pt idx="6675">
                  <c:v>0.90044476054761646</c:v>
                </c:pt>
                <c:pt idx="6676">
                  <c:v>0.8213540625624528</c:v>
                </c:pt>
                <c:pt idx="6677">
                  <c:v>0.7183500598203576</c:v>
                </c:pt>
                <c:pt idx="6678">
                  <c:v>0.49861518522910803</c:v>
                </c:pt>
                <c:pt idx="6679">
                  <c:v>0.49659050641699115</c:v>
                </c:pt>
                <c:pt idx="6680">
                  <c:v>0.49989273924725308</c:v>
                </c:pt>
                <c:pt idx="6681">
                  <c:v>0.50050183591045161</c:v>
                </c:pt>
                <c:pt idx="6682">
                  <c:v>0.49849584880625042</c:v>
                </c:pt>
                <c:pt idx="6683">
                  <c:v>0.49372460056591094</c:v>
                </c:pt>
                <c:pt idx="6684">
                  <c:v>0.48614370456135003</c:v>
                </c:pt>
                <c:pt idx="6685">
                  <c:v>0.47847326824123504</c:v>
                </c:pt>
                <c:pt idx="6686">
                  <c:v>0.47184369354521122</c:v>
                </c:pt>
                <c:pt idx="6687">
                  <c:v>0.46368350191672592</c:v>
                </c:pt>
                <c:pt idx="6688">
                  <c:v>0.45067939032470417</c:v>
                </c:pt>
                <c:pt idx="6689">
                  <c:v>0.43250799457346334</c:v>
                </c:pt>
                <c:pt idx="6690">
                  <c:v>0.40865613467130829</c:v>
                </c:pt>
                <c:pt idx="6691">
                  <c:v>0.37817295219312147</c:v>
                </c:pt>
                <c:pt idx="6692">
                  <c:v>0.34125738942511258</c:v>
                </c:pt>
                <c:pt idx="6693">
                  <c:v>0.30956297467438598</c:v>
                </c:pt>
                <c:pt idx="6694">
                  <c:v>0.28709517910490656</c:v>
                </c:pt>
                <c:pt idx="6695">
                  <c:v>0.26520683850993954</c:v>
                </c:pt>
                <c:pt idx="6696">
                  <c:v>0.25841898037209537</c:v>
                </c:pt>
                <c:pt idx="6697">
                  <c:v>0.25007427527416592</c:v>
                </c:pt>
                <c:pt idx="6698">
                  <c:v>0.24007487234958994</c:v>
                </c:pt>
                <c:pt idx="6699">
                  <c:v>0.22835557345711816</c:v>
                </c:pt>
                <c:pt idx="6700">
                  <c:v>0.21475851721108985</c:v>
                </c:pt>
                <c:pt idx="6701">
                  <c:v>0.19904763624094213</c:v>
                </c:pt>
                <c:pt idx="6702">
                  <c:v>0.18079703625091237</c:v>
                </c:pt>
                <c:pt idx="6703">
                  <c:v>0.15933566105050093</c:v>
                </c:pt>
                <c:pt idx="6704">
                  <c:v>0.14918518402905637</c:v>
                </c:pt>
                <c:pt idx="6705">
                  <c:v>0.1392737943413048</c:v>
                </c:pt>
                <c:pt idx="6706">
                  <c:v>0.13204841621759369</c:v>
                </c:pt>
                <c:pt idx="6707">
                  <c:v>0.12329679042826909</c:v>
                </c:pt>
                <c:pt idx="6708">
                  <c:v>0.11395783017413393</c:v>
                </c:pt>
                <c:pt idx="6709">
                  <c:v>0.1039645974968874</c:v>
                </c:pt>
                <c:pt idx="6710">
                  <c:v>9.3222207298606516E-2</c:v>
                </c:pt>
                <c:pt idx="6711">
                  <c:v>8.2035919389783538E-2</c:v>
                </c:pt>
                <c:pt idx="6712">
                  <c:v>6.990747773738637E-2</c:v>
                </c:pt>
                <c:pt idx="6713">
                  <c:v>6.2818461178997531E-2</c:v>
                </c:pt>
                <c:pt idx="6714">
                  <c:v>5.5083482654145033E-2</c:v>
                </c:pt>
                <c:pt idx="6715">
                  <c:v>5.3386702478999425E-2</c:v>
                </c:pt>
                <c:pt idx="6716">
                  <c:v>6.0251073411113722E-2</c:v>
                </c:pt>
                <c:pt idx="6717">
                  <c:v>6.8457686781439223E-2</c:v>
                </c:pt>
                <c:pt idx="6718">
                  <c:v>7.6157548464412847E-2</c:v>
                </c:pt>
                <c:pt idx="6719">
                  <c:v>8.34356201994879E-2</c:v>
                </c:pt>
                <c:pt idx="6720">
                  <c:v>9.0343068703722426E-2</c:v>
                </c:pt>
                <c:pt idx="6721">
                  <c:v>9.7817532567487819E-2</c:v>
                </c:pt>
                <c:pt idx="6722">
                  <c:v>0.12116904567131556</c:v>
                </c:pt>
                <c:pt idx="6723">
                  <c:v>0.1466480403819711</c:v>
                </c:pt>
                <c:pt idx="6724">
                  <c:v>0.16972218394381963</c:v>
                </c:pt>
                <c:pt idx="6725">
                  <c:v>0.19013365987867195</c:v>
                </c:pt>
                <c:pt idx="6726">
                  <c:v>0.2094788228670531</c:v>
                </c:pt>
                <c:pt idx="6727">
                  <c:v>0.22598853117911494</c:v>
                </c:pt>
                <c:pt idx="6728">
                  <c:v>0.24019807556258257</c:v>
                </c:pt>
                <c:pt idx="6729">
                  <c:v>0.25483994563143303</c:v>
                </c:pt>
                <c:pt idx="6730">
                  <c:v>0.26722613116733107</c:v>
                </c:pt>
                <c:pt idx="6731">
                  <c:v>0.27991810005354018</c:v>
                </c:pt>
                <c:pt idx="6732">
                  <c:v>0.29036287274193501</c:v>
                </c:pt>
                <c:pt idx="6733">
                  <c:v>0.30017427146648312</c:v>
                </c:pt>
                <c:pt idx="6734">
                  <c:v>0.30774432680971087</c:v>
                </c:pt>
                <c:pt idx="6735">
                  <c:v>0.31450368177945043</c:v>
                </c:pt>
                <c:pt idx="6736">
                  <c:v>0.31965010347071771</c:v>
                </c:pt>
                <c:pt idx="6737">
                  <c:v>0.32174024162285048</c:v>
                </c:pt>
                <c:pt idx="6738">
                  <c:v>0.31568722681662603</c:v>
                </c:pt>
                <c:pt idx="6739">
                  <c:v>0.30255631599774546</c:v>
                </c:pt>
                <c:pt idx="6740">
                  <c:v>0.28772196600346772</c:v>
                </c:pt>
                <c:pt idx="6741">
                  <c:v>0.28928899448991952</c:v>
                </c:pt>
                <c:pt idx="6742">
                  <c:v>0.36366623867007386</c:v>
                </c:pt>
                <c:pt idx="6743">
                  <c:v>0.70450782757538588</c:v>
                </c:pt>
                <c:pt idx="6744">
                  <c:v>0.72325200790267041</c:v>
                </c:pt>
                <c:pt idx="6745">
                  <c:v>0.72644429478849493</c:v>
                </c:pt>
                <c:pt idx="6746">
                  <c:v>0.7248571926956533</c:v>
                </c:pt>
                <c:pt idx="6747">
                  <c:v>0.72332037295932117</c:v>
                </c:pt>
                <c:pt idx="6748">
                  <c:v>0.7400526258363419</c:v>
                </c:pt>
                <c:pt idx="6749">
                  <c:v>0.77656051322177122</c:v>
                </c:pt>
                <c:pt idx="6750">
                  <c:v>0.80708916857479096</c:v>
                </c:pt>
                <c:pt idx="6751">
                  <c:v>0.83023990069384723</c:v>
                </c:pt>
                <c:pt idx="6752">
                  <c:v>0.84557640501594422</c:v>
                </c:pt>
                <c:pt idx="6753">
                  <c:v>0.85436545081407755</c:v>
                </c:pt>
                <c:pt idx="6754">
                  <c:v>0.86194853232067503</c:v>
                </c:pt>
                <c:pt idx="6755">
                  <c:v>0.86842306259136282</c:v>
                </c:pt>
                <c:pt idx="6756">
                  <c:v>0.87398223298173849</c:v>
                </c:pt>
                <c:pt idx="6757">
                  <c:v>0.8786267294110699</c:v>
                </c:pt>
                <c:pt idx="6758">
                  <c:v>0.88245110513796809</c:v>
                </c:pt>
                <c:pt idx="6759">
                  <c:v>0.88577287146260164</c:v>
                </c:pt>
                <c:pt idx="6760">
                  <c:v>0.88847966809841827</c:v>
                </c:pt>
                <c:pt idx="6761">
                  <c:v>0.8892606929260104</c:v>
                </c:pt>
                <c:pt idx="6762">
                  <c:v>0.88982759512465215</c:v>
                </c:pt>
                <c:pt idx="6763">
                  <c:v>0.89029952800924073</c:v>
                </c:pt>
                <c:pt idx="6764">
                  <c:v>0.89034679573074249</c:v>
                </c:pt>
                <c:pt idx="6765">
                  <c:v>0.89034533120861059</c:v>
                </c:pt>
                <c:pt idx="6766">
                  <c:v>0.89034439404367838</c:v>
                </c:pt>
                <c:pt idx="6767">
                  <c:v>0.89106673960454696</c:v>
                </c:pt>
                <c:pt idx="6768">
                  <c:v>0.8921223466124274</c:v>
                </c:pt>
                <c:pt idx="6769">
                  <c:v>0.89132198961547182</c:v>
                </c:pt>
                <c:pt idx="6770">
                  <c:v>0.8917130469311183</c:v>
                </c:pt>
                <c:pt idx="6771">
                  <c:v>0.87926811319123499</c:v>
                </c:pt>
                <c:pt idx="6772">
                  <c:v>0.86811238356331633</c:v>
                </c:pt>
                <c:pt idx="6773">
                  <c:v>0.55483562662683572</c:v>
                </c:pt>
                <c:pt idx="6774">
                  <c:v>0.5189229641440507</c:v>
                </c:pt>
                <c:pt idx="6775">
                  <c:v>0.50613615880669105</c:v>
                </c:pt>
                <c:pt idx="6776">
                  <c:v>0.51554530678388211</c:v>
                </c:pt>
                <c:pt idx="6777">
                  <c:v>0.52414487642778929</c:v>
                </c:pt>
                <c:pt idx="6778">
                  <c:v>0.53415719633977454</c:v>
                </c:pt>
                <c:pt idx="6779">
                  <c:v>0.51931274190625365</c:v>
                </c:pt>
                <c:pt idx="6780">
                  <c:v>0.4990938145292963</c:v>
                </c:pt>
                <c:pt idx="6781">
                  <c:v>0.47643782435331433</c:v>
                </c:pt>
                <c:pt idx="6782">
                  <c:v>0.45937596529858876</c:v>
                </c:pt>
                <c:pt idx="6783">
                  <c:v>0.44670572707009121</c:v>
                </c:pt>
                <c:pt idx="6784">
                  <c:v>0.43178395289195315</c:v>
                </c:pt>
                <c:pt idx="6785">
                  <c:v>0.4136350530898561</c:v>
                </c:pt>
                <c:pt idx="6786">
                  <c:v>0.39344402586465899</c:v>
                </c:pt>
                <c:pt idx="6787">
                  <c:v>0.37129896773415477</c:v>
                </c:pt>
                <c:pt idx="6788">
                  <c:v>0.34710160555330272</c:v>
                </c:pt>
                <c:pt idx="6789">
                  <c:v>0.32074293399566506</c:v>
                </c:pt>
                <c:pt idx="6790">
                  <c:v>0.29192594376474723</c:v>
                </c:pt>
                <c:pt idx="6791">
                  <c:v>0.27254507568815456</c:v>
                </c:pt>
                <c:pt idx="6792">
                  <c:v>0.25294095678570255</c:v>
                </c:pt>
                <c:pt idx="6793">
                  <c:v>0.23595413803110388</c:v>
                </c:pt>
                <c:pt idx="6794">
                  <c:v>0.22700800684202824</c:v>
                </c:pt>
                <c:pt idx="6795">
                  <c:v>0.22245108012256243</c:v>
                </c:pt>
                <c:pt idx="6796">
                  <c:v>0.21991599099077669</c:v>
                </c:pt>
                <c:pt idx="6797">
                  <c:v>0.22809678259872768</c:v>
                </c:pt>
                <c:pt idx="6798">
                  <c:v>0.23860795846376129</c:v>
                </c:pt>
                <c:pt idx="6799">
                  <c:v>0.25000695730038808</c:v>
                </c:pt>
                <c:pt idx="6800">
                  <c:v>0.25525342404658818</c:v>
                </c:pt>
                <c:pt idx="6801">
                  <c:v>0.30800893930541862</c:v>
                </c:pt>
                <c:pt idx="6802">
                  <c:v>0.52109530829151363</c:v>
                </c:pt>
                <c:pt idx="6803">
                  <c:v>0.58162565357519769</c:v>
                </c:pt>
                <c:pt idx="6804">
                  <c:v>0.62035197170731471</c:v>
                </c:pt>
                <c:pt idx="6805">
                  <c:v>0.64550190924792861</c:v>
                </c:pt>
                <c:pt idx="6806">
                  <c:v>0.66318519536824516</c:v>
                </c:pt>
                <c:pt idx="6807">
                  <c:v>0.66836066397333516</c:v>
                </c:pt>
                <c:pt idx="6808">
                  <c:v>0.66664375489203809</c:v>
                </c:pt>
                <c:pt idx="6809">
                  <c:v>0.66315639117801284</c:v>
                </c:pt>
                <c:pt idx="6810">
                  <c:v>0.65948345175602341</c:v>
                </c:pt>
                <c:pt idx="6811">
                  <c:v>0.65610950559401449</c:v>
                </c:pt>
                <c:pt idx="6812">
                  <c:v>0.65283238605699223</c:v>
                </c:pt>
                <c:pt idx="6813">
                  <c:v>0.65100034540499985</c:v>
                </c:pt>
                <c:pt idx="6814">
                  <c:v>0.6503354734686938</c:v>
                </c:pt>
                <c:pt idx="6815">
                  <c:v>0.65211921093082048</c:v>
                </c:pt>
                <c:pt idx="6816">
                  <c:v>0.65418048451066513</c:v>
                </c:pt>
                <c:pt idx="6817">
                  <c:v>0.65747291511786976</c:v>
                </c:pt>
                <c:pt idx="6818">
                  <c:v>0.6613772332864517</c:v>
                </c:pt>
                <c:pt idx="6819">
                  <c:v>0.66904152564582275</c:v>
                </c:pt>
                <c:pt idx="6820">
                  <c:v>0.68002445309542725</c:v>
                </c:pt>
                <c:pt idx="6821">
                  <c:v>0.69017010971578407</c:v>
                </c:pt>
                <c:pt idx="6822">
                  <c:v>0.69935621318627172</c:v>
                </c:pt>
                <c:pt idx="6823">
                  <c:v>0.70689830099538609</c:v>
                </c:pt>
                <c:pt idx="6824">
                  <c:v>0.71275110093353078</c:v>
                </c:pt>
                <c:pt idx="6825">
                  <c:v>0.71718822978756602</c:v>
                </c:pt>
                <c:pt idx="6826">
                  <c:v>0.72015823195564266</c:v>
                </c:pt>
                <c:pt idx="6827">
                  <c:v>0.72158863785770533</c:v>
                </c:pt>
                <c:pt idx="6828">
                  <c:v>0.72141827121641655</c:v>
                </c:pt>
                <c:pt idx="6829">
                  <c:v>0.71956985749425961</c:v>
                </c:pt>
                <c:pt idx="6830">
                  <c:v>0.72265793596015815</c:v>
                </c:pt>
                <c:pt idx="6831">
                  <c:v>0.7094486328953572</c:v>
                </c:pt>
                <c:pt idx="6832">
                  <c:v>0.57653969835535979</c:v>
                </c:pt>
                <c:pt idx="6833">
                  <c:v>0.52162325647122232</c:v>
                </c:pt>
                <c:pt idx="6834">
                  <c:v>0.46166918650228078</c:v>
                </c:pt>
                <c:pt idx="6835">
                  <c:v>0.40647730937168258</c:v>
                </c:pt>
                <c:pt idx="6836">
                  <c:v>0.3446912256304791</c:v>
                </c:pt>
                <c:pt idx="6837">
                  <c:v>0.29792504330659497</c:v>
                </c:pt>
                <c:pt idx="6838">
                  <c:v>0.26853771639405333</c:v>
                </c:pt>
                <c:pt idx="6839">
                  <c:v>0.24698200860193253</c:v>
                </c:pt>
                <c:pt idx="6840">
                  <c:v>0.22338388448002797</c:v>
                </c:pt>
                <c:pt idx="6841">
                  <c:v>0.19723739389759493</c:v>
                </c:pt>
                <c:pt idx="6842">
                  <c:v>0.16797685749553579</c:v>
                </c:pt>
                <c:pt idx="6843">
                  <c:v>0.14144045104245695</c:v>
                </c:pt>
                <c:pt idx="6844">
                  <c:v>0.11898969001649884</c:v>
                </c:pt>
                <c:pt idx="6845">
                  <c:v>0.10158773608492054</c:v>
                </c:pt>
                <c:pt idx="6846">
                  <c:v>7.8500522632293915E-2</c:v>
                </c:pt>
                <c:pt idx="6847">
                  <c:v>5.6085977973447249E-2</c:v>
                </c:pt>
                <c:pt idx="6848">
                  <c:v>2.3100217120205827E-2</c:v>
                </c:pt>
                <c:pt idx="6849">
                  <c:v>1.7344551487745132E-13</c:v>
                </c:pt>
                <c:pt idx="6850">
                  <c:v>1.7344551487745132E-13</c:v>
                </c:pt>
                <c:pt idx="6851">
                  <c:v>1.7344551487745132E-13</c:v>
                </c:pt>
                <c:pt idx="6852">
                  <c:v>1.7344551487745132E-13</c:v>
                </c:pt>
                <c:pt idx="6853">
                  <c:v>1.7344551487745132E-13</c:v>
                </c:pt>
                <c:pt idx="6854">
                  <c:v>1.7344551487745132E-13</c:v>
                </c:pt>
                <c:pt idx="6855">
                  <c:v>1.7344551487745132E-13</c:v>
                </c:pt>
                <c:pt idx="6856">
                  <c:v>1.7344551487745132E-13</c:v>
                </c:pt>
                <c:pt idx="6857">
                  <c:v>1.7344551487745132E-13</c:v>
                </c:pt>
                <c:pt idx="6858">
                  <c:v>1.7344551487745132E-13</c:v>
                </c:pt>
                <c:pt idx="6859">
                  <c:v>1.7344551487745132E-13</c:v>
                </c:pt>
                <c:pt idx="6860">
                  <c:v>1.7344551487745132E-13</c:v>
                </c:pt>
                <c:pt idx="6861">
                  <c:v>1.7344551487745132E-13</c:v>
                </c:pt>
                <c:pt idx="6862">
                  <c:v>1.7344551487745132E-13</c:v>
                </c:pt>
                <c:pt idx="6863">
                  <c:v>1.7344551487745132E-13</c:v>
                </c:pt>
                <c:pt idx="6864">
                  <c:v>1.7344551487745132E-13</c:v>
                </c:pt>
                <c:pt idx="6865">
                  <c:v>1.7344551487745132E-13</c:v>
                </c:pt>
                <c:pt idx="6866">
                  <c:v>1.7344551487745132E-13</c:v>
                </c:pt>
                <c:pt idx="6867">
                  <c:v>1.7344551487745132E-13</c:v>
                </c:pt>
                <c:pt idx="6868">
                  <c:v>1.7344551487745132E-13</c:v>
                </c:pt>
                <c:pt idx="6869">
                  <c:v>1.7344551487745132E-13</c:v>
                </c:pt>
                <c:pt idx="6870">
                  <c:v>1.7344551487745132E-13</c:v>
                </c:pt>
                <c:pt idx="6871">
                  <c:v>1.7344551487745132E-13</c:v>
                </c:pt>
                <c:pt idx="6872">
                  <c:v>1.7344551487745132E-13</c:v>
                </c:pt>
                <c:pt idx="6873">
                  <c:v>1.7344551487745132E-13</c:v>
                </c:pt>
                <c:pt idx="6874">
                  <c:v>1.7344551487745132E-13</c:v>
                </c:pt>
                <c:pt idx="6875">
                  <c:v>1.7344551487745132E-13</c:v>
                </c:pt>
                <c:pt idx="6876">
                  <c:v>1.7344551487745132E-13</c:v>
                </c:pt>
                <c:pt idx="6877">
                  <c:v>1.7344551487745132E-13</c:v>
                </c:pt>
                <c:pt idx="6878">
                  <c:v>1.7344551487745132E-13</c:v>
                </c:pt>
                <c:pt idx="6879">
                  <c:v>1.7344551487745132E-13</c:v>
                </c:pt>
                <c:pt idx="6880">
                  <c:v>1.7344551487745132E-13</c:v>
                </c:pt>
                <c:pt idx="6881">
                  <c:v>1.7344551487745132E-13</c:v>
                </c:pt>
                <c:pt idx="6882">
                  <c:v>1.7344551487745132E-13</c:v>
                </c:pt>
                <c:pt idx="6883">
                  <c:v>1.7344551487745132E-13</c:v>
                </c:pt>
                <c:pt idx="6884">
                  <c:v>1.7344551487745132E-13</c:v>
                </c:pt>
                <c:pt idx="6885">
                  <c:v>1.7344551487745132E-13</c:v>
                </c:pt>
                <c:pt idx="6886">
                  <c:v>1.7344551487745132E-13</c:v>
                </c:pt>
                <c:pt idx="6887">
                  <c:v>1.7344551487745132E-13</c:v>
                </c:pt>
                <c:pt idx="6888">
                  <c:v>1.7344551487745132E-13</c:v>
                </c:pt>
                <c:pt idx="6889">
                  <c:v>1.7344551487745132E-13</c:v>
                </c:pt>
                <c:pt idx="6890">
                  <c:v>1.7344551487745132E-13</c:v>
                </c:pt>
                <c:pt idx="6891">
                  <c:v>1.7344551487745132E-13</c:v>
                </c:pt>
                <c:pt idx="6892">
                  <c:v>1.7344551487745132E-13</c:v>
                </c:pt>
                <c:pt idx="6893">
                  <c:v>1.7344551487745132E-13</c:v>
                </c:pt>
                <c:pt idx="6894">
                  <c:v>1.7344551487745132E-13</c:v>
                </c:pt>
                <c:pt idx="6895">
                  <c:v>1.7344551487745132E-13</c:v>
                </c:pt>
                <c:pt idx="6896">
                  <c:v>1.7344551487745132E-13</c:v>
                </c:pt>
                <c:pt idx="6897">
                  <c:v>1.7344551487745132E-13</c:v>
                </c:pt>
                <c:pt idx="6898">
                  <c:v>1.7344551487745132E-13</c:v>
                </c:pt>
                <c:pt idx="6899">
                  <c:v>1.7344551487745132E-13</c:v>
                </c:pt>
                <c:pt idx="6900">
                  <c:v>1.7344551487745132E-13</c:v>
                </c:pt>
                <c:pt idx="6901">
                  <c:v>1.7344551487745132E-13</c:v>
                </c:pt>
                <c:pt idx="6902">
                  <c:v>1.7344551487745132E-13</c:v>
                </c:pt>
                <c:pt idx="6903">
                  <c:v>1.7344551487745132E-13</c:v>
                </c:pt>
                <c:pt idx="6904">
                  <c:v>1.7344551487745132E-13</c:v>
                </c:pt>
                <c:pt idx="6905">
                  <c:v>1.7344551487745132E-13</c:v>
                </c:pt>
                <c:pt idx="6906">
                  <c:v>1.7344551487745132E-13</c:v>
                </c:pt>
                <c:pt idx="6907">
                  <c:v>1.7344551487745132E-13</c:v>
                </c:pt>
                <c:pt idx="6908">
                  <c:v>1.7344551487745132E-13</c:v>
                </c:pt>
                <c:pt idx="6909">
                  <c:v>1.7344551487745132E-13</c:v>
                </c:pt>
                <c:pt idx="6910">
                  <c:v>1.7344551487745132E-13</c:v>
                </c:pt>
                <c:pt idx="6911">
                  <c:v>1.7344551487745132E-13</c:v>
                </c:pt>
                <c:pt idx="6912">
                  <c:v>1.7344551487745132E-13</c:v>
                </c:pt>
                <c:pt idx="6913">
                  <c:v>1.7344551487745132E-13</c:v>
                </c:pt>
                <c:pt idx="6914">
                  <c:v>1.7344551487745132E-13</c:v>
                </c:pt>
                <c:pt idx="6915">
                  <c:v>1.7344551487745132E-13</c:v>
                </c:pt>
                <c:pt idx="6916">
                  <c:v>1.7344551487745132E-13</c:v>
                </c:pt>
                <c:pt idx="6917">
                  <c:v>1.7344551487745132E-13</c:v>
                </c:pt>
                <c:pt idx="6918">
                  <c:v>1.7344551487745132E-13</c:v>
                </c:pt>
                <c:pt idx="6919">
                  <c:v>1.7344551487745132E-13</c:v>
                </c:pt>
                <c:pt idx="6920">
                  <c:v>1.7344551487745132E-13</c:v>
                </c:pt>
                <c:pt idx="6921">
                  <c:v>1.7344551487745132E-13</c:v>
                </c:pt>
                <c:pt idx="6922">
                  <c:v>1.7344551487745132E-13</c:v>
                </c:pt>
                <c:pt idx="6923">
                  <c:v>1.7344551487745132E-13</c:v>
                </c:pt>
                <c:pt idx="6924">
                  <c:v>1.7344551487745132E-13</c:v>
                </c:pt>
                <c:pt idx="6925">
                  <c:v>1.7344551487745132E-13</c:v>
                </c:pt>
                <c:pt idx="6926">
                  <c:v>1.7344551487745132E-13</c:v>
                </c:pt>
                <c:pt idx="6927">
                  <c:v>1.7344551487745132E-13</c:v>
                </c:pt>
                <c:pt idx="6928">
                  <c:v>1.7344551487745132E-13</c:v>
                </c:pt>
                <c:pt idx="6929">
                  <c:v>1.7344551487745132E-13</c:v>
                </c:pt>
                <c:pt idx="6930">
                  <c:v>1.7344551487745132E-13</c:v>
                </c:pt>
                <c:pt idx="6931">
                  <c:v>1.7344551487745132E-13</c:v>
                </c:pt>
                <c:pt idx="6932">
                  <c:v>1.7344551487745132E-13</c:v>
                </c:pt>
                <c:pt idx="6933">
                  <c:v>1.7344551487745132E-13</c:v>
                </c:pt>
                <c:pt idx="6934">
                  <c:v>1.7344551487745132E-13</c:v>
                </c:pt>
                <c:pt idx="6935">
                  <c:v>1.7344551487745132E-13</c:v>
                </c:pt>
                <c:pt idx="6936">
                  <c:v>1.7344551487745132E-13</c:v>
                </c:pt>
                <c:pt idx="6937">
                  <c:v>1.7344551487745132E-13</c:v>
                </c:pt>
                <c:pt idx="6938">
                  <c:v>1.7344551487745132E-13</c:v>
                </c:pt>
                <c:pt idx="6939">
                  <c:v>1.7344551487745132E-13</c:v>
                </c:pt>
                <c:pt idx="6940">
                  <c:v>1.7344551487745132E-13</c:v>
                </c:pt>
                <c:pt idx="6941">
                  <c:v>1.7344551487745132E-13</c:v>
                </c:pt>
                <c:pt idx="6942">
                  <c:v>1.7344551487745132E-13</c:v>
                </c:pt>
                <c:pt idx="6943">
                  <c:v>1.7344551487745132E-13</c:v>
                </c:pt>
                <c:pt idx="6944">
                  <c:v>1.7344551487745132E-13</c:v>
                </c:pt>
                <c:pt idx="6945">
                  <c:v>1.7344551487745132E-13</c:v>
                </c:pt>
                <c:pt idx="6946">
                  <c:v>1.7344551487745132E-13</c:v>
                </c:pt>
                <c:pt idx="6947">
                  <c:v>1.7344551487745132E-13</c:v>
                </c:pt>
                <c:pt idx="6948">
                  <c:v>1.7344551487745132E-13</c:v>
                </c:pt>
                <c:pt idx="6949">
                  <c:v>1.7344551487745132E-13</c:v>
                </c:pt>
                <c:pt idx="6950">
                  <c:v>1.7344551487745132E-13</c:v>
                </c:pt>
                <c:pt idx="6951">
                  <c:v>1.7344551487745132E-13</c:v>
                </c:pt>
                <c:pt idx="6952">
                  <c:v>1.7344551487745132E-13</c:v>
                </c:pt>
                <c:pt idx="6953">
                  <c:v>1.7344551487745132E-13</c:v>
                </c:pt>
                <c:pt idx="6954">
                  <c:v>1.7344551487745132E-13</c:v>
                </c:pt>
                <c:pt idx="6955">
                  <c:v>1.7344551487745132E-13</c:v>
                </c:pt>
                <c:pt idx="6956">
                  <c:v>1.7344551487745132E-13</c:v>
                </c:pt>
                <c:pt idx="6957">
                  <c:v>1.7344551487745132E-13</c:v>
                </c:pt>
                <c:pt idx="6958">
                  <c:v>1.7344551487745132E-13</c:v>
                </c:pt>
                <c:pt idx="6959">
                  <c:v>1.7344551487745132E-13</c:v>
                </c:pt>
                <c:pt idx="6960">
                  <c:v>1.7344551487745132E-13</c:v>
                </c:pt>
                <c:pt idx="6961">
                  <c:v>1.7344551487745132E-13</c:v>
                </c:pt>
                <c:pt idx="6962">
                  <c:v>1.7344551487745132E-13</c:v>
                </c:pt>
                <c:pt idx="6963">
                  <c:v>1.7344551487745132E-13</c:v>
                </c:pt>
                <c:pt idx="6964">
                  <c:v>1.7344551487745132E-13</c:v>
                </c:pt>
                <c:pt idx="6965">
                  <c:v>1.7344551487745132E-13</c:v>
                </c:pt>
                <c:pt idx="6966">
                  <c:v>1.7344551487745132E-13</c:v>
                </c:pt>
                <c:pt idx="6967">
                  <c:v>1.7344551487745132E-13</c:v>
                </c:pt>
                <c:pt idx="6968">
                  <c:v>1.7344551487745132E-13</c:v>
                </c:pt>
                <c:pt idx="6969">
                  <c:v>1.7354872554703003E-13</c:v>
                </c:pt>
                <c:pt idx="6970">
                  <c:v>1.1577300875099254E-13</c:v>
                </c:pt>
                <c:pt idx="6971">
                  <c:v>1.1585249589303842E-13</c:v>
                </c:pt>
                <c:pt idx="6972">
                  <c:v>5.7969140398117647E-14</c:v>
                </c:pt>
                <c:pt idx="6973">
                  <c:v>5.8015571435115453E-14</c:v>
                </c:pt>
                <c:pt idx="6974">
                  <c:v>0</c:v>
                </c:pt>
                <c:pt idx="6975">
                  <c:v>5.8120958572720275E-14</c:v>
                </c:pt>
                <c:pt idx="6976">
                  <c:v>0</c:v>
                </c:pt>
                <c:pt idx="6977">
                  <c:v>0</c:v>
                </c:pt>
                <c:pt idx="6978">
                  <c:v>0</c:v>
                </c:pt>
                <c:pt idx="6979">
                  <c:v>0</c:v>
                </c:pt>
                <c:pt idx="6980">
                  <c:v>0</c:v>
                </c:pt>
                <c:pt idx="6981">
                  <c:v>0</c:v>
                </c:pt>
                <c:pt idx="6982">
                  <c:v>0</c:v>
                </c:pt>
                <c:pt idx="6983">
                  <c:v>0</c:v>
                </c:pt>
                <c:pt idx="6984">
                  <c:v>0</c:v>
                </c:pt>
                <c:pt idx="6985">
                  <c:v>0</c:v>
                </c:pt>
                <c:pt idx="6986">
                  <c:v>0</c:v>
                </c:pt>
                <c:pt idx="6987">
                  <c:v>0</c:v>
                </c:pt>
                <c:pt idx="6988">
                  <c:v>0</c:v>
                </c:pt>
                <c:pt idx="6989">
                  <c:v>0</c:v>
                </c:pt>
                <c:pt idx="6990">
                  <c:v>0</c:v>
                </c:pt>
                <c:pt idx="6991">
                  <c:v>0</c:v>
                </c:pt>
                <c:pt idx="6992">
                  <c:v>0</c:v>
                </c:pt>
                <c:pt idx="6993">
                  <c:v>0</c:v>
                </c:pt>
                <c:pt idx="6994">
                  <c:v>0</c:v>
                </c:pt>
                <c:pt idx="6995">
                  <c:v>0</c:v>
                </c:pt>
                <c:pt idx="6996">
                  <c:v>0</c:v>
                </c:pt>
              </c:numCache>
            </c:numRef>
          </c:val>
          <c:smooth val="0"/>
          <c:extLst>
            <c:ext xmlns:c16="http://schemas.microsoft.com/office/drawing/2014/chart" uri="{C3380CC4-5D6E-409C-BE32-E72D297353CC}">
              <c16:uniqueId val="{00000006-34E5-0744-AA2C-554353F9D891}"/>
            </c:ext>
          </c:extLst>
        </c:ser>
        <c:ser>
          <c:idx val="7"/>
          <c:order val="7"/>
          <c:tx>
            <c:strRef>
              <c:f>'Rolling Stdev Data'!$H$1:$H$2</c:f>
              <c:strCache>
                <c:ptCount val="2"/>
                <c:pt idx="0">
                  <c:v>%</c:v>
                </c:pt>
                <c:pt idx="1">
                  <c:v>SURJEK_ESTIMATED_EFFICIENCY</c:v>
                </c:pt>
              </c:strCache>
            </c:strRef>
          </c:tx>
          <c:spPr>
            <a:ln w="28575" cap="rnd">
              <a:solidFill>
                <a:schemeClr val="accent2">
                  <a:lumMod val="60000"/>
                </a:schemeClr>
              </a:solidFill>
              <a:round/>
            </a:ln>
            <a:effectLst/>
          </c:spPr>
          <c:marker>
            <c:symbol val="none"/>
          </c:marker>
          <c:val>
            <c:numRef>
              <c:f>'Rolling Stdev Data'!$H$3:$H$7000</c:f>
              <c:numCache>
                <c:formatCode>General</c:formatCode>
                <c:ptCount val="699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36514837167011072</c:v>
                </c:pt>
                <c:pt idx="1122">
                  <c:v>0.50741626340492485</c:v>
                </c:pt>
                <c:pt idx="1123">
                  <c:v>0.61025715325872931</c:v>
                </c:pt>
                <c:pt idx="1124">
                  <c:v>0.69149180728352078</c:v>
                </c:pt>
                <c:pt idx="1125">
                  <c:v>0.75809804357890342</c:v>
                </c:pt>
                <c:pt idx="1126">
                  <c:v>0.81367620434497245</c:v>
                </c:pt>
                <c:pt idx="1127">
                  <c:v>0.86036613430415276</c:v>
                </c:pt>
                <c:pt idx="1128">
                  <c:v>0.89955289021760731</c:v>
                </c:pt>
                <c:pt idx="1129">
                  <c:v>0.93218319939879801</c:v>
                </c:pt>
                <c:pt idx="1130">
                  <c:v>0.95892660297076826</c:v>
                </c:pt>
                <c:pt idx="1131">
                  <c:v>0.98026503570712198</c:v>
                </c:pt>
                <c:pt idx="1132">
                  <c:v>0.99654575824487956</c:v>
                </c:pt>
                <c:pt idx="1133">
                  <c:v>1.0080138659874618</c:v>
                </c:pt>
                <c:pt idx="1134">
                  <c:v>1.0148325268098497</c:v>
                </c:pt>
                <c:pt idx="1135">
                  <c:v>1.0170952554312156</c:v>
                </c:pt>
                <c:pt idx="1136">
                  <c:v>1.0148325268098497</c:v>
                </c:pt>
                <c:pt idx="1137">
                  <c:v>1.0080138659874618</c:v>
                </c:pt>
                <c:pt idx="1138">
                  <c:v>0.99654575824487956</c:v>
                </c:pt>
                <c:pt idx="1139">
                  <c:v>0.98026503570712198</c:v>
                </c:pt>
                <c:pt idx="1140">
                  <c:v>0.95892660297076826</c:v>
                </c:pt>
                <c:pt idx="1141">
                  <c:v>0.93218319939879812</c:v>
                </c:pt>
                <c:pt idx="1142">
                  <c:v>0.89955289021760731</c:v>
                </c:pt>
                <c:pt idx="1143">
                  <c:v>0.86036613430415276</c:v>
                </c:pt>
                <c:pt idx="1144">
                  <c:v>0.81367620434497256</c:v>
                </c:pt>
                <c:pt idx="1145">
                  <c:v>0.75809804357890354</c:v>
                </c:pt>
                <c:pt idx="1146">
                  <c:v>0.69149180728352067</c:v>
                </c:pt>
                <c:pt idx="1147">
                  <c:v>0.61025715325872931</c:v>
                </c:pt>
                <c:pt idx="1148">
                  <c:v>0.50741626340492496</c:v>
                </c:pt>
                <c:pt idx="1149">
                  <c:v>0.36514837167011044</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6.4457500455724877E-3</c:v>
                </c:pt>
                <c:pt idx="1645">
                  <c:v>1.4081804667715529E-2</c:v>
                </c:pt>
                <c:pt idx="1646">
                  <c:v>2.8660062994927096E-2</c:v>
                </c:pt>
                <c:pt idx="1647">
                  <c:v>0.10768544822475323</c:v>
                </c:pt>
                <c:pt idx="1648">
                  <c:v>0.31461674869113382</c:v>
                </c:pt>
                <c:pt idx="1649">
                  <c:v>0.47006295456165542</c:v>
                </c:pt>
                <c:pt idx="1650">
                  <c:v>0.57770170645986096</c:v>
                </c:pt>
                <c:pt idx="1651">
                  <c:v>0.66130472532954665</c:v>
                </c:pt>
                <c:pt idx="1652">
                  <c:v>0.72918668085812421</c:v>
                </c:pt>
                <c:pt idx="1653">
                  <c:v>0.78543433146236907</c:v>
                </c:pt>
                <c:pt idx="1654">
                  <c:v>0.83240949071940451</c:v>
                </c:pt>
                <c:pt idx="1655">
                  <c:v>0.87161266003935967</c:v>
                </c:pt>
                <c:pt idx="1656">
                  <c:v>0.90405547160734945</c:v>
                </c:pt>
                <c:pt idx="1657">
                  <c:v>0.93044535575531528</c:v>
                </c:pt>
                <c:pt idx="1658">
                  <c:v>0.95128619355650956</c:v>
                </c:pt>
                <c:pt idx="1659">
                  <c:v>0.96693685510325833</c:v>
                </c:pt>
                <c:pt idx="1660">
                  <c:v>0.97764663307550803</c:v>
                </c:pt>
                <c:pt idx="1661">
                  <c:v>0.98357693866414053</c:v>
                </c:pt>
                <c:pt idx="1662">
                  <c:v>0.98481411803503194</c:v>
                </c:pt>
                <c:pt idx="1663">
                  <c:v>0.98137592062953261</c:v>
                </c:pt>
                <c:pt idx="1664">
                  <c:v>0.97321279574559483</c:v>
                </c:pt>
                <c:pt idx="1665">
                  <c:v>0.96020424479149258</c:v>
                </c:pt>
                <c:pt idx="1666">
                  <c:v>0.94214958224763523</c:v>
                </c:pt>
                <c:pt idx="1667">
                  <c:v>0.91875136824079684</c:v>
                </c:pt>
                <c:pt idx="1668">
                  <c:v>0.8895880595311676</c:v>
                </c:pt>
                <c:pt idx="1669">
                  <c:v>0.85406929015020183</c:v>
                </c:pt>
                <c:pt idx="1670">
                  <c:v>0.81136082404566501</c:v>
                </c:pt>
                <c:pt idx="1671">
                  <c:v>0.76025194436818178</c:v>
                </c:pt>
                <c:pt idx="1672">
                  <c:v>0.69890217393873555</c:v>
                </c:pt>
                <c:pt idx="1673">
                  <c:v>0.62429966863528719</c:v>
                </c:pt>
                <c:pt idx="1674">
                  <c:v>0.53499245699436715</c:v>
                </c:pt>
                <c:pt idx="1675">
                  <c:v>0.42208599045511297</c:v>
                </c:pt>
                <c:pt idx="1676">
                  <c:v>0.26547001549255939</c:v>
                </c:pt>
                <c:pt idx="1677">
                  <c:v>6.431051545593458E-2</c:v>
                </c:pt>
                <c:pt idx="1678">
                  <c:v>0</c:v>
                </c:pt>
                <c:pt idx="1679">
                  <c:v>0</c:v>
                </c:pt>
                <c:pt idx="1680">
                  <c:v>0</c:v>
                </c:pt>
                <c:pt idx="1681">
                  <c:v>0</c:v>
                </c:pt>
                <c:pt idx="1682">
                  <c:v>0</c:v>
                </c:pt>
                <c:pt idx="1683">
                  <c:v>0</c:v>
                </c:pt>
                <c:pt idx="1684">
                  <c:v>0</c:v>
                </c:pt>
                <c:pt idx="1685">
                  <c:v>0</c:v>
                </c:pt>
                <c:pt idx="1686">
                  <c:v>0</c:v>
                </c:pt>
                <c:pt idx="1687">
                  <c:v>1.4132761572316634E-2</c:v>
                </c:pt>
                <c:pt idx="1688">
                  <c:v>2.5116225803040106E-2</c:v>
                </c:pt>
                <c:pt idx="1689">
                  <c:v>4.2434367122045048E-2</c:v>
                </c:pt>
                <c:pt idx="1690">
                  <c:v>5.5016220136541241E-2</c:v>
                </c:pt>
                <c:pt idx="1691">
                  <c:v>6.7203202194703868E-2</c:v>
                </c:pt>
                <c:pt idx="1692">
                  <c:v>8.4471284497220106E-2</c:v>
                </c:pt>
                <c:pt idx="1693">
                  <c:v>0.10134191956468289</c:v>
                </c:pt>
                <c:pt idx="1694">
                  <c:v>0.11807903177814644</c:v>
                </c:pt>
                <c:pt idx="1695">
                  <c:v>0.36983039048609218</c:v>
                </c:pt>
                <c:pt idx="1696">
                  <c:v>0.50213161412119123</c:v>
                </c:pt>
                <c:pt idx="1697">
                  <c:v>0.59878854182293395</c:v>
                </c:pt>
                <c:pt idx="1698">
                  <c:v>0.67397649047964614</c:v>
                </c:pt>
                <c:pt idx="1699">
                  <c:v>0.73445957938634554</c:v>
                </c:pt>
                <c:pt idx="1700">
                  <c:v>0.78376462577497419</c:v>
                </c:pt>
                <c:pt idx="1701">
                  <c:v>0.8240045385271052</c:v>
                </c:pt>
                <c:pt idx="1702">
                  <c:v>0.85657600947921708</c:v>
                </c:pt>
                <c:pt idx="1703">
                  <c:v>0.8824469492850362</c:v>
                </c:pt>
                <c:pt idx="1704">
                  <c:v>0.90271220919177808</c:v>
                </c:pt>
                <c:pt idx="1705">
                  <c:v>0.91755375147835505</c:v>
                </c:pt>
                <c:pt idx="1706">
                  <c:v>0.92714631657927216</c:v>
                </c:pt>
                <c:pt idx="1707">
                  <c:v>0.92898022010632519</c:v>
                </c:pt>
                <c:pt idx="1708">
                  <c:v>0.92639258180637107</c:v>
                </c:pt>
                <c:pt idx="1709">
                  <c:v>0.91943076998167517</c:v>
                </c:pt>
                <c:pt idx="1710">
                  <c:v>0.9080935765255681</c:v>
                </c:pt>
                <c:pt idx="1711">
                  <c:v>0.89230624446346229</c:v>
                </c:pt>
                <c:pt idx="1712">
                  <c:v>0.87193585038014509</c:v>
                </c:pt>
                <c:pt idx="1713">
                  <c:v>0.84674078089445004</c:v>
                </c:pt>
                <c:pt idx="1714">
                  <c:v>0.81638587281674035</c:v>
                </c:pt>
                <c:pt idx="1715">
                  <c:v>0.7803767930816462</c:v>
                </c:pt>
                <c:pt idx="1716">
                  <c:v>0.73799922901550008</c:v>
                </c:pt>
                <c:pt idx="1717">
                  <c:v>0.69375799611672029</c:v>
                </c:pt>
                <c:pt idx="1718">
                  <c:v>0.64487834407008549</c:v>
                </c:pt>
                <c:pt idx="1719">
                  <c:v>0.59376049549522225</c:v>
                </c:pt>
                <c:pt idx="1720">
                  <c:v>0.53435223379781871</c:v>
                </c:pt>
                <c:pt idx="1721">
                  <c:v>0.49161486273631272</c:v>
                </c:pt>
                <c:pt idx="1722">
                  <c:v>0.52268272727791698</c:v>
                </c:pt>
                <c:pt idx="1723">
                  <c:v>0.5548563506736246</c:v>
                </c:pt>
                <c:pt idx="1724">
                  <c:v>0.58783537111903794</c:v>
                </c:pt>
                <c:pt idx="1725">
                  <c:v>0.65194633949741854</c:v>
                </c:pt>
                <c:pt idx="1726">
                  <c:v>0.70356505625773358</c:v>
                </c:pt>
                <c:pt idx="1727">
                  <c:v>0.74546906923441925</c:v>
                </c:pt>
                <c:pt idx="1728">
                  <c:v>0.77964829409720082</c:v>
                </c:pt>
                <c:pt idx="1729">
                  <c:v>0.807177693169701</c:v>
                </c:pt>
                <c:pt idx="1730">
                  <c:v>0.82883638105735735</c:v>
                </c:pt>
                <c:pt idx="1731">
                  <c:v>0.84517401321253571</c:v>
                </c:pt>
                <c:pt idx="1732">
                  <c:v>0.85660035720880712</c:v>
                </c:pt>
                <c:pt idx="1733">
                  <c:v>0.86339257701243688</c:v>
                </c:pt>
                <c:pt idx="1734">
                  <c:v>0.86541628351164357</c:v>
                </c:pt>
                <c:pt idx="1735">
                  <c:v>0.86294689067233543</c:v>
                </c:pt>
                <c:pt idx="1736">
                  <c:v>0.85617683732597472</c:v>
                </c:pt>
                <c:pt idx="1737">
                  <c:v>0.84858843390690508</c:v>
                </c:pt>
                <c:pt idx="1738">
                  <c:v>0.83708957162696906</c:v>
                </c:pt>
                <c:pt idx="1739">
                  <c:v>0.821617952533094</c:v>
                </c:pt>
                <c:pt idx="1740">
                  <c:v>0.80203505734393865</c:v>
                </c:pt>
                <c:pt idx="1741">
                  <c:v>0.77814371713910968</c:v>
                </c:pt>
                <c:pt idx="1742">
                  <c:v>0.74960523047374916</c:v>
                </c:pt>
                <c:pt idx="1743">
                  <c:v>0.71600335495970424</c:v>
                </c:pt>
                <c:pt idx="1744">
                  <c:v>0.67667347889491836</c:v>
                </c:pt>
                <c:pt idx="1745">
                  <c:v>0.63064774656956646</c:v>
                </c:pt>
                <c:pt idx="1746">
                  <c:v>0.5764672560990356</c:v>
                </c:pt>
                <c:pt idx="1747">
                  <c:v>0.51168471600469789</c:v>
                </c:pt>
                <c:pt idx="1748">
                  <c:v>0.43171997558122377</c:v>
                </c:pt>
                <c:pt idx="1749">
                  <c:v>0.32576994117964958</c:v>
                </c:pt>
                <c:pt idx="1750">
                  <c:v>0.14561153128703233</c:v>
                </c:pt>
                <c:pt idx="1751">
                  <c:v>2.5113747972647029E-3</c:v>
                </c:pt>
                <c:pt idx="1752">
                  <c:v>2.5290858139167399E-3</c:v>
                </c:pt>
                <c:pt idx="1753">
                  <c:v>2.548036302490174E-3</c:v>
                </c:pt>
                <c:pt idx="1754">
                  <c:v>2.5575330328040714E-3</c:v>
                </c:pt>
                <c:pt idx="1755">
                  <c:v>2.5676695839630202E-3</c:v>
                </c:pt>
                <c:pt idx="1756">
                  <c:v>2.567421264948543E-3</c:v>
                </c:pt>
                <c:pt idx="1757">
                  <c:v>2.5566333052184135E-3</c:v>
                </c:pt>
                <c:pt idx="1758">
                  <c:v>2.5384383435966352E-3</c:v>
                </c:pt>
                <c:pt idx="1759">
                  <c:v>2.517860506983426E-3</c:v>
                </c:pt>
                <c:pt idx="1760">
                  <c:v>2.4872193843370311E-3</c:v>
                </c:pt>
                <c:pt idx="1761">
                  <c:v>2.4673635209634722E-3</c:v>
                </c:pt>
                <c:pt idx="1762">
                  <c:v>2.4375642187046188E-3</c:v>
                </c:pt>
                <c:pt idx="1763">
                  <c:v>2.4187823471744263E-3</c:v>
                </c:pt>
                <c:pt idx="1764">
                  <c:v>2.3898773281529795E-3</c:v>
                </c:pt>
                <c:pt idx="1765">
                  <c:v>2.3499613601879704E-3</c:v>
                </c:pt>
                <c:pt idx="1766">
                  <c:v>2.3117665487734033E-3</c:v>
                </c:pt>
                <c:pt idx="1767">
                  <c:v>2.2754947433997592E-3</c:v>
                </c:pt>
                <c:pt idx="1768">
                  <c:v>2.2299504221636748E-3</c:v>
                </c:pt>
                <c:pt idx="1769">
                  <c:v>2.196963789185E-3</c:v>
                </c:pt>
                <c:pt idx="1770">
                  <c:v>2.1667944397165662E-3</c:v>
                </c:pt>
                <c:pt idx="1771">
                  <c:v>2.1211130727836944E-3</c:v>
                </c:pt>
                <c:pt idx="1772">
                  <c:v>2.0764514339013784E-3</c:v>
                </c:pt>
                <c:pt idx="1773">
                  <c:v>2.0240057918953897E-3</c:v>
                </c:pt>
                <c:pt idx="1774">
                  <c:v>1.9630652925485587E-3</c:v>
                </c:pt>
                <c:pt idx="1775">
                  <c:v>1.9444190599322963E-3</c:v>
                </c:pt>
                <c:pt idx="1776">
                  <c:v>1.9224042707248242E-3</c:v>
                </c:pt>
                <c:pt idx="1777">
                  <c:v>1.9080225209174629E-3</c:v>
                </c:pt>
                <c:pt idx="1778">
                  <c:v>1.8908350330275726E-3</c:v>
                </c:pt>
                <c:pt idx="1779">
                  <c:v>1.8704483535894332E-3</c:v>
                </c:pt>
                <c:pt idx="1780">
                  <c:v>1.8569664145950378E-3</c:v>
                </c:pt>
                <c:pt idx="1781">
                  <c:v>1.839803193230304E-3</c:v>
                </c:pt>
                <c:pt idx="1782">
                  <c:v>1.8188390251479283E-3</c:v>
                </c:pt>
                <c:pt idx="1783">
                  <c:v>1.8056286793602301E-3</c:v>
                </c:pt>
                <c:pt idx="1784">
                  <c:v>1.7896472162474205E-3</c:v>
                </c:pt>
                <c:pt idx="1785">
                  <c:v>1.7823481099504069E-3</c:v>
                </c:pt>
                <c:pt idx="1786">
                  <c:v>1.7659331040467171E-3</c:v>
                </c:pt>
                <c:pt idx="1787">
                  <c:v>1.7546130329261749E-3</c:v>
                </c:pt>
                <c:pt idx="1788">
                  <c:v>1.7446372804652197E-3</c:v>
                </c:pt>
                <c:pt idx="1789">
                  <c:v>1.7290101132803617E-3</c:v>
                </c:pt>
                <c:pt idx="1790">
                  <c:v>1.7106673698069228E-3</c:v>
                </c:pt>
                <c:pt idx="1791">
                  <c:v>1.7019927054101179E-3</c:v>
                </c:pt>
                <c:pt idx="1792">
                  <c:v>1.6920062645848851E-3</c:v>
                </c:pt>
                <c:pt idx="1793">
                  <c:v>1.6918939962253597E-3</c:v>
                </c:pt>
                <c:pt idx="1794">
                  <c:v>1.691202426482517E-3</c:v>
                </c:pt>
                <c:pt idx="1795">
                  <c:v>1.6895056243664255E-3</c:v>
                </c:pt>
                <c:pt idx="1796">
                  <c:v>1.6874609363867396E-3</c:v>
                </c:pt>
                <c:pt idx="1797">
                  <c:v>1.6951664264061455E-3</c:v>
                </c:pt>
                <c:pt idx="1798">
                  <c:v>1.701247298123083E-3</c:v>
                </c:pt>
                <c:pt idx="1799">
                  <c:v>1.7168418341864942E-3</c:v>
                </c:pt>
                <c:pt idx="1800">
                  <c:v>1.7247567150561502E-3</c:v>
                </c:pt>
                <c:pt idx="1801">
                  <c:v>1.7213966475232365E-3</c:v>
                </c:pt>
                <c:pt idx="1802">
                  <c:v>1.7142118254360767E-3</c:v>
                </c:pt>
                <c:pt idx="1803">
                  <c:v>1.7062489698108007E-3</c:v>
                </c:pt>
                <c:pt idx="1804">
                  <c:v>1.697502666070206E-3</c:v>
                </c:pt>
                <c:pt idx="1805">
                  <c:v>1.6878723649912809E-3</c:v>
                </c:pt>
                <c:pt idx="1806">
                  <c:v>1.6777605220122034E-3</c:v>
                </c:pt>
                <c:pt idx="1807">
                  <c:v>1.6665669342255888E-3</c:v>
                </c:pt>
                <c:pt idx="1808">
                  <c:v>1.6547123501378254E-3</c:v>
                </c:pt>
                <c:pt idx="1809">
                  <c:v>1.6525507013345042E-3</c:v>
                </c:pt>
                <c:pt idx="1810">
                  <c:v>1.6605022548590047E-3</c:v>
                </c:pt>
                <c:pt idx="1811">
                  <c:v>1.6807205640843113E-3</c:v>
                </c:pt>
                <c:pt idx="1812">
                  <c:v>9.6588954949850779E-3</c:v>
                </c:pt>
                <c:pt idx="1813">
                  <c:v>2.0688722865376763E-2</c:v>
                </c:pt>
                <c:pt idx="1814">
                  <c:v>3.3874918704601867E-2</c:v>
                </c:pt>
                <c:pt idx="1815">
                  <c:v>5.5713486021215286E-2</c:v>
                </c:pt>
                <c:pt idx="1816">
                  <c:v>7.5883708275368944E-2</c:v>
                </c:pt>
                <c:pt idx="1817">
                  <c:v>0.11481787591342967</c:v>
                </c:pt>
                <c:pt idx="1818">
                  <c:v>0.14705273611167557</c:v>
                </c:pt>
                <c:pt idx="1819">
                  <c:v>0.17625294815513642</c:v>
                </c:pt>
                <c:pt idx="1820">
                  <c:v>0.20846178219536235</c:v>
                </c:pt>
                <c:pt idx="1821">
                  <c:v>0.23835527106534457</c:v>
                </c:pt>
                <c:pt idx="1822">
                  <c:v>0.26642571843775792</c:v>
                </c:pt>
                <c:pt idx="1823">
                  <c:v>0.29708035295434337</c:v>
                </c:pt>
                <c:pt idx="1824">
                  <c:v>0.32569016694529684</c:v>
                </c:pt>
                <c:pt idx="1825">
                  <c:v>0.35255785344845231</c:v>
                </c:pt>
                <c:pt idx="1826">
                  <c:v>0.38146472964852879</c:v>
                </c:pt>
                <c:pt idx="1827">
                  <c:v>0.40825503391347168</c:v>
                </c:pt>
                <c:pt idx="1828">
                  <c:v>0.43308444007502434</c:v>
                </c:pt>
                <c:pt idx="1829">
                  <c:v>0.45600702974144158</c:v>
                </c:pt>
                <c:pt idx="1830">
                  <c:v>0.47464455004941636</c:v>
                </c:pt>
                <c:pt idx="1831">
                  <c:v>0.48938608793617416</c:v>
                </c:pt>
                <c:pt idx="1832">
                  <c:v>0.50051434087191915</c:v>
                </c:pt>
                <c:pt idx="1833">
                  <c:v>0.5086726454934023</c:v>
                </c:pt>
                <c:pt idx="1834">
                  <c:v>0.51338624083376327</c:v>
                </c:pt>
                <c:pt idx="1835">
                  <c:v>0.51418873491873207</c:v>
                </c:pt>
                <c:pt idx="1836">
                  <c:v>0.51110497917577458</c:v>
                </c:pt>
                <c:pt idx="1837">
                  <c:v>0.50404865876935701</c:v>
                </c:pt>
                <c:pt idx="1838">
                  <c:v>0.49288175450113897</c:v>
                </c:pt>
                <c:pt idx="1839">
                  <c:v>0.47733354405143041</c:v>
                </c:pt>
                <c:pt idx="1840">
                  <c:v>0.45693664984042176</c:v>
                </c:pt>
                <c:pt idx="1841">
                  <c:v>0.43104945225065272</c:v>
                </c:pt>
                <c:pt idx="1842">
                  <c:v>0.40260176213537724</c:v>
                </c:pt>
                <c:pt idx="1843">
                  <c:v>0.37143075746207388</c:v>
                </c:pt>
                <c:pt idx="1844">
                  <c:v>0.3371725260101765</c:v>
                </c:pt>
                <c:pt idx="1845">
                  <c:v>0.30414356367416651</c:v>
                </c:pt>
                <c:pt idx="1846">
                  <c:v>0.26763078416457881</c:v>
                </c:pt>
                <c:pt idx="1847">
                  <c:v>0.24248113238859134</c:v>
                </c:pt>
                <c:pt idx="1848">
                  <c:v>0.21608806906673986</c:v>
                </c:pt>
                <c:pt idx="1849">
                  <c:v>0.18822668407606935</c:v>
                </c:pt>
                <c:pt idx="1850">
                  <c:v>0.16418363529997293</c:v>
                </c:pt>
                <c:pt idx="1851">
                  <c:v>0.13944859073942914</c:v>
                </c:pt>
                <c:pt idx="1852">
                  <c:v>0.113429696985595</c:v>
                </c:pt>
                <c:pt idx="1853">
                  <c:v>9.2561355906847692E-2</c:v>
                </c:pt>
                <c:pt idx="1854">
                  <c:v>7.1431085608460468E-2</c:v>
                </c:pt>
                <c:pt idx="1855">
                  <c:v>4.9273134676130988E-2</c:v>
                </c:pt>
                <c:pt idx="1856">
                  <c:v>3.5100788662637744E-2</c:v>
                </c:pt>
                <c:pt idx="1857">
                  <c:v>2.307561861000635E-2</c:v>
                </c:pt>
                <c:pt idx="1858">
                  <c:v>1.4566897291474614E-2</c:v>
                </c:pt>
                <c:pt idx="1859">
                  <c:v>1.1460812690326014E-2</c:v>
                </c:pt>
                <c:pt idx="1860">
                  <c:v>8.9126820674499969E-3</c:v>
                </c:pt>
                <c:pt idx="1861">
                  <c:v>7.1082987413354035E-3</c:v>
                </c:pt>
                <c:pt idx="1862">
                  <c:v>6.2965573339038138E-3</c:v>
                </c:pt>
                <c:pt idx="1863">
                  <c:v>6.6284954854067398E-3</c:v>
                </c:pt>
                <c:pt idx="1864">
                  <c:v>6.6348006434928551E-3</c:v>
                </c:pt>
                <c:pt idx="1865">
                  <c:v>6.6199212393645915E-3</c:v>
                </c:pt>
                <c:pt idx="1866">
                  <c:v>6.6140914666963898E-3</c:v>
                </c:pt>
                <c:pt idx="1867">
                  <c:v>6.6191238062264261E-3</c:v>
                </c:pt>
                <c:pt idx="1868">
                  <c:v>6.6018661505763297E-3</c:v>
                </c:pt>
                <c:pt idx="1869">
                  <c:v>6.5943854923445231E-3</c:v>
                </c:pt>
                <c:pt idx="1870">
                  <c:v>6.5960930707996135E-3</c:v>
                </c:pt>
                <c:pt idx="1871">
                  <c:v>6.5767070334848011E-3</c:v>
                </c:pt>
                <c:pt idx="1872">
                  <c:v>6.535585429452059E-3</c:v>
                </c:pt>
                <c:pt idx="1873">
                  <c:v>6.5685340388966776E-3</c:v>
                </c:pt>
                <c:pt idx="1874">
                  <c:v>6.6062933786253889E-3</c:v>
                </c:pt>
                <c:pt idx="1875">
                  <c:v>6.6181714843542138E-3</c:v>
                </c:pt>
                <c:pt idx="1876">
                  <c:v>6.6353613818286193E-3</c:v>
                </c:pt>
                <c:pt idx="1877">
                  <c:v>6.6226175779526414E-3</c:v>
                </c:pt>
                <c:pt idx="1878">
                  <c:v>6.6822594932829608E-3</c:v>
                </c:pt>
                <c:pt idx="1879">
                  <c:v>6.7203259988335099E-3</c:v>
                </c:pt>
                <c:pt idx="1880">
                  <c:v>6.737133011014443E-3</c:v>
                </c:pt>
                <c:pt idx="1881">
                  <c:v>6.7330732258350885E-3</c:v>
                </c:pt>
                <c:pt idx="1882">
                  <c:v>6.7078374160830382E-3</c:v>
                </c:pt>
                <c:pt idx="1883">
                  <c:v>6.724498072207449E-3</c:v>
                </c:pt>
                <c:pt idx="1884">
                  <c:v>6.7199865883360932E-3</c:v>
                </c:pt>
                <c:pt idx="1885">
                  <c:v>6.6952811124638984E-3</c:v>
                </c:pt>
                <c:pt idx="1886">
                  <c:v>6.6481300369500666E-3</c:v>
                </c:pt>
                <c:pt idx="1887">
                  <c:v>6.6136831895819911E-3</c:v>
                </c:pt>
                <c:pt idx="1888">
                  <c:v>6.5600839533142942E-3</c:v>
                </c:pt>
                <c:pt idx="1889">
                  <c:v>6.4873644967878893E-3</c:v>
                </c:pt>
                <c:pt idx="1890">
                  <c:v>6.4286535589834874E-3</c:v>
                </c:pt>
                <c:pt idx="1891">
                  <c:v>6.3824925120269278E-3</c:v>
                </c:pt>
                <c:pt idx="1892">
                  <c:v>6.3163408202028138E-3</c:v>
                </c:pt>
                <c:pt idx="1893">
                  <c:v>6.265758449707174E-3</c:v>
                </c:pt>
                <c:pt idx="1894">
                  <c:v>6.2058493625276965E-3</c:v>
                </c:pt>
                <c:pt idx="1895">
                  <c:v>6.1183777000897175E-3</c:v>
                </c:pt>
                <c:pt idx="1896">
                  <c:v>6.047338410320533E-3</c:v>
                </c:pt>
                <c:pt idx="1897">
                  <c:v>5.9613292354753671E-3</c:v>
                </c:pt>
                <c:pt idx="1898">
                  <c:v>5.9537139118747209E-3</c:v>
                </c:pt>
                <c:pt idx="1899">
                  <c:v>6.2315012296672136E-3</c:v>
                </c:pt>
                <c:pt idx="1900">
                  <c:v>6.4564795269791472E-3</c:v>
                </c:pt>
                <c:pt idx="1901">
                  <c:v>6.6345489651037023E-3</c:v>
                </c:pt>
                <c:pt idx="1902">
                  <c:v>6.8076453442218812E-3</c:v>
                </c:pt>
                <c:pt idx="1903">
                  <c:v>7.031936537004394E-3</c:v>
                </c:pt>
                <c:pt idx="1904">
                  <c:v>7.2184880213375284E-3</c:v>
                </c:pt>
                <c:pt idx="1905">
                  <c:v>7.3712013008889344E-3</c:v>
                </c:pt>
                <c:pt idx="1906">
                  <c:v>7.5537057708552355E-3</c:v>
                </c:pt>
                <c:pt idx="1907">
                  <c:v>7.7040191803210067E-3</c:v>
                </c:pt>
                <c:pt idx="1908">
                  <c:v>7.8239009949444046E-3</c:v>
                </c:pt>
                <c:pt idx="1909">
                  <c:v>7.9451853285471257E-3</c:v>
                </c:pt>
                <c:pt idx="1910">
                  <c:v>8.0355994988740003E-3</c:v>
                </c:pt>
                <c:pt idx="1911">
                  <c:v>8.094775303868167E-3</c:v>
                </c:pt>
                <c:pt idx="1912">
                  <c:v>8.1548440930226326E-3</c:v>
                </c:pt>
                <c:pt idx="1913">
                  <c:v>8.2116162209124651E-3</c:v>
                </c:pt>
                <c:pt idx="1914">
                  <c:v>8.2392231815721639E-3</c:v>
                </c:pt>
                <c:pt idx="1915">
                  <c:v>8.2666652941662897E-3</c:v>
                </c:pt>
                <c:pt idx="1916">
                  <c:v>8.2615669520322618E-3</c:v>
                </c:pt>
                <c:pt idx="1917">
                  <c:v>8.2252334277903554E-3</c:v>
                </c:pt>
                <c:pt idx="1918">
                  <c:v>8.1847661568134819E-3</c:v>
                </c:pt>
                <c:pt idx="1919">
                  <c:v>8.1096711786174565E-3</c:v>
                </c:pt>
                <c:pt idx="1920">
                  <c:v>7.9980732456943569E-3</c:v>
                </c:pt>
                <c:pt idx="1921">
                  <c:v>7.913256091514595E-3</c:v>
                </c:pt>
                <c:pt idx="1922">
                  <c:v>7.7902434124447638E-3</c:v>
                </c:pt>
                <c:pt idx="1923">
                  <c:v>7.6290755672848371E-3</c:v>
                </c:pt>
                <c:pt idx="1924">
                  <c:v>7.4670760732163197E-3</c:v>
                </c:pt>
                <c:pt idx="1925">
                  <c:v>7.2485075025928488E-3</c:v>
                </c:pt>
                <c:pt idx="1926">
                  <c:v>7.0088874105133578E-3</c:v>
                </c:pt>
                <c:pt idx="1927">
                  <c:v>6.7119524306005623E-3</c:v>
                </c:pt>
                <c:pt idx="1928">
                  <c:v>6.5220567687043259E-3</c:v>
                </c:pt>
                <c:pt idx="1929">
                  <c:v>6.5569727954201051E-3</c:v>
                </c:pt>
                <c:pt idx="1930">
                  <c:v>6.5706409890108047E-3</c:v>
                </c:pt>
                <c:pt idx="1931">
                  <c:v>6.5935810846274451E-3</c:v>
                </c:pt>
                <c:pt idx="1932">
                  <c:v>6.658486666948198E-3</c:v>
                </c:pt>
                <c:pt idx="1933">
                  <c:v>6.6985918768798494E-3</c:v>
                </c:pt>
                <c:pt idx="1934">
                  <c:v>6.7146817781958638E-3</c:v>
                </c:pt>
                <c:pt idx="1935">
                  <c:v>6.7384072695720011E-3</c:v>
                </c:pt>
                <c:pt idx="1936">
                  <c:v>6.7695723665763168E-3</c:v>
                </c:pt>
                <c:pt idx="1937">
                  <c:v>6.776489390361305E-3</c:v>
                </c:pt>
                <c:pt idx="1938">
                  <c:v>6.7920958671237597E-3</c:v>
                </c:pt>
                <c:pt idx="1939">
                  <c:v>6.8141369082749172E-3</c:v>
                </c:pt>
                <c:pt idx="1940">
                  <c:v>6.8131617874856165E-3</c:v>
                </c:pt>
                <c:pt idx="1941">
                  <c:v>6.8191583082725807E-3</c:v>
                </c:pt>
                <c:pt idx="1942">
                  <c:v>6.8335314281936614E-3</c:v>
                </c:pt>
                <c:pt idx="1943">
                  <c:v>6.8237198818331037E-3</c:v>
                </c:pt>
                <c:pt idx="1944">
                  <c:v>6.822150641509251E-3</c:v>
                </c:pt>
                <c:pt idx="1945">
                  <c:v>6.8276530390982242E-3</c:v>
                </c:pt>
                <c:pt idx="1946">
                  <c:v>6.809186058247845E-3</c:v>
                </c:pt>
                <c:pt idx="1947">
                  <c:v>6.7982397164317093E-3</c:v>
                </c:pt>
                <c:pt idx="1948">
                  <c:v>6.7946046333967822E-3</c:v>
                </c:pt>
                <c:pt idx="1949">
                  <c:v>6.7681224169688099E-3</c:v>
                </c:pt>
                <c:pt idx="1950">
                  <c:v>6.7176981472196022E-3</c:v>
                </c:pt>
                <c:pt idx="1951">
                  <c:v>6.7734858837970044E-3</c:v>
                </c:pt>
                <c:pt idx="1952">
                  <c:v>6.799463209834742E-3</c:v>
                </c:pt>
                <c:pt idx="1953">
                  <c:v>6.8294202934726543E-3</c:v>
                </c:pt>
                <c:pt idx="1954">
                  <c:v>6.8399339195078608E-3</c:v>
                </c:pt>
                <c:pt idx="1955">
                  <c:v>6.8131331092738242E-3</c:v>
                </c:pt>
                <c:pt idx="1956">
                  <c:v>6.7944611325165376E-3</c:v>
                </c:pt>
                <c:pt idx="1957">
                  <c:v>6.7822755625552636E-3</c:v>
                </c:pt>
                <c:pt idx="1958">
                  <c:v>6.7779614391706312E-3</c:v>
                </c:pt>
                <c:pt idx="1959">
                  <c:v>6.750443028339108E-3</c:v>
                </c:pt>
                <c:pt idx="1960">
                  <c:v>6.6994753678637159E-3</c:v>
                </c:pt>
                <c:pt idx="1961">
                  <c:v>6.6889766629925282E-3</c:v>
                </c:pt>
                <c:pt idx="1962">
                  <c:v>6.6890987226972589E-3</c:v>
                </c:pt>
                <c:pt idx="1963">
                  <c:v>6.6667165733420523E-3</c:v>
                </c:pt>
                <c:pt idx="1964">
                  <c:v>6.6541277686849205E-3</c:v>
                </c:pt>
                <c:pt idx="1965">
                  <c:v>6.6514852461260002E-3</c:v>
                </c:pt>
                <c:pt idx="1966">
                  <c:v>6.6274506919697957E-3</c:v>
                </c:pt>
                <c:pt idx="1967">
                  <c:v>6.6121860568743966E-3</c:v>
                </c:pt>
                <c:pt idx="1968">
                  <c:v>6.6069931806551968E-3</c:v>
                </c:pt>
                <c:pt idx="1969">
                  <c:v>6.5807147338678993E-3</c:v>
                </c:pt>
                <c:pt idx="1970">
                  <c:v>6.56342494895947E-3</c:v>
                </c:pt>
                <c:pt idx="1971">
                  <c:v>6.555822025854011E-3</c:v>
                </c:pt>
                <c:pt idx="1972">
                  <c:v>6.526975216908806E-3</c:v>
                </c:pt>
                <c:pt idx="1973">
                  <c:v>6.5068969639048742E-3</c:v>
                </c:pt>
                <c:pt idx="1974">
                  <c:v>6.4981710508862671E-3</c:v>
                </c:pt>
                <c:pt idx="1975">
                  <c:v>6.4667116166762005E-3</c:v>
                </c:pt>
                <c:pt idx="1976">
                  <c:v>6.4134601026445805E-3</c:v>
                </c:pt>
                <c:pt idx="1977">
                  <c:v>6.4033796309993524E-3</c:v>
                </c:pt>
                <c:pt idx="1978">
                  <c:v>6.371007308345682E-3</c:v>
                </c:pt>
                <c:pt idx="1979">
                  <c:v>6.3483205974721015E-3</c:v>
                </c:pt>
                <c:pt idx="1980">
                  <c:v>6.5604202766989363E-3</c:v>
                </c:pt>
                <c:pt idx="1981">
                  <c:v>6.8204041089156729E-3</c:v>
                </c:pt>
                <c:pt idx="1982">
                  <c:v>7.0368615480916573E-3</c:v>
                </c:pt>
                <c:pt idx="1983">
                  <c:v>7.27974014149399E-3</c:v>
                </c:pt>
                <c:pt idx="1984">
                  <c:v>7.4637760207750857E-3</c:v>
                </c:pt>
                <c:pt idx="1985">
                  <c:v>7.5995544088440954E-3</c:v>
                </c:pt>
                <c:pt idx="1986">
                  <c:v>7.699323858952889E-3</c:v>
                </c:pt>
                <c:pt idx="1987">
                  <c:v>7.7945372564534503E-3</c:v>
                </c:pt>
                <c:pt idx="1988">
                  <c:v>7.858199091619179E-3</c:v>
                </c:pt>
                <c:pt idx="1989">
                  <c:v>7.8917856912132291E-3</c:v>
                </c:pt>
                <c:pt idx="1990">
                  <c:v>7.8949591047079541E-3</c:v>
                </c:pt>
                <c:pt idx="1991">
                  <c:v>7.8986684483615729E-3</c:v>
                </c:pt>
                <c:pt idx="1992">
                  <c:v>7.8755931998773839E-3</c:v>
                </c:pt>
                <c:pt idx="1993">
                  <c:v>7.8236472044290219E-3</c:v>
                </c:pt>
                <c:pt idx="1994">
                  <c:v>7.8035885408852517E-3</c:v>
                </c:pt>
                <c:pt idx="1995">
                  <c:v>7.7558508167256523E-3</c:v>
                </c:pt>
                <c:pt idx="1996">
                  <c:v>7.6789417288921427E-3</c:v>
                </c:pt>
                <c:pt idx="1997">
                  <c:v>7.6344356045935135E-3</c:v>
                </c:pt>
                <c:pt idx="1998">
                  <c:v>7.5605743918500208E-3</c:v>
                </c:pt>
                <c:pt idx="1999">
                  <c:v>7.457274129793634E-3</c:v>
                </c:pt>
                <c:pt idx="2000">
                  <c:v>7.3861005346814636E-3</c:v>
                </c:pt>
                <c:pt idx="2001">
                  <c:v>7.2840744888424134E-3</c:v>
                </c:pt>
                <c:pt idx="2002">
                  <c:v>7.150547664761202E-3</c:v>
                </c:pt>
                <c:pt idx="2003">
                  <c:v>7.0204669798316095E-3</c:v>
                </c:pt>
                <c:pt idx="2004">
                  <c:v>6.8599487599865696E-3</c:v>
                </c:pt>
                <c:pt idx="2005">
                  <c:v>6.6657611657264916E-3</c:v>
                </c:pt>
                <c:pt idx="2006">
                  <c:v>6.435400414981576E-3</c:v>
                </c:pt>
                <c:pt idx="2007">
                  <c:v>6.3013700491003641E-3</c:v>
                </c:pt>
                <c:pt idx="2008">
                  <c:v>6.1254721658282954E-3</c:v>
                </c:pt>
                <c:pt idx="2009">
                  <c:v>6.0589737715095147E-3</c:v>
                </c:pt>
                <c:pt idx="2010">
                  <c:v>6.2132105008548032E-3</c:v>
                </c:pt>
                <c:pt idx="2011">
                  <c:v>6.342362859167657E-3</c:v>
                </c:pt>
                <c:pt idx="2012">
                  <c:v>6.48173825395077E-3</c:v>
                </c:pt>
                <c:pt idx="2013">
                  <c:v>6.6237689677811663E-3</c:v>
                </c:pt>
                <c:pt idx="2014">
                  <c:v>6.7425044882134747E-3</c:v>
                </c:pt>
                <c:pt idx="2015">
                  <c:v>6.9411299224753469E-3</c:v>
                </c:pt>
                <c:pt idx="2016">
                  <c:v>7.1420415352598261E-3</c:v>
                </c:pt>
                <c:pt idx="2017">
                  <c:v>7.3081475359667511E-3</c:v>
                </c:pt>
                <c:pt idx="2018">
                  <c:v>7.4406931212331676E-3</c:v>
                </c:pt>
                <c:pt idx="2019">
                  <c:v>7.5749936433340374E-3</c:v>
                </c:pt>
                <c:pt idx="2020">
                  <c:v>7.676320730107003E-3</c:v>
                </c:pt>
                <c:pt idx="2021">
                  <c:v>7.7457493862860376E-3</c:v>
                </c:pt>
                <c:pt idx="2022">
                  <c:v>7.8153475222674414E-3</c:v>
                </c:pt>
                <c:pt idx="2023">
                  <c:v>7.8504354793634094E-3</c:v>
                </c:pt>
                <c:pt idx="2024">
                  <c:v>7.8836828145049803E-3</c:v>
                </c:pt>
                <c:pt idx="2025">
                  <c:v>7.8864967500074743E-3</c:v>
                </c:pt>
                <c:pt idx="2026">
                  <c:v>7.8593556401502888E-3</c:v>
                </c:pt>
                <c:pt idx="2027">
                  <c:v>7.8335895571321687E-3</c:v>
                </c:pt>
                <c:pt idx="2028">
                  <c:v>7.7799148061182301E-3</c:v>
                </c:pt>
                <c:pt idx="2029">
                  <c:v>7.7257417996107894E-3</c:v>
                </c:pt>
                <c:pt idx="2030">
                  <c:v>7.6727793929488941E-3</c:v>
                </c:pt>
                <c:pt idx="2031">
                  <c:v>7.5911466368537633E-3</c:v>
                </c:pt>
                <c:pt idx="2032">
                  <c:v>7.4797564800326809E-3</c:v>
                </c:pt>
                <c:pt idx="2033">
                  <c:v>7.3366945442027058E-3</c:v>
                </c:pt>
                <c:pt idx="2034">
                  <c:v>7.3844996770898817E-3</c:v>
                </c:pt>
                <c:pt idx="2035">
                  <c:v>7.3815646891962046E-3</c:v>
                </c:pt>
                <c:pt idx="2036">
                  <c:v>7.3261661911523798E-3</c:v>
                </c:pt>
                <c:pt idx="2037">
                  <c:v>7.3331450485883765E-3</c:v>
                </c:pt>
                <c:pt idx="2038">
                  <c:v>7.2976887733968623E-3</c:v>
                </c:pt>
                <c:pt idx="2039">
                  <c:v>7.3274616889832727E-3</c:v>
                </c:pt>
                <c:pt idx="2040">
                  <c:v>7.3242374268758844E-3</c:v>
                </c:pt>
                <c:pt idx="2041">
                  <c:v>7.2885255933143921E-3</c:v>
                </c:pt>
                <c:pt idx="2042">
                  <c:v>7.2543823804271318E-3</c:v>
                </c:pt>
                <c:pt idx="2043">
                  <c:v>7.1892332221839255E-3</c:v>
                </c:pt>
                <c:pt idx="2044">
                  <c:v>7.0934938782432743E-3</c:v>
                </c:pt>
                <c:pt idx="2045">
                  <c:v>7.0993420253449083E-3</c:v>
                </c:pt>
                <c:pt idx="2046">
                  <c:v>7.1122736597605115E-3</c:v>
                </c:pt>
                <c:pt idx="2047">
                  <c:v>7.1031736708059489E-3</c:v>
                </c:pt>
                <c:pt idx="2048">
                  <c:v>7.100781824395554E-3</c:v>
                </c:pt>
                <c:pt idx="2049">
                  <c:v>7.1054450674483908E-3</c:v>
                </c:pt>
                <c:pt idx="2050">
                  <c:v>7.0882301307229369E-3</c:v>
                </c:pt>
                <c:pt idx="2051">
                  <c:v>7.0483199750477985E-3</c:v>
                </c:pt>
                <c:pt idx="2052">
                  <c:v>7.0185740692090956E-3</c:v>
                </c:pt>
                <c:pt idx="2053">
                  <c:v>6.9678581689211674E-3</c:v>
                </c:pt>
                <c:pt idx="2054">
                  <c:v>6.8962018799977997E-3</c:v>
                </c:pt>
                <c:pt idx="2055">
                  <c:v>6.8313773485284088E-3</c:v>
                </c:pt>
                <c:pt idx="2056">
                  <c:v>6.7430145073024781E-3</c:v>
                </c:pt>
                <c:pt idx="2057">
                  <c:v>6.6290273284846536E-3</c:v>
                </c:pt>
                <c:pt idx="2058">
                  <c:v>6.5818137968020945E-3</c:v>
                </c:pt>
                <c:pt idx="2059">
                  <c:v>6.5171406371819039E-3</c:v>
                </c:pt>
                <c:pt idx="2060">
                  <c:v>6.4127408355593796E-3</c:v>
                </c:pt>
                <c:pt idx="2061">
                  <c:v>6.3110466440340768E-3</c:v>
                </c:pt>
                <c:pt idx="2062">
                  <c:v>6.1748323997723436E-3</c:v>
                </c:pt>
                <c:pt idx="2063">
                  <c:v>6.0030968885490098E-3</c:v>
                </c:pt>
                <c:pt idx="2064">
                  <c:v>6.0595664650976355E-3</c:v>
                </c:pt>
                <c:pt idx="2065">
                  <c:v>6.1353188790394999E-3</c:v>
                </c:pt>
                <c:pt idx="2066">
                  <c:v>6.1953541018725036E-3</c:v>
                </c:pt>
                <c:pt idx="2067">
                  <c:v>6.2400105902586751E-3</c:v>
                </c:pt>
                <c:pt idx="2068">
                  <c:v>6.3695646913323016E-3</c:v>
                </c:pt>
                <c:pt idx="2069">
                  <c:v>6.474817277736431E-3</c:v>
                </c:pt>
                <c:pt idx="2070">
                  <c:v>6.5567763427822577E-3</c:v>
                </c:pt>
                <c:pt idx="2071">
                  <c:v>6.6160539627193454E-3</c:v>
                </c:pt>
                <c:pt idx="2072">
                  <c:v>6.6539663938782927E-3</c:v>
                </c:pt>
                <c:pt idx="2073">
                  <c:v>6.6698773660799383E-3</c:v>
                </c:pt>
                <c:pt idx="2074">
                  <c:v>6.6970004153523834E-3</c:v>
                </c:pt>
                <c:pt idx="2075">
                  <c:v>6.7319257250101428E-3</c:v>
                </c:pt>
                <c:pt idx="2076">
                  <c:v>6.7461212856105022E-3</c:v>
                </c:pt>
                <c:pt idx="2077">
                  <c:v>6.738731199257289E-3</c:v>
                </c:pt>
                <c:pt idx="2078">
                  <c:v>6.7735092207915921E-3</c:v>
                </c:pt>
                <c:pt idx="2079">
                  <c:v>6.7876855803797277E-3</c:v>
                </c:pt>
                <c:pt idx="2080">
                  <c:v>6.7809123633833963E-3</c:v>
                </c:pt>
                <c:pt idx="2081">
                  <c:v>6.753115983005019E-3</c:v>
                </c:pt>
                <c:pt idx="2082">
                  <c:v>6.7042985735629472E-3</c:v>
                </c:pt>
                <c:pt idx="2083">
                  <c:v>6.633937835405993E-3</c:v>
                </c:pt>
                <c:pt idx="2084">
                  <c:v>6.540649659751676E-3</c:v>
                </c:pt>
                <c:pt idx="2085">
                  <c:v>6.4895191332647196E-3</c:v>
                </c:pt>
                <c:pt idx="2086">
                  <c:v>6.4164082816143275E-3</c:v>
                </c:pt>
                <c:pt idx="2087">
                  <c:v>6.3207611642066954E-3</c:v>
                </c:pt>
                <c:pt idx="2088">
                  <c:v>6.3370423426897093E-3</c:v>
                </c:pt>
                <c:pt idx="2089">
                  <c:v>6.3129558746150803E-3</c:v>
                </c:pt>
                <c:pt idx="2090">
                  <c:v>6.3234727629559537E-3</c:v>
                </c:pt>
                <c:pt idx="2091">
                  <c:v>6.3776169782619645E-3</c:v>
                </c:pt>
                <c:pt idx="2092">
                  <c:v>6.4058336864183454E-3</c:v>
                </c:pt>
                <c:pt idx="2093">
                  <c:v>6.3872593186287737E-3</c:v>
                </c:pt>
                <c:pt idx="2094">
                  <c:v>6.3351085994049769E-3</c:v>
                </c:pt>
                <c:pt idx="2095">
                  <c:v>6.3946601802290304E-3</c:v>
                </c:pt>
                <c:pt idx="2096">
                  <c:v>6.4269492277617933E-3</c:v>
                </c:pt>
                <c:pt idx="2097">
                  <c:v>6.464426269969935E-3</c:v>
                </c:pt>
                <c:pt idx="2098">
                  <c:v>6.5725904950122366E-3</c:v>
                </c:pt>
                <c:pt idx="2099">
                  <c:v>6.6577324863036054E-3</c:v>
                </c:pt>
                <c:pt idx="2100">
                  <c:v>6.7533622188215387E-3</c:v>
                </c:pt>
                <c:pt idx="2101">
                  <c:v>6.8236794805216407E-3</c:v>
                </c:pt>
                <c:pt idx="2102">
                  <c:v>6.870999162957663E-3</c:v>
                </c:pt>
                <c:pt idx="2103">
                  <c:v>6.8945538151407781E-3</c:v>
                </c:pt>
                <c:pt idx="2104">
                  <c:v>6.90709368724109E-3</c:v>
                </c:pt>
                <c:pt idx="2105">
                  <c:v>6.8903588211719057E-3</c:v>
                </c:pt>
                <c:pt idx="2106">
                  <c:v>6.8559083863884689E-3</c:v>
                </c:pt>
                <c:pt idx="2107">
                  <c:v>6.8029374716919305E-3</c:v>
                </c:pt>
                <c:pt idx="2108">
                  <c:v>6.7634939722039213E-3</c:v>
                </c:pt>
                <c:pt idx="2109">
                  <c:v>6.7086676940503551E-3</c:v>
                </c:pt>
                <c:pt idx="2110">
                  <c:v>6.6364008345839599E-3</c:v>
                </c:pt>
                <c:pt idx="2111">
                  <c:v>6.5477971218960394E-3</c:v>
                </c:pt>
                <c:pt idx="2112">
                  <c:v>6.440492620601381E-3</c:v>
                </c:pt>
                <c:pt idx="2113">
                  <c:v>6.3432831505848717E-3</c:v>
                </c:pt>
                <c:pt idx="2114">
                  <c:v>6.2244653406706854E-3</c:v>
                </c:pt>
                <c:pt idx="2115">
                  <c:v>6.1200883750665777E-3</c:v>
                </c:pt>
                <c:pt idx="2116">
                  <c:v>6.0266008897180909E-3</c:v>
                </c:pt>
                <c:pt idx="2117">
                  <c:v>5.9109118757971826E-3</c:v>
                </c:pt>
                <c:pt idx="2118">
                  <c:v>5.8113461838224818E-3</c:v>
                </c:pt>
                <c:pt idx="2119">
                  <c:v>5.7551356417130713E-3</c:v>
                </c:pt>
                <c:pt idx="2120">
                  <c:v>5.7516476100058543E-3</c:v>
                </c:pt>
                <c:pt idx="2121">
                  <c:v>5.7648835881406006E-3</c:v>
                </c:pt>
                <c:pt idx="2122">
                  <c:v>5.7957256978488775E-3</c:v>
                </c:pt>
                <c:pt idx="2123">
                  <c:v>5.7834985178767872E-3</c:v>
                </c:pt>
                <c:pt idx="2124">
                  <c:v>5.7380534148633762E-3</c:v>
                </c:pt>
                <c:pt idx="2125">
                  <c:v>5.7797434738215501E-3</c:v>
                </c:pt>
                <c:pt idx="2126">
                  <c:v>5.8408718005958857E-3</c:v>
                </c:pt>
                <c:pt idx="2127">
                  <c:v>5.9179568419841866E-3</c:v>
                </c:pt>
                <c:pt idx="2128">
                  <c:v>5.9813902862415648E-3</c:v>
                </c:pt>
                <c:pt idx="2129">
                  <c:v>6.0316898499428147E-3</c:v>
                </c:pt>
                <c:pt idx="2130">
                  <c:v>6.1319226233485027E-3</c:v>
                </c:pt>
                <c:pt idx="2131">
                  <c:v>6.2177314032321011E-3</c:v>
                </c:pt>
                <c:pt idx="2132">
                  <c:v>6.2903242043283051E-3</c:v>
                </c:pt>
                <c:pt idx="2133">
                  <c:v>6.3821159018325486E-3</c:v>
                </c:pt>
                <c:pt idx="2134">
                  <c:v>6.4377823468955942E-3</c:v>
                </c:pt>
                <c:pt idx="2135">
                  <c:v>6.4669574583991344E-3</c:v>
                </c:pt>
                <c:pt idx="2136">
                  <c:v>6.5101309798821757E-3</c:v>
                </c:pt>
                <c:pt idx="2137">
                  <c:v>6.53443857361438E-3</c:v>
                </c:pt>
                <c:pt idx="2138">
                  <c:v>6.5396222046704231E-3</c:v>
                </c:pt>
                <c:pt idx="2139">
                  <c:v>6.5259614108207284E-3</c:v>
                </c:pt>
                <c:pt idx="2140">
                  <c:v>6.5239263870937149E-3</c:v>
                </c:pt>
                <c:pt idx="2141">
                  <c:v>6.5000841858915415E-3</c:v>
                </c:pt>
                <c:pt idx="2142">
                  <c:v>6.454138292434717E-3</c:v>
                </c:pt>
                <c:pt idx="2143">
                  <c:v>6.4516621853890821E-3</c:v>
                </c:pt>
                <c:pt idx="2144">
                  <c:v>6.4276597301486955E-3</c:v>
                </c:pt>
                <c:pt idx="2145">
                  <c:v>6.4124617237989786E-3</c:v>
                </c:pt>
                <c:pt idx="2146">
                  <c:v>6.4084208670461152E-3</c:v>
                </c:pt>
                <c:pt idx="2147">
                  <c:v>6.4828290569349557E-3</c:v>
                </c:pt>
                <c:pt idx="2148">
                  <c:v>6.5984936775965878E-3</c:v>
                </c:pt>
                <c:pt idx="2149">
                  <c:v>6.7435098235882687E-3</c:v>
                </c:pt>
                <c:pt idx="2150">
                  <c:v>6.8567479250776792E-3</c:v>
                </c:pt>
                <c:pt idx="2151">
                  <c:v>7.0844734161175189E-3</c:v>
                </c:pt>
                <c:pt idx="2152">
                  <c:v>7.296671207524791E-3</c:v>
                </c:pt>
                <c:pt idx="2153">
                  <c:v>7.4684581936494149E-3</c:v>
                </c:pt>
                <c:pt idx="2154">
                  <c:v>7.6024444486660911E-3</c:v>
                </c:pt>
                <c:pt idx="2155">
                  <c:v>7.7337079950106705E-3</c:v>
                </c:pt>
                <c:pt idx="2156">
                  <c:v>7.8566874570527787E-3</c:v>
                </c:pt>
                <c:pt idx="2157">
                  <c:v>7.9451659843282375E-3</c:v>
                </c:pt>
                <c:pt idx="2158">
                  <c:v>8.031099574779604E-3</c:v>
                </c:pt>
                <c:pt idx="2159">
                  <c:v>8.0816373040976854E-3</c:v>
                </c:pt>
                <c:pt idx="2160">
                  <c:v>8.1278619275073401E-3</c:v>
                </c:pt>
                <c:pt idx="2161">
                  <c:v>8.1716577051869164E-3</c:v>
                </c:pt>
                <c:pt idx="2162">
                  <c:v>8.1809100941366009E-3</c:v>
                </c:pt>
                <c:pt idx="2163">
                  <c:v>8.1868447881932437E-3</c:v>
                </c:pt>
                <c:pt idx="2164">
                  <c:v>8.1894986685987128E-3</c:v>
                </c:pt>
                <c:pt idx="2165">
                  <c:v>8.158655895565874E-3</c:v>
                </c:pt>
                <c:pt idx="2166">
                  <c:v>8.1247278438170301E-3</c:v>
                </c:pt>
                <c:pt idx="2167">
                  <c:v>8.0864227225916074E-3</c:v>
                </c:pt>
                <c:pt idx="2168">
                  <c:v>8.0136147936586202E-3</c:v>
                </c:pt>
                <c:pt idx="2169">
                  <c:v>7.9040969775068543E-3</c:v>
                </c:pt>
                <c:pt idx="2170">
                  <c:v>7.8210274147821855E-3</c:v>
                </c:pt>
                <c:pt idx="2171">
                  <c:v>7.6995918932327764E-3</c:v>
                </c:pt>
                <c:pt idx="2172">
                  <c:v>7.539744230484779E-3</c:v>
                </c:pt>
                <c:pt idx="2173">
                  <c:v>7.4046963756573009E-3</c:v>
                </c:pt>
                <c:pt idx="2174">
                  <c:v>7.2285267228179677E-3</c:v>
                </c:pt>
                <c:pt idx="2175">
                  <c:v>7.0479577958919215E-3</c:v>
                </c:pt>
                <c:pt idx="2176">
                  <c:v>6.8251392932327758E-3</c:v>
                </c:pt>
                <c:pt idx="2177">
                  <c:v>6.6803155156454387E-3</c:v>
                </c:pt>
                <c:pt idx="2178">
                  <c:v>6.608632234244646E-3</c:v>
                </c:pt>
                <c:pt idx="2179">
                  <c:v>6.5093622732371823E-3</c:v>
                </c:pt>
                <c:pt idx="2180">
                  <c:v>6.3803123797390561E-3</c:v>
                </c:pt>
                <c:pt idx="2181">
                  <c:v>6.4649672616930338E-3</c:v>
                </c:pt>
                <c:pt idx="2182">
                  <c:v>6.5243189703963061E-3</c:v>
                </c:pt>
                <c:pt idx="2183">
                  <c:v>6.5917425120962971E-3</c:v>
                </c:pt>
                <c:pt idx="2184">
                  <c:v>6.6326181466931089E-3</c:v>
                </c:pt>
                <c:pt idx="2185">
                  <c:v>6.7121982632336033E-3</c:v>
                </c:pt>
                <c:pt idx="2186">
                  <c:v>6.7991811014376626E-3</c:v>
                </c:pt>
                <c:pt idx="2187">
                  <c:v>6.8559098804243908E-3</c:v>
                </c:pt>
                <c:pt idx="2188">
                  <c:v>6.9158324786092341E-3</c:v>
                </c:pt>
                <c:pt idx="2189">
                  <c:v>6.9505321492056397E-3</c:v>
                </c:pt>
                <c:pt idx="2190">
                  <c:v>6.9591152805076051E-3</c:v>
                </c:pt>
                <c:pt idx="2191">
                  <c:v>6.974127355485347E-3</c:v>
                </c:pt>
                <c:pt idx="2192">
                  <c:v>6.967134627606804E-3</c:v>
                </c:pt>
                <c:pt idx="2193">
                  <c:v>6.9363487970397937E-3</c:v>
                </c:pt>
                <c:pt idx="2194">
                  <c:v>6.9154844495505838E-3</c:v>
                </c:pt>
                <c:pt idx="2195">
                  <c:v>6.8751266842318722E-3</c:v>
                </c:pt>
                <c:pt idx="2196">
                  <c:v>6.8130393454433266E-3</c:v>
                </c:pt>
                <c:pt idx="2197">
                  <c:v>6.7921845569368783E-3</c:v>
                </c:pt>
                <c:pt idx="2198">
                  <c:v>6.7505189435795769E-3</c:v>
                </c:pt>
                <c:pt idx="2199">
                  <c:v>6.6878616057776735E-3</c:v>
                </c:pt>
                <c:pt idx="2200">
                  <c:v>6.6370337164845146E-3</c:v>
                </c:pt>
                <c:pt idx="2201">
                  <c:v>7.0086621739044782E-3</c:v>
                </c:pt>
                <c:pt idx="2202">
                  <c:v>7.3102784445935607E-3</c:v>
                </c:pt>
                <c:pt idx="2203">
                  <c:v>7.5809242047797471E-3</c:v>
                </c:pt>
                <c:pt idx="2204">
                  <c:v>7.7970515344616799E-3</c:v>
                </c:pt>
                <c:pt idx="2205">
                  <c:v>7.9627469726509144E-3</c:v>
                </c:pt>
                <c:pt idx="2206">
                  <c:v>8.0818624513802201E-3</c:v>
                </c:pt>
                <c:pt idx="2207">
                  <c:v>8.1900429669905603E-3</c:v>
                </c:pt>
                <c:pt idx="2208">
                  <c:v>8.2823078422642107E-3</c:v>
                </c:pt>
                <c:pt idx="2209">
                  <c:v>8.3314071516203715E-3</c:v>
                </c:pt>
                <c:pt idx="2210">
                  <c:v>8.3691559734922604E-3</c:v>
                </c:pt>
                <c:pt idx="2211">
                  <c:v>8.4558548948143238E-3</c:v>
                </c:pt>
                <c:pt idx="2212">
                  <c:v>8.505939900548062E-3</c:v>
                </c:pt>
                <c:pt idx="2213">
                  <c:v>8.5788948513009916E-3</c:v>
                </c:pt>
                <c:pt idx="2214">
                  <c:v>8.6166720689354031E-3</c:v>
                </c:pt>
                <c:pt idx="2215">
                  <c:v>8.648333813430293E-3</c:v>
                </c:pt>
                <c:pt idx="2216">
                  <c:v>8.6764689589239399E-3</c:v>
                </c:pt>
                <c:pt idx="2217">
                  <c:v>8.381019354049864E-3</c:v>
                </c:pt>
                <c:pt idx="2218">
                  <c:v>8.1134187866792502E-3</c:v>
                </c:pt>
                <c:pt idx="2219">
                  <c:v>8.2176550788060684E-3</c:v>
                </c:pt>
                <c:pt idx="2220">
                  <c:v>8.9772378785974612E-3</c:v>
                </c:pt>
                <c:pt idx="2221">
                  <c:v>1.0434365071070451E-2</c:v>
                </c:pt>
                <c:pt idx="2222">
                  <c:v>1.2519723174451677E-2</c:v>
                </c:pt>
                <c:pt idx="2223">
                  <c:v>1.5056201794508169E-2</c:v>
                </c:pt>
                <c:pt idx="2224">
                  <c:v>1.7949460565701972E-2</c:v>
                </c:pt>
                <c:pt idx="2225">
                  <c:v>2.1078675523285739E-2</c:v>
                </c:pt>
                <c:pt idx="2226">
                  <c:v>2.9160523890292975E-2</c:v>
                </c:pt>
                <c:pt idx="2227">
                  <c:v>3.593706389135061E-2</c:v>
                </c:pt>
                <c:pt idx="2228">
                  <c:v>4.4658723024939354E-2</c:v>
                </c:pt>
                <c:pt idx="2229">
                  <c:v>5.303959801053329E-2</c:v>
                </c:pt>
                <c:pt idx="2230">
                  <c:v>6.0424569390821622E-2</c:v>
                </c:pt>
                <c:pt idx="2231">
                  <c:v>0.17841614997776734</c:v>
                </c:pt>
                <c:pt idx="2232">
                  <c:v>0.24065688893644355</c:v>
                </c:pt>
                <c:pt idx="2233">
                  <c:v>0.28617775400275558</c:v>
                </c:pt>
                <c:pt idx="2234">
                  <c:v>0.32214066432050453</c:v>
                </c:pt>
                <c:pt idx="2235">
                  <c:v>0.35148646862516664</c:v>
                </c:pt>
                <c:pt idx="2236">
                  <c:v>0.37576360575403855</c:v>
                </c:pt>
                <c:pt idx="2237">
                  <c:v>0.39588846496046165</c:v>
                </c:pt>
                <c:pt idx="2238">
                  <c:v>0.40483161656615918</c:v>
                </c:pt>
                <c:pt idx="2239">
                  <c:v>0.40132500093107082</c:v>
                </c:pt>
                <c:pt idx="2240">
                  <c:v>0.40134252913792201</c:v>
                </c:pt>
                <c:pt idx="2241">
                  <c:v>0.41092144189277158</c:v>
                </c:pt>
                <c:pt idx="2242">
                  <c:v>0.42882485702057571</c:v>
                </c:pt>
                <c:pt idx="2243">
                  <c:v>0.45243917339584749</c:v>
                </c:pt>
                <c:pt idx="2244">
                  <c:v>0.47336198710069927</c:v>
                </c:pt>
                <c:pt idx="2245">
                  <c:v>0.49217758668525236</c:v>
                </c:pt>
                <c:pt idx="2246">
                  <c:v>0.52161103388833707</c:v>
                </c:pt>
                <c:pt idx="2247">
                  <c:v>0.54420062621001541</c:v>
                </c:pt>
                <c:pt idx="2248">
                  <c:v>0.56404967212862622</c:v>
                </c:pt>
                <c:pt idx="2249">
                  <c:v>0.60452760043914355</c:v>
                </c:pt>
                <c:pt idx="2250">
                  <c:v>0.63890787134671212</c:v>
                </c:pt>
                <c:pt idx="2251">
                  <c:v>0.66957513847766981</c:v>
                </c:pt>
                <c:pt idx="2252">
                  <c:v>0.69341520505158827</c:v>
                </c:pt>
                <c:pt idx="2253">
                  <c:v>0.71489483486876604</c:v>
                </c:pt>
                <c:pt idx="2254">
                  <c:v>0.72999128831066851</c:v>
                </c:pt>
                <c:pt idx="2255">
                  <c:v>0.73199320176006233</c:v>
                </c:pt>
                <c:pt idx="2256">
                  <c:v>0.73115256587478994</c:v>
                </c:pt>
                <c:pt idx="2257">
                  <c:v>0.73017572767823591</c:v>
                </c:pt>
                <c:pt idx="2258">
                  <c:v>0.72874337426697577</c:v>
                </c:pt>
                <c:pt idx="2259">
                  <c:v>0.72701301184188216</c:v>
                </c:pt>
                <c:pt idx="2260">
                  <c:v>0.72662259347494007</c:v>
                </c:pt>
                <c:pt idx="2261">
                  <c:v>0.70153032691927142</c:v>
                </c:pt>
                <c:pt idx="2262">
                  <c:v>0.68043932322249823</c:v>
                </c:pt>
                <c:pt idx="2263">
                  <c:v>0.65770324420553072</c:v>
                </c:pt>
                <c:pt idx="2264">
                  <c:v>0.62572660892600407</c:v>
                </c:pt>
                <c:pt idx="2265">
                  <c:v>0.57692728138356242</c:v>
                </c:pt>
                <c:pt idx="2266">
                  <c:v>0.51568838785384519</c:v>
                </c:pt>
                <c:pt idx="2267">
                  <c:v>0.43961936631251092</c:v>
                </c:pt>
                <c:pt idx="2268">
                  <c:v>0.3620169251815808</c:v>
                </c:pt>
                <c:pt idx="2269">
                  <c:v>0.31894878435084306</c:v>
                </c:pt>
                <c:pt idx="2270">
                  <c:v>0.30071655196529579</c:v>
                </c:pt>
                <c:pt idx="2271">
                  <c:v>0.29767842597223176</c:v>
                </c:pt>
                <c:pt idx="2272">
                  <c:v>0.30283675743497784</c:v>
                </c:pt>
                <c:pt idx="2273">
                  <c:v>0.30789951659824061</c:v>
                </c:pt>
                <c:pt idx="2274">
                  <c:v>0.30665857567412363</c:v>
                </c:pt>
                <c:pt idx="2275">
                  <c:v>0.30582036698267578</c:v>
                </c:pt>
                <c:pt idx="2276">
                  <c:v>0.30986547039049361</c:v>
                </c:pt>
                <c:pt idx="2277">
                  <c:v>0.31403341225720222</c:v>
                </c:pt>
                <c:pt idx="2278">
                  <c:v>0.32465370736850185</c:v>
                </c:pt>
                <c:pt idx="2279">
                  <c:v>0.31847428507438263</c:v>
                </c:pt>
                <c:pt idx="2280">
                  <c:v>0.31071785751766678</c:v>
                </c:pt>
                <c:pt idx="2281">
                  <c:v>0.30703516880414972</c:v>
                </c:pt>
                <c:pt idx="2282">
                  <c:v>0.31112927969554616</c:v>
                </c:pt>
                <c:pt idx="2283">
                  <c:v>0.31511806314046026</c:v>
                </c:pt>
                <c:pt idx="2284">
                  <c:v>0.32181223646308754</c:v>
                </c:pt>
                <c:pt idx="2285">
                  <c:v>0.32559099826682597</c:v>
                </c:pt>
                <c:pt idx="2286">
                  <c:v>0.31300645298218716</c:v>
                </c:pt>
                <c:pt idx="2287">
                  <c:v>0.29778180148806788</c:v>
                </c:pt>
                <c:pt idx="2288">
                  <c:v>0.2791367078951012</c:v>
                </c:pt>
                <c:pt idx="2289">
                  <c:v>0.25818871493943568</c:v>
                </c:pt>
                <c:pt idx="2290">
                  <c:v>0.24990422818439612</c:v>
                </c:pt>
                <c:pt idx="2291">
                  <c:v>0.24843973094761648</c:v>
                </c:pt>
                <c:pt idx="2292">
                  <c:v>0.2511877325258331</c:v>
                </c:pt>
                <c:pt idx="2293">
                  <c:v>0.2511877325258331</c:v>
                </c:pt>
                <c:pt idx="2294">
                  <c:v>0.25200576359693777</c:v>
                </c:pt>
                <c:pt idx="2295">
                  <c:v>0.25393733735295948</c:v>
                </c:pt>
                <c:pt idx="2296">
                  <c:v>0.25203815622702463</c:v>
                </c:pt>
                <c:pt idx="2297">
                  <c:v>0.24392775725362656</c:v>
                </c:pt>
                <c:pt idx="2298">
                  <c:v>0.24155436238761696</c:v>
                </c:pt>
                <c:pt idx="2299">
                  <c:v>0.24233904888767033</c:v>
                </c:pt>
                <c:pt idx="2300">
                  <c:v>0.24346549263963907</c:v>
                </c:pt>
                <c:pt idx="2301">
                  <c:v>0.24464339742585406</c:v>
                </c:pt>
                <c:pt idx="2302">
                  <c:v>0.24464339742585406</c:v>
                </c:pt>
                <c:pt idx="2303">
                  <c:v>0.24519452184035065</c:v>
                </c:pt>
                <c:pt idx="2304">
                  <c:v>0.24343793494853205</c:v>
                </c:pt>
                <c:pt idx="2305">
                  <c:v>0.23593991228294528</c:v>
                </c:pt>
                <c:pt idx="2306">
                  <c:v>0.21482135198282976</c:v>
                </c:pt>
                <c:pt idx="2307">
                  <c:v>0.18819814289081571</c:v>
                </c:pt>
                <c:pt idx="2308">
                  <c:v>0.12462413301552488</c:v>
                </c:pt>
                <c:pt idx="2309">
                  <c:v>7.4816160858203848E-2</c:v>
                </c:pt>
                <c:pt idx="2310">
                  <c:v>7.0264111549131522E-2</c:v>
                </c:pt>
                <c:pt idx="2311">
                  <c:v>0.17899427513694921</c:v>
                </c:pt>
                <c:pt idx="2312">
                  <c:v>0.31765969700310148</c:v>
                </c:pt>
                <c:pt idx="2313">
                  <c:v>0.40605408781820918</c:v>
                </c:pt>
                <c:pt idx="2314">
                  <c:v>0.50340105469441554</c:v>
                </c:pt>
                <c:pt idx="2315">
                  <c:v>0.59796097150128469</c:v>
                </c:pt>
                <c:pt idx="2316">
                  <c:v>0.67268612495815605</c:v>
                </c:pt>
                <c:pt idx="2317">
                  <c:v>0.73366240171132469</c:v>
                </c:pt>
                <c:pt idx="2318">
                  <c:v>0.7841039563473633</c:v>
                </c:pt>
                <c:pt idx="2319">
                  <c:v>0.82100752383787434</c:v>
                </c:pt>
                <c:pt idx="2320">
                  <c:v>0.83885263396669629</c:v>
                </c:pt>
                <c:pt idx="2321">
                  <c:v>0.84732185605130483</c:v>
                </c:pt>
                <c:pt idx="2322">
                  <c:v>0.84628207372187425</c:v>
                </c:pt>
                <c:pt idx="2323">
                  <c:v>0.83620738339808942</c:v>
                </c:pt>
                <c:pt idx="2324">
                  <c:v>0.82555616864243986</c:v>
                </c:pt>
                <c:pt idx="2325">
                  <c:v>0.81351503817079618</c:v>
                </c:pt>
                <c:pt idx="2326">
                  <c:v>0.80044144494834202</c:v>
                </c:pt>
                <c:pt idx="2327">
                  <c:v>0.7864959342882285</c:v>
                </c:pt>
                <c:pt idx="2328">
                  <c:v>0.77319793898228639</c:v>
                </c:pt>
                <c:pt idx="2329">
                  <c:v>0.75998518650815305</c:v>
                </c:pt>
                <c:pt idx="2330">
                  <c:v>0.7458778097799984</c:v>
                </c:pt>
                <c:pt idx="2331">
                  <c:v>0.73262417285820169</c:v>
                </c:pt>
                <c:pt idx="2332">
                  <c:v>0.71531799725884804</c:v>
                </c:pt>
                <c:pt idx="2333">
                  <c:v>0.6957527192241606</c:v>
                </c:pt>
                <c:pt idx="2334">
                  <c:v>0.67338725496720786</c:v>
                </c:pt>
                <c:pt idx="2335">
                  <c:v>0.65020496164235098</c:v>
                </c:pt>
                <c:pt idx="2336">
                  <c:v>0.62892537137660598</c:v>
                </c:pt>
                <c:pt idx="2337">
                  <c:v>0.60698803513691679</c:v>
                </c:pt>
                <c:pt idx="2338">
                  <c:v>0.5833581402369955</c:v>
                </c:pt>
                <c:pt idx="2339">
                  <c:v>0.55922917405756811</c:v>
                </c:pt>
                <c:pt idx="2340">
                  <c:v>0.54535563822110533</c:v>
                </c:pt>
                <c:pt idx="2341">
                  <c:v>0.54516685412358945</c:v>
                </c:pt>
                <c:pt idx="2342">
                  <c:v>0.54259295951967246</c:v>
                </c:pt>
                <c:pt idx="2343">
                  <c:v>0.53997750472473871</c:v>
                </c:pt>
                <c:pt idx="2344">
                  <c:v>0.52037849404889247</c:v>
                </c:pt>
                <c:pt idx="2345">
                  <c:v>0.48560107469213037</c:v>
                </c:pt>
                <c:pt idx="2346">
                  <c:v>0.44585364024220908</c:v>
                </c:pt>
                <c:pt idx="2347">
                  <c:v>0.39857083465027576</c:v>
                </c:pt>
                <c:pt idx="2348">
                  <c:v>0.34072726157818511</c:v>
                </c:pt>
                <c:pt idx="2349">
                  <c:v>0.27714502361278293</c:v>
                </c:pt>
                <c:pt idx="2350">
                  <c:v>0.2352890556466079</c:v>
                </c:pt>
                <c:pt idx="2351">
                  <c:v>0.20418482144976824</c:v>
                </c:pt>
                <c:pt idx="2352">
                  <c:v>0.19359024900706914</c:v>
                </c:pt>
                <c:pt idx="2353">
                  <c:v>0.19484017649710436</c:v>
                </c:pt>
                <c:pt idx="2354">
                  <c:v>0.194955447634934</c:v>
                </c:pt>
                <c:pt idx="2355">
                  <c:v>0.20607204722027994</c:v>
                </c:pt>
                <c:pt idx="2356">
                  <c:v>0.22190983190310834</c:v>
                </c:pt>
                <c:pt idx="2357">
                  <c:v>0.22998463322968049</c:v>
                </c:pt>
                <c:pt idx="2358">
                  <c:v>0.2263480276833888</c:v>
                </c:pt>
                <c:pt idx="2359">
                  <c:v>0.21832921632347477</c:v>
                </c:pt>
                <c:pt idx="2360">
                  <c:v>0.20697070398160891</c:v>
                </c:pt>
                <c:pt idx="2361">
                  <c:v>0.19228617028946132</c:v>
                </c:pt>
                <c:pt idx="2362">
                  <c:v>0.20234314256283673</c:v>
                </c:pt>
                <c:pt idx="2363">
                  <c:v>0.23294095243467833</c:v>
                </c:pt>
                <c:pt idx="2364">
                  <c:v>0.28119777901399812</c:v>
                </c:pt>
                <c:pt idx="2365">
                  <c:v>0.31874451322782982</c:v>
                </c:pt>
                <c:pt idx="2366">
                  <c:v>0.34882651152999467</c:v>
                </c:pt>
                <c:pt idx="2367">
                  <c:v>0.37755918041670011</c:v>
                </c:pt>
                <c:pt idx="2368">
                  <c:v>0.39848466705860203</c:v>
                </c:pt>
                <c:pt idx="2369">
                  <c:v>0.41672828936825507</c:v>
                </c:pt>
                <c:pt idx="2370">
                  <c:v>0.43018351911817088</c:v>
                </c:pt>
                <c:pt idx="2371">
                  <c:v>0.44309250986471271</c:v>
                </c:pt>
                <c:pt idx="2372">
                  <c:v>0.45775973054913877</c:v>
                </c:pt>
                <c:pt idx="2373">
                  <c:v>0.47243129811538653</c:v>
                </c:pt>
                <c:pt idx="2374">
                  <c:v>0.48253895218021076</c:v>
                </c:pt>
                <c:pt idx="2375">
                  <c:v>0.48685043213154516</c:v>
                </c:pt>
                <c:pt idx="2376">
                  <c:v>0.48919245292648378</c:v>
                </c:pt>
                <c:pt idx="2377">
                  <c:v>0.49396347769367505</c:v>
                </c:pt>
                <c:pt idx="2378">
                  <c:v>0.49513174905256324</c:v>
                </c:pt>
                <c:pt idx="2379">
                  <c:v>0.49176886755176491</c:v>
                </c:pt>
                <c:pt idx="2380">
                  <c:v>0.4798840638714485</c:v>
                </c:pt>
                <c:pt idx="2381">
                  <c:v>0.46293252390048872</c:v>
                </c:pt>
                <c:pt idx="2382">
                  <c:v>0.44146323405902316</c:v>
                </c:pt>
                <c:pt idx="2383">
                  <c:v>0.42987548437514261</c:v>
                </c:pt>
                <c:pt idx="2384">
                  <c:v>0.41854894327840264</c:v>
                </c:pt>
                <c:pt idx="2385">
                  <c:v>0.38830878231419652</c:v>
                </c:pt>
                <c:pt idx="2386">
                  <c:v>0.3450616343303417</c:v>
                </c:pt>
                <c:pt idx="2387">
                  <c:v>0.30078173675899073</c:v>
                </c:pt>
                <c:pt idx="2388">
                  <c:v>0.25464930767518529</c:v>
                </c:pt>
                <c:pt idx="2389">
                  <c:v>0.1917967269273797</c:v>
                </c:pt>
                <c:pt idx="2390">
                  <c:v>0.15320611767557063</c:v>
                </c:pt>
                <c:pt idx="2391">
                  <c:v>0.11970907209274879</c:v>
                </c:pt>
                <c:pt idx="2392">
                  <c:v>0.10506669944739332</c:v>
                </c:pt>
                <c:pt idx="2393">
                  <c:v>0.10249472705877057</c:v>
                </c:pt>
                <c:pt idx="2394">
                  <c:v>0.10324817201375502</c:v>
                </c:pt>
                <c:pt idx="2395">
                  <c:v>0.10328229030467868</c:v>
                </c:pt>
                <c:pt idx="2396">
                  <c:v>0.10253018717533835</c:v>
                </c:pt>
                <c:pt idx="2397">
                  <c:v>0.10301957516188283</c:v>
                </c:pt>
                <c:pt idx="2398">
                  <c:v>0.10422042537633376</c:v>
                </c:pt>
                <c:pt idx="2399">
                  <c:v>0.10545512475655656</c:v>
                </c:pt>
                <c:pt idx="2400">
                  <c:v>0.1062442263911849</c:v>
                </c:pt>
                <c:pt idx="2401">
                  <c:v>0.10731942195690088</c:v>
                </c:pt>
                <c:pt idx="2402">
                  <c:v>0.10816420347194015</c:v>
                </c:pt>
                <c:pt idx="2403">
                  <c:v>0.1084750881631235</c:v>
                </c:pt>
                <c:pt idx="2404">
                  <c:v>0.10814791375809779</c:v>
                </c:pt>
                <c:pt idx="2405">
                  <c:v>0.10779400396193797</c:v>
                </c:pt>
                <c:pt idx="2406">
                  <c:v>0.10716509627000238</c:v>
                </c:pt>
                <c:pt idx="2407">
                  <c:v>0.1073233982177469</c:v>
                </c:pt>
                <c:pt idx="2408">
                  <c:v>0.10835366963450817</c:v>
                </c:pt>
                <c:pt idx="2409">
                  <c:v>0.10592399614741285</c:v>
                </c:pt>
                <c:pt idx="2410">
                  <c:v>0.10504207442276822</c:v>
                </c:pt>
                <c:pt idx="2411">
                  <c:v>0.1018034832892114</c:v>
                </c:pt>
                <c:pt idx="2412">
                  <c:v>9.3155837974718658E-2</c:v>
                </c:pt>
                <c:pt idx="2413">
                  <c:v>7.6685597034914371E-2</c:v>
                </c:pt>
                <c:pt idx="2414">
                  <c:v>5.7516344020738998E-2</c:v>
                </c:pt>
                <c:pt idx="2415">
                  <c:v>4.6661906038383209E-2</c:v>
                </c:pt>
                <c:pt idx="2416">
                  <c:v>4.3967896867253116E-2</c:v>
                </c:pt>
                <c:pt idx="2417">
                  <c:v>4.3889268498581567E-2</c:v>
                </c:pt>
                <c:pt idx="2418">
                  <c:v>3.9653708087167588E-2</c:v>
                </c:pt>
                <c:pt idx="2419">
                  <c:v>3.02309005333181E-2</c:v>
                </c:pt>
                <c:pt idx="2420">
                  <c:v>2.7534468453672002E-2</c:v>
                </c:pt>
                <c:pt idx="2421">
                  <c:v>2.6954634821544355E-2</c:v>
                </c:pt>
                <c:pt idx="2422">
                  <c:v>2.6619167534084647E-2</c:v>
                </c:pt>
                <c:pt idx="2423">
                  <c:v>7.4742871538297617E-2</c:v>
                </c:pt>
                <c:pt idx="2424">
                  <c:v>0.12318646385983315</c:v>
                </c:pt>
                <c:pt idx="2425">
                  <c:v>0.15973256330233584</c:v>
                </c:pt>
                <c:pt idx="2426">
                  <c:v>0.18259979888986658</c:v>
                </c:pt>
                <c:pt idx="2427">
                  <c:v>0.21144505863437676</c:v>
                </c:pt>
                <c:pt idx="2428">
                  <c:v>0.2349946363163937</c:v>
                </c:pt>
                <c:pt idx="2429">
                  <c:v>0.2511260782432565</c:v>
                </c:pt>
                <c:pt idx="2430">
                  <c:v>0.25333480799075803</c:v>
                </c:pt>
                <c:pt idx="2431">
                  <c:v>0.25491909807885987</c:v>
                </c:pt>
                <c:pt idx="2432">
                  <c:v>0.25488448375055145</c:v>
                </c:pt>
                <c:pt idx="2433">
                  <c:v>0.25313351544131329</c:v>
                </c:pt>
                <c:pt idx="2434">
                  <c:v>0.25239469133370657</c:v>
                </c:pt>
                <c:pt idx="2435">
                  <c:v>0.25292502318438453</c:v>
                </c:pt>
                <c:pt idx="2436">
                  <c:v>0.25095990371464538</c:v>
                </c:pt>
                <c:pt idx="2437">
                  <c:v>0.24882985668884072</c:v>
                </c:pt>
                <c:pt idx="2438">
                  <c:v>0.2464694604800543</c:v>
                </c:pt>
                <c:pt idx="2439">
                  <c:v>0.24633183139456785</c:v>
                </c:pt>
                <c:pt idx="2440">
                  <c:v>0.24609633251881866</c:v>
                </c:pt>
                <c:pt idx="2441">
                  <c:v>0.24572977310530864</c:v>
                </c:pt>
                <c:pt idx="2442">
                  <c:v>0.24525254953828571</c:v>
                </c:pt>
                <c:pt idx="2443">
                  <c:v>0.24655079168805924</c:v>
                </c:pt>
                <c:pt idx="2444">
                  <c:v>0.27595225936407269</c:v>
                </c:pt>
                <c:pt idx="2445">
                  <c:v>0.30214540061869788</c:v>
                </c:pt>
                <c:pt idx="2446">
                  <c:v>0.31084088135803845</c:v>
                </c:pt>
                <c:pt idx="2447">
                  <c:v>0.30567886767565755</c:v>
                </c:pt>
                <c:pt idx="2448">
                  <c:v>0.30064370285875891</c:v>
                </c:pt>
                <c:pt idx="2449">
                  <c:v>0.29485256695263973</c:v>
                </c:pt>
                <c:pt idx="2450">
                  <c:v>0.28819089790854219</c:v>
                </c:pt>
                <c:pt idx="2451">
                  <c:v>0.2849962762733691</c:v>
                </c:pt>
                <c:pt idx="2452">
                  <c:v>0.28680356833707671</c:v>
                </c:pt>
                <c:pt idx="2453">
                  <c:v>0.29596836258855519</c:v>
                </c:pt>
                <c:pt idx="2454">
                  <c:v>0.30037623366575156</c:v>
                </c:pt>
                <c:pt idx="2455">
                  <c:v>0.30714290464253702</c:v>
                </c:pt>
                <c:pt idx="2456">
                  <c:v>0.31125116124329266</c:v>
                </c:pt>
                <c:pt idx="2457">
                  <c:v>0.31090635877559369</c:v>
                </c:pt>
                <c:pt idx="2458">
                  <c:v>0.30512174190021335</c:v>
                </c:pt>
                <c:pt idx="2459">
                  <c:v>0.3037417154252614</c:v>
                </c:pt>
                <c:pt idx="2460">
                  <c:v>0.3114651542861876</c:v>
                </c:pt>
                <c:pt idx="2461">
                  <c:v>0.32372286528151129</c:v>
                </c:pt>
                <c:pt idx="2462">
                  <c:v>0.33316901467449661</c:v>
                </c:pt>
                <c:pt idx="2463">
                  <c:v>0.33249376098670574</c:v>
                </c:pt>
                <c:pt idx="2464">
                  <c:v>0.32607295092537703</c:v>
                </c:pt>
                <c:pt idx="2465">
                  <c:v>0.31648998202841061</c:v>
                </c:pt>
                <c:pt idx="2466">
                  <c:v>0.31772591771164527</c:v>
                </c:pt>
                <c:pt idx="2467">
                  <c:v>0.32088735562694476</c:v>
                </c:pt>
                <c:pt idx="2468">
                  <c:v>0.34462468861506868</c:v>
                </c:pt>
                <c:pt idx="2469">
                  <c:v>0.36641162590466209</c:v>
                </c:pt>
                <c:pt idx="2470">
                  <c:v>0.37944469979447826</c:v>
                </c:pt>
                <c:pt idx="2471">
                  <c:v>0.38909508876797533</c:v>
                </c:pt>
                <c:pt idx="2472">
                  <c:v>0.39063361389548568</c:v>
                </c:pt>
                <c:pt idx="2473">
                  <c:v>0.40565364009220739</c:v>
                </c:pt>
                <c:pt idx="2474">
                  <c:v>0.42805823354444861</c:v>
                </c:pt>
                <c:pt idx="2475">
                  <c:v>0.46097554013125153</c:v>
                </c:pt>
                <c:pt idx="2476">
                  <c:v>0.49969106683001158</c:v>
                </c:pt>
                <c:pt idx="2477">
                  <c:v>0.54052732022427319</c:v>
                </c:pt>
                <c:pt idx="2478">
                  <c:v>0.56610894619291452</c:v>
                </c:pt>
                <c:pt idx="2479">
                  <c:v>0.58232030900045373</c:v>
                </c:pt>
                <c:pt idx="2480">
                  <c:v>0.57959775204911668</c:v>
                </c:pt>
                <c:pt idx="2481">
                  <c:v>0.57696821362324502</c:v>
                </c:pt>
                <c:pt idx="2482">
                  <c:v>0.57595778238827411</c:v>
                </c:pt>
                <c:pt idx="2483">
                  <c:v>0.57493589118272703</c:v>
                </c:pt>
                <c:pt idx="2484">
                  <c:v>0.57255211029255682</c:v>
                </c:pt>
                <c:pt idx="2485">
                  <c:v>0.5393148107883402</c:v>
                </c:pt>
                <c:pt idx="2486">
                  <c:v>0.50968910427229075</c:v>
                </c:pt>
                <c:pt idx="2487">
                  <c:v>0.47691364099025557</c:v>
                </c:pt>
                <c:pt idx="2488">
                  <c:v>0.46190537029202466</c:v>
                </c:pt>
                <c:pt idx="2489">
                  <c:v>0.45391878158839155</c:v>
                </c:pt>
                <c:pt idx="2490">
                  <c:v>0.45000572643398973</c:v>
                </c:pt>
                <c:pt idx="2491">
                  <c:v>0.44770644051009062</c:v>
                </c:pt>
                <c:pt idx="2492">
                  <c:v>0.44417059717198476</c:v>
                </c:pt>
                <c:pt idx="2493">
                  <c:v>0.42695651567029863</c:v>
                </c:pt>
                <c:pt idx="2494">
                  <c:v>0.40019251075421564</c:v>
                </c:pt>
                <c:pt idx="2495">
                  <c:v>0.37926093163601765</c:v>
                </c:pt>
                <c:pt idx="2496">
                  <c:v>0.37769567630097606</c:v>
                </c:pt>
                <c:pt idx="2497">
                  <c:v>0.41930060704181554</c:v>
                </c:pt>
                <c:pt idx="2498">
                  <c:v>0.47272196703984898</c:v>
                </c:pt>
                <c:pt idx="2499">
                  <c:v>0.51572281681287824</c:v>
                </c:pt>
                <c:pt idx="2500">
                  <c:v>0.5521475040196212</c:v>
                </c:pt>
                <c:pt idx="2501">
                  <c:v>0.58229321121278477</c:v>
                </c:pt>
                <c:pt idx="2502">
                  <c:v>0.60853474583139278</c:v>
                </c:pt>
                <c:pt idx="2503">
                  <c:v>0.63020678404481045</c:v>
                </c:pt>
                <c:pt idx="2504">
                  <c:v>0.64350196748824917</c:v>
                </c:pt>
                <c:pt idx="2505">
                  <c:v>0.642868063091798</c:v>
                </c:pt>
                <c:pt idx="2506">
                  <c:v>0.62969159179767276</c:v>
                </c:pt>
                <c:pt idx="2507">
                  <c:v>0.59710963310498644</c:v>
                </c:pt>
                <c:pt idx="2508">
                  <c:v>0.5531113801972537</c:v>
                </c:pt>
                <c:pt idx="2509">
                  <c:v>0.50322380002488176</c:v>
                </c:pt>
                <c:pt idx="2510">
                  <c:v>0.48004161972389048</c:v>
                </c:pt>
                <c:pt idx="2511">
                  <c:v>0.46562850969310288</c:v>
                </c:pt>
                <c:pt idx="2512">
                  <c:v>0.4537079278806721</c:v>
                </c:pt>
                <c:pt idx="2513">
                  <c:v>0.45630952302832056</c:v>
                </c:pt>
                <c:pt idx="2514">
                  <c:v>0.45942837594155217</c:v>
                </c:pt>
                <c:pt idx="2515">
                  <c:v>0.46713475006956873</c:v>
                </c:pt>
                <c:pt idx="2516">
                  <c:v>0.4707346092848595</c:v>
                </c:pt>
                <c:pt idx="2517">
                  <c:v>0.4781260526849751</c:v>
                </c:pt>
                <c:pt idx="2518">
                  <c:v>0.48998891591541949</c:v>
                </c:pt>
                <c:pt idx="2519">
                  <c:v>0.50064789244642094</c:v>
                </c:pt>
                <c:pt idx="2520">
                  <c:v>0.50462381250376698</c:v>
                </c:pt>
                <c:pt idx="2521">
                  <c:v>0.50373332795495207</c:v>
                </c:pt>
                <c:pt idx="2522">
                  <c:v>0.48434727197304006</c:v>
                </c:pt>
                <c:pt idx="2523">
                  <c:v>0.4689557694875609</c:v>
                </c:pt>
                <c:pt idx="2524">
                  <c:v>0.46969258438177003</c:v>
                </c:pt>
                <c:pt idx="2525">
                  <c:v>0.47103217417108689</c:v>
                </c:pt>
                <c:pt idx="2526">
                  <c:v>0.47183224977804639</c:v>
                </c:pt>
                <c:pt idx="2527">
                  <c:v>0.47515191433060572</c:v>
                </c:pt>
                <c:pt idx="2528">
                  <c:v>0.47515191433060572</c:v>
                </c:pt>
                <c:pt idx="2529">
                  <c:v>0.47331824376726733</c:v>
                </c:pt>
                <c:pt idx="2530">
                  <c:v>0.46855462033695366</c:v>
                </c:pt>
                <c:pt idx="2531">
                  <c:v>0.46704855240420678</c:v>
                </c:pt>
                <c:pt idx="2532">
                  <c:v>0.46704855240420678</c:v>
                </c:pt>
                <c:pt idx="2533">
                  <c:v>0.46680619137177931</c:v>
                </c:pt>
                <c:pt idx="2534">
                  <c:v>0.46652663139476558</c:v>
                </c:pt>
                <c:pt idx="2535">
                  <c:v>0.46724701295256182</c:v>
                </c:pt>
                <c:pt idx="2536">
                  <c:v>0.46889738717028345</c:v>
                </c:pt>
                <c:pt idx="2537">
                  <c:v>0.47055565708653196</c:v>
                </c:pt>
                <c:pt idx="2538">
                  <c:v>0.47194676338925834</c:v>
                </c:pt>
                <c:pt idx="2539">
                  <c:v>0.47391155232332177</c:v>
                </c:pt>
                <c:pt idx="2540">
                  <c:v>0.47178555184761328</c:v>
                </c:pt>
                <c:pt idx="2541">
                  <c:v>0.47147728654379883</c:v>
                </c:pt>
                <c:pt idx="2542">
                  <c:v>0.46849299014850282</c:v>
                </c:pt>
                <c:pt idx="2543">
                  <c:v>0.46059340153675332</c:v>
                </c:pt>
                <c:pt idx="2544">
                  <c:v>0.43866421646731091</c:v>
                </c:pt>
                <c:pt idx="2545">
                  <c:v>0.4037497209724018</c:v>
                </c:pt>
                <c:pt idx="2546">
                  <c:v>0.39026327246553533</c:v>
                </c:pt>
                <c:pt idx="2547">
                  <c:v>0.37149520538457226</c:v>
                </c:pt>
                <c:pt idx="2548">
                  <c:v>0.34413715997422017</c:v>
                </c:pt>
                <c:pt idx="2549">
                  <c:v>0.31020057204403106</c:v>
                </c:pt>
                <c:pt idx="2550">
                  <c:v>0.27743837674590016</c:v>
                </c:pt>
                <c:pt idx="2551">
                  <c:v>0.24437671888664908</c:v>
                </c:pt>
                <c:pt idx="2552">
                  <c:v>0.24098966228929183</c:v>
                </c:pt>
                <c:pt idx="2553">
                  <c:v>0.24369406877489524</c:v>
                </c:pt>
                <c:pt idx="2554">
                  <c:v>0.24369406877489524</c:v>
                </c:pt>
                <c:pt idx="2555">
                  <c:v>0.24369406877489524</c:v>
                </c:pt>
                <c:pt idx="2556">
                  <c:v>0.24369406877489524</c:v>
                </c:pt>
                <c:pt idx="2557">
                  <c:v>0.24369406877489524</c:v>
                </c:pt>
                <c:pt idx="2558">
                  <c:v>0.24369406877489524</c:v>
                </c:pt>
                <c:pt idx="2559">
                  <c:v>0.24532173366339999</c:v>
                </c:pt>
                <c:pt idx="2560">
                  <c:v>0.24803533798118171</c:v>
                </c:pt>
                <c:pt idx="2561">
                  <c:v>0.24753363562339606</c:v>
                </c:pt>
                <c:pt idx="2562">
                  <c:v>0.24507042753787517</c:v>
                </c:pt>
                <c:pt idx="2563">
                  <c:v>0.24432428569626441</c:v>
                </c:pt>
                <c:pt idx="2564">
                  <c:v>0.24202169134225926</c:v>
                </c:pt>
                <c:pt idx="2565">
                  <c:v>0.23895221834204744</c:v>
                </c:pt>
                <c:pt idx="2566">
                  <c:v>0.23757156702802393</c:v>
                </c:pt>
                <c:pt idx="2567">
                  <c:v>0.23527573694362763</c:v>
                </c:pt>
                <c:pt idx="2568">
                  <c:v>0.2384858937273715</c:v>
                </c:pt>
                <c:pt idx="2569">
                  <c:v>0.23928720343162901</c:v>
                </c:pt>
                <c:pt idx="2570">
                  <c:v>0.23971478509711172</c:v>
                </c:pt>
                <c:pt idx="2571">
                  <c:v>0.2405908926300783</c:v>
                </c:pt>
                <c:pt idx="2572">
                  <c:v>0.24923859950547378</c:v>
                </c:pt>
                <c:pt idx="2573">
                  <c:v>0.24848955752761262</c:v>
                </c:pt>
                <c:pt idx="2574">
                  <c:v>0.25417542469736765</c:v>
                </c:pt>
                <c:pt idx="2575">
                  <c:v>0.26127228820703807</c:v>
                </c:pt>
                <c:pt idx="2576">
                  <c:v>0.26869368058572607</c:v>
                </c:pt>
                <c:pt idx="2577">
                  <c:v>0.27072846577116805</c:v>
                </c:pt>
                <c:pt idx="2578">
                  <c:v>0.26941083370610519</c:v>
                </c:pt>
                <c:pt idx="2579">
                  <c:v>0.25758490915490229</c:v>
                </c:pt>
                <c:pt idx="2580">
                  <c:v>0.25780216807112782</c:v>
                </c:pt>
                <c:pt idx="2581">
                  <c:v>0.25647590484958288</c:v>
                </c:pt>
                <c:pt idx="2582">
                  <c:v>0.25623768124809687</c:v>
                </c:pt>
                <c:pt idx="2583">
                  <c:v>0.25689672933736141</c:v>
                </c:pt>
                <c:pt idx="2584">
                  <c:v>0.27292516464613059</c:v>
                </c:pt>
                <c:pt idx="2585">
                  <c:v>0.2925330425399893</c:v>
                </c:pt>
                <c:pt idx="2586">
                  <c:v>0.30911969288336077</c:v>
                </c:pt>
                <c:pt idx="2587">
                  <c:v>0.32931013499593714</c:v>
                </c:pt>
                <c:pt idx="2588">
                  <c:v>0.34737445946772566</c:v>
                </c:pt>
                <c:pt idx="2589">
                  <c:v>0.34627711867566585</c:v>
                </c:pt>
                <c:pt idx="2590">
                  <c:v>0.33622644118081529</c:v>
                </c:pt>
                <c:pt idx="2591">
                  <c:v>0.32888840098835292</c:v>
                </c:pt>
                <c:pt idx="2592">
                  <c:v>0.32982121653987828</c:v>
                </c:pt>
                <c:pt idx="2593">
                  <c:v>0.33618862761727519</c:v>
                </c:pt>
                <c:pt idx="2594">
                  <c:v>0.34612498265838509</c:v>
                </c:pt>
                <c:pt idx="2595">
                  <c:v>0.34969841839505955</c:v>
                </c:pt>
                <c:pt idx="2596">
                  <c:v>0.34964106988081733</c:v>
                </c:pt>
                <c:pt idx="2597">
                  <c:v>0.34911117629728705</c:v>
                </c:pt>
                <c:pt idx="2598">
                  <c:v>0.34911117629728705</c:v>
                </c:pt>
                <c:pt idx="2599">
                  <c:v>0.35253171507564429</c:v>
                </c:pt>
                <c:pt idx="2600">
                  <c:v>0.35541935589190304</c:v>
                </c:pt>
                <c:pt idx="2601">
                  <c:v>0.36317374791227952</c:v>
                </c:pt>
                <c:pt idx="2602">
                  <c:v>0.36343681748866391</c:v>
                </c:pt>
                <c:pt idx="2603">
                  <c:v>0.36541678367788483</c:v>
                </c:pt>
                <c:pt idx="2604">
                  <c:v>0.38709968050676608</c:v>
                </c:pt>
                <c:pt idx="2605">
                  <c:v>0.41510811277319759</c:v>
                </c:pt>
                <c:pt idx="2606">
                  <c:v>0.43577327254604775</c:v>
                </c:pt>
                <c:pt idx="2607">
                  <c:v>0.45705694744204256</c:v>
                </c:pt>
                <c:pt idx="2608">
                  <c:v>0.46561713128178089</c:v>
                </c:pt>
                <c:pt idx="2609">
                  <c:v>0.46151145139909128</c:v>
                </c:pt>
                <c:pt idx="2610">
                  <c:v>0.45351798712939517</c:v>
                </c:pt>
                <c:pt idx="2611">
                  <c:v>0.46048660401897223</c:v>
                </c:pt>
                <c:pt idx="2612">
                  <c:v>0.46693453748944946</c:v>
                </c:pt>
                <c:pt idx="2613">
                  <c:v>0.47484703830311126</c:v>
                </c:pt>
                <c:pt idx="2614">
                  <c:v>0.4733220841419033</c:v>
                </c:pt>
                <c:pt idx="2615">
                  <c:v>0.46595565461944966</c:v>
                </c:pt>
                <c:pt idx="2616">
                  <c:v>0.45739061748005244</c:v>
                </c:pt>
                <c:pt idx="2617">
                  <c:v>0.44537608398937911</c:v>
                </c:pt>
                <c:pt idx="2618">
                  <c:v>0.43273001654808396</c:v>
                </c:pt>
                <c:pt idx="2619">
                  <c:v>0.43098591108567252</c:v>
                </c:pt>
                <c:pt idx="2620">
                  <c:v>0.43250878850418611</c:v>
                </c:pt>
                <c:pt idx="2621">
                  <c:v>0.43340330566125451</c:v>
                </c:pt>
                <c:pt idx="2622">
                  <c:v>0.43155701680908765</c:v>
                </c:pt>
                <c:pt idx="2623">
                  <c:v>0.42706929823927559</c:v>
                </c:pt>
                <c:pt idx="2624">
                  <c:v>0.42437215774600212</c:v>
                </c:pt>
                <c:pt idx="2625">
                  <c:v>0.41854583049556798</c:v>
                </c:pt>
                <c:pt idx="2626">
                  <c:v>0.41159870549033023</c:v>
                </c:pt>
                <c:pt idx="2627">
                  <c:v>0.40645668935347445</c:v>
                </c:pt>
                <c:pt idx="2628">
                  <c:v>0.39743582107237035</c:v>
                </c:pt>
                <c:pt idx="2629">
                  <c:v>0.38425329021184607</c:v>
                </c:pt>
                <c:pt idx="2630">
                  <c:v>0.37102498292195574</c:v>
                </c:pt>
                <c:pt idx="2631">
                  <c:v>0.37223341558915735</c:v>
                </c:pt>
                <c:pt idx="2632">
                  <c:v>0.38518487998978229</c:v>
                </c:pt>
                <c:pt idx="2633">
                  <c:v>0.39563160718311124</c:v>
                </c:pt>
                <c:pt idx="2634">
                  <c:v>0.38649816763944589</c:v>
                </c:pt>
                <c:pt idx="2635">
                  <c:v>0.36397912157725004</c:v>
                </c:pt>
                <c:pt idx="2636">
                  <c:v>0.33292849080673881</c:v>
                </c:pt>
                <c:pt idx="2637">
                  <c:v>0.29761683174640874</c:v>
                </c:pt>
                <c:pt idx="2638">
                  <c:v>0.28593963118443716</c:v>
                </c:pt>
                <c:pt idx="2639">
                  <c:v>0.30968887314560573</c:v>
                </c:pt>
                <c:pt idx="2640">
                  <c:v>0.33188660447636187</c:v>
                </c:pt>
                <c:pt idx="2641">
                  <c:v>0.32487780473537747</c:v>
                </c:pt>
                <c:pt idx="2642">
                  <c:v>0.31532784720721352</c:v>
                </c:pt>
                <c:pt idx="2643">
                  <c:v>0.30552367835562444</c:v>
                </c:pt>
                <c:pt idx="2644">
                  <c:v>0.30322380998162773</c:v>
                </c:pt>
                <c:pt idx="2645">
                  <c:v>0.30281091067897831</c:v>
                </c:pt>
                <c:pt idx="2646">
                  <c:v>0.30370362874391493</c:v>
                </c:pt>
                <c:pt idx="2647">
                  <c:v>0.31648289027345561</c:v>
                </c:pt>
                <c:pt idx="2648">
                  <c:v>0.32390314489187488</c:v>
                </c:pt>
                <c:pt idx="2649">
                  <c:v>0.32778503627730249</c:v>
                </c:pt>
                <c:pt idx="2650">
                  <c:v>0.33239423357605707</c:v>
                </c:pt>
                <c:pt idx="2651">
                  <c:v>0.33616607892698464</c:v>
                </c:pt>
                <c:pt idx="2652">
                  <c:v>0.33523589824127348</c:v>
                </c:pt>
                <c:pt idx="2653">
                  <c:v>0.33789564510765413</c:v>
                </c:pt>
                <c:pt idx="2654">
                  <c:v>0.33735872523108834</c:v>
                </c:pt>
                <c:pt idx="2655">
                  <c:v>0.34052415075988635</c:v>
                </c:pt>
                <c:pt idx="2656">
                  <c:v>0.35011824580378886</c:v>
                </c:pt>
                <c:pt idx="2657">
                  <c:v>0.37782202488216177</c:v>
                </c:pt>
                <c:pt idx="2658">
                  <c:v>0.45304449420606963</c:v>
                </c:pt>
                <c:pt idx="2659">
                  <c:v>0.52579819867413691</c:v>
                </c:pt>
                <c:pt idx="2660">
                  <c:v>0.58492410329058864</c:v>
                </c:pt>
                <c:pt idx="2661">
                  <c:v>0.62197311743981554</c:v>
                </c:pt>
                <c:pt idx="2662">
                  <c:v>0.65004734763637095</c:v>
                </c:pt>
                <c:pt idx="2663">
                  <c:v>0.66001021195029796</c:v>
                </c:pt>
                <c:pt idx="2664">
                  <c:v>0.65087257011853572</c:v>
                </c:pt>
                <c:pt idx="2665">
                  <c:v>0.63529878515670146</c:v>
                </c:pt>
                <c:pt idx="2666">
                  <c:v>0.63285457274287094</c:v>
                </c:pt>
                <c:pt idx="2667">
                  <c:v>0.63966612816802337</c:v>
                </c:pt>
                <c:pt idx="2668">
                  <c:v>0.65092718375212688</c:v>
                </c:pt>
                <c:pt idx="2669">
                  <c:v>0.66224746547372204</c:v>
                </c:pt>
                <c:pt idx="2670">
                  <c:v>0.67748056842796156</c:v>
                </c:pt>
                <c:pt idx="2671">
                  <c:v>0.69311457182842062</c:v>
                </c:pt>
                <c:pt idx="2672">
                  <c:v>0.70715180075937734</c:v>
                </c:pt>
                <c:pt idx="2673">
                  <c:v>0.72019748456879673</c:v>
                </c:pt>
                <c:pt idx="2674">
                  <c:v>0.73223907063414062</c:v>
                </c:pt>
                <c:pt idx="2675">
                  <c:v>0.74250385583937384</c:v>
                </c:pt>
                <c:pt idx="2676">
                  <c:v>0.75105577995310735</c:v>
                </c:pt>
                <c:pt idx="2677">
                  <c:v>0.7483465992910816</c:v>
                </c:pt>
                <c:pt idx="2678">
                  <c:v>0.74858874367219375</c:v>
                </c:pt>
                <c:pt idx="2679">
                  <c:v>0.7483679992843697</c:v>
                </c:pt>
                <c:pt idx="2680">
                  <c:v>0.74431879995556238</c:v>
                </c:pt>
                <c:pt idx="2681">
                  <c:v>0.73857610282788411</c:v>
                </c:pt>
                <c:pt idx="2682">
                  <c:v>0.73677549177521162</c:v>
                </c:pt>
                <c:pt idx="2683">
                  <c:v>0.73898040418952304</c:v>
                </c:pt>
                <c:pt idx="2684">
                  <c:v>0.74202852018636012</c:v>
                </c:pt>
                <c:pt idx="2685">
                  <c:v>0.7455856608783259</c:v>
                </c:pt>
                <c:pt idx="2686">
                  <c:v>0.74655522897680848</c:v>
                </c:pt>
                <c:pt idx="2687">
                  <c:v>0.7403703619318498</c:v>
                </c:pt>
                <c:pt idx="2688">
                  <c:v>0.70713136360039719</c:v>
                </c:pt>
                <c:pt idx="2689">
                  <c:v>0.66253546009394637</c:v>
                </c:pt>
                <c:pt idx="2690">
                  <c:v>0.6121306034477052</c:v>
                </c:pt>
                <c:pt idx="2691">
                  <c:v>0.5536338627133669</c:v>
                </c:pt>
                <c:pt idx="2692">
                  <c:v>0.48369786763205158</c:v>
                </c:pt>
                <c:pt idx="2693">
                  <c:v>0.42321011081203369</c:v>
                </c:pt>
                <c:pt idx="2694">
                  <c:v>0.40960940153741782</c:v>
                </c:pt>
                <c:pt idx="2695">
                  <c:v>0.42789229077016322</c:v>
                </c:pt>
                <c:pt idx="2696">
                  <c:v>0.47489174822892655</c:v>
                </c:pt>
                <c:pt idx="2697">
                  <c:v>0.52235567988852216</c:v>
                </c:pt>
                <c:pt idx="2698">
                  <c:v>0.55471153280273378</c:v>
                </c:pt>
                <c:pt idx="2699">
                  <c:v>0.56147576918266939</c:v>
                </c:pt>
                <c:pt idx="2700">
                  <c:v>0.55238698536626152</c:v>
                </c:pt>
                <c:pt idx="2701">
                  <c:v>0.53930556036674127</c:v>
                </c:pt>
                <c:pt idx="2702">
                  <c:v>0.5241775703171716</c:v>
                </c:pt>
                <c:pt idx="2703">
                  <c:v>0.50738925714511385</c:v>
                </c:pt>
                <c:pt idx="2704">
                  <c:v>0.50784942673291944</c:v>
                </c:pt>
                <c:pt idx="2705">
                  <c:v>0.50841955509766013</c:v>
                </c:pt>
                <c:pt idx="2706">
                  <c:v>0.50916770788745291</c:v>
                </c:pt>
                <c:pt idx="2707">
                  <c:v>0.5134040003240774</c:v>
                </c:pt>
                <c:pt idx="2708">
                  <c:v>0.5134040003240774</c:v>
                </c:pt>
                <c:pt idx="2709">
                  <c:v>0.51612305694389404</c:v>
                </c:pt>
                <c:pt idx="2710">
                  <c:v>0.52544687054482442</c:v>
                </c:pt>
                <c:pt idx="2711">
                  <c:v>0.53756881705444903</c:v>
                </c:pt>
                <c:pt idx="2712">
                  <c:v>0.55262278339825699</c:v>
                </c:pt>
                <c:pt idx="2713">
                  <c:v>0.55474807758667932</c:v>
                </c:pt>
                <c:pt idx="2714">
                  <c:v>0.55070383935405121</c:v>
                </c:pt>
                <c:pt idx="2715">
                  <c:v>0.54357821323790456</c:v>
                </c:pt>
                <c:pt idx="2716">
                  <c:v>0.53907891323320145</c:v>
                </c:pt>
                <c:pt idx="2717">
                  <c:v>0.53692229486740806</c:v>
                </c:pt>
                <c:pt idx="2718">
                  <c:v>0.5376054618439482</c:v>
                </c:pt>
                <c:pt idx="2719">
                  <c:v>0.54053318915837001</c:v>
                </c:pt>
                <c:pt idx="2720">
                  <c:v>0.54095706063962423</c:v>
                </c:pt>
                <c:pt idx="2721">
                  <c:v>0.54305528512423129</c:v>
                </c:pt>
                <c:pt idx="2722">
                  <c:v>0.54663432419350577</c:v>
                </c:pt>
                <c:pt idx="2723">
                  <c:v>0.54886966600128828</c:v>
                </c:pt>
                <c:pt idx="2724">
                  <c:v>0.54130504844347049</c:v>
                </c:pt>
                <c:pt idx="2725">
                  <c:v>0.51622334292818917</c:v>
                </c:pt>
                <c:pt idx="2726">
                  <c:v>0.47068721445175982</c:v>
                </c:pt>
                <c:pt idx="2727">
                  <c:v>0.40133914162666851</c:v>
                </c:pt>
                <c:pt idx="2728">
                  <c:v>0.32213761543548769</c:v>
                </c:pt>
                <c:pt idx="2729">
                  <c:v>0.2713797383902114</c:v>
                </c:pt>
                <c:pt idx="2730">
                  <c:v>0.23931817575948983</c:v>
                </c:pt>
                <c:pt idx="2731">
                  <c:v>0.21257188697056148</c:v>
                </c:pt>
                <c:pt idx="2732">
                  <c:v>0.1820036275132729</c:v>
                </c:pt>
                <c:pt idx="2733">
                  <c:v>0.16229817933528609</c:v>
                </c:pt>
                <c:pt idx="2734">
                  <c:v>0.18752192013586583</c:v>
                </c:pt>
                <c:pt idx="2735">
                  <c:v>0.22389310548503508</c:v>
                </c:pt>
                <c:pt idx="2736">
                  <c:v>0.26508467113468565</c:v>
                </c:pt>
                <c:pt idx="2737">
                  <c:v>0.32812091717883879</c:v>
                </c:pt>
                <c:pt idx="2738">
                  <c:v>0.37691171694010733</c:v>
                </c:pt>
                <c:pt idx="2739">
                  <c:v>0.41529537363211605</c:v>
                </c:pt>
                <c:pt idx="2740">
                  <c:v>0.45332589213716878</c:v>
                </c:pt>
                <c:pt idx="2741">
                  <c:v>0.52716177890403848</c:v>
                </c:pt>
                <c:pt idx="2742">
                  <c:v>0.5839779176024823</c:v>
                </c:pt>
                <c:pt idx="2743">
                  <c:v>0.62349740086597361</c:v>
                </c:pt>
                <c:pt idx="2744">
                  <c:v>0.65802448615474096</c:v>
                </c:pt>
                <c:pt idx="2745">
                  <c:v>0.66697267133934823</c:v>
                </c:pt>
                <c:pt idx="2746">
                  <c:v>0.6665160972182913</c:v>
                </c:pt>
                <c:pt idx="2747">
                  <c:v>0.66455820610541927</c:v>
                </c:pt>
                <c:pt idx="2748">
                  <c:v>0.66180775230377631</c:v>
                </c:pt>
                <c:pt idx="2749">
                  <c:v>0.65684193002727509</c:v>
                </c:pt>
                <c:pt idx="2750">
                  <c:v>0.65702125329350602</c:v>
                </c:pt>
                <c:pt idx="2751">
                  <c:v>0.66184726871353217</c:v>
                </c:pt>
                <c:pt idx="2752">
                  <c:v>0.66814927457172035</c:v>
                </c:pt>
                <c:pt idx="2753">
                  <c:v>0.67471708019018695</c:v>
                </c:pt>
                <c:pt idx="2754">
                  <c:v>0.6786938516040224</c:v>
                </c:pt>
                <c:pt idx="2755">
                  <c:v>0.68235002578154536</c:v>
                </c:pt>
                <c:pt idx="2756">
                  <c:v>0.68751650557984667</c:v>
                </c:pt>
                <c:pt idx="2757">
                  <c:v>0.69526359763546697</c:v>
                </c:pt>
                <c:pt idx="2758">
                  <c:v>0.70027112802043201</c:v>
                </c:pt>
                <c:pt idx="2759">
                  <c:v>0.70099783825834971</c:v>
                </c:pt>
                <c:pt idx="2760">
                  <c:v>0.70099783825834971</c:v>
                </c:pt>
                <c:pt idx="2761">
                  <c:v>0.69817783260391253</c:v>
                </c:pt>
                <c:pt idx="2762">
                  <c:v>0.6987657769755613</c:v>
                </c:pt>
                <c:pt idx="2763">
                  <c:v>0.6958522817225804</c:v>
                </c:pt>
                <c:pt idx="2764">
                  <c:v>0.69630154632241714</c:v>
                </c:pt>
                <c:pt idx="2765">
                  <c:v>0.69828580960441566</c:v>
                </c:pt>
                <c:pt idx="2766">
                  <c:v>0.70514275207414656</c:v>
                </c:pt>
                <c:pt idx="2767">
                  <c:v>0.70819055907893247</c:v>
                </c:pt>
                <c:pt idx="2768">
                  <c:v>0.70820574130274827</c:v>
                </c:pt>
                <c:pt idx="2769">
                  <c:v>0.70588266760391494</c:v>
                </c:pt>
                <c:pt idx="2770">
                  <c:v>0.69432749626402224</c:v>
                </c:pt>
                <c:pt idx="2771">
                  <c:v>0.65186282078674496</c:v>
                </c:pt>
                <c:pt idx="2772">
                  <c:v>0.60337812067478547</c:v>
                </c:pt>
                <c:pt idx="2773">
                  <c:v>0.56336308379944311</c:v>
                </c:pt>
                <c:pt idx="2774">
                  <c:v>0.52026318611716815</c:v>
                </c:pt>
                <c:pt idx="2775">
                  <c:v>0.51428969721130868</c:v>
                </c:pt>
                <c:pt idx="2776">
                  <c:v>0.52703710758034494</c:v>
                </c:pt>
                <c:pt idx="2777">
                  <c:v>0.54459034184827437</c:v>
                </c:pt>
                <c:pt idx="2778">
                  <c:v>0.56651300430103901</c:v>
                </c:pt>
                <c:pt idx="2779">
                  <c:v>0.61514383535722927</c:v>
                </c:pt>
                <c:pt idx="2780">
                  <c:v>0.65702956517217626</c:v>
                </c:pt>
                <c:pt idx="2781">
                  <c:v>0.67590119244943747</c:v>
                </c:pt>
                <c:pt idx="2782">
                  <c:v>0.68331248116927368</c:v>
                </c:pt>
                <c:pt idx="2783">
                  <c:v>0.66359719233936565</c:v>
                </c:pt>
                <c:pt idx="2784">
                  <c:v>0.65881745626157207</c:v>
                </c:pt>
                <c:pt idx="2785">
                  <c:v>0.65881745626157207</c:v>
                </c:pt>
                <c:pt idx="2786">
                  <c:v>0.6569498959212976</c:v>
                </c:pt>
                <c:pt idx="2787">
                  <c:v>0.64514351359590816</c:v>
                </c:pt>
                <c:pt idx="2788">
                  <c:v>0.62716699268651199</c:v>
                </c:pt>
                <c:pt idx="2789">
                  <c:v>0.60745273561889068</c:v>
                </c:pt>
                <c:pt idx="2790">
                  <c:v>0.59726285558973102</c:v>
                </c:pt>
                <c:pt idx="2791">
                  <c:v>0.6020023266550566</c:v>
                </c:pt>
                <c:pt idx="2792">
                  <c:v>0.61216384121521106</c:v>
                </c:pt>
                <c:pt idx="2793">
                  <c:v>0.63345499487131818</c:v>
                </c:pt>
                <c:pt idx="2794">
                  <c:v>0.65521860183919012</c:v>
                </c:pt>
                <c:pt idx="2795">
                  <c:v>0.67403095119071177</c:v>
                </c:pt>
                <c:pt idx="2796">
                  <c:v>0.6771318018164596</c:v>
                </c:pt>
                <c:pt idx="2797">
                  <c:v>0.66940218721855715</c:v>
                </c:pt>
                <c:pt idx="2798">
                  <c:v>0.68344811037878583</c:v>
                </c:pt>
                <c:pt idx="2799">
                  <c:v>0.71039272842660306</c:v>
                </c:pt>
                <c:pt idx="2800">
                  <c:v>0.73976188946264521</c:v>
                </c:pt>
                <c:pt idx="2801">
                  <c:v>0.76706215346540241</c:v>
                </c:pt>
                <c:pt idx="2802">
                  <c:v>0.79142112369754491</c:v>
                </c:pt>
                <c:pt idx="2803">
                  <c:v>0.81410715821646706</c:v>
                </c:pt>
                <c:pt idx="2804">
                  <c:v>0.83492023269483973</c:v>
                </c:pt>
                <c:pt idx="2805">
                  <c:v>0.85249575877525974</c:v>
                </c:pt>
                <c:pt idx="2806">
                  <c:v>0.86720667820574093</c:v>
                </c:pt>
                <c:pt idx="2807">
                  <c:v>0.87249090577667232</c:v>
                </c:pt>
                <c:pt idx="2808">
                  <c:v>0.87532392923484392</c:v>
                </c:pt>
                <c:pt idx="2809">
                  <c:v>0.86728641018915609</c:v>
                </c:pt>
                <c:pt idx="2810">
                  <c:v>0.86563952389509968</c:v>
                </c:pt>
                <c:pt idx="2811">
                  <c:v>0.87035712887603001</c:v>
                </c:pt>
                <c:pt idx="2812">
                  <c:v>0.87362796194743975</c:v>
                </c:pt>
                <c:pt idx="2813">
                  <c:v>0.88011661093469107</c:v>
                </c:pt>
                <c:pt idx="2814">
                  <c:v>0.86351230929528577</c:v>
                </c:pt>
                <c:pt idx="2815">
                  <c:v>0.83841920566183947</c:v>
                </c:pt>
                <c:pt idx="2816">
                  <c:v>0.80900849153186916</c:v>
                </c:pt>
                <c:pt idx="2817">
                  <c:v>0.78993730405523044</c:v>
                </c:pt>
                <c:pt idx="2818">
                  <c:v>0.78522934624498697</c:v>
                </c:pt>
                <c:pt idx="2819">
                  <c:v>0.79457394974570295</c:v>
                </c:pt>
                <c:pt idx="2820">
                  <c:v>0.80413893746046949</c:v>
                </c:pt>
                <c:pt idx="2821">
                  <c:v>0.80304743548786328</c:v>
                </c:pt>
                <c:pt idx="2822">
                  <c:v>0.8021133192992902</c:v>
                </c:pt>
                <c:pt idx="2823">
                  <c:v>0.80142950697246362</c:v>
                </c:pt>
                <c:pt idx="2824">
                  <c:v>0.80085131622958805</c:v>
                </c:pt>
                <c:pt idx="2825">
                  <c:v>0.80029206985385193</c:v>
                </c:pt>
                <c:pt idx="2826">
                  <c:v>0.81061607743979613</c:v>
                </c:pt>
                <c:pt idx="2827">
                  <c:v>0.84222797303693731</c:v>
                </c:pt>
                <c:pt idx="2828">
                  <c:v>0.86475413717672167</c:v>
                </c:pt>
                <c:pt idx="2829">
                  <c:v>0.87614690248233884</c:v>
                </c:pt>
                <c:pt idx="2830">
                  <c:v>0.88213609576246732</c:v>
                </c:pt>
                <c:pt idx="2831">
                  <c:v>0.88295526272896729</c:v>
                </c:pt>
                <c:pt idx="2832">
                  <c:v>0.87851325151161241</c:v>
                </c:pt>
                <c:pt idx="2833">
                  <c:v>0.86839636452891</c:v>
                </c:pt>
                <c:pt idx="2834">
                  <c:v>0.85160662497325113</c:v>
                </c:pt>
                <c:pt idx="2835">
                  <c:v>0.82939881271585048</c:v>
                </c:pt>
                <c:pt idx="2836">
                  <c:v>0.79937715921203012</c:v>
                </c:pt>
                <c:pt idx="2837">
                  <c:v>0.77869714693347458</c:v>
                </c:pt>
                <c:pt idx="2838">
                  <c:v>0.75535974592763055</c:v>
                </c:pt>
                <c:pt idx="2839">
                  <c:v>0.72474355523281475</c:v>
                </c:pt>
                <c:pt idx="2840">
                  <c:v>0.67460249456379806</c:v>
                </c:pt>
                <c:pt idx="2841">
                  <c:v>0.61310470919990623</c:v>
                </c:pt>
                <c:pt idx="2842">
                  <c:v>0.5421710771464674</c:v>
                </c:pt>
                <c:pt idx="2843">
                  <c:v>0.47442649756161376</c:v>
                </c:pt>
                <c:pt idx="2844">
                  <c:v>0.40856582107685174</c:v>
                </c:pt>
                <c:pt idx="2845">
                  <c:v>0.34207227695290793</c:v>
                </c:pt>
                <c:pt idx="2846">
                  <c:v>0.30083844795356146</c:v>
                </c:pt>
                <c:pt idx="2847">
                  <c:v>0.29493352813708479</c:v>
                </c:pt>
                <c:pt idx="2848">
                  <c:v>0.31058921054917982</c:v>
                </c:pt>
                <c:pt idx="2849">
                  <c:v>0.31542838531496548</c:v>
                </c:pt>
                <c:pt idx="2850">
                  <c:v>0.31314746203833366</c:v>
                </c:pt>
                <c:pt idx="2851">
                  <c:v>0.31063354235167223</c:v>
                </c:pt>
                <c:pt idx="2852">
                  <c:v>0.31041360076286889</c:v>
                </c:pt>
                <c:pt idx="2853">
                  <c:v>0.3087990697069759</c:v>
                </c:pt>
                <c:pt idx="2854">
                  <c:v>0.30907829947770626</c:v>
                </c:pt>
                <c:pt idx="2855">
                  <c:v>0.30604173097846388</c:v>
                </c:pt>
                <c:pt idx="2856">
                  <c:v>0.30513513100246542</c:v>
                </c:pt>
                <c:pt idx="2857">
                  <c:v>0.31367917815516816</c:v>
                </c:pt>
                <c:pt idx="2858">
                  <c:v>0.33523259045855447</c:v>
                </c:pt>
                <c:pt idx="2859">
                  <c:v>0.35140097881109855</c:v>
                </c:pt>
                <c:pt idx="2860">
                  <c:v>0.36300072929203281</c:v>
                </c:pt>
                <c:pt idx="2861">
                  <c:v>0.41843297430869775</c:v>
                </c:pt>
                <c:pt idx="2862">
                  <c:v>0.4862668045205949</c:v>
                </c:pt>
                <c:pt idx="2863">
                  <c:v>0.54824177172895394</c:v>
                </c:pt>
                <c:pt idx="2864">
                  <c:v>0.59272195575758591</c:v>
                </c:pt>
                <c:pt idx="2865">
                  <c:v>0.62670247627134357</c:v>
                </c:pt>
                <c:pt idx="2866">
                  <c:v>0.65097964467850111</c:v>
                </c:pt>
                <c:pt idx="2867">
                  <c:v>0.67380783614527262</c:v>
                </c:pt>
                <c:pt idx="2868">
                  <c:v>0.70191082387868631</c:v>
                </c:pt>
                <c:pt idx="2869">
                  <c:v>0.72613236438686746</c:v>
                </c:pt>
                <c:pt idx="2870">
                  <c:v>0.73479372302774681</c:v>
                </c:pt>
                <c:pt idx="2871">
                  <c:v>0.72574875884588286</c:v>
                </c:pt>
                <c:pt idx="2872">
                  <c:v>0.71296066810803782</c:v>
                </c:pt>
                <c:pt idx="2873">
                  <c:v>0.7080630713497309</c:v>
                </c:pt>
                <c:pt idx="2874">
                  <c:v>0.70193354698226218</c:v>
                </c:pt>
                <c:pt idx="2875">
                  <c:v>0.7034858495350399</c:v>
                </c:pt>
                <c:pt idx="2876">
                  <c:v>0.70209180292557849</c:v>
                </c:pt>
                <c:pt idx="2877">
                  <c:v>0.70489229109756502</c:v>
                </c:pt>
                <c:pt idx="2878">
                  <c:v>0.7102739577044449</c:v>
                </c:pt>
                <c:pt idx="2879">
                  <c:v>0.70813337386702491</c:v>
                </c:pt>
                <c:pt idx="2880">
                  <c:v>0.68989924072405728</c:v>
                </c:pt>
                <c:pt idx="2881">
                  <c:v>0.66824642362424591</c:v>
                </c:pt>
                <c:pt idx="2882">
                  <c:v>0.64131530217964994</c:v>
                </c:pt>
                <c:pt idx="2883">
                  <c:v>0.60798135910216555</c:v>
                </c:pt>
                <c:pt idx="2884">
                  <c:v>0.55808538088118997</c:v>
                </c:pt>
                <c:pt idx="2885">
                  <c:v>0.5120450812065932</c:v>
                </c:pt>
                <c:pt idx="2886">
                  <c:v>0.49468868033598024</c:v>
                </c:pt>
                <c:pt idx="2887">
                  <c:v>0.53632153232532287</c:v>
                </c:pt>
                <c:pt idx="2888">
                  <c:v>0.59355621792442537</c:v>
                </c:pt>
                <c:pt idx="2889">
                  <c:v>0.64369917219185757</c:v>
                </c:pt>
                <c:pt idx="2890">
                  <c:v>0.68834057305810781</c:v>
                </c:pt>
                <c:pt idx="2891">
                  <c:v>0.72913657112209951</c:v>
                </c:pt>
                <c:pt idx="2892">
                  <c:v>0.75748199966584084</c:v>
                </c:pt>
                <c:pt idx="2893">
                  <c:v>0.77568608338997991</c:v>
                </c:pt>
                <c:pt idx="2894">
                  <c:v>0.78994547957083627</c:v>
                </c:pt>
                <c:pt idx="2895">
                  <c:v>0.79979015238566997</c:v>
                </c:pt>
                <c:pt idx="2896">
                  <c:v>0.80872685836878466</c:v>
                </c:pt>
                <c:pt idx="2897">
                  <c:v>0.80728750820188799</c:v>
                </c:pt>
                <c:pt idx="2898">
                  <c:v>0.7861495459104787</c:v>
                </c:pt>
                <c:pt idx="2899">
                  <c:v>0.75945897322879563</c:v>
                </c:pt>
                <c:pt idx="2900">
                  <c:v>0.73058649543731413</c:v>
                </c:pt>
                <c:pt idx="2901">
                  <c:v>0.71288623252470484</c:v>
                </c:pt>
                <c:pt idx="2902">
                  <c:v>0.70687644940677008</c:v>
                </c:pt>
                <c:pt idx="2903">
                  <c:v>0.70561709408098494</c:v>
                </c:pt>
                <c:pt idx="2904">
                  <c:v>0.71511738541938985</c:v>
                </c:pt>
                <c:pt idx="2905">
                  <c:v>0.72232359447212191</c:v>
                </c:pt>
                <c:pt idx="2906">
                  <c:v>0.73529588610074648</c:v>
                </c:pt>
                <c:pt idx="2907">
                  <c:v>0.74104066207299057</c:v>
                </c:pt>
                <c:pt idx="2908">
                  <c:v>0.74032312827263547</c:v>
                </c:pt>
                <c:pt idx="2909">
                  <c:v>0.73952592851019017</c:v>
                </c:pt>
                <c:pt idx="2910">
                  <c:v>0.73989423161095647</c:v>
                </c:pt>
                <c:pt idx="2911">
                  <c:v>0.72841948335248907</c:v>
                </c:pt>
                <c:pt idx="2912">
                  <c:v>0.69376322696238868</c:v>
                </c:pt>
                <c:pt idx="2913">
                  <c:v>0.66034381291853705</c:v>
                </c:pt>
                <c:pt idx="2914">
                  <c:v>0.62112862239731592</c:v>
                </c:pt>
                <c:pt idx="2915">
                  <c:v>0.61422520999363195</c:v>
                </c:pt>
                <c:pt idx="2916">
                  <c:v>0.61398784812517604</c:v>
                </c:pt>
                <c:pt idx="2917">
                  <c:v>0.60657835596818377</c:v>
                </c:pt>
                <c:pt idx="2918">
                  <c:v>0.60657835596818377</c:v>
                </c:pt>
                <c:pt idx="2919">
                  <c:v>0.60657835596818377</c:v>
                </c:pt>
                <c:pt idx="2920">
                  <c:v>0.60657835596818377</c:v>
                </c:pt>
                <c:pt idx="2921">
                  <c:v>0.60657835596818377</c:v>
                </c:pt>
                <c:pt idx="2922">
                  <c:v>0.60178225232492055</c:v>
                </c:pt>
                <c:pt idx="2923">
                  <c:v>0.58879672328139543</c:v>
                </c:pt>
                <c:pt idx="2924">
                  <c:v>0.57402690789518784</c:v>
                </c:pt>
                <c:pt idx="2925">
                  <c:v>0.55785599582120848</c:v>
                </c:pt>
                <c:pt idx="2926">
                  <c:v>0.540551664330152</c:v>
                </c:pt>
                <c:pt idx="2927">
                  <c:v>0.52633645529940742</c:v>
                </c:pt>
                <c:pt idx="2928">
                  <c:v>0.52346594150389258</c:v>
                </c:pt>
                <c:pt idx="2929">
                  <c:v>0.52185723079009216</c:v>
                </c:pt>
                <c:pt idx="2930">
                  <c:v>0.53474866733535509</c:v>
                </c:pt>
                <c:pt idx="2931">
                  <c:v>0.54502231854323202</c:v>
                </c:pt>
                <c:pt idx="2932">
                  <c:v>0.54250534969350006</c:v>
                </c:pt>
                <c:pt idx="2933">
                  <c:v>0.51966197302399708</c:v>
                </c:pt>
                <c:pt idx="2934">
                  <c:v>0.49333402274559013</c:v>
                </c:pt>
                <c:pt idx="2935">
                  <c:v>0.46973020214321848</c:v>
                </c:pt>
                <c:pt idx="2936">
                  <c:v>0.45698189102716935</c:v>
                </c:pt>
                <c:pt idx="2937">
                  <c:v>0.45633736233902067</c:v>
                </c:pt>
                <c:pt idx="2938">
                  <c:v>0.46990174090420561</c:v>
                </c:pt>
                <c:pt idx="2939">
                  <c:v>0.4773358074990352</c:v>
                </c:pt>
                <c:pt idx="2940">
                  <c:v>0.49930209452527374</c:v>
                </c:pt>
                <c:pt idx="2941">
                  <c:v>0.52827456929227268</c:v>
                </c:pt>
                <c:pt idx="2942">
                  <c:v>0.56208265644179989</c:v>
                </c:pt>
                <c:pt idx="2943">
                  <c:v>0.59516472062098769</c:v>
                </c:pt>
                <c:pt idx="2944">
                  <c:v>0.61400225822482624</c:v>
                </c:pt>
                <c:pt idx="2945">
                  <c:v>0.62861872882866265</c:v>
                </c:pt>
                <c:pt idx="2946">
                  <c:v>0.63931288283168408</c:v>
                </c:pt>
                <c:pt idx="2947">
                  <c:v>0.63678164344916444</c:v>
                </c:pt>
                <c:pt idx="2948">
                  <c:v>0.60412056194006625</c:v>
                </c:pt>
                <c:pt idx="2949">
                  <c:v>0.56467293597254908</c:v>
                </c:pt>
                <c:pt idx="2950">
                  <c:v>0.5193252414491879</c:v>
                </c:pt>
                <c:pt idx="2951">
                  <c:v>0.47717055513973927</c:v>
                </c:pt>
                <c:pt idx="2952">
                  <c:v>0.45378826338427541</c:v>
                </c:pt>
                <c:pt idx="2953">
                  <c:v>0.46825525904313958</c:v>
                </c:pt>
                <c:pt idx="2954">
                  <c:v>0.49796533973994578</c:v>
                </c:pt>
                <c:pt idx="2955">
                  <c:v>0.52328215725697258</c:v>
                </c:pt>
                <c:pt idx="2956">
                  <c:v>0.55909220417092986</c:v>
                </c:pt>
                <c:pt idx="2957">
                  <c:v>0.59440000785720193</c:v>
                </c:pt>
                <c:pt idx="2958">
                  <c:v>0.62474039416292926</c:v>
                </c:pt>
                <c:pt idx="2959">
                  <c:v>0.6438396531027869</c:v>
                </c:pt>
                <c:pt idx="2960">
                  <c:v>0.65889623163843292</c:v>
                </c:pt>
                <c:pt idx="2961">
                  <c:v>0.67976232346940202</c:v>
                </c:pt>
                <c:pt idx="2962">
                  <c:v>0.69952829677499195</c:v>
                </c:pt>
                <c:pt idx="2963">
                  <c:v>0.72088597800943544</c:v>
                </c:pt>
                <c:pt idx="2964">
                  <c:v>0.73792976287112344</c:v>
                </c:pt>
                <c:pt idx="2965">
                  <c:v>0.74933221285781793</c:v>
                </c:pt>
                <c:pt idx="2966">
                  <c:v>0.75742400562042478</c:v>
                </c:pt>
                <c:pt idx="2967">
                  <c:v>0.76735039607250277</c:v>
                </c:pt>
                <c:pt idx="2968">
                  <c:v>0.76784685757732374</c:v>
                </c:pt>
                <c:pt idx="2969">
                  <c:v>0.76903621448472759</c:v>
                </c:pt>
                <c:pt idx="2970">
                  <c:v>0.74834248909066958</c:v>
                </c:pt>
                <c:pt idx="2971">
                  <c:v>0.72754508361990722</c:v>
                </c:pt>
                <c:pt idx="2972">
                  <c:v>0.69711691452094859</c:v>
                </c:pt>
                <c:pt idx="2973">
                  <c:v>0.65733632236840511</c:v>
                </c:pt>
                <c:pt idx="2974">
                  <c:v>0.63562595702622271</c:v>
                </c:pt>
                <c:pt idx="2975">
                  <c:v>0.61565263962576355</c:v>
                </c:pt>
                <c:pt idx="2976">
                  <c:v>0.59905110686686558</c:v>
                </c:pt>
                <c:pt idx="2977">
                  <c:v>0.60262937514848647</c:v>
                </c:pt>
                <c:pt idx="2978">
                  <c:v>0.62316836020625577</c:v>
                </c:pt>
                <c:pt idx="2979">
                  <c:v>0.65599713453317599</c:v>
                </c:pt>
                <c:pt idx="2980">
                  <c:v>0.70088609287055315</c:v>
                </c:pt>
                <c:pt idx="2981">
                  <c:v>0.73628497758926348</c:v>
                </c:pt>
                <c:pt idx="2982">
                  <c:v>0.76061351378960496</c:v>
                </c:pt>
                <c:pt idx="2983">
                  <c:v>0.76722319513828896</c:v>
                </c:pt>
                <c:pt idx="2984">
                  <c:v>0.76373051498078581</c:v>
                </c:pt>
                <c:pt idx="2985">
                  <c:v>0.75832442204848971</c:v>
                </c:pt>
                <c:pt idx="2986">
                  <c:v>0.74231697092509885</c:v>
                </c:pt>
                <c:pt idx="2987">
                  <c:v>0.7339103820540096</c:v>
                </c:pt>
                <c:pt idx="2988">
                  <c:v>0.73055943864945294</c:v>
                </c:pt>
                <c:pt idx="2989">
                  <c:v>0.74066786235379189</c:v>
                </c:pt>
                <c:pt idx="2990">
                  <c:v>0.74994721307343004</c:v>
                </c:pt>
                <c:pt idx="2991">
                  <c:v>0.75148491525520011</c:v>
                </c:pt>
                <c:pt idx="2992">
                  <c:v>0.75148491525520011</c:v>
                </c:pt>
                <c:pt idx="2993">
                  <c:v>0.75168218715357693</c:v>
                </c:pt>
                <c:pt idx="2994">
                  <c:v>0.753999331616379</c:v>
                </c:pt>
                <c:pt idx="2995">
                  <c:v>0.75721376872879587</c:v>
                </c:pt>
                <c:pt idx="2996">
                  <c:v>0.75806040042619272</c:v>
                </c:pt>
                <c:pt idx="2997">
                  <c:v>0.75191363273022105</c:v>
                </c:pt>
                <c:pt idx="2998">
                  <c:v>0.74317644474208255</c:v>
                </c:pt>
                <c:pt idx="2999">
                  <c:v>0.73132199996552127</c:v>
                </c:pt>
                <c:pt idx="3000">
                  <c:v>0.73041738887375085</c:v>
                </c:pt>
                <c:pt idx="3001">
                  <c:v>0.72867150248059775</c:v>
                </c:pt>
                <c:pt idx="3002">
                  <c:v>0.73850956087805086</c:v>
                </c:pt>
                <c:pt idx="3003">
                  <c:v>0.74837742433870791</c:v>
                </c:pt>
                <c:pt idx="3004">
                  <c:v>0.74965186692550856</c:v>
                </c:pt>
                <c:pt idx="3005">
                  <c:v>0.74698124042640046</c:v>
                </c:pt>
                <c:pt idx="3006">
                  <c:v>0.73914883813149879</c:v>
                </c:pt>
                <c:pt idx="3007">
                  <c:v>0.71587236652159258</c:v>
                </c:pt>
                <c:pt idx="3008">
                  <c:v>0.67833251112186377</c:v>
                </c:pt>
                <c:pt idx="3009">
                  <c:v>0.6233072913257468</c:v>
                </c:pt>
                <c:pt idx="3010">
                  <c:v>0.55706956725580037</c:v>
                </c:pt>
                <c:pt idx="3011">
                  <c:v>0.48917899333021486</c:v>
                </c:pt>
                <c:pt idx="3012">
                  <c:v>0.41347914315777073</c:v>
                </c:pt>
                <c:pt idx="3013">
                  <c:v>0.35163012931285892</c:v>
                </c:pt>
                <c:pt idx="3014">
                  <c:v>0.29694852756291351</c:v>
                </c:pt>
                <c:pt idx="3015">
                  <c:v>0.26489795739613808</c:v>
                </c:pt>
                <c:pt idx="3016">
                  <c:v>0.29705035336259278</c:v>
                </c:pt>
                <c:pt idx="3017">
                  <c:v>0.35457780602882649</c:v>
                </c:pt>
                <c:pt idx="3018">
                  <c:v>0.39384657646187404</c:v>
                </c:pt>
                <c:pt idx="3019">
                  <c:v>0.39085083754525007</c:v>
                </c:pt>
                <c:pt idx="3020">
                  <c:v>0.38980078961690195</c:v>
                </c:pt>
                <c:pt idx="3021">
                  <c:v>0.38980078961690195</c:v>
                </c:pt>
                <c:pt idx="3022">
                  <c:v>0.38974930715352879</c:v>
                </c:pt>
                <c:pt idx="3023">
                  <c:v>0.38932220205395873</c:v>
                </c:pt>
                <c:pt idx="3024">
                  <c:v>0.38605338877025991</c:v>
                </c:pt>
                <c:pt idx="3025">
                  <c:v>0.38173251664704438</c:v>
                </c:pt>
                <c:pt idx="3026">
                  <c:v>0.3799450863056828</c:v>
                </c:pt>
                <c:pt idx="3027">
                  <c:v>0.37994757300209114</c:v>
                </c:pt>
                <c:pt idx="3028">
                  <c:v>0.38233998108117462</c:v>
                </c:pt>
                <c:pt idx="3029">
                  <c:v>0.38996172033818899</c:v>
                </c:pt>
                <c:pt idx="3030">
                  <c:v>0.40548715480987763</c:v>
                </c:pt>
                <c:pt idx="3031">
                  <c:v>0.42645563071082582</c:v>
                </c:pt>
                <c:pt idx="3032">
                  <c:v>0.43351066726307569</c:v>
                </c:pt>
                <c:pt idx="3033">
                  <c:v>0.43380077392159816</c:v>
                </c:pt>
                <c:pt idx="3034">
                  <c:v>0.43304349739113607</c:v>
                </c:pt>
                <c:pt idx="3035">
                  <c:v>0.4311822189845711</c:v>
                </c:pt>
                <c:pt idx="3036">
                  <c:v>0.44034673824678894</c:v>
                </c:pt>
                <c:pt idx="3037">
                  <c:v>0.46303215431772404</c:v>
                </c:pt>
                <c:pt idx="3038">
                  <c:v>0.49339263920922982</c:v>
                </c:pt>
                <c:pt idx="3039">
                  <c:v>0.51838610174278354</c:v>
                </c:pt>
                <c:pt idx="3040">
                  <c:v>0.52491472946690898</c:v>
                </c:pt>
                <c:pt idx="3041">
                  <c:v>0.51353983755563504</c:v>
                </c:pt>
                <c:pt idx="3042">
                  <c:v>0.50314455594785568</c:v>
                </c:pt>
                <c:pt idx="3043">
                  <c:v>0.49234535549911951</c:v>
                </c:pt>
                <c:pt idx="3044">
                  <c:v>0.49067365214708586</c:v>
                </c:pt>
                <c:pt idx="3045">
                  <c:v>0.49088519071039405</c:v>
                </c:pt>
                <c:pt idx="3046">
                  <c:v>0.4873920340885417</c:v>
                </c:pt>
                <c:pt idx="3047">
                  <c:v>0.47710397230817486</c:v>
                </c:pt>
                <c:pt idx="3048">
                  <c:v>0.46870525312128997</c:v>
                </c:pt>
                <c:pt idx="3049">
                  <c:v>0.46654404358422236</c:v>
                </c:pt>
                <c:pt idx="3050">
                  <c:v>0.44876361857488833</c:v>
                </c:pt>
                <c:pt idx="3051">
                  <c:v>0.43051765447686774</c:v>
                </c:pt>
                <c:pt idx="3052">
                  <c:v>0.41443846663313488</c:v>
                </c:pt>
                <c:pt idx="3053">
                  <c:v>0.39603401881979539</c:v>
                </c:pt>
                <c:pt idx="3054">
                  <c:v>0.37998213474356524</c:v>
                </c:pt>
                <c:pt idx="3055">
                  <c:v>0.36655583554284371</c:v>
                </c:pt>
                <c:pt idx="3056">
                  <c:v>0.35804689180567778</c:v>
                </c:pt>
                <c:pt idx="3057">
                  <c:v>0.36201211582954423</c:v>
                </c:pt>
                <c:pt idx="3058">
                  <c:v>0.38147880348067881</c:v>
                </c:pt>
                <c:pt idx="3059">
                  <c:v>0.39721453213138663</c:v>
                </c:pt>
                <c:pt idx="3060">
                  <c:v>0.40243742129043369</c:v>
                </c:pt>
                <c:pt idx="3061">
                  <c:v>0.39731320245605489</c:v>
                </c:pt>
                <c:pt idx="3062">
                  <c:v>0.39923968620225225</c:v>
                </c:pt>
                <c:pt idx="3063">
                  <c:v>0.41045061753735534</c:v>
                </c:pt>
                <c:pt idx="3064">
                  <c:v>0.43506154221556853</c:v>
                </c:pt>
                <c:pt idx="3065">
                  <c:v>0.45271218041892441</c:v>
                </c:pt>
                <c:pt idx="3066">
                  <c:v>0.46370895597028283</c:v>
                </c:pt>
                <c:pt idx="3067">
                  <c:v>0.48922699349440568</c:v>
                </c:pt>
                <c:pt idx="3068">
                  <c:v>0.50831866514745838</c:v>
                </c:pt>
                <c:pt idx="3069">
                  <c:v>0.5191409295281143</c:v>
                </c:pt>
                <c:pt idx="3070">
                  <c:v>0.54325010276522867</c:v>
                </c:pt>
                <c:pt idx="3071">
                  <c:v>0.56988363035629641</c:v>
                </c:pt>
                <c:pt idx="3072">
                  <c:v>0.59143790424335452</c:v>
                </c:pt>
                <c:pt idx="3073">
                  <c:v>0.60721586772216152</c:v>
                </c:pt>
                <c:pt idx="3074">
                  <c:v>0.63433655241361231</c:v>
                </c:pt>
                <c:pt idx="3075">
                  <c:v>0.65614396975421108</c:v>
                </c:pt>
                <c:pt idx="3076">
                  <c:v>0.67472218534673023</c:v>
                </c:pt>
                <c:pt idx="3077">
                  <c:v>0.6828915771902716</c:v>
                </c:pt>
                <c:pt idx="3078">
                  <c:v>0.69115287280227788</c:v>
                </c:pt>
                <c:pt idx="3079">
                  <c:v>0.69287461972165365</c:v>
                </c:pt>
                <c:pt idx="3080">
                  <c:v>0.68618002934725697</c:v>
                </c:pt>
                <c:pt idx="3081">
                  <c:v>0.67122391557549554</c:v>
                </c:pt>
                <c:pt idx="3082">
                  <c:v>0.65067599490100214</c:v>
                </c:pt>
                <c:pt idx="3083">
                  <c:v>0.63037620934138583</c:v>
                </c:pt>
                <c:pt idx="3084">
                  <c:v>0.61942810947960192</c:v>
                </c:pt>
                <c:pt idx="3085">
                  <c:v>0.61011581689220606</c:v>
                </c:pt>
                <c:pt idx="3086">
                  <c:v>0.58990453657942632</c:v>
                </c:pt>
                <c:pt idx="3087">
                  <c:v>0.55381463427367483</c:v>
                </c:pt>
                <c:pt idx="3088">
                  <c:v>0.50604515882186407</c:v>
                </c:pt>
                <c:pt idx="3089">
                  <c:v>0.45292825709762125</c:v>
                </c:pt>
                <c:pt idx="3090">
                  <c:v>0.40626840421605914</c:v>
                </c:pt>
                <c:pt idx="3091">
                  <c:v>0.39020793837670525</c:v>
                </c:pt>
                <c:pt idx="3092">
                  <c:v>0.38813117163956612</c:v>
                </c:pt>
                <c:pt idx="3093">
                  <c:v>0.39264526724894772</c:v>
                </c:pt>
                <c:pt idx="3094">
                  <c:v>0.39984247765508563</c:v>
                </c:pt>
                <c:pt idx="3095">
                  <c:v>0.40333141851726972</c:v>
                </c:pt>
                <c:pt idx="3096">
                  <c:v>0.40550115966384492</c:v>
                </c:pt>
                <c:pt idx="3097">
                  <c:v>0.40451583459065582</c:v>
                </c:pt>
                <c:pt idx="3098">
                  <c:v>0.40244290504072971</c:v>
                </c:pt>
                <c:pt idx="3099">
                  <c:v>0.40823931074615516</c:v>
                </c:pt>
                <c:pt idx="3100">
                  <c:v>0.41441811937421014</c:v>
                </c:pt>
                <c:pt idx="3101">
                  <c:v>0.41991110144615107</c:v>
                </c:pt>
                <c:pt idx="3102">
                  <c:v>0.43511708682982386</c:v>
                </c:pt>
                <c:pt idx="3103">
                  <c:v>0.44998092358979153</c:v>
                </c:pt>
                <c:pt idx="3104">
                  <c:v>0.46857853427176138</c:v>
                </c:pt>
                <c:pt idx="3105">
                  <c:v>0.50672027297582589</c:v>
                </c:pt>
                <c:pt idx="3106">
                  <c:v>0.55399502166080994</c:v>
                </c:pt>
                <c:pt idx="3107">
                  <c:v>0.58723544562781027</c:v>
                </c:pt>
                <c:pt idx="3108">
                  <c:v>0.61049539555275889</c:v>
                </c:pt>
                <c:pt idx="3109">
                  <c:v>0.62821707700528584</c:v>
                </c:pt>
                <c:pt idx="3110">
                  <c:v>0.64405290833430351</c:v>
                </c:pt>
                <c:pt idx="3111">
                  <c:v>0.65134075240888967</c:v>
                </c:pt>
                <c:pt idx="3112">
                  <c:v>0.65311430270638204</c:v>
                </c:pt>
                <c:pt idx="3113">
                  <c:v>0.66088407364479795</c:v>
                </c:pt>
                <c:pt idx="3114">
                  <c:v>0.67260290519972155</c:v>
                </c:pt>
                <c:pt idx="3115">
                  <c:v>0.68453963255174244</c:v>
                </c:pt>
                <c:pt idx="3116">
                  <c:v>0.69294862482296848</c:v>
                </c:pt>
                <c:pt idx="3117">
                  <c:v>0.69719450381601789</c:v>
                </c:pt>
                <c:pt idx="3118">
                  <c:v>0.6974643135783466</c:v>
                </c:pt>
                <c:pt idx="3119">
                  <c:v>0.69592823881027077</c:v>
                </c:pt>
                <c:pt idx="3120">
                  <c:v>0.69296896013612164</c:v>
                </c:pt>
                <c:pt idx="3121">
                  <c:v>0.69034012478321416</c:v>
                </c:pt>
                <c:pt idx="3122">
                  <c:v>0.69109289314914701</c:v>
                </c:pt>
                <c:pt idx="3123">
                  <c:v>0.68902418391353171</c:v>
                </c:pt>
                <c:pt idx="3124">
                  <c:v>0.68424345316495472</c:v>
                </c:pt>
                <c:pt idx="3125">
                  <c:v>0.68863920207024787</c:v>
                </c:pt>
                <c:pt idx="3126">
                  <c:v>0.69459436677159037</c:v>
                </c:pt>
                <c:pt idx="3127">
                  <c:v>0.70583740502892889</c:v>
                </c:pt>
                <c:pt idx="3128">
                  <c:v>0.71898339213019902</c:v>
                </c:pt>
                <c:pt idx="3129">
                  <c:v>0.73468540439193009</c:v>
                </c:pt>
                <c:pt idx="3130">
                  <c:v>0.74940333720105612</c:v>
                </c:pt>
                <c:pt idx="3131">
                  <c:v>0.75185190559326653</c:v>
                </c:pt>
                <c:pt idx="3132">
                  <c:v>0.75118756685511268</c:v>
                </c:pt>
                <c:pt idx="3133">
                  <c:v>0.75167902228810024</c:v>
                </c:pt>
                <c:pt idx="3134">
                  <c:v>0.75484503683348325</c:v>
                </c:pt>
                <c:pt idx="3135">
                  <c:v>0.74330349586724898</c:v>
                </c:pt>
                <c:pt idx="3136">
                  <c:v>0.72122203911606686</c:v>
                </c:pt>
                <c:pt idx="3137">
                  <c:v>0.70578055653641625</c:v>
                </c:pt>
                <c:pt idx="3138">
                  <c:v>0.69221567397294215</c:v>
                </c:pt>
                <c:pt idx="3139">
                  <c:v>0.70149166036948019</c:v>
                </c:pt>
                <c:pt idx="3140">
                  <c:v>0.70688342461140374</c:v>
                </c:pt>
                <c:pt idx="3141">
                  <c:v>0.71908325791587213</c:v>
                </c:pt>
                <c:pt idx="3142">
                  <c:v>0.72836783280884498</c:v>
                </c:pt>
                <c:pt idx="3143">
                  <c:v>0.72176848078615841</c:v>
                </c:pt>
                <c:pt idx="3144">
                  <c:v>0.70810682099034583</c:v>
                </c:pt>
                <c:pt idx="3145">
                  <c:v>0.69954323258121087</c:v>
                </c:pt>
                <c:pt idx="3146">
                  <c:v>0.69883544559598432</c:v>
                </c:pt>
                <c:pt idx="3147">
                  <c:v>0.70129933818772372</c:v>
                </c:pt>
                <c:pt idx="3148">
                  <c:v>0.70733636631302388</c:v>
                </c:pt>
                <c:pt idx="3149">
                  <c:v>0.71354053131961559</c:v>
                </c:pt>
                <c:pt idx="3150">
                  <c:v>0.70961334297901235</c:v>
                </c:pt>
                <c:pt idx="3151">
                  <c:v>0.7010383837018842</c:v>
                </c:pt>
                <c:pt idx="3152">
                  <c:v>0.68908218334340621</c:v>
                </c:pt>
                <c:pt idx="3153">
                  <c:v>0.67537478765363712</c:v>
                </c:pt>
                <c:pt idx="3154">
                  <c:v>0.66281536262180651</c:v>
                </c:pt>
                <c:pt idx="3155">
                  <c:v>0.64495609185411817</c:v>
                </c:pt>
                <c:pt idx="3156">
                  <c:v>0.62647663626678929</c:v>
                </c:pt>
                <c:pt idx="3157">
                  <c:v>0.61028335720756788</c:v>
                </c:pt>
                <c:pt idx="3158">
                  <c:v>0.59136789142273027</c:v>
                </c:pt>
                <c:pt idx="3159">
                  <c:v>0.57561092035380712</c:v>
                </c:pt>
                <c:pt idx="3160">
                  <c:v>0.55920082448180519</c:v>
                </c:pt>
                <c:pt idx="3161">
                  <c:v>0.57244490125582348</c:v>
                </c:pt>
                <c:pt idx="3162">
                  <c:v>0.59292116405199657</c:v>
                </c:pt>
                <c:pt idx="3163">
                  <c:v>0.60990299039618612</c:v>
                </c:pt>
                <c:pt idx="3164">
                  <c:v>0.61860261427108854</c:v>
                </c:pt>
                <c:pt idx="3165">
                  <c:v>0.62657894746164511</c:v>
                </c:pt>
                <c:pt idx="3166">
                  <c:v>0.62835802481056013</c:v>
                </c:pt>
                <c:pt idx="3167">
                  <c:v>0.62731169089041394</c:v>
                </c:pt>
                <c:pt idx="3168">
                  <c:v>0.63128177745253022</c:v>
                </c:pt>
                <c:pt idx="3169">
                  <c:v>0.62375657770213666</c:v>
                </c:pt>
                <c:pt idx="3170">
                  <c:v>0.61667375601099339</c:v>
                </c:pt>
                <c:pt idx="3171">
                  <c:v>0.60807377581875799</c:v>
                </c:pt>
                <c:pt idx="3172">
                  <c:v>0.5992148125435186</c:v>
                </c:pt>
                <c:pt idx="3173">
                  <c:v>0.60742381505329657</c:v>
                </c:pt>
                <c:pt idx="3174">
                  <c:v>0.61242360793001882</c:v>
                </c:pt>
                <c:pt idx="3175">
                  <c:v>0.60601590794389115</c:v>
                </c:pt>
                <c:pt idx="3176">
                  <c:v>0.60689560355672711</c:v>
                </c:pt>
                <c:pt idx="3177">
                  <c:v>0.60587850186986603</c:v>
                </c:pt>
                <c:pt idx="3178">
                  <c:v>0.6083383272759082</c:v>
                </c:pt>
                <c:pt idx="3179">
                  <c:v>0.61688958280306116</c:v>
                </c:pt>
                <c:pt idx="3180">
                  <c:v>0.63832523682504227</c:v>
                </c:pt>
                <c:pt idx="3181">
                  <c:v>0.66272006001292572</c:v>
                </c:pt>
                <c:pt idx="3182">
                  <c:v>0.67409148158775845</c:v>
                </c:pt>
                <c:pt idx="3183">
                  <c:v>0.68438526350194961</c:v>
                </c:pt>
                <c:pt idx="3184">
                  <c:v>0.68442457597234407</c:v>
                </c:pt>
                <c:pt idx="3185">
                  <c:v>0.6865321300574645</c:v>
                </c:pt>
                <c:pt idx="3186">
                  <c:v>0.69271426083311449</c:v>
                </c:pt>
                <c:pt idx="3187">
                  <c:v>0.71441990816257361</c:v>
                </c:pt>
                <c:pt idx="3188">
                  <c:v>0.73070307347607288</c:v>
                </c:pt>
                <c:pt idx="3189">
                  <c:v>0.73745203419844385</c:v>
                </c:pt>
                <c:pt idx="3190">
                  <c:v>0.73348833605688335</c:v>
                </c:pt>
                <c:pt idx="3191">
                  <c:v>0.71092573817968874</c:v>
                </c:pt>
                <c:pt idx="3192">
                  <c:v>0.68093041454304259</c:v>
                </c:pt>
                <c:pt idx="3193">
                  <c:v>0.65095759564204791</c:v>
                </c:pt>
                <c:pt idx="3194">
                  <c:v>0.6284728904751079</c:v>
                </c:pt>
                <c:pt idx="3195">
                  <c:v>0.60957579769419268</c:v>
                </c:pt>
                <c:pt idx="3196">
                  <c:v>0.59805020739896708</c:v>
                </c:pt>
                <c:pt idx="3197">
                  <c:v>0.58961026363548885</c:v>
                </c:pt>
                <c:pt idx="3198">
                  <c:v>0.59414582145381245</c:v>
                </c:pt>
                <c:pt idx="3199">
                  <c:v>0.59577561781949184</c:v>
                </c:pt>
                <c:pt idx="3200">
                  <c:v>0.59918628714967392</c:v>
                </c:pt>
                <c:pt idx="3201">
                  <c:v>0.60378701257150946</c:v>
                </c:pt>
                <c:pt idx="3202">
                  <c:v>0.60977267397186152</c:v>
                </c:pt>
                <c:pt idx="3203">
                  <c:v>0.63072869834551559</c:v>
                </c:pt>
                <c:pt idx="3204">
                  <c:v>0.65104288065981275</c:v>
                </c:pt>
                <c:pt idx="3205">
                  <c:v>0.66837874193381097</c:v>
                </c:pt>
                <c:pt idx="3206">
                  <c:v>0.66541571688028078</c:v>
                </c:pt>
                <c:pt idx="3207">
                  <c:v>0.66204096599837059</c:v>
                </c:pt>
                <c:pt idx="3208">
                  <c:v>0.65126942577313773</c:v>
                </c:pt>
                <c:pt idx="3209">
                  <c:v>0.62867420503141658</c:v>
                </c:pt>
                <c:pt idx="3210">
                  <c:v>0.6036097415200633</c:v>
                </c:pt>
                <c:pt idx="3211">
                  <c:v>0.58152818286072705</c:v>
                </c:pt>
                <c:pt idx="3212">
                  <c:v>0.58262056351279545</c:v>
                </c:pt>
                <c:pt idx="3213">
                  <c:v>0.58820546749561387</c:v>
                </c:pt>
                <c:pt idx="3214">
                  <c:v>0.60117425361736132</c:v>
                </c:pt>
                <c:pt idx="3215">
                  <c:v>0.60901010956992652</c:v>
                </c:pt>
                <c:pt idx="3216">
                  <c:v>0.60929439064380142</c:v>
                </c:pt>
                <c:pt idx="3217">
                  <c:v>0.59317411682401233</c:v>
                </c:pt>
                <c:pt idx="3218">
                  <c:v>0.57310813343810652</c:v>
                </c:pt>
                <c:pt idx="3219">
                  <c:v>0.56416180558374251</c:v>
                </c:pt>
                <c:pt idx="3220">
                  <c:v>0.56456428062880393</c:v>
                </c:pt>
                <c:pt idx="3221">
                  <c:v>0.56850092339961511</c:v>
                </c:pt>
                <c:pt idx="3222">
                  <c:v>0.57522495181189737</c:v>
                </c:pt>
                <c:pt idx="3223">
                  <c:v>0.58228091477437494</c:v>
                </c:pt>
                <c:pt idx="3224">
                  <c:v>0.58069829423450292</c:v>
                </c:pt>
                <c:pt idx="3225">
                  <c:v>0.57503649546908919</c:v>
                </c:pt>
                <c:pt idx="3226">
                  <c:v>0.57003362215216113</c:v>
                </c:pt>
                <c:pt idx="3227">
                  <c:v>0.57100615529302023</c:v>
                </c:pt>
                <c:pt idx="3228">
                  <c:v>0.5987011839669556</c:v>
                </c:pt>
                <c:pt idx="3229">
                  <c:v>0.63948064386083925</c:v>
                </c:pt>
                <c:pt idx="3230">
                  <c:v>0.67714073053477974</c:v>
                </c:pt>
                <c:pt idx="3231">
                  <c:v>0.71043471726552121</c:v>
                </c:pt>
                <c:pt idx="3232">
                  <c:v>0.74010481024739405</c:v>
                </c:pt>
                <c:pt idx="3233">
                  <c:v>0.75755638152652516</c:v>
                </c:pt>
                <c:pt idx="3234">
                  <c:v>0.77371749841115789</c:v>
                </c:pt>
                <c:pt idx="3235">
                  <c:v>0.7830409619732237</c:v>
                </c:pt>
                <c:pt idx="3236">
                  <c:v>0.78875974015696271</c:v>
                </c:pt>
                <c:pt idx="3237">
                  <c:v>0.78587728871704221</c:v>
                </c:pt>
                <c:pt idx="3238">
                  <c:v>0.77909479013368299</c:v>
                </c:pt>
                <c:pt idx="3239">
                  <c:v>0.7801487497663786</c:v>
                </c:pt>
                <c:pt idx="3240">
                  <c:v>0.78184536099028279</c:v>
                </c:pt>
                <c:pt idx="3241">
                  <c:v>0.77821587368970346</c:v>
                </c:pt>
                <c:pt idx="3242">
                  <c:v>0.76922014951426765</c:v>
                </c:pt>
                <c:pt idx="3243">
                  <c:v>0.7750690106105641</c:v>
                </c:pt>
                <c:pt idx="3244">
                  <c:v>0.78419830755397646</c:v>
                </c:pt>
                <c:pt idx="3245">
                  <c:v>0.79394647305006705</c:v>
                </c:pt>
                <c:pt idx="3246">
                  <c:v>0.79084207284623853</c:v>
                </c:pt>
                <c:pt idx="3247">
                  <c:v>0.77630031530237964</c:v>
                </c:pt>
                <c:pt idx="3248">
                  <c:v>0.77523664935901815</c:v>
                </c:pt>
                <c:pt idx="3249">
                  <c:v>0.76616319363245855</c:v>
                </c:pt>
                <c:pt idx="3250">
                  <c:v>0.75456776586117913</c:v>
                </c:pt>
                <c:pt idx="3251">
                  <c:v>0.73954498607662933</c:v>
                </c:pt>
                <c:pt idx="3252">
                  <c:v>0.71875167091468628</c:v>
                </c:pt>
                <c:pt idx="3253">
                  <c:v>0.69410338629622426</c:v>
                </c:pt>
                <c:pt idx="3254">
                  <c:v>0.6746941093083253</c:v>
                </c:pt>
                <c:pt idx="3255">
                  <c:v>0.66377126269548725</c:v>
                </c:pt>
                <c:pt idx="3256">
                  <c:v>0.65475922349286586</c:v>
                </c:pt>
                <c:pt idx="3257">
                  <c:v>0.65262949349244614</c:v>
                </c:pt>
                <c:pt idx="3258">
                  <c:v>0.65217528427878046</c:v>
                </c:pt>
                <c:pt idx="3259">
                  <c:v>0.64686268826846971</c:v>
                </c:pt>
                <c:pt idx="3260">
                  <c:v>0.64244762408443712</c:v>
                </c:pt>
                <c:pt idx="3261">
                  <c:v>0.63699974361022793</c:v>
                </c:pt>
                <c:pt idx="3262">
                  <c:v>0.62909655483496052</c:v>
                </c:pt>
                <c:pt idx="3263">
                  <c:v>0.61899038867532186</c:v>
                </c:pt>
                <c:pt idx="3264">
                  <c:v>0.61899038867532186</c:v>
                </c:pt>
                <c:pt idx="3265">
                  <c:v>0.61705192677734877</c:v>
                </c:pt>
                <c:pt idx="3266">
                  <c:v>0.61703032826686166</c:v>
                </c:pt>
                <c:pt idx="3267">
                  <c:v>0.61659757701629947</c:v>
                </c:pt>
                <c:pt idx="3268">
                  <c:v>0.61794113560661834</c:v>
                </c:pt>
                <c:pt idx="3269">
                  <c:v>0.61859818529808763</c:v>
                </c:pt>
                <c:pt idx="3270">
                  <c:v>0.62053204365794701</c:v>
                </c:pt>
                <c:pt idx="3271">
                  <c:v>0.6178218252772687</c:v>
                </c:pt>
                <c:pt idx="3272">
                  <c:v>0.60153871803701431</c:v>
                </c:pt>
                <c:pt idx="3273">
                  <c:v>0.5407131778578872</c:v>
                </c:pt>
                <c:pt idx="3274">
                  <c:v>0.47088535453527497</c:v>
                </c:pt>
                <c:pt idx="3275">
                  <c:v>0.38791581752179616</c:v>
                </c:pt>
                <c:pt idx="3276">
                  <c:v>0.35277368054688002</c:v>
                </c:pt>
                <c:pt idx="3277">
                  <c:v>0.37659804727447543</c:v>
                </c:pt>
                <c:pt idx="3278">
                  <c:v>0.40016760810080915</c:v>
                </c:pt>
                <c:pt idx="3279">
                  <c:v>0.46311352795517069</c:v>
                </c:pt>
                <c:pt idx="3280">
                  <c:v>0.51958681430130071</c:v>
                </c:pt>
                <c:pt idx="3281">
                  <c:v>0.54424313462238805</c:v>
                </c:pt>
                <c:pt idx="3282">
                  <c:v>0.54261466054116414</c:v>
                </c:pt>
                <c:pt idx="3283">
                  <c:v>0.52567865752576504</c:v>
                </c:pt>
                <c:pt idx="3284">
                  <c:v>0.51874435440337185</c:v>
                </c:pt>
                <c:pt idx="3285">
                  <c:v>0.50251416312224884</c:v>
                </c:pt>
                <c:pt idx="3286">
                  <c:v>0.48445893758250519</c:v>
                </c:pt>
                <c:pt idx="3287">
                  <c:v>0.4806475256561088</c:v>
                </c:pt>
                <c:pt idx="3288">
                  <c:v>0.47490856913398394</c:v>
                </c:pt>
                <c:pt idx="3289">
                  <c:v>0.47462119924804719</c:v>
                </c:pt>
                <c:pt idx="3290">
                  <c:v>0.47463573035366952</c:v>
                </c:pt>
                <c:pt idx="3291">
                  <c:v>0.47666148703104216</c:v>
                </c:pt>
                <c:pt idx="3292">
                  <c:v>0.48280819099614691</c:v>
                </c:pt>
                <c:pt idx="3293">
                  <c:v>0.48456075637615992</c:v>
                </c:pt>
                <c:pt idx="3294">
                  <c:v>0.45744289629757007</c:v>
                </c:pt>
                <c:pt idx="3295">
                  <c:v>0.4396469898965274</c:v>
                </c:pt>
                <c:pt idx="3296">
                  <c:v>0.42514103435515121</c:v>
                </c:pt>
                <c:pt idx="3297">
                  <c:v>0.4233167917519437</c:v>
                </c:pt>
                <c:pt idx="3298">
                  <c:v>0.42339607475513702</c:v>
                </c:pt>
                <c:pt idx="3299">
                  <c:v>0.42338549059811947</c:v>
                </c:pt>
                <c:pt idx="3300">
                  <c:v>0.42398961292518328</c:v>
                </c:pt>
                <c:pt idx="3301">
                  <c:v>0.42775848834831476</c:v>
                </c:pt>
                <c:pt idx="3302">
                  <c:v>0.42961649564899035</c:v>
                </c:pt>
                <c:pt idx="3303">
                  <c:v>0.42436231616306758</c:v>
                </c:pt>
                <c:pt idx="3304">
                  <c:v>0.41372534664290961</c:v>
                </c:pt>
                <c:pt idx="3305">
                  <c:v>0.40906621646058189</c:v>
                </c:pt>
                <c:pt idx="3306">
                  <c:v>0.41078559059902131</c:v>
                </c:pt>
                <c:pt idx="3307">
                  <c:v>0.44304031008962402</c:v>
                </c:pt>
                <c:pt idx="3308">
                  <c:v>0.47305298011476687</c:v>
                </c:pt>
                <c:pt idx="3309">
                  <c:v>0.47996494163172809</c:v>
                </c:pt>
                <c:pt idx="3310">
                  <c:v>0.47794855172268214</c:v>
                </c:pt>
                <c:pt idx="3311">
                  <c:v>0.48352061002591656</c:v>
                </c:pt>
                <c:pt idx="3312">
                  <c:v>0.48451655750007128</c:v>
                </c:pt>
                <c:pt idx="3313">
                  <c:v>0.49042674323983471</c:v>
                </c:pt>
                <c:pt idx="3314">
                  <c:v>0.49361220832901676</c:v>
                </c:pt>
                <c:pt idx="3315">
                  <c:v>0.50568184301650632</c:v>
                </c:pt>
                <c:pt idx="3316">
                  <c:v>0.5286001319389142</c:v>
                </c:pt>
                <c:pt idx="3317">
                  <c:v>0.5449159982388635</c:v>
                </c:pt>
                <c:pt idx="3318">
                  <c:v>0.56440678201169303</c:v>
                </c:pt>
                <c:pt idx="3319">
                  <c:v>0.5820693809051104</c:v>
                </c:pt>
                <c:pt idx="3320">
                  <c:v>0.59750514822832668</c:v>
                </c:pt>
                <c:pt idx="3321">
                  <c:v>0.61138377671486543</c:v>
                </c:pt>
                <c:pt idx="3322">
                  <c:v>0.62700928562301816</c:v>
                </c:pt>
                <c:pt idx="3323">
                  <c:v>0.64712662145344424</c:v>
                </c:pt>
                <c:pt idx="3324">
                  <c:v>0.66663082094579018</c:v>
                </c:pt>
                <c:pt idx="3325">
                  <c:v>0.68437364765826036</c:v>
                </c:pt>
                <c:pt idx="3326">
                  <c:v>0.70056535266289377</c:v>
                </c:pt>
                <c:pt idx="3327">
                  <c:v>0.71049388002206992</c:v>
                </c:pt>
                <c:pt idx="3328">
                  <c:v>0.7102496219275265</c:v>
                </c:pt>
                <c:pt idx="3329">
                  <c:v>0.71090849884326601</c:v>
                </c:pt>
                <c:pt idx="3330">
                  <c:v>0.71481102906934746</c:v>
                </c:pt>
                <c:pt idx="3331">
                  <c:v>0.71825458042722667</c:v>
                </c:pt>
                <c:pt idx="3332">
                  <c:v>0.72741315930988815</c:v>
                </c:pt>
                <c:pt idx="3333">
                  <c:v>0.75540425789280652</c:v>
                </c:pt>
                <c:pt idx="3334">
                  <c:v>0.78392121884677612</c:v>
                </c:pt>
                <c:pt idx="3335">
                  <c:v>0.804817061017846</c:v>
                </c:pt>
                <c:pt idx="3336">
                  <c:v>0.82305233541476519</c:v>
                </c:pt>
                <c:pt idx="3337">
                  <c:v>0.81821395784150019</c:v>
                </c:pt>
                <c:pt idx="3338">
                  <c:v>0.8068183361414708</c:v>
                </c:pt>
                <c:pt idx="3339">
                  <c:v>0.78965036710040781</c:v>
                </c:pt>
                <c:pt idx="3340">
                  <c:v>0.76975979083711532</c:v>
                </c:pt>
                <c:pt idx="3341">
                  <c:v>0.74529463971553955</c:v>
                </c:pt>
                <c:pt idx="3342">
                  <c:v>0.74954010466298981</c:v>
                </c:pt>
                <c:pt idx="3343">
                  <c:v>0.75274890203141598</c:v>
                </c:pt>
                <c:pt idx="3344">
                  <c:v>0.76256627882363504</c:v>
                </c:pt>
                <c:pt idx="3345">
                  <c:v>0.76916672394698171</c:v>
                </c:pt>
                <c:pt idx="3346">
                  <c:v>0.76973438994461085</c:v>
                </c:pt>
                <c:pt idx="3347">
                  <c:v>0.76864377391640559</c:v>
                </c:pt>
                <c:pt idx="3348">
                  <c:v>0.75940579122544094</c:v>
                </c:pt>
                <c:pt idx="3349">
                  <c:v>0.75273112188646552</c:v>
                </c:pt>
                <c:pt idx="3350">
                  <c:v>0.74767630878730473</c:v>
                </c:pt>
                <c:pt idx="3351">
                  <c:v>0.74151977161251115</c:v>
                </c:pt>
                <c:pt idx="3352">
                  <c:v>0.73034789629765062</c:v>
                </c:pt>
                <c:pt idx="3353">
                  <c:v>0.71343769417933822</c:v>
                </c:pt>
                <c:pt idx="3354">
                  <c:v>0.69821516161753305</c:v>
                </c:pt>
                <c:pt idx="3355">
                  <c:v>0.6839414384095448</c:v>
                </c:pt>
                <c:pt idx="3356">
                  <c:v>0.66984399088512236</c:v>
                </c:pt>
                <c:pt idx="3357">
                  <c:v>0.66246028198690032</c:v>
                </c:pt>
                <c:pt idx="3358">
                  <c:v>0.68136497418856357</c:v>
                </c:pt>
                <c:pt idx="3359">
                  <c:v>0.6999490805688755</c:v>
                </c:pt>
                <c:pt idx="3360">
                  <c:v>0.71711481667159471</c:v>
                </c:pt>
                <c:pt idx="3361">
                  <c:v>0.73203826781268799</c:v>
                </c:pt>
                <c:pt idx="3362">
                  <c:v>0.73461218646295878</c:v>
                </c:pt>
                <c:pt idx="3363">
                  <c:v>0.72115877913328208</c:v>
                </c:pt>
                <c:pt idx="3364">
                  <c:v>0.7046022847310045</c:v>
                </c:pt>
                <c:pt idx="3365">
                  <c:v>0.69310052133139244</c:v>
                </c:pt>
                <c:pt idx="3366">
                  <c:v>0.70211268196999388</c:v>
                </c:pt>
                <c:pt idx="3367">
                  <c:v>0.70944414582196746</c:v>
                </c:pt>
                <c:pt idx="3368">
                  <c:v>0.71201906848519991</c:v>
                </c:pt>
                <c:pt idx="3369">
                  <c:v>0.71463729308126256</c:v>
                </c:pt>
                <c:pt idx="3370">
                  <c:v>0.7170465855370487</c:v>
                </c:pt>
                <c:pt idx="3371">
                  <c:v>0.71731593059702448</c:v>
                </c:pt>
                <c:pt idx="3372">
                  <c:v>0.71826526221885778</c:v>
                </c:pt>
                <c:pt idx="3373">
                  <c:v>0.71685927395223992</c:v>
                </c:pt>
                <c:pt idx="3374">
                  <c:v>0.71774734678688445</c:v>
                </c:pt>
                <c:pt idx="3375">
                  <c:v>0.71878166533398857</c:v>
                </c:pt>
                <c:pt idx="3376">
                  <c:v>0.71381281812129371</c:v>
                </c:pt>
                <c:pt idx="3377">
                  <c:v>0.69910995771431284</c:v>
                </c:pt>
                <c:pt idx="3378">
                  <c:v>0.68886707223797428</c:v>
                </c:pt>
                <c:pt idx="3379">
                  <c:v>0.68122866967995865</c:v>
                </c:pt>
                <c:pt idx="3380">
                  <c:v>0.66912631388566424</c:v>
                </c:pt>
                <c:pt idx="3381">
                  <c:v>0.66101806089823922</c:v>
                </c:pt>
                <c:pt idx="3382">
                  <c:v>0.65697589921946009</c:v>
                </c:pt>
                <c:pt idx="3383">
                  <c:v>0.65491021137374383</c:v>
                </c:pt>
                <c:pt idx="3384">
                  <c:v>0.65509770668676115</c:v>
                </c:pt>
                <c:pt idx="3385">
                  <c:v>0.65414744389167978</c:v>
                </c:pt>
                <c:pt idx="3386">
                  <c:v>0.65064853501557651</c:v>
                </c:pt>
                <c:pt idx="3387">
                  <c:v>0.64376752124269032</c:v>
                </c:pt>
                <c:pt idx="3388">
                  <c:v>0.6267112672876326</c:v>
                </c:pt>
                <c:pt idx="3389">
                  <c:v>0.60722489301691884</c:v>
                </c:pt>
                <c:pt idx="3390">
                  <c:v>0.58557462775101321</c:v>
                </c:pt>
                <c:pt idx="3391">
                  <c:v>0.5608749392768867</c:v>
                </c:pt>
                <c:pt idx="3392">
                  <c:v>0.54745013531788234</c:v>
                </c:pt>
                <c:pt idx="3393">
                  <c:v>0.54780561575261844</c:v>
                </c:pt>
                <c:pt idx="3394">
                  <c:v>0.54765097679998664</c:v>
                </c:pt>
                <c:pt idx="3395">
                  <c:v>0.54362156352510604</c:v>
                </c:pt>
                <c:pt idx="3396">
                  <c:v>0.50781487196005648</c:v>
                </c:pt>
                <c:pt idx="3397">
                  <c:v>0.46335009809039535</c:v>
                </c:pt>
                <c:pt idx="3398">
                  <c:v>0.42360357323510395</c:v>
                </c:pt>
                <c:pt idx="3399">
                  <c:v>0.38220924056413236</c:v>
                </c:pt>
                <c:pt idx="3400">
                  <c:v>0.33038893711024658</c:v>
                </c:pt>
                <c:pt idx="3401">
                  <c:v>0.31893268391864432</c:v>
                </c:pt>
                <c:pt idx="3402">
                  <c:v>0.32583341079097106</c:v>
                </c:pt>
                <c:pt idx="3403">
                  <c:v>0.33002611821999184</c:v>
                </c:pt>
                <c:pt idx="3404">
                  <c:v>0.32114783589897161</c:v>
                </c:pt>
                <c:pt idx="3405">
                  <c:v>0.30375724975704071</c:v>
                </c:pt>
                <c:pt idx="3406">
                  <c:v>0.28485834899042062</c:v>
                </c:pt>
                <c:pt idx="3407">
                  <c:v>0.26130069288500629</c:v>
                </c:pt>
                <c:pt idx="3408">
                  <c:v>0.25748888597960351</c:v>
                </c:pt>
                <c:pt idx="3409">
                  <c:v>0.25773699695856012</c:v>
                </c:pt>
                <c:pt idx="3410">
                  <c:v>0.25703991777651519</c:v>
                </c:pt>
                <c:pt idx="3411">
                  <c:v>0.25794849897444921</c:v>
                </c:pt>
                <c:pt idx="3412">
                  <c:v>0.27163305179233765</c:v>
                </c:pt>
                <c:pt idx="3413">
                  <c:v>0.29038400607668274</c:v>
                </c:pt>
                <c:pt idx="3414">
                  <c:v>0.33346142164614606</c:v>
                </c:pt>
                <c:pt idx="3415">
                  <c:v>0.39579448509575094</c:v>
                </c:pt>
                <c:pt idx="3416">
                  <c:v>0.43528993764998092</c:v>
                </c:pt>
                <c:pt idx="3417">
                  <c:v>0.4451591254164815</c:v>
                </c:pt>
                <c:pt idx="3418">
                  <c:v>0.45168664194631752</c:v>
                </c:pt>
                <c:pt idx="3419">
                  <c:v>0.45432075713799797</c:v>
                </c:pt>
                <c:pt idx="3420">
                  <c:v>0.45420208444052329</c:v>
                </c:pt>
                <c:pt idx="3421">
                  <c:v>0.45548514656805994</c:v>
                </c:pt>
                <c:pt idx="3422">
                  <c:v>0.46248300209270327</c:v>
                </c:pt>
                <c:pt idx="3423">
                  <c:v>0.46873184775713</c:v>
                </c:pt>
                <c:pt idx="3424">
                  <c:v>0.47289129518835554</c:v>
                </c:pt>
                <c:pt idx="3425">
                  <c:v>0.47502800925319205</c:v>
                </c:pt>
                <c:pt idx="3426">
                  <c:v>0.47918789759936053</c:v>
                </c:pt>
                <c:pt idx="3427">
                  <c:v>0.48156650241110432</c:v>
                </c:pt>
                <c:pt idx="3428">
                  <c:v>0.47999734923204501</c:v>
                </c:pt>
                <c:pt idx="3429">
                  <c:v>0.47849462147403715</c:v>
                </c:pt>
                <c:pt idx="3430">
                  <c:v>0.47808375140590947</c:v>
                </c:pt>
                <c:pt idx="3431">
                  <c:v>0.4741526804956272</c:v>
                </c:pt>
                <c:pt idx="3432">
                  <c:v>0.46509326541049023</c:v>
                </c:pt>
                <c:pt idx="3433">
                  <c:v>0.45920936540238366</c:v>
                </c:pt>
                <c:pt idx="3434">
                  <c:v>0.45331326325529148</c:v>
                </c:pt>
                <c:pt idx="3435">
                  <c:v>0.44623809959118071</c:v>
                </c:pt>
                <c:pt idx="3436">
                  <c:v>0.43145154901344174</c:v>
                </c:pt>
                <c:pt idx="3437">
                  <c:v>0.42687901159545294</c:v>
                </c:pt>
                <c:pt idx="3438">
                  <c:v>0.42417705303582054</c:v>
                </c:pt>
                <c:pt idx="3439">
                  <c:v>0.42950827016362458</c:v>
                </c:pt>
                <c:pt idx="3440">
                  <c:v>0.43934298938160482</c:v>
                </c:pt>
                <c:pt idx="3441">
                  <c:v>0.45017992720180944</c:v>
                </c:pt>
                <c:pt idx="3442">
                  <c:v>0.44827517053864335</c:v>
                </c:pt>
                <c:pt idx="3443">
                  <c:v>0.44405228770567806</c:v>
                </c:pt>
                <c:pt idx="3444">
                  <c:v>0.41481097850658705</c:v>
                </c:pt>
                <c:pt idx="3445">
                  <c:v>0.34708183439289125</c:v>
                </c:pt>
                <c:pt idx="3446">
                  <c:v>0.27588641261222813</c:v>
                </c:pt>
                <c:pt idx="3447">
                  <c:v>0.24085870164988701</c:v>
                </c:pt>
                <c:pt idx="3448">
                  <c:v>0.22414099619033306</c:v>
                </c:pt>
                <c:pt idx="3449">
                  <c:v>0.27261454967609566</c:v>
                </c:pt>
                <c:pt idx="3450">
                  <c:v>0.34199944458121234</c:v>
                </c:pt>
                <c:pt idx="3451">
                  <c:v>0.41430730987655146</c:v>
                </c:pt>
                <c:pt idx="3452">
                  <c:v>0.46720249279141407</c:v>
                </c:pt>
                <c:pt idx="3453">
                  <c:v>0.5078073683417148</c:v>
                </c:pt>
                <c:pt idx="3454">
                  <c:v>0.51807847421260789</c:v>
                </c:pt>
                <c:pt idx="3455">
                  <c:v>0.52726512332067255</c:v>
                </c:pt>
                <c:pt idx="3456">
                  <c:v>0.52250196867379406</c:v>
                </c:pt>
                <c:pt idx="3457">
                  <c:v>0.52368045264465657</c:v>
                </c:pt>
                <c:pt idx="3458">
                  <c:v>0.53629658927016599</c:v>
                </c:pt>
                <c:pt idx="3459">
                  <c:v>0.5506076510128326</c:v>
                </c:pt>
                <c:pt idx="3460">
                  <c:v>0.57162540466860556</c:v>
                </c:pt>
                <c:pt idx="3461">
                  <c:v>0.59021850382380125</c:v>
                </c:pt>
                <c:pt idx="3462">
                  <c:v>0.60987421737779568</c:v>
                </c:pt>
                <c:pt idx="3463">
                  <c:v>0.62135082365487848</c:v>
                </c:pt>
                <c:pt idx="3464">
                  <c:v>0.62360312253889161</c:v>
                </c:pt>
                <c:pt idx="3465">
                  <c:v>0.62211599762684155</c:v>
                </c:pt>
                <c:pt idx="3466">
                  <c:v>0.62905559674028189</c:v>
                </c:pt>
                <c:pt idx="3467">
                  <c:v>0.64445371839760635</c:v>
                </c:pt>
                <c:pt idx="3468">
                  <c:v>0.65831757907428545</c:v>
                </c:pt>
                <c:pt idx="3469">
                  <c:v>0.66922948697903561</c:v>
                </c:pt>
                <c:pt idx="3470">
                  <c:v>0.67956149076264272</c:v>
                </c:pt>
                <c:pt idx="3471">
                  <c:v>0.68828873299207916</c:v>
                </c:pt>
                <c:pt idx="3472">
                  <c:v>0.69812661471232151</c:v>
                </c:pt>
                <c:pt idx="3473">
                  <c:v>0.70747078346212677</c:v>
                </c:pt>
                <c:pt idx="3474">
                  <c:v>0.71681119095728185</c:v>
                </c:pt>
                <c:pt idx="3475">
                  <c:v>0.72565021435472721</c:v>
                </c:pt>
                <c:pt idx="3476">
                  <c:v>0.73380657822162976</c:v>
                </c:pt>
                <c:pt idx="3477">
                  <c:v>0.74051287794229115</c:v>
                </c:pt>
                <c:pt idx="3478">
                  <c:v>0.73321737331359071</c:v>
                </c:pt>
                <c:pt idx="3479">
                  <c:v>0.70440845087039161</c:v>
                </c:pt>
                <c:pt idx="3480">
                  <c:v>0.6603195756277308</c:v>
                </c:pt>
                <c:pt idx="3481">
                  <c:v>0.59560125073456205</c:v>
                </c:pt>
                <c:pt idx="3482">
                  <c:v>0.5181720872733212</c:v>
                </c:pt>
                <c:pt idx="3483">
                  <c:v>0.4231910415843575</c:v>
                </c:pt>
                <c:pt idx="3484">
                  <c:v>0.37693719555411159</c:v>
                </c:pt>
                <c:pt idx="3485">
                  <c:v>0.32975133289800368</c:v>
                </c:pt>
                <c:pt idx="3486">
                  <c:v>0.35388317277318576</c:v>
                </c:pt>
                <c:pt idx="3487">
                  <c:v>0.4184232961388758</c:v>
                </c:pt>
                <c:pt idx="3488">
                  <c:v>0.4800691461346927</c:v>
                </c:pt>
                <c:pt idx="3489">
                  <c:v>0.52192242500352537</c:v>
                </c:pt>
                <c:pt idx="3490">
                  <c:v>0.5687263344833845</c:v>
                </c:pt>
                <c:pt idx="3491">
                  <c:v>0.60573464173066893</c:v>
                </c:pt>
                <c:pt idx="3492">
                  <c:v>0.62415021598030851</c:v>
                </c:pt>
                <c:pt idx="3493">
                  <c:v>0.64943163970475204</c:v>
                </c:pt>
                <c:pt idx="3494">
                  <c:v>0.67322700241502087</c:v>
                </c:pt>
                <c:pt idx="3495">
                  <c:v>0.70182202513078873</c:v>
                </c:pt>
                <c:pt idx="3496">
                  <c:v>0.72698542040326286</c:v>
                </c:pt>
                <c:pt idx="3497">
                  <c:v>0.73100799454452281</c:v>
                </c:pt>
                <c:pt idx="3498">
                  <c:v>0.73599991906732731</c:v>
                </c:pt>
                <c:pt idx="3499">
                  <c:v>0.74121962334214497</c:v>
                </c:pt>
                <c:pt idx="3500">
                  <c:v>0.74034743011903481</c:v>
                </c:pt>
                <c:pt idx="3501">
                  <c:v>0.73348041658758156</c:v>
                </c:pt>
                <c:pt idx="3502">
                  <c:v>0.72027914691674366</c:v>
                </c:pt>
                <c:pt idx="3503">
                  <c:v>0.69915896970108193</c:v>
                </c:pt>
                <c:pt idx="3504">
                  <c:v>0.67045722905742755</c:v>
                </c:pt>
                <c:pt idx="3505">
                  <c:v>0.63270672070896083</c:v>
                </c:pt>
                <c:pt idx="3506">
                  <c:v>0.58177221351581965</c:v>
                </c:pt>
                <c:pt idx="3507">
                  <c:v>0.51745794172856863</c:v>
                </c:pt>
                <c:pt idx="3508">
                  <c:v>0.50214357691259182</c:v>
                </c:pt>
                <c:pt idx="3509">
                  <c:v>0.49214580832282134</c:v>
                </c:pt>
                <c:pt idx="3510">
                  <c:v>0.47476910975776521</c:v>
                </c:pt>
                <c:pt idx="3511">
                  <c:v>0.4358561151088568</c:v>
                </c:pt>
                <c:pt idx="3512">
                  <c:v>0.38694184081147476</c:v>
                </c:pt>
                <c:pt idx="3513">
                  <c:v>0.33910169346305663</c:v>
                </c:pt>
                <c:pt idx="3514">
                  <c:v>0.32034991670080715</c:v>
                </c:pt>
                <c:pt idx="3515">
                  <c:v>0.30148887897962556</c:v>
                </c:pt>
                <c:pt idx="3516">
                  <c:v>0.29577804731708895</c:v>
                </c:pt>
                <c:pt idx="3517">
                  <c:v>0.29955978144863948</c:v>
                </c:pt>
                <c:pt idx="3518">
                  <c:v>0.30390366717092165</c:v>
                </c:pt>
                <c:pt idx="3519">
                  <c:v>0.30586846712314586</c:v>
                </c:pt>
                <c:pt idx="3520">
                  <c:v>0.30610529194047303</c:v>
                </c:pt>
                <c:pt idx="3521">
                  <c:v>0.30783313419489255</c:v>
                </c:pt>
                <c:pt idx="3522">
                  <c:v>0.31239498388912601</c:v>
                </c:pt>
                <c:pt idx="3523">
                  <c:v>0.32008692843522868</c:v>
                </c:pt>
                <c:pt idx="3524">
                  <c:v>0.32507487912120753</c:v>
                </c:pt>
                <c:pt idx="3525">
                  <c:v>0.33341674434285679</c:v>
                </c:pt>
                <c:pt idx="3526">
                  <c:v>0.33696533015580044</c:v>
                </c:pt>
                <c:pt idx="3527">
                  <c:v>0.33911547244580431</c:v>
                </c:pt>
                <c:pt idx="3528">
                  <c:v>0.34044320023814439</c:v>
                </c:pt>
                <c:pt idx="3529">
                  <c:v>0.33497913775396271</c:v>
                </c:pt>
                <c:pt idx="3530">
                  <c:v>0.32839720830019103</c:v>
                </c:pt>
                <c:pt idx="3531">
                  <c:v>0.3230143484829503</c:v>
                </c:pt>
                <c:pt idx="3532">
                  <c:v>0.31605155085777492</c:v>
                </c:pt>
                <c:pt idx="3533">
                  <c:v>0.31313186019573191</c:v>
                </c:pt>
                <c:pt idx="3534">
                  <c:v>0.31548161862552843</c:v>
                </c:pt>
                <c:pt idx="3535">
                  <c:v>0.31912278768093671</c:v>
                </c:pt>
                <c:pt idx="3536">
                  <c:v>0.32638536203671636</c:v>
                </c:pt>
                <c:pt idx="3537">
                  <c:v>0.33152132248566585</c:v>
                </c:pt>
                <c:pt idx="3538">
                  <c:v>0.31897670645794529</c:v>
                </c:pt>
                <c:pt idx="3539">
                  <c:v>0.29824472193130264</c:v>
                </c:pt>
                <c:pt idx="3540">
                  <c:v>0.28145932272991553</c:v>
                </c:pt>
                <c:pt idx="3541">
                  <c:v>0.27434766748041384</c:v>
                </c:pt>
                <c:pt idx="3542">
                  <c:v>0.2714972605273519</c:v>
                </c:pt>
                <c:pt idx="3543">
                  <c:v>0.29890843675669843</c:v>
                </c:pt>
                <c:pt idx="3544">
                  <c:v>0.31844365844059969</c:v>
                </c:pt>
                <c:pt idx="3545">
                  <c:v>0.35745241182819348</c:v>
                </c:pt>
                <c:pt idx="3546">
                  <c:v>0.38816807692264788</c:v>
                </c:pt>
                <c:pt idx="3547">
                  <c:v>0.44854502935528195</c:v>
                </c:pt>
                <c:pt idx="3548">
                  <c:v>0.51778013736918449</c:v>
                </c:pt>
                <c:pt idx="3549">
                  <c:v>0.57078153480433547</c:v>
                </c:pt>
                <c:pt idx="3550">
                  <c:v>0.6031791071613789</c:v>
                </c:pt>
                <c:pt idx="3551">
                  <c:v>0.62063792378087235</c:v>
                </c:pt>
                <c:pt idx="3552">
                  <c:v>0.63032720446187374</c:v>
                </c:pt>
                <c:pt idx="3553">
                  <c:v>0.63163868781739219</c:v>
                </c:pt>
                <c:pt idx="3554">
                  <c:v>0.63184134494693078</c:v>
                </c:pt>
                <c:pt idx="3555">
                  <c:v>0.63444701206575704</c:v>
                </c:pt>
                <c:pt idx="3556">
                  <c:v>0.64617159075684683</c:v>
                </c:pt>
                <c:pt idx="3557">
                  <c:v>0.65662780414189048</c:v>
                </c:pt>
                <c:pt idx="3558">
                  <c:v>0.66884011870985849</c:v>
                </c:pt>
                <c:pt idx="3559">
                  <c:v>0.67976484581054986</c:v>
                </c:pt>
                <c:pt idx="3560">
                  <c:v>0.68649164661356366</c:v>
                </c:pt>
                <c:pt idx="3561">
                  <c:v>0.69128130822341571</c:v>
                </c:pt>
                <c:pt idx="3562">
                  <c:v>0.69742644651959951</c:v>
                </c:pt>
                <c:pt idx="3563">
                  <c:v>0.70080680363909609</c:v>
                </c:pt>
                <c:pt idx="3564">
                  <c:v>0.69728499583131409</c:v>
                </c:pt>
                <c:pt idx="3565">
                  <c:v>0.69277369574549075</c:v>
                </c:pt>
                <c:pt idx="3566">
                  <c:v>0.68600024821984484</c:v>
                </c:pt>
                <c:pt idx="3567">
                  <c:v>0.67509391125466967</c:v>
                </c:pt>
                <c:pt idx="3568">
                  <c:v>0.66434230009186745</c:v>
                </c:pt>
                <c:pt idx="3569">
                  <c:v>0.65510650143514348</c:v>
                </c:pt>
                <c:pt idx="3570">
                  <c:v>0.65783040476890031</c:v>
                </c:pt>
                <c:pt idx="3571">
                  <c:v>0.6624289579123247</c:v>
                </c:pt>
                <c:pt idx="3572">
                  <c:v>0.67408436373054947</c:v>
                </c:pt>
                <c:pt idx="3573">
                  <c:v>0.68108008339637749</c:v>
                </c:pt>
                <c:pt idx="3574">
                  <c:v>0.68555224934072101</c:v>
                </c:pt>
                <c:pt idx="3575">
                  <c:v>0.67939543034637806</c:v>
                </c:pt>
                <c:pt idx="3576">
                  <c:v>0.67211490848557631</c:v>
                </c:pt>
                <c:pt idx="3577">
                  <c:v>0.63751913357084988</c:v>
                </c:pt>
                <c:pt idx="3578">
                  <c:v>0.57301874011552423</c:v>
                </c:pt>
                <c:pt idx="3579">
                  <c:v>0.49108802304979382</c:v>
                </c:pt>
                <c:pt idx="3580">
                  <c:v>0.41130562430185125</c:v>
                </c:pt>
                <c:pt idx="3581">
                  <c:v>0.34144403596239298</c:v>
                </c:pt>
                <c:pt idx="3582">
                  <c:v>0.27387287264977017</c:v>
                </c:pt>
                <c:pt idx="3583">
                  <c:v>0.23218302426667156</c:v>
                </c:pt>
                <c:pt idx="3584">
                  <c:v>0.18378661593322299</c:v>
                </c:pt>
                <c:pt idx="3585">
                  <c:v>0.17500768380624007</c:v>
                </c:pt>
                <c:pt idx="3586">
                  <c:v>0.17585106691334831</c:v>
                </c:pt>
                <c:pt idx="3587">
                  <c:v>0.1766514400129805</c:v>
                </c:pt>
                <c:pt idx="3588">
                  <c:v>0.1766514400129805</c:v>
                </c:pt>
                <c:pt idx="3589">
                  <c:v>0.1928978028552143</c:v>
                </c:pt>
                <c:pt idx="3590">
                  <c:v>0.22046081214790483</c:v>
                </c:pt>
                <c:pt idx="3591">
                  <c:v>0.25851340122492561</c:v>
                </c:pt>
                <c:pt idx="3592">
                  <c:v>0.31390849023056372</c:v>
                </c:pt>
                <c:pt idx="3593">
                  <c:v>0.39302743443944549</c:v>
                </c:pt>
                <c:pt idx="3594">
                  <c:v>0.47994777124042826</c:v>
                </c:pt>
                <c:pt idx="3595">
                  <c:v>0.54836077975271558</c:v>
                </c:pt>
                <c:pt idx="3596">
                  <c:v>0.61740487388257936</c:v>
                </c:pt>
                <c:pt idx="3597">
                  <c:v>0.66408735584693857</c:v>
                </c:pt>
                <c:pt idx="3598">
                  <c:v>0.70283363350485195</c:v>
                </c:pt>
                <c:pt idx="3599">
                  <c:v>0.72404643367298926</c:v>
                </c:pt>
                <c:pt idx="3600">
                  <c:v>0.73263280314187629</c:v>
                </c:pt>
                <c:pt idx="3601">
                  <c:v>0.74438331145020997</c:v>
                </c:pt>
                <c:pt idx="3602">
                  <c:v>0.75282004387336954</c:v>
                </c:pt>
                <c:pt idx="3603">
                  <c:v>0.78228925985064357</c:v>
                </c:pt>
                <c:pt idx="3604">
                  <c:v>0.79717882666833506</c:v>
                </c:pt>
                <c:pt idx="3605">
                  <c:v>0.80138957535073163</c:v>
                </c:pt>
                <c:pt idx="3606">
                  <c:v>0.7984591624774704</c:v>
                </c:pt>
                <c:pt idx="3607">
                  <c:v>0.78436451427909271</c:v>
                </c:pt>
                <c:pt idx="3608">
                  <c:v>0.76470606436875332</c:v>
                </c:pt>
                <c:pt idx="3609">
                  <c:v>0.74666197034746207</c:v>
                </c:pt>
                <c:pt idx="3610">
                  <c:v>0.72658266840386232</c:v>
                </c:pt>
                <c:pt idx="3611">
                  <c:v>0.70317896496314336</c:v>
                </c:pt>
                <c:pt idx="3612">
                  <c:v>0.67683386483698271</c:v>
                </c:pt>
                <c:pt idx="3613">
                  <c:v>0.64756789563784456</c:v>
                </c:pt>
                <c:pt idx="3614">
                  <c:v>0.61607300403698395</c:v>
                </c:pt>
                <c:pt idx="3615">
                  <c:v>0.59135759619225003</c:v>
                </c:pt>
                <c:pt idx="3616">
                  <c:v>0.56429342332295551</c:v>
                </c:pt>
                <c:pt idx="3617">
                  <c:v>0.52359038299348715</c:v>
                </c:pt>
                <c:pt idx="3618">
                  <c:v>0.46602366545878898</c:v>
                </c:pt>
                <c:pt idx="3619">
                  <c:v>0.44078655320717786</c:v>
                </c:pt>
                <c:pt idx="3620">
                  <c:v>0.42280912978046697</c:v>
                </c:pt>
                <c:pt idx="3621">
                  <c:v>0.41586487009550172</c:v>
                </c:pt>
                <c:pt idx="3622">
                  <c:v>0.41701186547313074</c:v>
                </c:pt>
                <c:pt idx="3623">
                  <c:v>0.42250618944275986</c:v>
                </c:pt>
                <c:pt idx="3624">
                  <c:v>0.42890112966060551</c:v>
                </c:pt>
                <c:pt idx="3625">
                  <c:v>0.43473237513539148</c:v>
                </c:pt>
                <c:pt idx="3626">
                  <c:v>0.43438877366177969</c:v>
                </c:pt>
                <c:pt idx="3627">
                  <c:v>0.43776382532871416</c:v>
                </c:pt>
                <c:pt idx="3628">
                  <c:v>0.43991719847503957</c:v>
                </c:pt>
                <c:pt idx="3629">
                  <c:v>0.4427639821467439</c:v>
                </c:pt>
                <c:pt idx="3630">
                  <c:v>0.43798614926330653</c:v>
                </c:pt>
                <c:pt idx="3631">
                  <c:v>0.43696835471814266</c:v>
                </c:pt>
                <c:pt idx="3632">
                  <c:v>0.43857490926257808</c:v>
                </c:pt>
                <c:pt idx="3633">
                  <c:v>0.43661309393953573</c:v>
                </c:pt>
                <c:pt idx="3634">
                  <c:v>0.44441992716196255</c:v>
                </c:pt>
                <c:pt idx="3635">
                  <c:v>0.46147932859525803</c:v>
                </c:pt>
                <c:pt idx="3636">
                  <c:v>0.4765177638565809</c:v>
                </c:pt>
                <c:pt idx="3637">
                  <c:v>0.48244823910067486</c:v>
                </c:pt>
                <c:pt idx="3638">
                  <c:v>0.48028931928052193</c:v>
                </c:pt>
                <c:pt idx="3639">
                  <c:v>0.46468673217808137</c:v>
                </c:pt>
                <c:pt idx="3640">
                  <c:v>0.44824710856570898</c:v>
                </c:pt>
                <c:pt idx="3641">
                  <c:v>0.43798682256676091</c:v>
                </c:pt>
                <c:pt idx="3642">
                  <c:v>0.42711351444161016</c:v>
                </c:pt>
                <c:pt idx="3643">
                  <c:v>0.41587280176302865</c:v>
                </c:pt>
                <c:pt idx="3644">
                  <c:v>0.42104651924064068</c:v>
                </c:pt>
                <c:pt idx="3645">
                  <c:v>0.4255843465512596</c:v>
                </c:pt>
                <c:pt idx="3646">
                  <c:v>0.42467297725561237</c:v>
                </c:pt>
                <c:pt idx="3647">
                  <c:v>0.42146105616888391</c:v>
                </c:pt>
                <c:pt idx="3648">
                  <c:v>0.42021368013101035</c:v>
                </c:pt>
                <c:pt idx="3649">
                  <c:v>0.42260035733033374</c:v>
                </c:pt>
                <c:pt idx="3650">
                  <c:v>0.42828149093375895</c:v>
                </c:pt>
                <c:pt idx="3651">
                  <c:v>0.43232754935171919</c:v>
                </c:pt>
                <c:pt idx="3652">
                  <c:v>0.43558721279223317</c:v>
                </c:pt>
                <c:pt idx="3653">
                  <c:v>0.43785333220214645</c:v>
                </c:pt>
                <c:pt idx="3654">
                  <c:v>0.43479295707681825</c:v>
                </c:pt>
                <c:pt idx="3655">
                  <c:v>0.43171962302954942</c:v>
                </c:pt>
                <c:pt idx="3656">
                  <c:v>0.42831852442437279</c:v>
                </c:pt>
                <c:pt idx="3657">
                  <c:v>0.42509287034578325</c:v>
                </c:pt>
                <c:pt idx="3658">
                  <c:v>0.42347424093340075</c:v>
                </c:pt>
                <c:pt idx="3659">
                  <c:v>0.42060004116409844</c:v>
                </c:pt>
                <c:pt idx="3660">
                  <c:v>0.42206668230287714</c:v>
                </c:pt>
                <c:pt idx="3661">
                  <c:v>0.42514687229628978</c:v>
                </c:pt>
                <c:pt idx="3662">
                  <c:v>0.42502939467702516</c:v>
                </c:pt>
                <c:pt idx="3663">
                  <c:v>0.42009937925066443</c:v>
                </c:pt>
                <c:pt idx="3664">
                  <c:v>0.41039234138587621</c:v>
                </c:pt>
                <c:pt idx="3665">
                  <c:v>0.38638953458060099</c:v>
                </c:pt>
                <c:pt idx="3666">
                  <c:v>0.35489737859654402</c:v>
                </c:pt>
                <c:pt idx="3667">
                  <c:v>0.33180347215389772</c:v>
                </c:pt>
                <c:pt idx="3668">
                  <c:v>0.30917861420736947</c:v>
                </c:pt>
                <c:pt idx="3669">
                  <c:v>0.26532657714580909</c:v>
                </c:pt>
                <c:pt idx="3670">
                  <c:v>0.21971514434032363</c:v>
                </c:pt>
                <c:pt idx="3671">
                  <c:v>0.16234877575463741</c:v>
                </c:pt>
                <c:pt idx="3672">
                  <c:v>0.10466628582327511</c:v>
                </c:pt>
                <c:pt idx="3673">
                  <c:v>0.10514874651430037</c:v>
                </c:pt>
                <c:pt idx="3674">
                  <c:v>0.13336157356018896</c:v>
                </c:pt>
                <c:pt idx="3675">
                  <c:v>0.16051814536088321</c:v>
                </c:pt>
                <c:pt idx="3676">
                  <c:v>0.17241488763659535</c:v>
                </c:pt>
                <c:pt idx="3677">
                  <c:v>0.18149668876046396</c:v>
                </c:pt>
                <c:pt idx="3678">
                  <c:v>0.18066443226520804</c:v>
                </c:pt>
                <c:pt idx="3679">
                  <c:v>0.18064760958648118</c:v>
                </c:pt>
                <c:pt idx="3680">
                  <c:v>0.18236022320188339</c:v>
                </c:pt>
                <c:pt idx="3681">
                  <c:v>0.18100869059079244</c:v>
                </c:pt>
                <c:pt idx="3682">
                  <c:v>0.18604790555969392</c:v>
                </c:pt>
                <c:pt idx="3683">
                  <c:v>0.20100358722906883</c:v>
                </c:pt>
                <c:pt idx="3684">
                  <c:v>0.21529395636492943</c:v>
                </c:pt>
                <c:pt idx="3685">
                  <c:v>0.23757084670436027</c:v>
                </c:pt>
                <c:pt idx="3686">
                  <c:v>0.28551404950400977</c:v>
                </c:pt>
                <c:pt idx="3687">
                  <c:v>0.34951980443836977</c:v>
                </c:pt>
                <c:pt idx="3688">
                  <c:v>0.40297261651810218</c:v>
                </c:pt>
                <c:pt idx="3689">
                  <c:v>0.47078664055509806</c:v>
                </c:pt>
                <c:pt idx="3690">
                  <c:v>0.54902571565759772</c:v>
                </c:pt>
                <c:pt idx="3691">
                  <c:v>0.60870390986422362</c:v>
                </c:pt>
                <c:pt idx="3692">
                  <c:v>0.65787969612822361</c:v>
                </c:pt>
                <c:pt idx="3693">
                  <c:v>0.69833205878481486</c:v>
                </c:pt>
                <c:pt idx="3694">
                  <c:v>0.72653595550799577</c:v>
                </c:pt>
                <c:pt idx="3695">
                  <c:v>0.7477375981461104</c:v>
                </c:pt>
                <c:pt idx="3696">
                  <c:v>0.76538058849703716</c:v>
                </c:pt>
                <c:pt idx="3697">
                  <c:v>0.7782839230003078</c:v>
                </c:pt>
                <c:pt idx="3698">
                  <c:v>0.77697091143110752</c:v>
                </c:pt>
                <c:pt idx="3699">
                  <c:v>0.76956103064167147</c:v>
                </c:pt>
                <c:pt idx="3700">
                  <c:v>0.76717254835681992</c:v>
                </c:pt>
                <c:pt idx="3701">
                  <c:v>0.75385938354571369</c:v>
                </c:pt>
                <c:pt idx="3702">
                  <c:v>0.73512619733634199</c:v>
                </c:pt>
                <c:pt idx="3703">
                  <c:v>0.72325295206565399</c:v>
                </c:pt>
                <c:pt idx="3704">
                  <c:v>0.71307593795510538</c:v>
                </c:pt>
                <c:pt idx="3705">
                  <c:v>0.7029559251702594</c:v>
                </c:pt>
                <c:pt idx="3706">
                  <c:v>0.68768594246770032</c:v>
                </c:pt>
                <c:pt idx="3707">
                  <c:v>0.66854608512604174</c:v>
                </c:pt>
                <c:pt idx="3708">
                  <c:v>0.63140097388336436</c:v>
                </c:pt>
                <c:pt idx="3709">
                  <c:v>0.58824045526639934</c:v>
                </c:pt>
                <c:pt idx="3710">
                  <c:v>0.51862975420628754</c:v>
                </c:pt>
                <c:pt idx="3711">
                  <c:v>0.43726266884882969</c:v>
                </c:pt>
                <c:pt idx="3712">
                  <c:v>0.39416534658366764</c:v>
                </c:pt>
                <c:pt idx="3713">
                  <c:v>0.3558044625990226</c:v>
                </c:pt>
                <c:pt idx="3714">
                  <c:v>0.30750730157720541</c:v>
                </c:pt>
                <c:pt idx="3715">
                  <c:v>0.25910365266740898</c:v>
                </c:pt>
                <c:pt idx="3716">
                  <c:v>0.23380900235211319</c:v>
                </c:pt>
                <c:pt idx="3717">
                  <c:v>0.22469707306007333</c:v>
                </c:pt>
                <c:pt idx="3718">
                  <c:v>0.2167328008226389</c:v>
                </c:pt>
                <c:pt idx="3719">
                  <c:v>0.23426541195945955</c:v>
                </c:pt>
                <c:pt idx="3720">
                  <c:v>0.24595350712429795</c:v>
                </c:pt>
                <c:pt idx="3721">
                  <c:v>0.27192610611646528</c:v>
                </c:pt>
                <c:pt idx="3722">
                  <c:v>0.30442531067391171</c:v>
                </c:pt>
                <c:pt idx="3723">
                  <c:v>0.32730730862439683</c:v>
                </c:pt>
                <c:pt idx="3724">
                  <c:v>0.3670463821684864</c:v>
                </c:pt>
                <c:pt idx="3725">
                  <c:v>0.39899777362119027</c:v>
                </c:pt>
                <c:pt idx="3726">
                  <c:v>0.41236053553534668</c:v>
                </c:pt>
                <c:pt idx="3727">
                  <c:v>0.4332428285583485</c:v>
                </c:pt>
                <c:pt idx="3728">
                  <c:v>0.45634574240635251</c:v>
                </c:pt>
                <c:pt idx="3729">
                  <c:v>0.47997290784350716</c:v>
                </c:pt>
                <c:pt idx="3730">
                  <c:v>0.51151679771290726</c:v>
                </c:pt>
                <c:pt idx="3731">
                  <c:v>0.55483878527495711</c:v>
                </c:pt>
                <c:pt idx="3732">
                  <c:v>0.58800710265682643</c:v>
                </c:pt>
                <c:pt idx="3733">
                  <c:v>0.61210147707781881</c:v>
                </c:pt>
                <c:pt idx="3734">
                  <c:v>0.64005510873076543</c:v>
                </c:pt>
                <c:pt idx="3735">
                  <c:v>0.63834865992047674</c:v>
                </c:pt>
                <c:pt idx="3736">
                  <c:v>0.63828232466997714</c:v>
                </c:pt>
                <c:pt idx="3737">
                  <c:v>0.65047262685208718</c:v>
                </c:pt>
                <c:pt idx="3738">
                  <c:v>0.66622631460806025</c:v>
                </c:pt>
                <c:pt idx="3739">
                  <c:v>0.68226422298267175</c:v>
                </c:pt>
                <c:pt idx="3740">
                  <c:v>0.69824915383592978</c:v>
                </c:pt>
                <c:pt idx="3741">
                  <c:v>0.70894525903794281</c:v>
                </c:pt>
                <c:pt idx="3742">
                  <c:v>0.70894525903794281</c:v>
                </c:pt>
                <c:pt idx="3743">
                  <c:v>0.70991922063768809</c:v>
                </c:pt>
                <c:pt idx="3744">
                  <c:v>0.70674930176996098</c:v>
                </c:pt>
                <c:pt idx="3745">
                  <c:v>0.70246970154928301</c:v>
                </c:pt>
                <c:pt idx="3746">
                  <c:v>0.69338777217766301</c:v>
                </c:pt>
                <c:pt idx="3747">
                  <c:v>0.68391803831943154</c:v>
                </c:pt>
                <c:pt idx="3748">
                  <c:v>0.67705167356753082</c:v>
                </c:pt>
                <c:pt idx="3749">
                  <c:v>0.67738146257849818</c:v>
                </c:pt>
                <c:pt idx="3750">
                  <c:v>0.6970328506554313</c:v>
                </c:pt>
                <c:pt idx="3751">
                  <c:v>0.71577997157143081</c:v>
                </c:pt>
                <c:pt idx="3752">
                  <c:v>0.7313963312628371</c:v>
                </c:pt>
                <c:pt idx="3753">
                  <c:v>0.7419507108197656</c:v>
                </c:pt>
                <c:pt idx="3754">
                  <c:v>0.74470112848354575</c:v>
                </c:pt>
                <c:pt idx="3755">
                  <c:v>0.74058731848397541</c:v>
                </c:pt>
                <c:pt idx="3756">
                  <c:v>0.73555273834133028</c:v>
                </c:pt>
                <c:pt idx="3757">
                  <c:v>0.72643569016790355</c:v>
                </c:pt>
                <c:pt idx="3758">
                  <c:v>0.71908979212524438</c:v>
                </c:pt>
                <c:pt idx="3759">
                  <c:v>0.71198325858355127</c:v>
                </c:pt>
                <c:pt idx="3760">
                  <c:v>0.70337862292491371</c:v>
                </c:pt>
                <c:pt idx="3761">
                  <c:v>0.7033786229249136</c:v>
                </c:pt>
                <c:pt idx="3762">
                  <c:v>0.70393339536996624</c:v>
                </c:pt>
                <c:pt idx="3763">
                  <c:v>0.70556726131837133</c:v>
                </c:pt>
                <c:pt idx="3764">
                  <c:v>0.69282689716825452</c:v>
                </c:pt>
                <c:pt idx="3765">
                  <c:v>0.71866087045523608</c:v>
                </c:pt>
                <c:pt idx="3766">
                  <c:v>0.72138042311845751</c:v>
                </c:pt>
                <c:pt idx="3767">
                  <c:v>0.71657930508988898</c:v>
                </c:pt>
                <c:pt idx="3768">
                  <c:v>0.71657930508988898</c:v>
                </c:pt>
                <c:pt idx="3769">
                  <c:v>0.71657930508988898</c:v>
                </c:pt>
                <c:pt idx="3770">
                  <c:v>0.71657930508988898</c:v>
                </c:pt>
                <c:pt idx="3771">
                  <c:v>0.71657930508988898</c:v>
                </c:pt>
                <c:pt idx="3772">
                  <c:v>0.71657930508988898</c:v>
                </c:pt>
                <c:pt idx="3773">
                  <c:v>0.71657930508988898</c:v>
                </c:pt>
                <c:pt idx="3774">
                  <c:v>0.72022525088800682</c:v>
                </c:pt>
                <c:pt idx="3775">
                  <c:v>0.72865420975718198</c:v>
                </c:pt>
                <c:pt idx="3776">
                  <c:v>0.73925666678883184</c:v>
                </c:pt>
                <c:pt idx="3777">
                  <c:v>0.74722949976306952</c:v>
                </c:pt>
                <c:pt idx="3778">
                  <c:v>0.74287408459917348</c:v>
                </c:pt>
                <c:pt idx="3779">
                  <c:v>0.73876853373582541</c:v>
                </c:pt>
                <c:pt idx="3780">
                  <c:v>0.7343065361886254</c:v>
                </c:pt>
                <c:pt idx="3781">
                  <c:v>0.72640825130908793</c:v>
                </c:pt>
                <c:pt idx="3782">
                  <c:v>0.71898087903417474</c:v>
                </c:pt>
                <c:pt idx="3783">
                  <c:v>0.71312538605777698</c:v>
                </c:pt>
                <c:pt idx="3784">
                  <c:v>0.70647117904946699</c:v>
                </c:pt>
                <c:pt idx="3785">
                  <c:v>0.7027891780381178</c:v>
                </c:pt>
                <c:pt idx="3786">
                  <c:v>0.70392331440719025</c:v>
                </c:pt>
                <c:pt idx="3787">
                  <c:v>0.70713223312631968</c:v>
                </c:pt>
                <c:pt idx="3788">
                  <c:v>0.70594125443993416</c:v>
                </c:pt>
                <c:pt idx="3789">
                  <c:v>0.69784447431515984</c:v>
                </c:pt>
                <c:pt idx="3790">
                  <c:v>0.67324009044155997</c:v>
                </c:pt>
                <c:pt idx="3791">
                  <c:v>0.6183550671162491</c:v>
                </c:pt>
                <c:pt idx="3792">
                  <c:v>0.55331763489177255</c:v>
                </c:pt>
                <c:pt idx="3793">
                  <c:v>0.47557463300081593</c:v>
                </c:pt>
                <c:pt idx="3794">
                  <c:v>0.41071884793596725</c:v>
                </c:pt>
                <c:pt idx="3795">
                  <c:v>0.34105882596123582</c:v>
                </c:pt>
                <c:pt idx="3796">
                  <c:v>0.33395712894562263</c:v>
                </c:pt>
                <c:pt idx="3797">
                  <c:v>0.34277359250658579</c:v>
                </c:pt>
                <c:pt idx="3798">
                  <c:v>0.33858762993148656</c:v>
                </c:pt>
                <c:pt idx="3799">
                  <c:v>0.33226353540904335</c:v>
                </c:pt>
                <c:pt idx="3800">
                  <c:v>0.33007554033097003</c:v>
                </c:pt>
                <c:pt idx="3801">
                  <c:v>0.33997626178086732</c:v>
                </c:pt>
                <c:pt idx="3802">
                  <c:v>0.35578556552867158</c:v>
                </c:pt>
                <c:pt idx="3803">
                  <c:v>0.36581682022721185</c:v>
                </c:pt>
                <c:pt idx="3804">
                  <c:v>0.37781337891057726</c:v>
                </c:pt>
                <c:pt idx="3805">
                  <c:v>0.38097394470864016</c:v>
                </c:pt>
                <c:pt idx="3806">
                  <c:v>0.38743696566864472</c:v>
                </c:pt>
                <c:pt idx="3807">
                  <c:v>0.39674180437759643</c:v>
                </c:pt>
                <c:pt idx="3808">
                  <c:v>0.42341149449330234</c:v>
                </c:pt>
                <c:pt idx="3809">
                  <c:v>0.45236255953946475</c:v>
                </c:pt>
                <c:pt idx="3810">
                  <c:v>0.47544959325239045</c:v>
                </c:pt>
                <c:pt idx="3811">
                  <c:v>0.50023225572538588</c:v>
                </c:pt>
                <c:pt idx="3812">
                  <c:v>0.50536358329459874</c:v>
                </c:pt>
                <c:pt idx="3813">
                  <c:v>0.50711717985235327</c:v>
                </c:pt>
                <c:pt idx="3814">
                  <c:v>0.50616720889741673</c:v>
                </c:pt>
                <c:pt idx="3815">
                  <c:v>0.50042910711889077</c:v>
                </c:pt>
                <c:pt idx="3816">
                  <c:v>0.48687358837054362</c:v>
                </c:pt>
                <c:pt idx="3817">
                  <c:v>0.46448054237567343</c:v>
                </c:pt>
                <c:pt idx="3818">
                  <c:v>0.44451858090845636</c:v>
                </c:pt>
                <c:pt idx="3819">
                  <c:v>0.43222671536359941</c:v>
                </c:pt>
                <c:pt idx="3820">
                  <c:v>0.42466015438908528</c:v>
                </c:pt>
                <c:pt idx="3821">
                  <c:v>0.41651518875630339</c:v>
                </c:pt>
                <c:pt idx="3822">
                  <c:v>0.4160998301873402</c:v>
                </c:pt>
                <c:pt idx="3823">
                  <c:v>0.42494862376157622</c:v>
                </c:pt>
                <c:pt idx="3824">
                  <c:v>0.43001000277709173</c:v>
                </c:pt>
                <c:pt idx="3825">
                  <c:v>0.43444242899879881</c:v>
                </c:pt>
                <c:pt idx="3826">
                  <c:v>0.43436751454334865</c:v>
                </c:pt>
                <c:pt idx="3827">
                  <c:v>0.43262102860540275</c:v>
                </c:pt>
                <c:pt idx="3828">
                  <c:v>0.42608330633690861</c:v>
                </c:pt>
                <c:pt idx="3829">
                  <c:v>0.41760946631621032</c:v>
                </c:pt>
                <c:pt idx="3830">
                  <c:v>0.42692983573737253</c:v>
                </c:pt>
                <c:pt idx="3831">
                  <c:v>0.45254678807276033</c:v>
                </c:pt>
                <c:pt idx="3832">
                  <c:v>0.48300534855399935</c:v>
                </c:pt>
                <c:pt idx="3833">
                  <c:v>0.50946602931197982</c:v>
                </c:pt>
                <c:pt idx="3834">
                  <c:v>0.53239727245262791</c:v>
                </c:pt>
                <c:pt idx="3835">
                  <c:v>0.55255901003944641</c:v>
                </c:pt>
                <c:pt idx="3836">
                  <c:v>0.58095392168867643</c:v>
                </c:pt>
                <c:pt idx="3837">
                  <c:v>0.59958541142685673</c:v>
                </c:pt>
                <c:pt idx="3838">
                  <c:v>0.6024429677116131</c:v>
                </c:pt>
                <c:pt idx="3839">
                  <c:v>0.59199146254548918</c:v>
                </c:pt>
                <c:pt idx="3840">
                  <c:v>0.57060869924399105</c:v>
                </c:pt>
                <c:pt idx="3841">
                  <c:v>0.54486029406520287</c:v>
                </c:pt>
                <c:pt idx="3842">
                  <c:v>0.54256802798682569</c:v>
                </c:pt>
                <c:pt idx="3843">
                  <c:v>0.53049542414618245</c:v>
                </c:pt>
                <c:pt idx="3844">
                  <c:v>0.51910920110626035</c:v>
                </c:pt>
                <c:pt idx="3845">
                  <c:v>0.52540409121168496</c:v>
                </c:pt>
                <c:pt idx="3846">
                  <c:v>0.54149224571853927</c:v>
                </c:pt>
                <c:pt idx="3847">
                  <c:v>0.57770230459583205</c:v>
                </c:pt>
                <c:pt idx="3848">
                  <c:v>0.60573276254019703</c:v>
                </c:pt>
                <c:pt idx="3849">
                  <c:v>0.62769906860087232</c:v>
                </c:pt>
                <c:pt idx="3850">
                  <c:v>0.63447316895215922</c:v>
                </c:pt>
                <c:pt idx="3851">
                  <c:v>0.64202210965076634</c:v>
                </c:pt>
                <c:pt idx="3852">
                  <c:v>0.64741472941680667</c:v>
                </c:pt>
                <c:pt idx="3853">
                  <c:v>0.65026108422299289</c:v>
                </c:pt>
                <c:pt idx="3854">
                  <c:v>0.65594375306168351</c:v>
                </c:pt>
                <c:pt idx="3855">
                  <c:v>0.65691276004343546</c:v>
                </c:pt>
                <c:pt idx="3856">
                  <c:v>0.66199534567090479</c:v>
                </c:pt>
                <c:pt idx="3857">
                  <c:v>0.67203466316741522</c:v>
                </c:pt>
                <c:pt idx="3858">
                  <c:v>0.68335443596837242</c:v>
                </c:pt>
                <c:pt idx="3859">
                  <c:v>0.68890876277156443</c:v>
                </c:pt>
                <c:pt idx="3860">
                  <c:v>0.69327460891824977</c:v>
                </c:pt>
                <c:pt idx="3861">
                  <c:v>0.69755846897053153</c:v>
                </c:pt>
                <c:pt idx="3862">
                  <c:v>0.69909569433395891</c:v>
                </c:pt>
                <c:pt idx="3863">
                  <c:v>0.69921689012707333</c:v>
                </c:pt>
                <c:pt idx="3864">
                  <c:v>0.70220242876354921</c:v>
                </c:pt>
                <c:pt idx="3865">
                  <c:v>0.70422367779715933</c:v>
                </c:pt>
                <c:pt idx="3866">
                  <c:v>0.69655499561617051</c:v>
                </c:pt>
                <c:pt idx="3867">
                  <c:v>0.68739957196432133</c:v>
                </c:pt>
                <c:pt idx="3868">
                  <c:v>0.68025940863799961</c:v>
                </c:pt>
                <c:pt idx="3869">
                  <c:v>0.673105539045882</c:v>
                </c:pt>
                <c:pt idx="3870">
                  <c:v>0.66857155303358329</c:v>
                </c:pt>
                <c:pt idx="3871">
                  <c:v>0.66451814226519701</c:v>
                </c:pt>
                <c:pt idx="3872">
                  <c:v>0.65593959421795778</c:v>
                </c:pt>
                <c:pt idx="3873">
                  <c:v>0.65387379044722238</c:v>
                </c:pt>
                <c:pt idx="3874">
                  <c:v>0.65176547041759902</c:v>
                </c:pt>
                <c:pt idx="3875">
                  <c:v>0.6469808199924314</c:v>
                </c:pt>
                <c:pt idx="3876">
                  <c:v>0.63874813643710482</c:v>
                </c:pt>
                <c:pt idx="3877">
                  <c:v>0.60436827181717145</c:v>
                </c:pt>
                <c:pt idx="3878">
                  <c:v>0.57310996481670196</c:v>
                </c:pt>
                <c:pt idx="3879">
                  <c:v>0.54300002175207795</c:v>
                </c:pt>
                <c:pt idx="3880">
                  <c:v>0.52199934086648847</c:v>
                </c:pt>
                <c:pt idx="3881">
                  <c:v>0.53278916757558437</c:v>
                </c:pt>
                <c:pt idx="3882">
                  <c:v>0.57525799321530502</c:v>
                </c:pt>
                <c:pt idx="3883">
                  <c:v>0.61985883403741382</c:v>
                </c:pt>
                <c:pt idx="3884">
                  <c:v>0.65077589016800863</c:v>
                </c:pt>
                <c:pt idx="3885">
                  <c:v>0.68457588046406781</c:v>
                </c:pt>
                <c:pt idx="3886">
                  <c:v>0.70509382689394051</c:v>
                </c:pt>
                <c:pt idx="3887">
                  <c:v>0.72300303247079578</c:v>
                </c:pt>
                <c:pt idx="3888">
                  <c:v>0.731475387578578</c:v>
                </c:pt>
                <c:pt idx="3889">
                  <c:v>0.73987810124948372</c:v>
                </c:pt>
                <c:pt idx="3890">
                  <c:v>0.74615215694315074</c:v>
                </c:pt>
                <c:pt idx="3891">
                  <c:v>0.74513146609379954</c:v>
                </c:pt>
                <c:pt idx="3892">
                  <c:v>0.74112784724912173</c:v>
                </c:pt>
                <c:pt idx="3893">
                  <c:v>0.73567402199661169</c:v>
                </c:pt>
                <c:pt idx="3894">
                  <c:v>0.71697183035863599</c:v>
                </c:pt>
                <c:pt idx="3895">
                  <c:v>0.68514513963375567</c:v>
                </c:pt>
                <c:pt idx="3896">
                  <c:v>0.6628811773651897</c:v>
                </c:pt>
                <c:pt idx="3897">
                  <c:v>0.66056684388990672</c:v>
                </c:pt>
                <c:pt idx="3898">
                  <c:v>0.67894268140047942</c:v>
                </c:pt>
                <c:pt idx="3899">
                  <c:v>0.69649339743732153</c:v>
                </c:pt>
                <c:pt idx="3900">
                  <c:v>0.70687966063999397</c:v>
                </c:pt>
                <c:pt idx="3901">
                  <c:v>0.71597627347619175</c:v>
                </c:pt>
                <c:pt idx="3902">
                  <c:v>0.73069646223667173</c:v>
                </c:pt>
                <c:pt idx="3903">
                  <c:v>0.73262404812807413</c:v>
                </c:pt>
                <c:pt idx="3904">
                  <c:v>0.73233610881506683</c:v>
                </c:pt>
                <c:pt idx="3905">
                  <c:v>0.73741226850970509</c:v>
                </c:pt>
                <c:pt idx="3906">
                  <c:v>0.74353178133058484</c:v>
                </c:pt>
                <c:pt idx="3907">
                  <c:v>0.75030335600699427</c:v>
                </c:pt>
                <c:pt idx="3908">
                  <c:v>0.75281087898813814</c:v>
                </c:pt>
                <c:pt idx="3909">
                  <c:v>0.75180597639442193</c:v>
                </c:pt>
                <c:pt idx="3910">
                  <c:v>0.75157043811722501</c:v>
                </c:pt>
                <c:pt idx="3911">
                  <c:v>0.75171670639720312</c:v>
                </c:pt>
                <c:pt idx="3912">
                  <c:v>0.74190279287626171</c:v>
                </c:pt>
                <c:pt idx="3913">
                  <c:v>0.72702831816827329</c:v>
                </c:pt>
                <c:pt idx="3914">
                  <c:v>0.71477678479196094</c:v>
                </c:pt>
                <c:pt idx="3915">
                  <c:v>0.71879677369294392</c:v>
                </c:pt>
                <c:pt idx="3916">
                  <c:v>0.72476473941986364</c:v>
                </c:pt>
                <c:pt idx="3917">
                  <c:v>0.72403382348168266</c:v>
                </c:pt>
                <c:pt idx="3918">
                  <c:v>0.72258317837189612</c:v>
                </c:pt>
                <c:pt idx="3919">
                  <c:v>0.72092467873119082</c:v>
                </c:pt>
                <c:pt idx="3920">
                  <c:v>0.71905552448024412</c:v>
                </c:pt>
                <c:pt idx="3921">
                  <c:v>0.71608293522272892</c:v>
                </c:pt>
                <c:pt idx="3922">
                  <c:v>0.71249945448960872</c:v>
                </c:pt>
                <c:pt idx="3923">
                  <c:v>0.6958353270738854</c:v>
                </c:pt>
                <c:pt idx="3924">
                  <c:v>0.67563432910850141</c:v>
                </c:pt>
                <c:pt idx="3925">
                  <c:v>0.67743811500773699</c:v>
                </c:pt>
                <c:pt idx="3926">
                  <c:v>0.70387882315093686</c:v>
                </c:pt>
                <c:pt idx="3927">
                  <c:v>0.72228995296258036</c:v>
                </c:pt>
                <c:pt idx="3928">
                  <c:v>0.72162278019555826</c:v>
                </c:pt>
                <c:pt idx="3929">
                  <c:v>0.71793075814460694</c:v>
                </c:pt>
                <c:pt idx="3930">
                  <c:v>0.70624495745454485</c:v>
                </c:pt>
                <c:pt idx="3931">
                  <c:v>0.68487482518252052</c:v>
                </c:pt>
                <c:pt idx="3932">
                  <c:v>0.66739159786339475</c:v>
                </c:pt>
                <c:pt idx="3933">
                  <c:v>0.66669982238294867</c:v>
                </c:pt>
                <c:pt idx="3934">
                  <c:v>0.66594334598752636</c:v>
                </c:pt>
                <c:pt idx="3935">
                  <c:v>0.66896313901626347</c:v>
                </c:pt>
                <c:pt idx="3936">
                  <c:v>0.67309911660137589</c:v>
                </c:pt>
                <c:pt idx="3937">
                  <c:v>0.67760602158658589</c:v>
                </c:pt>
                <c:pt idx="3938">
                  <c:v>0.68191981669583424</c:v>
                </c:pt>
                <c:pt idx="3939">
                  <c:v>0.68723051471360297</c:v>
                </c:pt>
                <c:pt idx="3940">
                  <c:v>0.69118379024868803</c:v>
                </c:pt>
                <c:pt idx="3941">
                  <c:v>0.69478103067689179</c:v>
                </c:pt>
                <c:pt idx="3942">
                  <c:v>0.69720377408197509</c:v>
                </c:pt>
                <c:pt idx="3943">
                  <c:v>0.69846576768921353</c:v>
                </c:pt>
                <c:pt idx="3944">
                  <c:v>0.69942042475493849</c:v>
                </c:pt>
                <c:pt idx="3945">
                  <c:v>0.68679235665887461</c:v>
                </c:pt>
                <c:pt idx="3946">
                  <c:v>0.67447812910380567</c:v>
                </c:pt>
                <c:pt idx="3947">
                  <c:v>0.65561835522271183</c:v>
                </c:pt>
                <c:pt idx="3948">
                  <c:v>0.63591245139893615</c:v>
                </c:pt>
                <c:pt idx="3949">
                  <c:v>0.61569346323152907</c:v>
                </c:pt>
                <c:pt idx="3950">
                  <c:v>0.59756709394787211</c:v>
                </c:pt>
                <c:pt idx="3951">
                  <c:v>0.57850928149514114</c:v>
                </c:pt>
                <c:pt idx="3952">
                  <c:v>0.55085162503237872</c:v>
                </c:pt>
                <c:pt idx="3953">
                  <c:v>0.54077491927308141</c:v>
                </c:pt>
                <c:pt idx="3954">
                  <c:v>0.53784308822125659</c:v>
                </c:pt>
                <c:pt idx="3955">
                  <c:v>0.53765164238741359</c:v>
                </c:pt>
                <c:pt idx="3956">
                  <c:v>0.52491688262848912</c:v>
                </c:pt>
                <c:pt idx="3957">
                  <c:v>0.51092558934406984</c:v>
                </c:pt>
                <c:pt idx="3958">
                  <c:v>0.49549194601998536</c:v>
                </c:pt>
                <c:pt idx="3959">
                  <c:v>0.48177224895516918</c:v>
                </c:pt>
                <c:pt idx="3960">
                  <c:v>0.47488753199131672</c:v>
                </c:pt>
                <c:pt idx="3961">
                  <c:v>0.47419564142478904</c:v>
                </c:pt>
                <c:pt idx="3962">
                  <c:v>0.47420960843933985</c:v>
                </c:pt>
                <c:pt idx="3963">
                  <c:v>0.48030016782189483</c:v>
                </c:pt>
                <c:pt idx="3964">
                  <c:v>0.48353483857062202</c:v>
                </c:pt>
                <c:pt idx="3965">
                  <c:v>0.47397305997745692</c:v>
                </c:pt>
                <c:pt idx="3966">
                  <c:v>0.45340300903927649</c:v>
                </c:pt>
                <c:pt idx="3967">
                  <c:v>0.42518279904568296</c:v>
                </c:pt>
                <c:pt idx="3968">
                  <c:v>0.40561141841174891</c:v>
                </c:pt>
                <c:pt idx="3969">
                  <c:v>0.38549998727308293</c:v>
                </c:pt>
                <c:pt idx="3970">
                  <c:v>0.42532170564636934</c:v>
                </c:pt>
                <c:pt idx="3971">
                  <c:v>0.48362715292741643</c:v>
                </c:pt>
                <c:pt idx="3972">
                  <c:v>0.53226488919528925</c:v>
                </c:pt>
                <c:pt idx="3973">
                  <c:v>0.57406508478774687</c:v>
                </c:pt>
                <c:pt idx="3974">
                  <c:v>0.60817919368641471</c:v>
                </c:pt>
                <c:pt idx="3975">
                  <c:v>0.62720890536396301</c:v>
                </c:pt>
                <c:pt idx="3976">
                  <c:v>0.64889306907466293</c:v>
                </c:pt>
                <c:pt idx="3977">
                  <c:v>0.6678972661562268</c:v>
                </c:pt>
                <c:pt idx="3978">
                  <c:v>0.67962127259385852</c:v>
                </c:pt>
                <c:pt idx="3979">
                  <c:v>0.6778221351866387</c:v>
                </c:pt>
                <c:pt idx="3980">
                  <c:v>0.66073063355370298</c:v>
                </c:pt>
                <c:pt idx="3981">
                  <c:v>0.63206732487165473</c:v>
                </c:pt>
                <c:pt idx="3982">
                  <c:v>0.60165795436940961</c:v>
                </c:pt>
                <c:pt idx="3983">
                  <c:v>0.56650903734617009</c:v>
                </c:pt>
                <c:pt idx="3984">
                  <c:v>0.5397343473429963</c:v>
                </c:pt>
                <c:pt idx="3985">
                  <c:v>0.51323146908855599</c:v>
                </c:pt>
                <c:pt idx="3986">
                  <c:v>0.48584790658605814</c:v>
                </c:pt>
                <c:pt idx="3987">
                  <c:v>0.45945418691460432</c:v>
                </c:pt>
                <c:pt idx="3988">
                  <c:v>0.43435385278639899</c:v>
                </c:pt>
                <c:pt idx="3989">
                  <c:v>0.39689827834714891</c:v>
                </c:pt>
                <c:pt idx="3990">
                  <c:v>0.36612894725801293</c:v>
                </c:pt>
                <c:pt idx="3991">
                  <c:v>0.33795058866257882</c:v>
                </c:pt>
                <c:pt idx="3992">
                  <c:v>0.33687098637273205</c:v>
                </c:pt>
                <c:pt idx="3993">
                  <c:v>0.35786458668222476</c:v>
                </c:pt>
                <c:pt idx="3994">
                  <c:v>0.36602186869007169</c:v>
                </c:pt>
                <c:pt idx="3995">
                  <c:v>0.37111730302195195</c:v>
                </c:pt>
                <c:pt idx="3996">
                  <c:v>0.37323205511929525</c:v>
                </c:pt>
                <c:pt idx="3997">
                  <c:v>0.37627952513734186</c:v>
                </c:pt>
                <c:pt idx="3998">
                  <c:v>0.38717577343782278</c:v>
                </c:pt>
                <c:pt idx="3999">
                  <c:v>0.39310571018807333</c:v>
                </c:pt>
                <c:pt idx="4000">
                  <c:v>0.40138489623122381</c:v>
                </c:pt>
                <c:pt idx="4001">
                  <c:v>0.39586293130041356</c:v>
                </c:pt>
                <c:pt idx="4002">
                  <c:v>0.38902226040187404</c:v>
                </c:pt>
                <c:pt idx="4003">
                  <c:v>0.38112769451611028</c:v>
                </c:pt>
                <c:pt idx="4004">
                  <c:v>0.3878408789702425</c:v>
                </c:pt>
                <c:pt idx="4005">
                  <c:v>0.44548358208087924</c:v>
                </c:pt>
                <c:pt idx="4006">
                  <c:v>0.50296930826005593</c:v>
                </c:pt>
                <c:pt idx="4007">
                  <c:v>0.55187954720435684</c:v>
                </c:pt>
                <c:pt idx="4008">
                  <c:v>0.58820460012334985</c:v>
                </c:pt>
                <c:pt idx="4009">
                  <c:v>0.61899572071869502</c:v>
                </c:pt>
                <c:pt idx="4010">
                  <c:v>0.6422373806081898</c:v>
                </c:pt>
                <c:pt idx="4011">
                  <c:v>0.65697163671215897</c:v>
                </c:pt>
                <c:pt idx="4012">
                  <c:v>0.65949406412214751</c:v>
                </c:pt>
                <c:pt idx="4013">
                  <c:v>0.6682731785577507</c:v>
                </c:pt>
                <c:pt idx="4014">
                  <c:v>0.6760634533677623</c:v>
                </c:pt>
                <c:pt idx="4015">
                  <c:v>0.67956368785692622</c:v>
                </c:pt>
                <c:pt idx="4016">
                  <c:v>0.66290387084847646</c:v>
                </c:pt>
                <c:pt idx="4017">
                  <c:v>0.63444952673737065</c:v>
                </c:pt>
                <c:pt idx="4018">
                  <c:v>0.59948486742737206</c:v>
                </c:pt>
                <c:pt idx="4019">
                  <c:v>0.57886827060467971</c:v>
                </c:pt>
                <c:pt idx="4020">
                  <c:v>0.55555515722214799</c:v>
                </c:pt>
                <c:pt idx="4021">
                  <c:v>0.55371914658645882</c:v>
                </c:pt>
                <c:pt idx="4022">
                  <c:v>0.55370603056579548</c:v>
                </c:pt>
                <c:pt idx="4023">
                  <c:v>0.55065899924112682</c:v>
                </c:pt>
                <c:pt idx="4024">
                  <c:v>0.54452632819249169</c:v>
                </c:pt>
                <c:pt idx="4025">
                  <c:v>0.55727321328072321</c:v>
                </c:pt>
                <c:pt idx="4026">
                  <c:v>0.58386778528232242</c:v>
                </c:pt>
                <c:pt idx="4027">
                  <c:v>0.60875286620280389</c:v>
                </c:pt>
                <c:pt idx="4028">
                  <c:v>0.64395607231776009</c:v>
                </c:pt>
                <c:pt idx="4029">
                  <c:v>0.67104858797084166</c:v>
                </c:pt>
                <c:pt idx="4030">
                  <c:v>0.68115510940071589</c:v>
                </c:pt>
                <c:pt idx="4031">
                  <c:v>0.673745062578472</c:v>
                </c:pt>
                <c:pt idx="4032">
                  <c:v>0.66206049636511999</c:v>
                </c:pt>
                <c:pt idx="4033">
                  <c:v>0.65011615066592687</c:v>
                </c:pt>
                <c:pt idx="4034">
                  <c:v>0.65257019890652934</c:v>
                </c:pt>
                <c:pt idx="4035">
                  <c:v>0.65794386085143142</c:v>
                </c:pt>
                <c:pt idx="4036">
                  <c:v>0.6526642989350977</c:v>
                </c:pt>
                <c:pt idx="4037">
                  <c:v>0.64189653476339559</c:v>
                </c:pt>
                <c:pt idx="4038">
                  <c:v>0.63967342508833969</c:v>
                </c:pt>
                <c:pt idx="4039">
                  <c:v>0.64059910511825535</c:v>
                </c:pt>
                <c:pt idx="4040">
                  <c:v>0.63893387988635697</c:v>
                </c:pt>
                <c:pt idx="4041">
                  <c:v>0.63743312624473836</c:v>
                </c:pt>
                <c:pt idx="4042">
                  <c:v>0.62756015044689217</c:v>
                </c:pt>
                <c:pt idx="4043">
                  <c:v>0.61756791345364648</c:v>
                </c:pt>
                <c:pt idx="4044">
                  <c:v>0.60682590052930097</c:v>
                </c:pt>
                <c:pt idx="4045">
                  <c:v>0.59559549909638676</c:v>
                </c:pt>
                <c:pt idx="4046">
                  <c:v>0.58618796894309155</c:v>
                </c:pt>
                <c:pt idx="4047">
                  <c:v>0.57750235901845581</c:v>
                </c:pt>
                <c:pt idx="4048">
                  <c:v>0.56496388769378858</c:v>
                </c:pt>
                <c:pt idx="4049">
                  <c:v>0.54675070480219168</c:v>
                </c:pt>
                <c:pt idx="4050">
                  <c:v>0.52875410605388906</c:v>
                </c:pt>
                <c:pt idx="4051">
                  <c:v>0.521698741122684</c:v>
                </c:pt>
                <c:pt idx="4052">
                  <c:v>0.52557513460184846</c:v>
                </c:pt>
                <c:pt idx="4053">
                  <c:v>0.54793101737156169</c:v>
                </c:pt>
                <c:pt idx="4054">
                  <c:v>0.56670592645782847</c:v>
                </c:pt>
                <c:pt idx="4055">
                  <c:v>0.56986997067129153</c:v>
                </c:pt>
                <c:pt idx="4056">
                  <c:v>0.55628098505676049</c:v>
                </c:pt>
                <c:pt idx="4057">
                  <c:v>0.54548316697114763</c:v>
                </c:pt>
                <c:pt idx="4058">
                  <c:v>0.51052557956292577</c:v>
                </c:pt>
                <c:pt idx="4059">
                  <c:v>0.46955414625889691</c:v>
                </c:pt>
                <c:pt idx="4060">
                  <c:v>0.44234345116299029</c:v>
                </c:pt>
                <c:pt idx="4061">
                  <c:v>0.42927391500225193</c:v>
                </c:pt>
                <c:pt idx="4062">
                  <c:v>0.42227203988255152</c:v>
                </c:pt>
                <c:pt idx="4063">
                  <c:v>0.4132030323009917</c:v>
                </c:pt>
                <c:pt idx="4064">
                  <c:v>0.3969397051893539</c:v>
                </c:pt>
                <c:pt idx="4065">
                  <c:v>0.37228974379665108</c:v>
                </c:pt>
                <c:pt idx="4066">
                  <c:v>0.35649341472405033</c:v>
                </c:pt>
                <c:pt idx="4067">
                  <c:v>0.35474368317427696</c:v>
                </c:pt>
                <c:pt idx="4068">
                  <c:v>0.35169907919597015</c:v>
                </c:pt>
                <c:pt idx="4069">
                  <c:v>0.3458818433153667</c:v>
                </c:pt>
                <c:pt idx="4070">
                  <c:v>0.34223285450290025</c:v>
                </c:pt>
                <c:pt idx="4071">
                  <c:v>0.35158244058579641</c:v>
                </c:pt>
                <c:pt idx="4072">
                  <c:v>0.37931728320352509</c:v>
                </c:pt>
                <c:pt idx="4073">
                  <c:v>0.42217479937733654</c:v>
                </c:pt>
                <c:pt idx="4074">
                  <c:v>0.46651855703274508</c:v>
                </c:pt>
                <c:pt idx="4075">
                  <c:v>0.52692299768033013</c:v>
                </c:pt>
                <c:pt idx="4076">
                  <c:v>0.57962683593178488</c:v>
                </c:pt>
                <c:pt idx="4077">
                  <c:v>0.59812618803815532</c:v>
                </c:pt>
                <c:pt idx="4078">
                  <c:v>0.60096192714273611</c:v>
                </c:pt>
                <c:pt idx="4079">
                  <c:v>0.60214541078641315</c:v>
                </c:pt>
                <c:pt idx="4080">
                  <c:v>0.60183099699101783</c:v>
                </c:pt>
                <c:pt idx="4081">
                  <c:v>0.59792905842047916</c:v>
                </c:pt>
                <c:pt idx="4082">
                  <c:v>0.58897304569445263</c:v>
                </c:pt>
                <c:pt idx="4083">
                  <c:v>0.57898669901421329</c:v>
                </c:pt>
                <c:pt idx="4084">
                  <c:v>0.56964244369972927</c:v>
                </c:pt>
                <c:pt idx="4085">
                  <c:v>0.56263411587215939</c:v>
                </c:pt>
                <c:pt idx="4086">
                  <c:v>0.55707090275712434</c:v>
                </c:pt>
                <c:pt idx="4087">
                  <c:v>0.54470294187749912</c:v>
                </c:pt>
                <c:pt idx="4088">
                  <c:v>0.54201415805626929</c:v>
                </c:pt>
                <c:pt idx="4089">
                  <c:v>0.55045666896051015</c:v>
                </c:pt>
                <c:pt idx="4090">
                  <c:v>0.57104571805535043</c:v>
                </c:pt>
                <c:pt idx="4091">
                  <c:v>0.58483480899947871</c:v>
                </c:pt>
                <c:pt idx="4092">
                  <c:v>0.58200064718019207</c:v>
                </c:pt>
                <c:pt idx="4093">
                  <c:v>0.55635140198524924</c:v>
                </c:pt>
                <c:pt idx="4094">
                  <c:v>0.54079728599282662</c:v>
                </c:pt>
                <c:pt idx="4095">
                  <c:v>0.53363904832144948</c:v>
                </c:pt>
                <c:pt idx="4096">
                  <c:v>0.54207438686471932</c:v>
                </c:pt>
                <c:pt idx="4097">
                  <c:v>0.5536338411858851</c:v>
                </c:pt>
                <c:pt idx="4098">
                  <c:v>0.56799908403346511</c:v>
                </c:pt>
                <c:pt idx="4099">
                  <c:v>0.58693516306163906</c:v>
                </c:pt>
                <c:pt idx="4100">
                  <c:v>0.60494931277531738</c:v>
                </c:pt>
                <c:pt idx="4101">
                  <c:v>0.62748251522335752</c:v>
                </c:pt>
                <c:pt idx="4102">
                  <c:v>0.64362418539352051</c:v>
                </c:pt>
                <c:pt idx="4103">
                  <c:v>0.64752025508810385</c:v>
                </c:pt>
                <c:pt idx="4104">
                  <c:v>0.63521964959044042</c:v>
                </c:pt>
                <c:pt idx="4105">
                  <c:v>0.6012896062870382</c:v>
                </c:pt>
                <c:pt idx="4106">
                  <c:v>0.55664422117155465</c:v>
                </c:pt>
                <c:pt idx="4107">
                  <c:v>0.5327075866742732</c:v>
                </c:pt>
                <c:pt idx="4108">
                  <c:v>0.52691669660858009</c:v>
                </c:pt>
                <c:pt idx="4109">
                  <c:v>0.53771127553696019</c:v>
                </c:pt>
                <c:pt idx="4110">
                  <c:v>0.58279224440231392</c:v>
                </c:pt>
                <c:pt idx="4111">
                  <c:v>0.62899599002884887</c:v>
                </c:pt>
                <c:pt idx="4112">
                  <c:v>0.66856550110959156</c:v>
                </c:pt>
                <c:pt idx="4113">
                  <c:v>0.7040398911428678</c:v>
                </c:pt>
                <c:pt idx="4114">
                  <c:v>0.73334009562689106</c:v>
                </c:pt>
                <c:pt idx="4115">
                  <c:v>0.75604418366907178</c:v>
                </c:pt>
                <c:pt idx="4116">
                  <c:v>0.77680236901795308</c:v>
                </c:pt>
                <c:pt idx="4117">
                  <c:v>0.79836648739077776</c:v>
                </c:pt>
                <c:pt idx="4118">
                  <c:v>0.81818180048805356</c:v>
                </c:pt>
                <c:pt idx="4119">
                  <c:v>0.82895824931823692</c:v>
                </c:pt>
                <c:pt idx="4120">
                  <c:v>0.82674916480018945</c:v>
                </c:pt>
                <c:pt idx="4121">
                  <c:v>0.8150576984107164</c:v>
                </c:pt>
                <c:pt idx="4122">
                  <c:v>0.81689755060724867</c:v>
                </c:pt>
                <c:pt idx="4123">
                  <c:v>0.83608630561593911</c:v>
                </c:pt>
                <c:pt idx="4124">
                  <c:v>0.84773459690463093</c:v>
                </c:pt>
                <c:pt idx="4125">
                  <c:v>0.85473693471706325</c:v>
                </c:pt>
                <c:pt idx="4126">
                  <c:v>0.84327195186711656</c:v>
                </c:pt>
                <c:pt idx="4127">
                  <c:v>0.8249564467255921</c:v>
                </c:pt>
                <c:pt idx="4128">
                  <c:v>0.80521161596546331</c:v>
                </c:pt>
                <c:pt idx="4129">
                  <c:v>0.78659569652546912</c:v>
                </c:pt>
                <c:pt idx="4130">
                  <c:v>0.77150711062750532</c:v>
                </c:pt>
                <c:pt idx="4131">
                  <c:v>0.76089690775800878</c:v>
                </c:pt>
                <c:pt idx="4132">
                  <c:v>0.75434182776019021</c:v>
                </c:pt>
                <c:pt idx="4133">
                  <c:v>0.75749949089075563</c:v>
                </c:pt>
                <c:pt idx="4134">
                  <c:v>0.76848635145551591</c:v>
                </c:pt>
                <c:pt idx="4135">
                  <c:v>0.78418308932721104</c:v>
                </c:pt>
                <c:pt idx="4136">
                  <c:v>0.79743763337258355</c:v>
                </c:pt>
                <c:pt idx="4137">
                  <c:v>0.80960945784640537</c:v>
                </c:pt>
                <c:pt idx="4138">
                  <c:v>0.81589249184594648</c:v>
                </c:pt>
                <c:pt idx="4139">
                  <c:v>0.81783533008050824</c:v>
                </c:pt>
                <c:pt idx="4140">
                  <c:v>0.80176567273342902</c:v>
                </c:pt>
                <c:pt idx="4141">
                  <c:v>0.78077416081202833</c:v>
                </c:pt>
                <c:pt idx="4142">
                  <c:v>0.76268460767500157</c:v>
                </c:pt>
                <c:pt idx="4143">
                  <c:v>0.73793624641427658</c:v>
                </c:pt>
                <c:pt idx="4144">
                  <c:v>0.70495888047357091</c:v>
                </c:pt>
                <c:pt idx="4145">
                  <c:v>0.66040398692266677</c:v>
                </c:pt>
                <c:pt idx="4146">
                  <c:v>0.60341075839640979</c:v>
                </c:pt>
                <c:pt idx="4147">
                  <c:v>0.54184426677646458</c:v>
                </c:pt>
                <c:pt idx="4148">
                  <c:v>0.48070971344648594</c:v>
                </c:pt>
                <c:pt idx="4149">
                  <c:v>0.42807950412138529</c:v>
                </c:pt>
                <c:pt idx="4150">
                  <c:v>0.40026982143538525</c:v>
                </c:pt>
                <c:pt idx="4151">
                  <c:v>0.45035448656654714</c:v>
                </c:pt>
                <c:pt idx="4152">
                  <c:v>0.49686018802627618</c:v>
                </c:pt>
                <c:pt idx="4153">
                  <c:v>0.52811956945494687</c:v>
                </c:pt>
                <c:pt idx="4154">
                  <c:v>0.56118554757394945</c:v>
                </c:pt>
                <c:pt idx="4155">
                  <c:v>0.60310490369675551</c:v>
                </c:pt>
                <c:pt idx="4156">
                  <c:v>0.65008890439187517</c:v>
                </c:pt>
                <c:pt idx="4157">
                  <c:v>0.68540040386920531</c:v>
                </c:pt>
                <c:pt idx="4158">
                  <c:v>0.70688928441632848</c:v>
                </c:pt>
                <c:pt idx="4159">
                  <c:v>0.72261993096005217</c:v>
                </c:pt>
                <c:pt idx="4160">
                  <c:v>0.73638258093628095</c:v>
                </c:pt>
                <c:pt idx="4161">
                  <c:v>0.74219507973054955</c:v>
                </c:pt>
                <c:pt idx="4162">
                  <c:v>0.73763164759221223</c:v>
                </c:pt>
                <c:pt idx="4163">
                  <c:v>0.71584142820784447</c:v>
                </c:pt>
                <c:pt idx="4164">
                  <c:v>0.70128093720396623</c:v>
                </c:pt>
                <c:pt idx="4165">
                  <c:v>0.69783340325673515</c:v>
                </c:pt>
                <c:pt idx="4166">
                  <c:v>0.70209401585679321</c:v>
                </c:pt>
                <c:pt idx="4167">
                  <c:v>0.71183058422358436</c:v>
                </c:pt>
                <c:pt idx="4168">
                  <c:v>0.72723172085774601</c:v>
                </c:pt>
                <c:pt idx="4169">
                  <c:v>0.74435457616428735</c:v>
                </c:pt>
                <c:pt idx="4170">
                  <c:v>0.75965719558386779</c:v>
                </c:pt>
                <c:pt idx="4171">
                  <c:v>0.76959293575364618</c:v>
                </c:pt>
                <c:pt idx="4172">
                  <c:v>0.76959293575364618</c:v>
                </c:pt>
                <c:pt idx="4173">
                  <c:v>0.76098030475453537</c:v>
                </c:pt>
                <c:pt idx="4174">
                  <c:v>0.75251234551431301</c:v>
                </c:pt>
                <c:pt idx="4175">
                  <c:v>0.74730460697293477</c:v>
                </c:pt>
                <c:pt idx="4176">
                  <c:v>0.75289317039203307</c:v>
                </c:pt>
                <c:pt idx="4177">
                  <c:v>0.77204271827626725</c:v>
                </c:pt>
                <c:pt idx="4178">
                  <c:v>0.78732956339765114</c:v>
                </c:pt>
                <c:pt idx="4179">
                  <c:v>0.79906255473479537</c:v>
                </c:pt>
                <c:pt idx="4180">
                  <c:v>0.80692140167332727</c:v>
                </c:pt>
                <c:pt idx="4181">
                  <c:v>0.80134095619956869</c:v>
                </c:pt>
                <c:pt idx="4182">
                  <c:v>0.79306086050244029</c:v>
                </c:pt>
                <c:pt idx="4183">
                  <c:v>0.7807747318842353</c:v>
                </c:pt>
                <c:pt idx="4184">
                  <c:v>0.76184077313427589</c:v>
                </c:pt>
                <c:pt idx="4185">
                  <c:v>0.72455802755942489</c:v>
                </c:pt>
                <c:pt idx="4186">
                  <c:v>0.6714463144268169</c:v>
                </c:pt>
                <c:pt idx="4187">
                  <c:v>0.61505473065769312</c:v>
                </c:pt>
                <c:pt idx="4188">
                  <c:v>0.56449641770219228</c:v>
                </c:pt>
                <c:pt idx="4189">
                  <c:v>0.50969227711113774</c:v>
                </c:pt>
                <c:pt idx="4190">
                  <c:v>0.43244583964968875</c:v>
                </c:pt>
                <c:pt idx="4191">
                  <c:v>0.33290012045435485</c:v>
                </c:pt>
                <c:pt idx="4192">
                  <c:v>0.20707472929051973</c:v>
                </c:pt>
                <c:pt idx="4193">
                  <c:v>0.1377739481121677</c:v>
                </c:pt>
                <c:pt idx="4194">
                  <c:v>0.10746391358413621</c:v>
                </c:pt>
                <c:pt idx="4195">
                  <c:v>0.10669372548630225</c:v>
                </c:pt>
                <c:pt idx="4196">
                  <c:v>0.10669372548630225</c:v>
                </c:pt>
                <c:pt idx="4197">
                  <c:v>0.10669372548630225</c:v>
                </c:pt>
                <c:pt idx="4198">
                  <c:v>0.10669372548630225</c:v>
                </c:pt>
                <c:pt idx="4199">
                  <c:v>0.10669372548630225</c:v>
                </c:pt>
                <c:pt idx="4200">
                  <c:v>0.10669372548630225</c:v>
                </c:pt>
                <c:pt idx="4201">
                  <c:v>0.10669372548630225</c:v>
                </c:pt>
                <c:pt idx="4202">
                  <c:v>0.10669372548630225</c:v>
                </c:pt>
                <c:pt idx="4203">
                  <c:v>0.10024974421915368</c:v>
                </c:pt>
                <c:pt idx="4204">
                  <c:v>9.0172343345370568E-2</c:v>
                </c:pt>
                <c:pt idx="4205">
                  <c:v>6.998640000259336E-2</c:v>
                </c:pt>
                <c:pt idx="4206">
                  <c:v>0</c:v>
                </c:pt>
                <c:pt idx="4207">
                  <c:v>0</c:v>
                </c:pt>
                <c:pt idx="4208">
                  <c:v>0</c:v>
                </c:pt>
                <c:pt idx="4209">
                  <c:v>0</c:v>
                </c:pt>
                <c:pt idx="4210">
                  <c:v>0</c:v>
                </c:pt>
                <c:pt idx="4211">
                  <c:v>0</c:v>
                </c:pt>
                <c:pt idx="4212">
                  <c:v>0</c:v>
                </c:pt>
                <c:pt idx="4213">
                  <c:v>0</c:v>
                </c:pt>
                <c:pt idx="4214">
                  <c:v>0</c:v>
                </c:pt>
                <c:pt idx="4215">
                  <c:v>0</c:v>
                </c:pt>
                <c:pt idx="4216">
                  <c:v>0</c:v>
                </c:pt>
                <c:pt idx="4217">
                  <c:v>0</c:v>
                </c:pt>
                <c:pt idx="4218">
                  <c:v>0</c:v>
                </c:pt>
                <c:pt idx="4219">
                  <c:v>0</c:v>
                </c:pt>
                <c:pt idx="4220">
                  <c:v>0</c:v>
                </c:pt>
                <c:pt idx="4221">
                  <c:v>0</c:v>
                </c:pt>
                <c:pt idx="4222">
                  <c:v>0</c:v>
                </c:pt>
                <c:pt idx="4223">
                  <c:v>0</c:v>
                </c:pt>
                <c:pt idx="4224">
                  <c:v>0</c:v>
                </c:pt>
                <c:pt idx="4225">
                  <c:v>0</c:v>
                </c:pt>
                <c:pt idx="4226">
                  <c:v>0</c:v>
                </c:pt>
                <c:pt idx="4227">
                  <c:v>0</c:v>
                </c:pt>
                <c:pt idx="4228">
                  <c:v>0</c:v>
                </c:pt>
                <c:pt idx="4229">
                  <c:v>0</c:v>
                </c:pt>
                <c:pt idx="4230">
                  <c:v>0</c:v>
                </c:pt>
                <c:pt idx="4231">
                  <c:v>0</c:v>
                </c:pt>
                <c:pt idx="4232">
                  <c:v>0</c:v>
                </c:pt>
                <c:pt idx="4233">
                  <c:v>0</c:v>
                </c:pt>
                <c:pt idx="4234">
                  <c:v>0</c:v>
                </c:pt>
                <c:pt idx="4235">
                  <c:v>0</c:v>
                </c:pt>
                <c:pt idx="4236">
                  <c:v>0</c:v>
                </c:pt>
                <c:pt idx="4237">
                  <c:v>0</c:v>
                </c:pt>
                <c:pt idx="4238">
                  <c:v>0</c:v>
                </c:pt>
                <c:pt idx="4239">
                  <c:v>0</c:v>
                </c:pt>
                <c:pt idx="4240">
                  <c:v>0</c:v>
                </c:pt>
                <c:pt idx="4241">
                  <c:v>0</c:v>
                </c:pt>
                <c:pt idx="4242">
                  <c:v>0</c:v>
                </c:pt>
                <c:pt idx="4243">
                  <c:v>0</c:v>
                </c:pt>
                <c:pt idx="4244">
                  <c:v>0</c:v>
                </c:pt>
                <c:pt idx="4245">
                  <c:v>0</c:v>
                </c:pt>
                <c:pt idx="4246">
                  <c:v>0</c:v>
                </c:pt>
                <c:pt idx="4247">
                  <c:v>0</c:v>
                </c:pt>
                <c:pt idx="4248">
                  <c:v>0</c:v>
                </c:pt>
                <c:pt idx="4249">
                  <c:v>0</c:v>
                </c:pt>
                <c:pt idx="4250">
                  <c:v>0</c:v>
                </c:pt>
                <c:pt idx="4251">
                  <c:v>0</c:v>
                </c:pt>
                <c:pt idx="4252">
                  <c:v>0</c:v>
                </c:pt>
                <c:pt idx="4253">
                  <c:v>0</c:v>
                </c:pt>
                <c:pt idx="4254">
                  <c:v>0</c:v>
                </c:pt>
                <c:pt idx="4255">
                  <c:v>0</c:v>
                </c:pt>
                <c:pt idx="4256">
                  <c:v>0</c:v>
                </c:pt>
                <c:pt idx="4257">
                  <c:v>0</c:v>
                </c:pt>
                <c:pt idx="4258">
                  <c:v>0</c:v>
                </c:pt>
                <c:pt idx="4259">
                  <c:v>0</c:v>
                </c:pt>
                <c:pt idx="4260">
                  <c:v>0</c:v>
                </c:pt>
                <c:pt idx="4261">
                  <c:v>0</c:v>
                </c:pt>
                <c:pt idx="4262">
                  <c:v>0</c:v>
                </c:pt>
                <c:pt idx="4263">
                  <c:v>0</c:v>
                </c:pt>
                <c:pt idx="4264">
                  <c:v>0</c:v>
                </c:pt>
                <c:pt idx="4265">
                  <c:v>0</c:v>
                </c:pt>
                <c:pt idx="4266">
                  <c:v>0</c:v>
                </c:pt>
                <c:pt idx="4267">
                  <c:v>0</c:v>
                </c:pt>
                <c:pt idx="4268">
                  <c:v>0</c:v>
                </c:pt>
                <c:pt idx="4269">
                  <c:v>0</c:v>
                </c:pt>
                <c:pt idx="4270">
                  <c:v>0</c:v>
                </c:pt>
                <c:pt idx="4271">
                  <c:v>0</c:v>
                </c:pt>
                <c:pt idx="4272">
                  <c:v>0</c:v>
                </c:pt>
                <c:pt idx="4273">
                  <c:v>0</c:v>
                </c:pt>
                <c:pt idx="4274">
                  <c:v>0</c:v>
                </c:pt>
                <c:pt idx="4275">
                  <c:v>0</c:v>
                </c:pt>
                <c:pt idx="4276">
                  <c:v>0</c:v>
                </c:pt>
                <c:pt idx="4277">
                  <c:v>0</c:v>
                </c:pt>
                <c:pt idx="4278">
                  <c:v>0</c:v>
                </c:pt>
                <c:pt idx="4279">
                  <c:v>0</c:v>
                </c:pt>
                <c:pt idx="4280">
                  <c:v>0</c:v>
                </c:pt>
                <c:pt idx="4281">
                  <c:v>0</c:v>
                </c:pt>
                <c:pt idx="4282">
                  <c:v>0</c:v>
                </c:pt>
                <c:pt idx="4283">
                  <c:v>0</c:v>
                </c:pt>
                <c:pt idx="4284">
                  <c:v>0</c:v>
                </c:pt>
                <c:pt idx="4285">
                  <c:v>0</c:v>
                </c:pt>
                <c:pt idx="4286">
                  <c:v>0</c:v>
                </c:pt>
                <c:pt idx="4287">
                  <c:v>0</c:v>
                </c:pt>
                <c:pt idx="4288">
                  <c:v>0</c:v>
                </c:pt>
                <c:pt idx="4289">
                  <c:v>0</c:v>
                </c:pt>
                <c:pt idx="4290">
                  <c:v>0</c:v>
                </c:pt>
                <c:pt idx="4291">
                  <c:v>0</c:v>
                </c:pt>
                <c:pt idx="4292">
                  <c:v>0</c:v>
                </c:pt>
                <c:pt idx="4293">
                  <c:v>0</c:v>
                </c:pt>
                <c:pt idx="4294">
                  <c:v>0</c:v>
                </c:pt>
                <c:pt idx="4295">
                  <c:v>0</c:v>
                </c:pt>
                <c:pt idx="4296">
                  <c:v>0</c:v>
                </c:pt>
                <c:pt idx="4297">
                  <c:v>0</c:v>
                </c:pt>
                <c:pt idx="4298">
                  <c:v>0</c:v>
                </c:pt>
                <c:pt idx="4299">
                  <c:v>0</c:v>
                </c:pt>
                <c:pt idx="4300">
                  <c:v>0</c:v>
                </c:pt>
                <c:pt idx="4301">
                  <c:v>0</c:v>
                </c:pt>
                <c:pt idx="4302">
                  <c:v>0</c:v>
                </c:pt>
                <c:pt idx="4303">
                  <c:v>0</c:v>
                </c:pt>
                <c:pt idx="4304">
                  <c:v>0</c:v>
                </c:pt>
                <c:pt idx="4305">
                  <c:v>0</c:v>
                </c:pt>
                <c:pt idx="4306">
                  <c:v>0</c:v>
                </c:pt>
                <c:pt idx="4307">
                  <c:v>0</c:v>
                </c:pt>
                <c:pt idx="4308">
                  <c:v>0</c:v>
                </c:pt>
                <c:pt idx="4309">
                  <c:v>0</c:v>
                </c:pt>
                <c:pt idx="4310">
                  <c:v>0</c:v>
                </c:pt>
                <c:pt idx="4311">
                  <c:v>0</c:v>
                </c:pt>
                <c:pt idx="4312">
                  <c:v>0</c:v>
                </c:pt>
                <c:pt idx="4313">
                  <c:v>0</c:v>
                </c:pt>
                <c:pt idx="4314">
                  <c:v>0</c:v>
                </c:pt>
                <c:pt idx="4315">
                  <c:v>0</c:v>
                </c:pt>
                <c:pt idx="4316">
                  <c:v>0</c:v>
                </c:pt>
                <c:pt idx="4317">
                  <c:v>0</c:v>
                </c:pt>
                <c:pt idx="4318">
                  <c:v>0</c:v>
                </c:pt>
                <c:pt idx="4319">
                  <c:v>0</c:v>
                </c:pt>
                <c:pt idx="4320">
                  <c:v>0</c:v>
                </c:pt>
                <c:pt idx="4321">
                  <c:v>0</c:v>
                </c:pt>
                <c:pt idx="4322">
                  <c:v>0</c:v>
                </c:pt>
                <c:pt idx="4323">
                  <c:v>0</c:v>
                </c:pt>
                <c:pt idx="4324">
                  <c:v>0</c:v>
                </c:pt>
                <c:pt idx="4325">
                  <c:v>0</c:v>
                </c:pt>
                <c:pt idx="4326">
                  <c:v>0</c:v>
                </c:pt>
                <c:pt idx="4327">
                  <c:v>0</c:v>
                </c:pt>
                <c:pt idx="4328">
                  <c:v>0</c:v>
                </c:pt>
                <c:pt idx="4329">
                  <c:v>0</c:v>
                </c:pt>
                <c:pt idx="4330">
                  <c:v>0</c:v>
                </c:pt>
                <c:pt idx="4331">
                  <c:v>0</c:v>
                </c:pt>
                <c:pt idx="4332">
                  <c:v>0</c:v>
                </c:pt>
                <c:pt idx="4333">
                  <c:v>0</c:v>
                </c:pt>
                <c:pt idx="4334">
                  <c:v>0</c:v>
                </c:pt>
                <c:pt idx="4335">
                  <c:v>0</c:v>
                </c:pt>
                <c:pt idx="4336">
                  <c:v>0</c:v>
                </c:pt>
                <c:pt idx="4337">
                  <c:v>0</c:v>
                </c:pt>
                <c:pt idx="4338">
                  <c:v>0</c:v>
                </c:pt>
                <c:pt idx="4339">
                  <c:v>0</c:v>
                </c:pt>
                <c:pt idx="4340">
                  <c:v>0</c:v>
                </c:pt>
                <c:pt idx="4341">
                  <c:v>0</c:v>
                </c:pt>
                <c:pt idx="4342">
                  <c:v>0</c:v>
                </c:pt>
                <c:pt idx="4343">
                  <c:v>0</c:v>
                </c:pt>
                <c:pt idx="4344">
                  <c:v>0</c:v>
                </c:pt>
                <c:pt idx="4345">
                  <c:v>0</c:v>
                </c:pt>
                <c:pt idx="4346">
                  <c:v>0</c:v>
                </c:pt>
                <c:pt idx="4347">
                  <c:v>0</c:v>
                </c:pt>
                <c:pt idx="4348">
                  <c:v>0</c:v>
                </c:pt>
                <c:pt idx="4349">
                  <c:v>0</c:v>
                </c:pt>
                <c:pt idx="4350">
                  <c:v>0</c:v>
                </c:pt>
                <c:pt idx="4351">
                  <c:v>0</c:v>
                </c:pt>
                <c:pt idx="4352">
                  <c:v>0</c:v>
                </c:pt>
                <c:pt idx="4353">
                  <c:v>0</c:v>
                </c:pt>
                <c:pt idx="4354">
                  <c:v>0</c:v>
                </c:pt>
                <c:pt idx="4355">
                  <c:v>0</c:v>
                </c:pt>
                <c:pt idx="4356">
                  <c:v>0</c:v>
                </c:pt>
                <c:pt idx="4357">
                  <c:v>0</c:v>
                </c:pt>
                <c:pt idx="4358">
                  <c:v>0</c:v>
                </c:pt>
                <c:pt idx="4359">
                  <c:v>0</c:v>
                </c:pt>
                <c:pt idx="4360">
                  <c:v>0</c:v>
                </c:pt>
                <c:pt idx="4361">
                  <c:v>0</c:v>
                </c:pt>
                <c:pt idx="4362">
                  <c:v>0</c:v>
                </c:pt>
                <c:pt idx="4363">
                  <c:v>0</c:v>
                </c:pt>
                <c:pt idx="4364">
                  <c:v>0</c:v>
                </c:pt>
                <c:pt idx="4365">
                  <c:v>0</c:v>
                </c:pt>
                <c:pt idx="4366">
                  <c:v>0</c:v>
                </c:pt>
                <c:pt idx="4367">
                  <c:v>0</c:v>
                </c:pt>
                <c:pt idx="4368">
                  <c:v>0</c:v>
                </c:pt>
                <c:pt idx="4369">
                  <c:v>0</c:v>
                </c:pt>
                <c:pt idx="4370">
                  <c:v>0</c:v>
                </c:pt>
                <c:pt idx="4371">
                  <c:v>0</c:v>
                </c:pt>
                <c:pt idx="4372">
                  <c:v>0</c:v>
                </c:pt>
                <c:pt idx="4373">
                  <c:v>0</c:v>
                </c:pt>
                <c:pt idx="4374">
                  <c:v>0</c:v>
                </c:pt>
                <c:pt idx="4375">
                  <c:v>0</c:v>
                </c:pt>
                <c:pt idx="4376">
                  <c:v>0</c:v>
                </c:pt>
                <c:pt idx="4377">
                  <c:v>0</c:v>
                </c:pt>
                <c:pt idx="4378">
                  <c:v>0</c:v>
                </c:pt>
                <c:pt idx="4379">
                  <c:v>0</c:v>
                </c:pt>
                <c:pt idx="4380">
                  <c:v>0</c:v>
                </c:pt>
                <c:pt idx="4381">
                  <c:v>0</c:v>
                </c:pt>
                <c:pt idx="4382">
                  <c:v>0</c:v>
                </c:pt>
                <c:pt idx="4383">
                  <c:v>0</c:v>
                </c:pt>
                <c:pt idx="4384">
                  <c:v>0</c:v>
                </c:pt>
                <c:pt idx="4385">
                  <c:v>0</c:v>
                </c:pt>
                <c:pt idx="4386">
                  <c:v>0</c:v>
                </c:pt>
                <c:pt idx="4387">
                  <c:v>0</c:v>
                </c:pt>
                <c:pt idx="4388">
                  <c:v>0</c:v>
                </c:pt>
                <c:pt idx="4389">
                  <c:v>0</c:v>
                </c:pt>
                <c:pt idx="4390">
                  <c:v>0</c:v>
                </c:pt>
                <c:pt idx="4391">
                  <c:v>0</c:v>
                </c:pt>
                <c:pt idx="4392">
                  <c:v>0</c:v>
                </c:pt>
                <c:pt idx="4393">
                  <c:v>0</c:v>
                </c:pt>
                <c:pt idx="4394">
                  <c:v>0</c:v>
                </c:pt>
                <c:pt idx="4395">
                  <c:v>0</c:v>
                </c:pt>
                <c:pt idx="4396">
                  <c:v>0</c:v>
                </c:pt>
                <c:pt idx="4397">
                  <c:v>0</c:v>
                </c:pt>
                <c:pt idx="4398">
                  <c:v>0</c:v>
                </c:pt>
                <c:pt idx="4399">
                  <c:v>0</c:v>
                </c:pt>
                <c:pt idx="4400">
                  <c:v>0</c:v>
                </c:pt>
                <c:pt idx="4401">
                  <c:v>0</c:v>
                </c:pt>
                <c:pt idx="4402">
                  <c:v>0</c:v>
                </c:pt>
                <c:pt idx="4403">
                  <c:v>0</c:v>
                </c:pt>
                <c:pt idx="4404">
                  <c:v>0</c:v>
                </c:pt>
                <c:pt idx="4405">
                  <c:v>0</c:v>
                </c:pt>
                <c:pt idx="4406">
                  <c:v>0</c:v>
                </c:pt>
                <c:pt idx="4407">
                  <c:v>0</c:v>
                </c:pt>
                <c:pt idx="4408">
                  <c:v>0</c:v>
                </c:pt>
                <c:pt idx="4409">
                  <c:v>0</c:v>
                </c:pt>
                <c:pt idx="4410">
                  <c:v>0</c:v>
                </c:pt>
                <c:pt idx="4411">
                  <c:v>0</c:v>
                </c:pt>
                <c:pt idx="4412">
                  <c:v>0</c:v>
                </c:pt>
                <c:pt idx="4413">
                  <c:v>0</c:v>
                </c:pt>
                <c:pt idx="4414">
                  <c:v>0</c:v>
                </c:pt>
                <c:pt idx="4415">
                  <c:v>0</c:v>
                </c:pt>
                <c:pt idx="4416">
                  <c:v>0</c:v>
                </c:pt>
                <c:pt idx="4417">
                  <c:v>0</c:v>
                </c:pt>
                <c:pt idx="4418">
                  <c:v>0</c:v>
                </c:pt>
                <c:pt idx="4419">
                  <c:v>0</c:v>
                </c:pt>
                <c:pt idx="4420">
                  <c:v>0</c:v>
                </c:pt>
                <c:pt idx="4421">
                  <c:v>0</c:v>
                </c:pt>
                <c:pt idx="4422">
                  <c:v>0</c:v>
                </c:pt>
                <c:pt idx="4423">
                  <c:v>0</c:v>
                </c:pt>
                <c:pt idx="4424">
                  <c:v>0</c:v>
                </c:pt>
                <c:pt idx="4425">
                  <c:v>0</c:v>
                </c:pt>
                <c:pt idx="4426">
                  <c:v>0</c:v>
                </c:pt>
                <c:pt idx="4427">
                  <c:v>0</c:v>
                </c:pt>
                <c:pt idx="4428">
                  <c:v>0</c:v>
                </c:pt>
                <c:pt idx="4429">
                  <c:v>0</c:v>
                </c:pt>
                <c:pt idx="4430">
                  <c:v>0</c:v>
                </c:pt>
                <c:pt idx="4431">
                  <c:v>0</c:v>
                </c:pt>
                <c:pt idx="4432">
                  <c:v>0</c:v>
                </c:pt>
                <c:pt idx="4433">
                  <c:v>0</c:v>
                </c:pt>
                <c:pt idx="4434">
                  <c:v>0</c:v>
                </c:pt>
                <c:pt idx="4435">
                  <c:v>0</c:v>
                </c:pt>
                <c:pt idx="4436">
                  <c:v>0</c:v>
                </c:pt>
                <c:pt idx="4437">
                  <c:v>0</c:v>
                </c:pt>
                <c:pt idx="4438">
                  <c:v>0</c:v>
                </c:pt>
                <c:pt idx="4439">
                  <c:v>0</c:v>
                </c:pt>
                <c:pt idx="4440">
                  <c:v>0</c:v>
                </c:pt>
                <c:pt idx="4441">
                  <c:v>0</c:v>
                </c:pt>
                <c:pt idx="4442">
                  <c:v>0</c:v>
                </c:pt>
                <c:pt idx="4443">
                  <c:v>0</c:v>
                </c:pt>
                <c:pt idx="4444">
                  <c:v>0</c:v>
                </c:pt>
                <c:pt idx="4445">
                  <c:v>0</c:v>
                </c:pt>
                <c:pt idx="4446">
                  <c:v>0</c:v>
                </c:pt>
                <c:pt idx="4447">
                  <c:v>0</c:v>
                </c:pt>
                <c:pt idx="4448">
                  <c:v>0</c:v>
                </c:pt>
                <c:pt idx="4449">
                  <c:v>0</c:v>
                </c:pt>
                <c:pt idx="4450">
                  <c:v>0</c:v>
                </c:pt>
                <c:pt idx="4451">
                  <c:v>0</c:v>
                </c:pt>
                <c:pt idx="4452">
                  <c:v>0</c:v>
                </c:pt>
                <c:pt idx="4453">
                  <c:v>0</c:v>
                </c:pt>
                <c:pt idx="4454">
                  <c:v>0</c:v>
                </c:pt>
                <c:pt idx="4455">
                  <c:v>0</c:v>
                </c:pt>
                <c:pt idx="4456">
                  <c:v>0</c:v>
                </c:pt>
                <c:pt idx="4457">
                  <c:v>0</c:v>
                </c:pt>
                <c:pt idx="4458">
                  <c:v>0</c:v>
                </c:pt>
                <c:pt idx="4459">
                  <c:v>0</c:v>
                </c:pt>
                <c:pt idx="4460">
                  <c:v>0</c:v>
                </c:pt>
                <c:pt idx="4461">
                  <c:v>0</c:v>
                </c:pt>
                <c:pt idx="4462">
                  <c:v>0</c:v>
                </c:pt>
                <c:pt idx="4463">
                  <c:v>0</c:v>
                </c:pt>
                <c:pt idx="4464">
                  <c:v>0</c:v>
                </c:pt>
                <c:pt idx="4465">
                  <c:v>0</c:v>
                </c:pt>
                <c:pt idx="4466">
                  <c:v>0</c:v>
                </c:pt>
                <c:pt idx="4467">
                  <c:v>0</c:v>
                </c:pt>
                <c:pt idx="4468">
                  <c:v>0</c:v>
                </c:pt>
                <c:pt idx="4469">
                  <c:v>0</c:v>
                </c:pt>
                <c:pt idx="4470">
                  <c:v>0</c:v>
                </c:pt>
                <c:pt idx="4471">
                  <c:v>0</c:v>
                </c:pt>
                <c:pt idx="4472">
                  <c:v>0</c:v>
                </c:pt>
                <c:pt idx="4473">
                  <c:v>0</c:v>
                </c:pt>
                <c:pt idx="4474">
                  <c:v>0</c:v>
                </c:pt>
                <c:pt idx="4475">
                  <c:v>0</c:v>
                </c:pt>
                <c:pt idx="4476">
                  <c:v>0</c:v>
                </c:pt>
                <c:pt idx="4477">
                  <c:v>0</c:v>
                </c:pt>
                <c:pt idx="4478">
                  <c:v>0</c:v>
                </c:pt>
                <c:pt idx="4479">
                  <c:v>0</c:v>
                </c:pt>
                <c:pt idx="4480">
                  <c:v>0</c:v>
                </c:pt>
                <c:pt idx="4481">
                  <c:v>0</c:v>
                </c:pt>
                <c:pt idx="4482">
                  <c:v>0</c:v>
                </c:pt>
                <c:pt idx="4483">
                  <c:v>0</c:v>
                </c:pt>
                <c:pt idx="4484">
                  <c:v>0</c:v>
                </c:pt>
                <c:pt idx="4485">
                  <c:v>0</c:v>
                </c:pt>
                <c:pt idx="4486">
                  <c:v>0</c:v>
                </c:pt>
                <c:pt idx="4487">
                  <c:v>0</c:v>
                </c:pt>
                <c:pt idx="4488">
                  <c:v>0</c:v>
                </c:pt>
                <c:pt idx="4489">
                  <c:v>0</c:v>
                </c:pt>
                <c:pt idx="4490">
                  <c:v>0</c:v>
                </c:pt>
                <c:pt idx="4491">
                  <c:v>0</c:v>
                </c:pt>
                <c:pt idx="4492">
                  <c:v>0</c:v>
                </c:pt>
                <c:pt idx="4493">
                  <c:v>0</c:v>
                </c:pt>
                <c:pt idx="4494">
                  <c:v>0</c:v>
                </c:pt>
                <c:pt idx="4495">
                  <c:v>0</c:v>
                </c:pt>
                <c:pt idx="4496">
                  <c:v>0</c:v>
                </c:pt>
                <c:pt idx="4497">
                  <c:v>0</c:v>
                </c:pt>
                <c:pt idx="4498">
                  <c:v>0</c:v>
                </c:pt>
                <c:pt idx="4499">
                  <c:v>0</c:v>
                </c:pt>
                <c:pt idx="4500">
                  <c:v>0</c:v>
                </c:pt>
                <c:pt idx="4501">
                  <c:v>0</c:v>
                </c:pt>
                <c:pt idx="4502">
                  <c:v>0</c:v>
                </c:pt>
                <c:pt idx="4503">
                  <c:v>0</c:v>
                </c:pt>
                <c:pt idx="4504">
                  <c:v>0</c:v>
                </c:pt>
                <c:pt idx="4505">
                  <c:v>0</c:v>
                </c:pt>
                <c:pt idx="4506">
                  <c:v>0</c:v>
                </c:pt>
                <c:pt idx="4507">
                  <c:v>0</c:v>
                </c:pt>
                <c:pt idx="4508">
                  <c:v>0</c:v>
                </c:pt>
                <c:pt idx="4509">
                  <c:v>0</c:v>
                </c:pt>
                <c:pt idx="4510">
                  <c:v>0</c:v>
                </c:pt>
                <c:pt idx="4511">
                  <c:v>0</c:v>
                </c:pt>
                <c:pt idx="4512">
                  <c:v>0</c:v>
                </c:pt>
                <c:pt idx="4513">
                  <c:v>0</c:v>
                </c:pt>
                <c:pt idx="4514">
                  <c:v>0</c:v>
                </c:pt>
                <c:pt idx="4515">
                  <c:v>0</c:v>
                </c:pt>
                <c:pt idx="4516">
                  <c:v>0</c:v>
                </c:pt>
                <c:pt idx="4517">
                  <c:v>0</c:v>
                </c:pt>
                <c:pt idx="4518">
                  <c:v>0</c:v>
                </c:pt>
                <c:pt idx="4519">
                  <c:v>0</c:v>
                </c:pt>
                <c:pt idx="4520">
                  <c:v>0</c:v>
                </c:pt>
                <c:pt idx="4521">
                  <c:v>0</c:v>
                </c:pt>
                <c:pt idx="4522">
                  <c:v>0</c:v>
                </c:pt>
                <c:pt idx="4523">
                  <c:v>0</c:v>
                </c:pt>
                <c:pt idx="4524">
                  <c:v>0</c:v>
                </c:pt>
                <c:pt idx="4525">
                  <c:v>0</c:v>
                </c:pt>
                <c:pt idx="4526">
                  <c:v>0</c:v>
                </c:pt>
                <c:pt idx="4527">
                  <c:v>0</c:v>
                </c:pt>
                <c:pt idx="4528">
                  <c:v>0</c:v>
                </c:pt>
                <c:pt idx="4529">
                  <c:v>0</c:v>
                </c:pt>
                <c:pt idx="4530">
                  <c:v>0</c:v>
                </c:pt>
                <c:pt idx="4531">
                  <c:v>0</c:v>
                </c:pt>
                <c:pt idx="4532">
                  <c:v>0</c:v>
                </c:pt>
                <c:pt idx="4533">
                  <c:v>0</c:v>
                </c:pt>
                <c:pt idx="4534">
                  <c:v>0</c:v>
                </c:pt>
                <c:pt idx="4535">
                  <c:v>0</c:v>
                </c:pt>
                <c:pt idx="4536">
                  <c:v>0</c:v>
                </c:pt>
                <c:pt idx="4537">
                  <c:v>0</c:v>
                </c:pt>
                <c:pt idx="4538">
                  <c:v>0</c:v>
                </c:pt>
                <c:pt idx="4539">
                  <c:v>0</c:v>
                </c:pt>
                <c:pt idx="4540">
                  <c:v>0</c:v>
                </c:pt>
                <c:pt idx="4541">
                  <c:v>0</c:v>
                </c:pt>
                <c:pt idx="4542">
                  <c:v>0</c:v>
                </c:pt>
                <c:pt idx="4543">
                  <c:v>0</c:v>
                </c:pt>
                <c:pt idx="4544">
                  <c:v>0</c:v>
                </c:pt>
                <c:pt idx="4545">
                  <c:v>0</c:v>
                </c:pt>
                <c:pt idx="4546">
                  <c:v>0</c:v>
                </c:pt>
                <c:pt idx="4547">
                  <c:v>0</c:v>
                </c:pt>
                <c:pt idx="4548">
                  <c:v>0</c:v>
                </c:pt>
                <c:pt idx="4549">
                  <c:v>0</c:v>
                </c:pt>
                <c:pt idx="4550">
                  <c:v>0</c:v>
                </c:pt>
                <c:pt idx="4551">
                  <c:v>0</c:v>
                </c:pt>
                <c:pt idx="4552">
                  <c:v>0</c:v>
                </c:pt>
                <c:pt idx="4553">
                  <c:v>0</c:v>
                </c:pt>
                <c:pt idx="4554">
                  <c:v>0</c:v>
                </c:pt>
                <c:pt idx="4555">
                  <c:v>0</c:v>
                </c:pt>
                <c:pt idx="4556">
                  <c:v>0</c:v>
                </c:pt>
                <c:pt idx="4557">
                  <c:v>0</c:v>
                </c:pt>
                <c:pt idx="4558">
                  <c:v>0</c:v>
                </c:pt>
                <c:pt idx="4559">
                  <c:v>0</c:v>
                </c:pt>
                <c:pt idx="4560">
                  <c:v>0</c:v>
                </c:pt>
                <c:pt idx="4561">
                  <c:v>0</c:v>
                </c:pt>
                <c:pt idx="4562">
                  <c:v>0</c:v>
                </c:pt>
                <c:pt idx="4563">
                  <c:v>0</c:v>
                </c:pt>
                <c:pt idx="4564">
                  <c:v>0</c:v>
                </c:pt>
                <c:pt idx="4565">
                  <c:v>0</c:v>
                </c:pt>
                <c:pt idx="4566">
                  <c:v>0</c:v>
                </c:pt>
                <c:pt idx="4567">
                  <c:v>0</c:v>
                </c:pt>
                <c:pt idx="4568">
                  <c:v>0</c:v>
                </c:pt>
                <c:pt idx="4569">
                  <c:v>0</c:v>
                </c:pt>
                <c:pt idx="4570">
                  <c:v>0</c:v>
                </c:pt>
                <c:pt idx="4571">
                  <c:v>0</c:v>
                </c:pt>
                <c:pt idx="4572">
                  <c:v>0</c:v>
                </c:pt>
                <c:pt idx="4573">
                  <c:v>0</c:v>
                </c:pt>
                <c:pt idx="4574">
                  <c:v>0</c:v>
                </c:pt>
                <c:pt idx="4575">
                  <c:v>0</c:v>
                </c:pt>
                <c:pt idx="4576">
                  <c:v>0</c:v>
                </c:pt>
                <c:pt idx="4577">
                  <c:v>0</c:v>
                </c:pt>
                <c:pt idx="4578">
                  <c:v>0</c:v>
                </c:pt>
                <c:pt idx="4579">
                  <c:v>0</c:v>
                </c:pt>
                <c:pt idx="4580">
                  <c:v>0</c:v>
                </c:pt>
                <c:pt idx="4581">
                  <c:v>0</c:v>
                </c:pt>
                <c:pt idx="4582">
                  <c:v>0</c:v>
                </c:pt>
                <c:pt idx="4583">
                  <c:v>0</c:v>
                </c:pt>
                <c:pt idx="4584">
                  <c:v>0</c:v>
                </c:pt>
                <c:pt idx="4585">
                  <c:v>0</c:v>
                </c:pt>
                <c:pt idx="4586">
                  <c:v>0</c:v>
                </c:pt>
                <c:pt idx="4587">
                  <c:v>0</c:v>
                </c:pt>
                <c:pt idx="4588">
                  <c:v>0</c:v>
                </c:pt>
                <c:pt idx="4589">
                  <c:v>0</c:v>
                </c:pt>
                <c:pt idx="4590">
                  <c:v>0</c:v>
                </c:pt>
                <c:pt idx="4591">
                  <c:v>0</c:v>
                </c:pt>
                <c:pt idx="4592">
                  <c:v>0</c:v>
                </c:pt>
                <c:pt idx="4593">
                  <c:v>0</c:v>
                </c:pt>
                <c:pt idx="4594">
                  <c:v>0</c:v>
                </c:pt>
                <c:pt idx="4595">
                  <c:v>0</c:v>
                </c:pt>
                <c:pt idx="4596">
                  <c:v>0</c:v>
                </c:pt>
                <c:pt idx="4597">
                  <c:v>0</c:v>
                </c:pt>
                <c:pt idx="4598">
                  <c:v>0</c:v>
                </c:pt>
                <c:pt idx="4599">
                  <c:v>0</c:v>
                </c:pt>
                <c:pt idx="4600">
                  <c:v>0</c:v>
                </c:pt>
                <c:pt idx="4601">
                  <c:v>0</c:v>
                </c:pt>
                <c:pt idx="4602">
                  <c:v>0</c:v>
                </c:pt>
                <c:pt idx="4603">
                  <c:v>0</c:v>
                </c:pt>
                <c:pt idx="4604">
                  <c:v>0</c:v>
                </c:pt>
                <c:pt idx="4605">
                  <c:v>0</c:v>
                </c:pt>
                <c:pt idx="4606">
                  <c:v>0</c:v>
                </c:pt>
                <c:pt idx="4607">
                  <c:v>0</c:v>
                </c:pt>
                <c:pt idx="4608">
                  <c:v>0</c:v>
                </c:pt>
                <c:pt idx="4609">
                  <c:v>0</c:v>
                </c:pt>
                <c:pt idx="4610">
                  <c:v>0</c:v>
                </c:pt>
                <c:pt idx="4611">
                  <c:v>0</c:v>
                </c:pt>
                <c:pt idx="4612">
                  <c:v>0</c:v>
                </c:pt>
                <c:pt idx="4613">
                  <c:v>0</c:v>
                </c:pt>
                <c:pt idx="4614">
                  <c:v>0</c:v>
                </c:pt>
                <c:pt idx="4615">
                  <c:v>0</c:v>
                </c:pt>
                <c:pt idx="4616">
                  <c:v>0</c:v>
                </c:pt>
                <c:pt idx="4617">
                  <c:v>0</c:v>
                </c:pt>
                <c:pt idx="4618">
                  <c:v>0</c:v>
                </c:pt>
                <c:pt idx="4619">
                  <c:v>0</c:v>
                </c:pt>
                <c:pt idx="4620">
                  <c:v>0</c:v>
                </c:pt>
                <c:pt idx="4621">
                  <c:v>0</c:v>
                </c:pt>
                <c:pt idx="4622">
                  <c:v>0</c:v>
                </c:pt>
                <c:pt idx="4623">
                  <c:v>0</c:v>
                </c:pt>
                <c:pt idx="4624">
                  <c:v>0</c:v>
                </c:pt>
                <c:pt idx="4625">
                  <c:v>0</c:v>
                </c:pt>
                <c:pt idx="4626">
                  <c:v>0</c:v>
                </c:pt>
                <c:pt idx="4627">
                  <c:v>0</c:v>
                </c:pt>
                <c:pt idx="4628">
                  <c:v>0</c:v>
                </c:pt>
                <c:pt idx="4629">
                  <c:v>0</c:v>
                </c:pt>
                <c:pt idx="4630">
                  <c:v>0</c:v>
                </c:pt>
                <c:pt idx="4631">
                  <c:v>0</c:v>
                </c:pt>
                <c:pt idx="4632">
                  <c:v>0</c:v>
                </c:pt>
                <c:pt idx="4633">
                  <c:v>0</c:v>
                </c:pt>
                <c:pt idx="4634">
                  <c:v>0</c:v>
                </c:pt>
                <c:pt idx="4635">
                  <c:v>0</c:v>
                </c:pt>
                <c:pt idx="4636">
                  <c:v>0</c:v>
                </c:pt>
                <c:pt idx="4637">
                  <c:v>0</c:v>
                </c:pt>
                <c:pt idx="4638">
                  <c:v>0</c:v>
                </c:pt>
                <c:pt idx="4639">
                  <c:v>0</c:v>
                </c:pt>
                <c:pt idx="4640">
                  <c:v>0</c:v>
                </c:pt>
                <c:pt idx="4641">
                  <c:v>0</c:v>
                </c:pt>
                <c:pt idx="4642">
                  <c:v>0</c:v>
                </c:pt>
                <c:pt idx="4643">
                  <c:v>0</c:v>
                </c:pt>
                <c:pt idx="4644">
                  <c:v>0</c:v>
                </c:pt>
                <c:pt idx="4645">
                  <c:v>0</c:v>
                </c:pt>
                <c:pt idx="4646">
                  <c:v>0</c:v>
                </c:pt>
                <c:pt idx="4647">
                  <c:v>0</c:v>
                </c:pt>
                <c:pt idx="4648">
                  <c:v>0</c:v>
                </c:pt>
                <c:pt idx="4649">
                  <c:v>0</c:v>
                </c:pt>
                <c:pt idx="4650">
                  <c:v>0</c:v>
                </c:pt>
                <c:pt idx="4651">
                  <c:v>0</c:v>
                </c:pt>
                <c:pt idx="4652">
                  <c:v>0</c:v>
                </c:pt>
                <c:pt idx="4653">
                  <c:v>0</c:v>
                </c:pt>
                <c:pt idx="4654">
                  <c:v>0</c:v>
                </c:pt>
                <c:pt idx="4655">
                  <c:v>0</c:v>
                </c:pt>
                <c:pt idx="4656">
                  <c:v>0</c:v>
                </c:pt>
                <c:pt idx="4657">
                  <c:v>0</c:v>
                </c:pt>
                <c:pt idx="4658">
                  <c:v>0</c:v>
                </c:pt>
                <c:pt idx="4659">
                  <c:v>0</c:v>
                </c:pt>
                <c:pt idx="4660">
                  <c:v>0</c:v>
                </c:pt>
                <c:pt idx="4661">
                  <c:v>0</c:v>
                </c:pt>
                <c:pt idx="4662">
                  <c:v>0</c:v>
                </c:pt>
                <c:pt idx="4663">
                  <c:v>0</c:v>
                </c:pt>
                <c:pt idx="4664">
                  <c:v>0</c:v>
                </c:pt>
                <c:pt idx="4665">
                  <c:v>0</c:v>
                </c:pt>
                <c:pt idx="4666">
                  <c:v>0</c:v>
                </c:pt>
                <c:pt idx="4667">
                  <c:v>0</c:v>
                </c:pt>
                <c:pt idx="4668">
                  <c:v>0</c:v>
                </c:pt>
                <c:pt idx="4669">
                  <c:v>0</c:v>
                </c:pt>
                <c:pt idx="4670">
                  <c:v>0</c:v>
                </c:pt>
                <c:pt idx="4671">
                  <c:v>0</c:v>
                </c:pt>
                <c:pt idx="4672">
                  <c:v>0</c:v>
                </c:pt>
                <c:pt idx="4673">
                  <c:v>0</c:v>
                </c:pt>
                <c:pt idx="4674">
                  <c:v>0</c:v>
                </c:pt>
                <c:pt idx="4675">
                  <c:v>0</c:v>
                </c:pt>
                <c:pt idx="4676">
                  <c:v>0</c:v>
                </c:pt>
                <c:pt idx="4677">
                  <c:v>0</c:v>
                </c:pt>
                <c:pt idx="4678">
                  <c:v>0</c:v>
                </c:pt>
                <c:pt idx="4679">
                  <c:v>0</c:v>
                </c:pt>
                <c:pt idx="4680">
                  <c:v>0</c:v>
                </c:pt>
                <c:pt idx="4681">
                  <c:v>0</c:v>
                </c:pt>
                <c:pt idx="4682">
                  <c:v>0</c:v>
                </c:pt>
                <c:pt idx="4683">
                  <c:v>0</c:v>
                </c:pt>
                <c:pt idx="4684">
                  <c:v>0</c:v>
                </c:pt>
                <c:pt idx="4685">
                  <c:v>0</c:v>
                </c:pt>
                <c:pt idx="4686">
                  <c:v>0</c:v>
                </c:pt>
                <c:pt idx="4687">
                  <c:v>0</c:v>
                </c:pt>
                <c:pt idx="4688">
                  <c:v>0</c:v>
                </c:pt>
                <c:pt idx="4689">
                  <c:v>0</c:v>
                </c:pt>
                <c:pt idx="4690">
                  <c:v>0</c:v>
                </c:pt>
                <c:pt idx="4691">
                  <c:v>0</c:v>
                </c:pt>
                <c:pt idx="4692">
                  <c:v>0</c:v>
                </c:pt>
                <c:pt idx="4693">
                  <c:v>0</c:v>
                </c:pt>
                <c:pt idx="4694">
                  <c:v>0</c:v>
                </c:pt>
                <c:pt idx="4695">
                  <c:v>0</c:v>
                </c:pt>
                <c:pt idx="4696">
                  <c:v>0</c:v>
                </c:pt>
                <c:pt idx="4697">
                  <c:v>0</c:v>
                </c:pt>
                <c:pt idx="4698">
                  <c:v>0</c:v>
                </c:pt>
                <c:pt idx="4699">
                  <c:v>0</c:v>
                </c:pt>
                <c:pt idx="4700">
                  <c:v>0</c:v>
                </c:pt>
                <c:pt idx="4701">
                  <c:v>0</c:v>
                </c:pt>
                <c:pt idx="4702">
                  <c:v>0</c:v>
                </c:pt>
                <c:pt idx="4703">
                  <c:v>0</c:v>
                </c:pt>
                <c:pt idx="4704">
                  <c:v>0</c:v>
                </c:pt>
                <c:pt idx="4705">
                  <c:v>0</c:v>
                </c:pt>
                <c:pt idx="4706">
                  <c:v>0</c:v>
                </c:pt>
                <c:pt idx="4707">
                  <c:v>0</c:v>
                </c:pt>
                <c:pt idx="4708">
                  <c:v>0</c:v>
                </c:pt>
                <c:pt idx="4709">
                  <c:v>0</c:v>
                </c:pt>
                <c:pt idx="4710">
                  <c:v>0</c:v>
                </c:pt>
                <c:pt idx="4711">
                  <c:v>0</c:v>
                </c:pt>
                <c:pt idx="4712">
                  <c:v>0</c:v>
                </c:pt>
                <c:pt idx="4713">
                  <c:v>0</c:v>
                </c:pt>
                <c:pt idx="4714">
                  <c:v>0</c:v>
                </c:pt>
                <c:pt idx="4715">
                  <c:v>0</c:v>
                </c:pt>
                <c:pt idx="4716">
                  <c:v>0</c:v>
                </c:pt>
                <c:pt idx="4717">
                  <c:v>0</c:v>
                </c:pt>
                <c:pt idx="4718">
                  <c:v>0</c:v>
                </c:pt>
                <c:pt idx="4719">
                  <c:v>0</c:v>
                </c:pt>
                <c:pt idx="4720">
                  <c:v>0</c:v>
                </c:pt>
                <c:pt idx="4721">
                  <c:v>0</c:v>
                </c:pt>
                <c:pt idx="4722">
                  <c:v>0</c:v>
                </c:pt>
                <c:pt idx="4723">
                  <c:v>0</c:v>
                </c:pt>
                <c:pt idx="4724">
                  <c:v>0</c:v>
                </c:pt>
                <c:pt idx="4725">
                  <c:v>0</c:v>
                </c:pt>
                <c:pt idx="4726">
                  <c:v>0</c:v>
                </c:pt>
                <c:pt idx="4727">
                  <c:v>0</c:v>
                </c:pt>
                <c:pt idx="4728">
                  <c:v>0</c:v>
                </c:pt>
                <c:pt idx="4729">
                  <c:v>0</c:v>
                </c:pt>
                <c:pt idx="4730">
                  <c:v>0</c:v>
                </c:pt>
                <c:pt idx="4731">
                  <c:v>0</c:v>
                </c:pt>
                <c:pt idx="4732">
                  <c:v>0</c:v>
                </c:pt>
                <c:pt idx="4733">
                  <c:v>0</c:v>
                </c:pt>
                <c:pt idx="4734">
                  <c:v>0</c:v>
                </c:pt>
                <c:pt idx="4735">
                  <c:v>0</c:v>
                </c:pt>
                <c:pt idx="4736">
                  <c:v>0</c:v>
                </c:pt>
                <c:pt idx="4737">
                  <c:v>0</c:v>
                </c:pt>
                <c:pt idx="4738">
                  <c:v>0</c:v>
                </c:pt>
                <c:pt idx="4739">
                  <c:v>0</c:v>
                </c:pt>
                <c:pt idx="4740">
                  <c:v>0</c:v>
                </c:pt>
                <c:pt idx="4741">
                  <c:v>0</c:v>
                </c:pt>
                <c:pt idx="4742">
                  <c:v>0</c:v>
                </c:pt>
                <c:pt idx="4743">
                  <c:v>0</c:v>
                </c:pt>
                <c:pt idx="4744">
                  <c:v>0</c:v>
                </c:pt>
                <c:pt idx="4745">
                  <c:v>0</c:v>
                </c:pt>
                <c:pt idx="4746">
                  <c:v>0</c:v>
                </c:pt>
                <c:pt idx="4747">
                  <c:v>0</c:v>
                </c:pt>
                <c:pt idx="4748">
                  <c:v>0</c:v>
                </c:pt>
                <c:pt idx="4749">
                  <c:v>0</c:v>
                </c:pt>
                <c:pt idx="4750">
                  <c:v>0</c:v>
                </c:pt>
                <c:pt idx="4751">
                  <c:v>0</c:v>
                </c:pt>
                <c:pt idx="4752">
                  <c:v>0</c:v>
                </c:pt>
                <c:pt idx="4753">
                  <c:v>0</c:v>
                </c:pt>
                <c:pt idx="4754">
                  <c:v>0</c:v>
                </c:pt>
                <c:pt idx="4755">
                  <c:v>0</c:v>
                </c:pt>
                <c:pt idx="4756">
                  <c:v>0</c:v>
                </c:pt>
                <c:pt idx="4757">
                  <c:v>0</c:v>
                </c:pt>
                <c:pt idx="4758">
                  <c:v>0</c:v>
                </c:pt>
                <c:pt idx="4759">
                  <c:v>0</c:v>
                </c:pt>
                <c:pt idx="4760">
                  <c:v>0</c:v>
                </c:pt>
                <c:pt idx="4761">
                  <c:v>0</c:v>
                </c:pt>
                <c:pt idx="4762">
                  <c:v>0</c:v>
                </c:pt>
                <c:pt idx="4763">
                  <c:v>0</c:v>
                </c:pt>
                <c:pt idx="4764">
                  <c:v>0</c:v>
                </c:pt>
                <c:pt idx="4765">
                  <c:v>0</c:v>
                </c:pt>
                <c:pt idx="4766">
                  <c:v>0</c:v>
                </c:pt>
                <c:pt idx="4767">
                  <c:v>0</c:v>
                </c:pt>
                <c:pt idx="4768">
                  <c:v>0</c:v>
                </c:pt>
                <c:pt idx="4769">
                  <c:v>0</c:v>
                </c:pt>
                <c:pt idx="4770">
                  <c:v>0</c:v>
                </c:pt>
                <c:pt idx="4771">
                  <c:v>0</c:v>
                </c:pt>
                <c:pt idx="4772">
                  <c:v>0</c:v>
                </c:pt>
                <c:pt idx="4773">
                  <c:v>0</c:v>
                </c:pt>
                <c:pt idx="4774">
                  <c:v>0</c:v>
                </c:pt>
                <c:pt idx="4775">
                  <c:v>0</c:v>
                </c:pt>
                <c:pt idx="4776">
                  <c:v>0</c:v>
                </c:pt>
                <c:pt idx="4777">
                  <c:v>0</c:v>
                </c:pt>
                <c:pt idx="4778">
                  <c:v>0</c:v>
                </c:pt>
                <c:pt idx="4779">
                  <c:v>0</c:v>
                </c:pt>
                <c:pt idx="4780">
                  <c:v>0</c:v>
                </c:pt>
                <c:pt idx="4781">
                  <c:v>0</c:v>
                </c:pt>
                <c:pt idx="4782">
                  <c:v>0</c:v>
                </c:pt>
                <c:pt idx="4783">
                  <c:v>0</c:v>
                </c:pt>
                <c:pt idx="4784">
                  <c:v>0</c:v>
                </c:pt>
                <c:pt idx="4785">
                  <c:v>0</c:v>
                </c:pt>
                <c:pt idx="4786">
                  <c:v>0</c:v>
                </c:pt>
                <c:pt idx="4787">
                  <c:v>0</c:v>
                </c:pt>
                <c:pt idx="4788">
                  <c:v>0</c:v>
                </c:pt>
                <c:pt idx="4789">
                  <c:v>0</c:v>
                </c:pt>
                <c:pt idx="4790">
                  <c:v>0</c:v>
                </c:pt>
                <c:pt idx="4791">
                  <c:v>0</c:v>
                </c:pt>
                <c:pt idx="4792">
                  <c:v>0</c:v>
                </c:pt>
                <c:pt idx="4793">
                  <c:v>0</c:v>
                </c:pt>
                <c:pt idx="4794">
                  <c:v>0</c:v>
                </c:pt>
                <c:pt idx="4795">
                  <c:v>0</c:v>
                </c:pt>
                <c:pt idx="4796">
                  <c:v>0</c:v>
                </c:pt>
                <c:pt idx="4797">
                  <c:v>0</c:v>
                </c:pt>
                <c:pt idx="4798">
                  <c:v>0</c:v>
                </c:pt>
                <c:pt idx="4799">
                  <c:v>0</c:v>
                </c:pt>
                <c:pt idx="4800">
                  <c:v>0</c:v>
                </c:pt>
                <c:pt idx="4801">
                  <c:v>0</c:v>
                </c:pt>
                <c:pt idx="4802">
                  <c:v>0</c:v>
                </c:pt>
                <c:pt idx="4803">
                  <c:v>0</c:v>
                </c:pt>
                <c:pt idx="4804">
                  <c:v>0</c:v>
                </c:pt>
                <c:pt idx="4805">
                  <c:v>0</c:v>
                </c:pt>
                <c:pt idx="4806">
                  <c:v>0</c:v>
                </c:pt>
                <c:pt idx="4807">
                  <c:v>0</c:v>
                </c:pt>
                <c:pt idx="4808">
                  <c:v>0</c:v>
                </c:pt>
                <c:pt idx="4809">
                  <c:v>0</c:v>
                </c:pt>
                <c:pt idx="4810">
                  <c:v>0</c:v>
                </c:pt>
                <c:pt idx="4811">
                  <c:v>0</c:v>
                </c:pt>
                <c:pt idx="4812">
                  <c:v>0</c:v>
                </c:pt>
                <c:pt idx="4813">
                  <c:v>0</c:v>
                </c:pt>
                <c:pt idx="4814">
                  <c:v>0</c:v>
                </c:pt>
                <c:pt idx="4815">
                  <c:v>0</c:v>
                </c:pt>
                <c:pt idx="4816">
                  <c:v>0</c:v>
                </c:pt>
                <c:pt idx="4817">
                  <c:v>0</c:v>
                </c:pt>
                <c:pt idx="4818">
                  <c:v>0</c:v>
                </c:pt>
                <c:pt idx="4819">
                  <c:v>0</c:v>
                </c:pt>
                <c:pt idx="4820">
                  <c:v>0</c:v>
                </c:pt>
                <c:pt idx="4821">
                  <c:v>0</c:v>
                </c:pt>
                <c:pt idx="4822">
                  <c:v>0</c:v>
                </c:pt>
                <c:pt idx="4823">
                  <c:v>0</c:v>
                </c:pt>
                <c:pt idx="4824">
                  <c:v>0</c:v>
                </c:pt>
                <c:pt idx="4825">
                  <c:v>0</c:v>
                </c:pt>
                <c:pt idx="4826">
                  <c:v>0</c:v>
                </c:pt>
                <c:pt idx="4827">
                  <c:v>0</c:v>
                </c:pt>
                <c:pt idx="4828">
                  <c:v>0</c:v>
                </c:pt>
                <c:pt idx="4829">
                  <c:v>0</c:v>
                </c:pt>
                <c:pt idx="4830">
                  <c:v>0</c:v>
                </c:pt>
                <c:pt idx="4831">
                  <c:v>0</c:v>
                </c:pt>
                <c:pt idx="4832">
                  <c:v>0</c:v>
                </c:pt>
                <c:pt idx="4833">
                  <c:v>0</c:v>
                </c:pt>
                <c:pt idx="4834">
                  <c:v>0</c:v>
                </c:pt>
                <c:pt idx="4835">
                  <c:v>0</c:v>
                </c:pt>
                <c:pt idx="4836">
                  <c:v>0</c:v>
                </c:pt>
                <c:pt idx="4837">
                  <c:v>0</c:v>
                </c:pt>
                <c:pt idx="4838">
                  <c:v>0</c:v>
                </c:pt>
                <c:pt idx="4839">
                  <c:v>0</c:v>
                </c:pt>
                <c:pt idx="4840">
                  <c:v>0</c:v>
                </c:pt>
                <c:pt idx="4841">
                  <c:v>0</c:v>
                </c:pt>
                <c:pt idx="4842">
                  <c:v>0</c:v>
                </c:pt>
                <c:pt idx="4843">
                  <c:v>0</c:v>
                </c:pt>
                <c:pt idx="4844">
                  <c:v>0</c:v>
                </c:pt>
                <c:pt idx="4845">
                  <c:v>0</c:v>
                </c:pt>
                <c:pt idx="4846">
                  <c:v>0</c:v>
                </c:pt>
                <c:pt idx="4847">
                  <c:v>0</c:v>
                </c:pt>
                <c:pt idx="4848">
                  <c:v>0</c:v>
                </c:pt>
                <c:pt idx="4849">
                  <c:v>0</c:v>
                </c:pt>
                <c:pt idx="4850">
                  <c:v>0</c:v>
                </c:pt>
                <c:pt idx="4851">
                  <c:v>0</c:v>
                </c:pt>
                <c:pt idx="4852">
                  <c:v>0</c:v>
                </c:pt>
                <c:pt idx="4853">
                  <c:v>0</c:v>
                </c:pt>
                <c:pt idx="4854">
                  <c:v>0</c:v>
                </c:pt>
                <c:pt idx="4855">
                  <c:v>0</c:v>
                </c:pt>
                <c:pt idx="4856">
                  <c:v>0</c:v>
                </c:pt>
                <c:pt idx="4857">
                  <c:v>0</c:v>
                </c:pt>
                <c:pt idx="4858">
                  <c:v>0</c:v>
                </c:pt>
                <c:pt idx="4859">
                  <c:v>0</c:v>
                </c:pt>
                <c:pt idx="4860">
                  <c:v>0</c:v>
                </c:pt>
                <c:pt idx="4861">
                  <c:v>0</c:v>
                </c:pt>
                <c:pt idx="4862">
                  <c:v>0</c:v>
                </c:pt>
                <c:pt idx="4863">
                  <c:v>0</c:v>
                </c:pt>
                <c:pt idx="4864">
                  <c:v>0</c:v>
                </c:pt>
                <c:pt idx="4865">
                  <c:v>0</c:v>
                </c:pt>
                <c:pt idx="4866">
                  <c:v>0</c:v>
                </c:pt>
                <c:pt idx="4867">
                  <c:v>0</c:v>
                </c:pt>
                <c:pt idx="4868">
                  <c:v>0</c:v>
                </c:pt>
                <c:pt idx="4869">
                  <c:v>0</c:v>
                </c:pt>
                <c:pt idx="4870">
                  <c:v>0</c:v>
                </c:pt>
                <c:pt idx="4871">
                  <c:v>0</c:v>
                </c:pt>
                <c:pt idx="4872">
                  <c:v>0</c:v>
                </c:pt>
                <c:pt idx="4873">
                  <c:v>0</c:v>
                </c:pt>
                <c:pt idx="4874">
                  <c:v>0</c:v>
                </c:pt>
                <c:pt idx="4875">
                  <c:v>0</c:v>
                </c:pt>
                <c:pt idx="4876">
                  <c:v>0</c:v>
                </c:pt>
                <c:pt idx="4877">
                  <c:v>0</c:v>
                </c:pt>
                <c:pt idx="4878">
                  <c:v>0</c:v>
                </c:pt>
                <c:pt idx="4879">
                  <c:v>0</c:v>
                </c:pt>
                <c:pt idx="4880">
                  <c:v>0</c:v>
                </c:pt>
                <c:pt idx="4881">
                  <c:v>0</c:v>
                </c:pt>
                <c:pt idx="4882">
                  <c:v>0</c:v>
                </c:pt>
                <c:pt idx="4883">
                  <c:v>0</c:v>
                </c:pt>
                <c:pt idx="4884">
                  <c:v>0</c:v>
                </c:pt>
                <c:pt idx="4885">
                  <c:v>0</c:v>
                </c:pt>
                <c:pt idx="4886">
                  <c:v>0</c:v>
                </c:pt>
                <c:pt idx="4887">
                  <c:v>0</c:v>
                </c:pt>
                <c:pt idx="4888">
                  <c:v>0</c:v>
                </c:pt>
                <c:pt idx="4889">
                  <c:v>0</c:v>
                </c:pt>
                <c:pt idx="4890">
                  <c:v>0</c:v>
                </c:pt>
                <c:pt idx="4891">
                  <c:v>0</c:v>
                </c:pt>
                <c:pt idx="4892">
                  <c:v>0</c:v>
                </c:pt>
                <c:pt idx="4893">
                  <c:v>0</c:v>
                </c:pt>
                <c:pt idx="4894">
                  <c:v>0</c:v>
                </c:pt>
                <c:pt idx="4895">
                  <c:v>0</c:v>
                </c:pt>
                <c:pt idx="4896">
                  <c:v>0</c:v>
                </c:pt>
                <c:pt idx="4897">
                  <c:v>0</c:v>
                </c:pt>
                <c:pt idx="4898">
                  <c:v>0</c:v>
                </c:pt>
                <c:pt idx="4899">
                  <c:v>0</c:v>
                </c:pt>
                <c:pt idx="4900">
                  <c:v>0</c:v>
                </c:pt>
                <c:pt idx="4901">
                  <c:v>0</c:v>
                </c:pt>
                <c:pt idx="4902">
                  <c:v>0</c:v>
                </c:pt>
                <c:pt idx="4903">
                  <c:v>0</c:v>
                </c:pt>
                <c:pt idx="4904">
                  <c:v>0</c:v>
                </c:pt>
                <c:pt idx="4905">
                  <c:v>0</c:v>
                </c:pt>
                <c:pt idx="4906">
                  <c:v>0</c:v>
                </c:pt>
                <c:pt idx="4907">
                  <c:v>0</c:v>
                </c:pt>
                <c:pt idx="4908">
                  <c:v>0</c:v>
                </c:pt>
                <c:pt idx="4909">
                  <c:v>0</c:v>
                </c:pt>
                <c:pt idx="4910">
                  <c:v>0</c:v>
                </c:pt>
                <c:pt idx="4911">
                  <c:v>0</c:v>
                </c:pt>
                <c:pt idx="4912">
                  <c:v>0</c:v>
                </c:pt>
                <c:pt idx="4913">
                  <c:v>0</c:v>
                </c:pt>
                <c:pt idx="4914">
                  <c:v>0</c:v>
                </c:pt>
                <c:pt idx="4915">
                  <c:v>0</c:v>
                </c:pt>
                <c:pt idx="4916">
                  <c:v>0</c:v>
                </c:pt>
                <c:pt idx="4917">
                  <c:v>0</c:v>
                </c:pt>
                <c:pt idx="4918">
                  <c:v>0</c:v>
                </c:pt>
                <c:pt idx="4919">
                  <c:v>0</c:v>
                </c:pt>
                <c:pt idx="4920">
                  <c:v>0</c:v>
                </c:pt>
                <c:pt idx="4921">
                  <c:v>0</c:v>
                </c:pt>
                <c:pt idx="4922">
                  <c:v>0</c:v>
                </c:pt>
                <c:pt idx="4923">
                  <c:v>0</c:v>
                </c:pt>
                <c:pt idx="4924">
                  <c:v>0</c:v>
                </c:pt>
                <c:pt idx="4925">
                  <c:v>0</c:v>
                </c:pt>
                <c:pt idx="4926">
                  <c:v>0</c:v>
                </c:pt>
                <c:pt idx="4927">
                  <c:v>0</c:v>
                </c:pt>
                <c:pt idx="4928">
                  <c:v>0</c:v>
                </c:pt>
                <c:pt idx="4929">
                  <c:v>0</c:v>
                </c:pt>
                <c:pt idx="4930">
                  <c:v>0</c:v>
                </c:pt>
                <c:pt idx="4931">
                  <c:v>0</c:v>
                </c:pt>
                <c:pt idx="4932">
                  <c:v>0</c:v>
                </c:pt>
                <c:pt idx="4933">
                  <c:v>0</c:v>
                </c:pt>
                <c:pt idx="4934">
                  <c:v>0</c:v>
                </c:pt>
                <c:pt idx="4935">
                  <c:v>0</c:v>
                </c:pt>
                <c:pt idx="4936">
                  <c:v>0</c:v>
                </c:pt>
                <c:pt idx="4937">
                  <c:v>0</c:v>
                </c:pt>
                <c:pt idx="4938">
                  <c:v>0</c:v>
                </c:pt>
                <c:pt idx="4939">
                  <c:v>0</c:v>
                </c:pt>
                <c:pt idx="4940">
                  <c:v>0</c:v>
                </c:pt>
                <c:pt idx="4941">
                  <c:v>0</c:v>
                </c:pt>
                <c:pt idx="4942">
                  <c:v>0</c:v>
                </c:pt>
                <c:pt idx="4943">
                  <c:v>0</c:v>
                </c:pt>
                <c:pt idx="4944">
                  <c:v>0</c:v>
                </c:pt>
                <c:pt idx="4945">
                  <c:v>0</c:v>
                </c:pt>
                <c:pt idx="4946">
                  <c:v>0</c:v>
                </c:pt>
                <c:pt idx="4947">
                  <c:v>0</c:v>
                </c:pt>
                <c:pt idx="4948">
                  <c:v>0</c:v>
                </c:pt>
                <c:pt idx="4949">
                  <c:v>0</c:v>
                </c:pt>
                <c:pt idx="4950">
                  <c:v>0</c:v>
                </c:pt>
                <c:pt idx="4951">
                  <c:v>0</c:v>
                </c:pt>
                <c:pt idx="4952">
                  <c:v>0</c:v>
                </c:pt>
                <c:pt idx="4953">
                  <c:v>0</c:v>
                </c:pt>
                <c:pt idx="4954">
                  <c:v>0</c:v>
                </c:pt>
                <c:pt idx="4955">
                  <c:v>0</c:v>
                </c:pt>
                <c:pt idx="4956">
                  <c:v>0</c:v>
                </c:pt>
                <c:pt idx="4957">
                  <c:v>0</c:v>
                </c:pt>
                <c:pt idx="4958">
                  <c:v>0</c:v>
                </c:pt>
                <c:pt idx="4959">
                  <c:v>0</c:v>
                </c:pt>
                <c:pt idx="4960">
                  <c:v>0</c:v>
                </c:pt>
                <c:pt idx="4961">
                  <c:v>0</c:v>
                </c:pt>
                <c:pt idx="4962">
                  <c:v>0</c:v>
                </c:pt>
                <c:pt idx="4963">
                  <c:v>0</c:v>
                </c:pt>
                <c:pt idx="4964">
                  <c:v>0</c:v>
                </c:pt>
                <c:pt idx="4965">
                  <c:v>0</c:v>
                </c:pt>
                <c:pt idx="4966">
                  <c:v>0</c:v>
                </c:pt>
                <c:pt idx="4967">
                  <c:v>0</c:v>
                </c:pt>
                <c:pt idx="4968">
                  <c:v>0</c:v>
                </c:pt>
                <c:pt idx="4969">
                  <c:v>0</c:v>
                </c:pt>
                <c:pt idx="4970">
                  <c:v>0</c:v>
                </c:pt>
                <c:pt idx="4971">
                  <c:v>0</c:v>
                </c:pt>
                <c:pt idx="4972">
                  <c:v>0</c:v>
                </c:pt>
                <c:pt idx="4973">
                  <c:v>0</c:v>
                </c:pt>
                <c:pt idx="4974">
                  <c:v>0</c:v>
                </c:pt>
                <c:pt idx="4975">
                  <c:v>0</c:v>
                </c:pt>
                <c:pt idx="4976">
                  <c:v>0</c:v>
                </c:pt>
                <c:pt idx="4977">
                  <c:v>0</c:v>
                </c:pt>
                <c:pt idx="4978">
                  <c:v>0</c:v>
                </c:pt>
                <c:pt idx="4979">
                  <c:v>0</c:v>
                </c:pt>
                <c:pt idx="4980">
                  <c:v>0</c:v>
                </c:pt>
                <c:pt idx="4981">
                  <c:v>0</c:v>
                </c:pt>
                <c:pt idx="4982">
                  <c:v>0</c:v>
                </c:pt>
                <c:pt idx="4983">
                  <c:v>0</c:v>
                </c:pt>
                <c:pt idx="4984">
                  <c:v>0</c:v>
                </c:pt>
                <c:pt idx="4985">
                  <c:v>0</c:v>
                </c:pt>
                <c:pt idx="4986">
                  <c:v>0</c:v>
                </c:pt>
                <c:pt idx="4987">
                  <c:v>0</c:v>
                </c:pt>
                <c:pt idx="4988">
                  <c:v>0</c:v>
                </c:pt>
                <c:pt idx="4989">
                  <c:v>0</c:v>
                </c:pt>
                <c:pt idx="4990">
                  <c:v>0</c:v>
                </c:pt>
                <c:pt idx="4991">
                  <c:v>0</c:v>
                </c:pt>
                <c:pt idx="4992">
                  <c:v>0</c:v>
                </c:pt>
                <c:pt idx="4993">
                  <c:v>0</c:v>
                </c:pt>
                <c:pt idx="4994">
                  <c:v>0</c:v>
                </c:pt>
                <c:pt idx="4995">
                  <c:v>0</c:v>
                </c:pt>
                <c:pt idx="4996">
                  <c:v>0</c:v>
                </c:pt>
                <c:pt idx="4997">
                  <c:v>0</c:v>
                </c:pt>
                <c:pt idx="4998">
                  <c:v>0</c:v>
                </c:pt>
                <c:pt idx="4999">
                  <c:v>0</c:v>
                </c:pt>
                <c:pt idx="5000">
                  <c:v>0</c:v>
                </c:pt>
                <c:pt idx="5001">
                  <c:v>0</c:v>
                </c:pt>
                <c:pt idx="5002">
                  <c:v>0</c:v>
                </c:pt>
                <c:pt idx="5003">
                  <c:v>0</c:v>
                </c:pt>
                <c:pt idx="5004">
                  <c:v>0</c:v>
                </c:pt>
                <c:pt idx="5005">
                  <c:v>0</c:v>
                </c:pt>
                <c:pt idx="5006">
                  <c:v>0</c:v>
                </c:pt>
                <c:pt idx="5007">
                  <c:v>0</c:v>
                </c:pt>
                <c:pt idx="5008">
                  <c:v>0</c:v>
                </c:pt>
                <c:pt idx="5009">
                  <c:v>0</c:v>
                </c:pt>
                <c:pt idx="5010">
                  <c:v>0</c:v>
                </c:pt>
                <c:pt idx="5011">
                  <c:v>0</c:v>
                </c:pt>
                <c:pt idx="5012">
                  <c:v>0</c:v>
                </c:pt>
                <c:pt idx="5013">
                  <c:v>0</c:v>
                </c:pt>
                <c:pt idx="5014">
                  <c:v>0</c:v>
                </c:pt>
                <c:pt idx="5015">
                  <c:v>0</c:v>
                </c:pt>
                <c:pt idx="5016">
                  <c:v>0</c:v>
                </c:pt>
                <c:pt idx="5017">
                  <c:v>0</c:v>
                </c:pt>
                <c:pt idx="5018">
                  <c:v>0</c:v>
                </c:pt>
                <c:pt idx="5019">
                  <c:v>0</c:v>
                </c:pt>
                <c:pt idx="5020">
                  <c:v>0</c:v>
                </c:pt>
                <c:pt idx="5021">
                  <c:v>0</c:v>
                </c:pt>
                <c:pt idx="5022">
                  <c:v>0</c:v>
                </c:pt>
                <c:pt idx="5023">
                  <c:v>0</c:v>
                </c:pt>
                <c:pt idx="5024">
                  <c:v>0</c:v>
                </c:pt>
                <c:pt idx="5025">
                  <c:v>0</c:v>
                </c:pt>
                <c:pt idx="5026">
                  <c:v>0</c:v>
                </c:pt>
                <c:pt idx="5027">
                  <c:v>0</c:v>
                </c:pt>
                <c:pt idx="5028">
                  <c:v>0</c:v>
                </c:pt>
                <c:pt idx="5029">
                  <c:v>0</c:v>
                </c:pt>
                <c:pt idx="5030">
                  <c:v>0</c:v>
                </c:pt>
                <c:pt idx="5031">
                  <c:v>0</c:v>
                </c:pt>
                <c:pt idx="5032">
                  <c:v>0</c:v>
                </c:pt>
                <c:pt idx="5033">
                  <c:v>0</c:v>
                </c:pt>
                <c:pt idx="5034">
                  <c:v>0</c:v>
                </c:pt>
                <c:pt idx="5035">
                  <c:v>0</c:v>
                </c:pt>
                <c:pt idx="5036">
                  <c:v>0</c:v>
                </c:pt>
                <c:pt idx="5037">
                  <c:v>0</c:v>
                </c:pt>
                <c:pt idx="5038">
                  <c:v>0</c:v>
                </c:pt>
                <c:pt idx="5039">
                  <c:v>0</c:v>
                </c:pt>
                <c:pt idx="5040">
                  <c:v>0</c:v>
                </c:pt>
                <c:pt idx="5041">
                  <c:v>0</c:v>
                </c:pt>
                <c:pt idx="5042">
                  <c:v>0</c:v>
                </c:pt>
                <c:pt idx="5043">
                  <c:v>0</c:v>
                </c:pt>
                <c:pt idx="5044">
                  <c:v>0</c:v>
                </c:pt>
                <c:pt idx="5045">
                  <c:v>0</c:v>
                </c:pt>
                <c:pt idx="5046">
                  <c:v>0</c:v>
                </c:pt>
                <c:pt idx="5047">
                  <c:v>0</c:v>
                </c:pt>
                <c:pt idx="5048">
                  <c:v>0</c:v>
                </c:pt>
                <c:pt idx="5049">
                  <c:v>0</c:v>
                </c:pt>
                <c:pt idx="5050">
                  <c:v>0</c:v>
                </c:pt>
                <c:pt idx="5051">
                  <c:v>0</c:v>
                </c:pt>
                <c:pt idx="5052">
                  <c:v>0</c:v>
                </c:pt>
                <c:pt idx="5053">
                  <c:v>0</c:v>
                </c:pt>
                <c:pt idx="5054">
                  <c:v>0</c:v>
                </c:pt>
                <c:pt idx="5055">
                  <c:v>0</c:v>
                </c:pt>
                <c:pt idx="5056">
                  <c:v>0</c:v>
                </c:pt>
                <c:pt idx="5057">
                  <c:v>0</c:v>
                </c:pt>
                <c:pt idx="5058">
                  <c:v>0</c:v>
                </c:pt>
                <c:pt idx="5059">
                  <c:v>0</c:v>
                </c:pt>
                <c:pt idx="5060">
                  <c:v>0</c:v>
                </c:pt>
                <c:pt idx="5061">
                  <c:v>0</c:v>
                </c:pt>
                <c:pt idx="5062">
                  <c:v>0</c:v>
                </c:pt>
                <c:pt idx="5063">
                  <c:v>0</c:v>
                </c:pt>
                <c:pt idx="5064">
                  <c:v>0</c:v>
                </c:pt>
                <c:pt idx="5065">
                  <c:v>0</c:v>
                </c:pt>
                <c:pt idx="5066">
                  <c:v>0</c:v>
                </c:pt>
                <c:pt idx="5067">
                  <c:v>0</c:v>
                </c:pt>
                <c:pt idx="5068">
                  <c:v>0</c:v>
                </c:pt>
                <c:pt idx="5069">
                  <c:v>0</c:v>
                </c:pt>
                <c:pt idx="5070">
                  <c:v>0</c:v>
                </c:pt>
                <c:pt idx="5071">
                  <c:v>0</c:v>
                </c:pt>
                <c:pt idx="5072">
                  <c:v>0</c:v>
                </c:pt>
                <c:pt idx="5073">
                  <c:v>0</c:v>
                </c:pt>
                <c:pt idx="5074">
                  <c:v>0</c:v>
                </c:pt>
                <c:pt idx="5075">
                  <c:v>0</c:v>
                </c:pt>
                <c:pt idx="5076">
                  <c:v>0</c:v>
                </c:pt>
                <c:pt idx="5077">
                  <c:v>0</c:v>
                </c:pt>
                <c:pt idx="5078">
                  <c:v>0</c:v>
                </c:pt>
                <c:pt idx="5079">
                  <c:v>0</c:v>
                </c:pt>
                <c:pt idx="5080">
                  <c:v>0</c:v>
                </c:pt>
                <c:pt idx="5081">
                  <c:v>0</c:v>
                </c:pt>
                <c:pt idx="5082">
                  <c:v>0</c:v>
                </c:pt>
                <c:pt idx="5083">
                  <c:v>0</c:v>
                </c:pt>
                <c:pt idx="5084">
                  <c:v>0</c:v>
                </c:pt>
                <c:pt idx="5085">
                  <c:v>0</c:v>
                </c:pt>
                <c:pt idx="5086">
                  <c:v>0</c:v>
                </c:pt>
                <c:pt idx="5087">
                  <c:v>0</c:v>
                </c:pt>
                <c:pt idx="5088">
                  <c:v>0</c:v>
                </c:pt>
                <c:pt idx="5089">
                  <c:v>0</c:v>
                </c:pt>
                <c:pt idx="5090">
                  <c:v>0</c:v>
                </c:pt>
                <c:pt idx="5091">
                  <c:v>0</c:v>
                </c:pt>
                <c:pt idx="5092">
                  <c:v>0</c:v>
                </c:pt>
                <c:pt idx="5093">
                  <c:v>0</c:v>
                </c:pt>
                <c:pt idx="5094">
                  <c:v>0</c:v>
                </c:pt>
                <c:pt idx="5095">
                  <c:v>0</c:v>
                </c:pt>
                <c:pt idx="5096">
                  <c:v>0</c:v>
                </c:pt>
                <c:pt idx="5097">
                  <c:v>0</c:v>
                </c:pt>
                <c:pt idx="5098">
                  <c:v>0</c:v>
                </c:pt>
                <c:pt idx="5099">
                  <c:v>0</c:v>
                </c:pt>
                <c:pt idx="5100">
                  <c:v>0</c:v>
                </c:pt>
                <c:pt idx="5101">
                  <c:v>0</c:v>
                </c:pt>
                <c:pt idx="5102">
                  <c:v>0</c:v>
                </c:pt>
                <c:pt idx="5103">
                  <c:v>0</c:v>
                </c:pt>
                <c:pt idx="5104">
                  <c:v>0</c:v>
                </c:pt>
                <c:pt idx="5105">
                  <c:v>0</c:v>
                </c:pt>
                <c:pt idx="5106">
                  <c:v>0</c:v>
                </c:pt>
                <c:pt idx="5107">
                  <c:v>0</c:v>
                </c:pt>
                <c:pt idx="5108">
                  <c:v>0</c:v>
                </c:pt>
                <c:pt idx="5109">
                  <c:v>0</c:v>
                </c:pt>
                <c:pt idx="5110">
                  <c:v>0</c:v>
                </c:pt>
                <c:pt idx="5111">
                  <c:v>0</c:v>
                </c:pt>
                <c:pt idx="5112">
                  <c:v>0</c:v>
                </c:pt>
                <c:pt idx="5113">
                  <c:v>0</c:v>
                </c:pt>
                <c:pt idx="5114">
                  <c:v>0</c:v>
                </c:pt>
                <c:pt idx="5115">
                  <c:v>0</c:v>
                </c:pt>
                <c:pt idx="5116">
                  <c:v>0</c:v>
                </c:pt>
                <c:pt idx="5117">
                  <c:v>0</c:v>
                </c:pt>
                <c:pt idx="5118">
                  <c:v>0</c:v>
                </c:pt>
                <c:pt idx="5119">
                  <c:v>0</c:v>
                </c:pt>
                <c:pt idx="5120">
                  <c:v>0</c:v>
                </c:pt>
                <c:pt idx="5121">
                  <c:v>0</c:v>
                </c:pt>
                <c:pt idx="5122">
                  <c:v>0</c:v>
                </c:pt>
                <c:pt idx="5123">
                  <c:v>0</c:v>
                </c:pt>
                <c:pt idx="5124">
                  <c:v>0</c:v>
                </c:pt>
                <c:pt idx="5125">
                  <c:v>0</c:v>
                </c:pt>
                <c:pt idx="5126">
                  <c:v>0</c:v>
                </c:pt>
                <c:pt idx="5127">
                  <c:v>0</c:v>
                </c:pt>
                <c:pt idx="5128">
                  <c:v>0</c:v>
                </c:pt>
                <c:pt idx="5129">
                  <c:v>0</c:v>
                </c:pt>
                <c:pt idx="5130">
                  <c:v>0</c:v>
                </c:pt>
                <c:pt idx="5131">
                  <c:v>0</c:v>
                </c:pt>
                <c:pt idx="5132">
                  <c:v>0</c:v>
                </c:pt>
                <c:pt idx="5133">
                  <c:v>0</c:v>
                </c:pt>
                <c:pt idx="5134">
                  <c:v>0</c:v>
                </c:pt>
                <c:pt idx="5135">
                  <c:v>0</c:v>
                </c:pt>
                <c:pt idx="5136">
                  <c:v>0</c:v>
                </c:pt>
                <c:pt idx="5137">
                  <c:v>0</c:v>
                </c:pt>
                <c:pt idx="5138">
                  <c:v>0</c:v>
                </c:pt>
                <c:pt idx="5139">
                  <c:v>0</c:v>
                </c:pt>
                <c:pt idx="5140">
                  <c:v>0</c:v>
                </c:pt>
                <c:pt idx="5141">
                  <c:v>0</c:v>
                </c:pt>
                <c:pt idx="5142">
                  <c:v>0</c:v>
                </c:pt>
                <c:pt idx="5143">
                  <c:v>0</c:v>
                </c:pt>
                <c:pt idx="5144">
                  <c:v>0</c:v>
                </c:pt>
                <c:pt idx="5145">
                  <c:v>0</c:v>
                </c:pt>
                <c:pt idx="5146">
                  <c:v>0</c:v>
                </c:pt>
                <c:pt idx="5147">
                  <c:v>0</c:v>
                </c:pt>
                <c:pt idx="5148">
                  <c:v>0</c:v>
                </c:pt>
                <c:pt idx="5149">
                  <c:v>0</c:v>
                </c:pt>
                <c:pt idx="5150">
                  <c:v>0</c:v>
                </c:pt>
                <c:pt idx="5151">
                  <c:v>0</c:v>
                </c:pt>
                <c:pt idx="5152">
                  <c:v>0</c:v>
                </c:pt>
                <c:pt idx="5153">
                  <c:v>0</c:v>
                </c:pt>
                <c:pt idx="5154">
                  <c:v>0</c:v>
                </c:pt>
                <c:pt idx="5155">
                  <c:v>0</c:v>
                </c:pt>
                <c:pt idx="5156">
                  <c:v>0</c:v>
                </c:pt>
                <c:pt idx="5157">
                  <c:v>0</c:v>
                </c:pt>
                <c:pt idx="5158">
                  <c:v>0</c:v>
                </c:pt>
                <c:pt idx="5159">
                  <c:v>0</c:v>
                </c:pt>
                <c:pt idx="5160">
                  <c:v>0</c:v>
                </c:pt>
                <c:pt idx="5161">
                  <c:v>0</c:v>
                </c:pt>
                <c:pt idx="5162">
                  <c:v>0</c:v>
                </c:pt>
                <c:pt idx="5163">
                  <c:v>9.9213408787691658E-5</c:v>
                </c:pt>
                <c:pt idx="5164">
                  <c:v>1.6258000798366983E-4</c:v>
                </c:pt>
                <c:pt idx="5165">
                  <c:v>4.9563444494596745E-4</c:v>
                </c:pt>
                <c:pt idx="5166">
                  <c:v>1.0573441204385218E-3</c:v>
                </c:pt>
                <c:pt idx="5167">
                  <c:v>1.730208383120962E-3</c:v>
                </c:pt>
                <c:pt idx="5168">
                  <c:v>2.3046485402818595E-3</c:v>
                </c:pt>
                <c:pt idx="5169">
                  <c:v>2.8520650311154674E-3</c:v>
                </c:pt>
                <c:pt idx="5170">
                  <c:v>4.0330483553110323E-3</c:v>
                </c:pt>
                <c:pt idx="5171">
                  <c:v>4.9137942687842674E-3</c:v>
                </c:pt>
                <c:pt idx="5172">
                  <c:v>5.6566963127307798E-3</c:v>
                </c:pt>
                <c:pt idx="5173">
                  <c:v>6.2565186540617457E-3</c:v>
                </c:pt>
                <c:pt idx="5174">
                  <c:v>6.7513504940112544E-3</c:v>
                </c:pt>
                <c:pt idx="5175">
                  <c:v>7.1625984135802179E-3</c:v>
                </c:pt>
                <c:pt idx="5176">
                  <c:v>7.503822765940661E-3</c:v>
                </c:pt>
                <c:pt idx="5177">
                  <c:v>7.783852624489938E-3</c:v>
                </c:pt>
                <c:pt idx="5178">
                  <c:v>8.0088056262731036E-3</c:v>
                </c:pt>
                <c:pt idx="5179">
                  <c:v>8.1847243083043621E-3</c:v>
                </c:pt>
                <c:pt idx="5180">
                  <c:v>8.3125503022991511E-3</c:v>
                </c:pt>
                <c:pt idx="5181">
                  <c:v>8.3957657550821334E-3</c:v>
                </c:pt>
                <c:pt idx="5182">
                  <c:v>8.4336946428763132E-3</c:v>
                </c:pt>
                <c:pt idx="5183">
                  <c:v>8.4267080790857863E-3</c:v>
                </c:pt>
                <c:pt idx="5184">
                  <c:v>8.3744844832373891E-3</c:v>
                </c:pt>
                <c:pt idx="5185">
                  <c:v>8.2769587794653283E-3</c:v>
                </c:pt>
                <c:pt idx="5186">
                  <c:v>8.1319978636298171E-3</c:v>
                </c:pt>
                <c:pt idx="5187">
                  <c:v>7.935447936153606E-3</c:v>
                </c:pt>
                <c:pt idx="5188">
                  <c:v>7.6859376886038349E-3</c:v>
                </c:pt>
                <c:pt idx="5189">
                  <c:v>7.3750086176726844E-3</c:v>
                </c:pt>
                <c:pt idx="5190">
                  <c:v>6.9930354142971928E-3</c:v>
                </c:pt>
                <c:pt idx="5191">
                  <c:v>6.5271292102466929E-3</c:v>
                </c:pt>
                <c:pt idx="5192">
                  <c:v>5.9621195995421608E-3</c:v>
                </c:pt>
                <c:pt idx="5193">
                  <c:v>5.3138188939800563E-3</c:v>
                </c:pt>
                <c:pt idx="5194">
                  <c:v>4.5087185541580954E-3</c:v>
                </c:pt>
                <c:pt idx="5195">
                  <c:v>3.6929873471821576E-3</c:v>
                </c:pt>
                <c:pt idx="5196">
                  <c:v>2.9650362455112015E-3</c:v>
                </c:pt>
                <c:pt idx="5197">
                  <c:v>2.348535085843555E-3</c:v>
                </c:pt>
                <c:pt idx="5198">
                  <c:v>1.6436074112495872E-3</c:v>
                </c:pt>
                <c:pt idx="5199">
                  <c:v>6.1934403695717384E-4</c:v>
                </c:pt>
                <c:pt idx="5200">
                  <c:v>5.5725855277578243E-4</c:v>
                </c:pt>
                <c:pt idx="5201">
                  <c:v>5.183564538698423E-4</c:v>
                </c:pt>
                <c:pt idx="5202">
                  <c:v>5.1863837596062611E-4</c:v>
                </c:pt>
                <c:pt idx="5203">
                  <c:v>5.1728599484700505E-4</c:v>
                </c:pt>
                <c:pt idx="5204">
                  <c:v>5.1431346770739275E-4</c:v>
                </c:pt>
                <c:pt idx="5205">
                  <c:v>5.0962231212305141E-4</c:v>
                </c:pt>
                <c:pt idx="5206">
                  <c:v>5.0693887141943495E-4</c:v>
                </c:pt>
                <c:pt idx="5207">
                  <c:v>5.0218351145755948E-4</c:v>
                </c:pt>
                <c:pt idx="5208">
                  <c:v>4.952308330637298E-4</c:v>
                </c:pt>
                <c:pt idx="5209">
                  <c:v>4.8881617219403994E-4</c:v>
                </c:pt>
                <c:pt idx="5210">
                  <c:v>4.8179896567759737E-4</c:v>
                </c:pt>
                <c:pt idx="5211">
                  <c:v>4.7493978632278636E-4</c:v>
                </c:pt>
                <c:pt idx="5212">
                  <c:v>4.8103229117840739E-4</c:v>
                </c:pt>
                <c:pt idx="5213">
                  <c:v>4.8614684440415301E-4</c:v>
                </c:pt>
                <c:pt idx="5214">
                  <c:v>4.8773059886385512E-4</c:v>
                </c:pt>
                <c:pt idx="5215">
                  <c:v>4.8862295160896076E-4</c:v>
                </c:pt>
                <c:pt idx="5216">
                  <c:v>5.0301135699917072E-4</c:v>
                </c:pt>
                <c:pt idx="5217">
                  <c:v>5.3295397077297575E-4</c:v>
                </c:pt>
                <c:pt idx="5218">
                  <c:v>5.6729324458826226E-4</c:v>
                </c:pt>
                <c:pt idx="5219">
                  <c:v>5.9929479310702558E-4</c:v>
                </c:pt>
                <c:pt idx="5220">
                  <c:v>6.2754078284713E-4</c:v>
                </c:pt>
                <c:pt idx="5221">
                  <c:v>6.6558825551320591E-4</c:v>
                </c:pt>
                <c:pt idx="5222">
                  <c:v>7.0635992018991921E-4</c:v>
                </c:pt>
                <c:pt idx="5223">
                  <c:v>7.5272021986343737E-4</c:v>
                </c:pt>
                <c:pt idx="5224">
                  <c:v>7.9140836096802962E-4</c:v>
                </c:pt>
                <c:pt idx="5225">
                  <c:v>8.2369595314106699E-4</c:v>
                </c:pt>
                <c:pt idx="5226">
                  <c:v>8.489226773688059E-4</c:v>
                </c:pt>
                <c:pt idx="5227">
                  <c:v>8.6852655123793247E-4</c:v>
                </c:pt>
                <c:pt idx="5228">
                  <c:v>8.8307852872175966E-4</c:v>
                </c:pt>
                <c:pt idx="5229">
                  <c:v>8.9280393558973346E-4</c:v>
                </c:pt>
                <c:pt idx="5230">
                  <c:v>9.0198841783247776E-4</c:v>
                </c:pt>
                <c:pt idx="5231">
                  <c:v>9.1325390601149103E-4</c:v>
                </c:pt>
                <c:pt idx="5232">
                  <c:v>9.2662557129360383E-4</c:v>
                </c:pt>
                <c:pt idx="5233">
                  <c:v>9.3364551249702386E-4</c:v>
                </c:pt>
                <c:pt idx="5234">
                  <c:v>9.3453544135882569E-4</c:v>
                </c:pt>
                <c:pt idx="5235">
                  <c:v>9.326768929820516E-4</c:v>
                </c:pt>
                <c:pt idx="5236">
                  <c:v>9.2686917309400753E-4</c:v>
                </c:pt>
                <c:pt idx="5237">
                  <c:v>9.1452903794468176E-4</c:v>
                </c:pt>
                <c:pt idx="5238">
                  <c:v>8.9738877106885692E-4</c:v>
                </c:pt>
                <c:pt idx="5239">
                  <c:v>8.7538287269744107E-4</c:v>
                </c:pt>
                <c:pt idx="5240">
                  <c:v>8.5305456949281207E-4</c:v>
                </c:pt>
                <c:pt idx="5241">
                  <c:v>8.3194202549814039E-4</c:v>
                </c:pt>
                <c:pt idx="5242">
                  <c:v>8.1807345538601058E-4</c:v>
                </c:pt>
                <c:pt idx="5243">
                  <c:v>7.9891749737075982E-4</c:v>
                </c:pt>
                <c:pt idx="5244">
                  <c:v>7.7193639132047296E-4</c:v>
                </c:pt>
                <c:pt idx="5245">
                  <c:v>7.3883474848869567E-4</c:v>
                </c:pt>
                <c:pt idx="5246">
                  <c:v>7.1319721732706015E-4</c:v>
                </c:pt>
                <c:pt idx="5247">
                  <c:v>6.9898757699264353E-4</c:v>
                </c:pt>
                <c:pt idx="5248">
                  <c:v>6.8383799742010969E-4</c:v>
                </c:pt>
                <c:pt idx="5249">
                  <c:v>3.8288482642423222E-3</c:v>
                </c:pt>
                <c:pt idx="5250">
                  <c:v>8.1794194899345984E-3</c:v>
                </c:pt>
                <c:pt idx="5251">
                  <c:v>1.3404500283375373E-2</c:v>
                </c:pt>
                <c:pt idx="5252">
                  <c:v>1.929233844348437E-2</c:v>
                </c:pt>
                <c:pt idx="5253">
                  <c:v>3.1073007623089097E-2</c:v>
                </c:pt>
                <c:pt idx="5254">
                  <c:v>4.2298361300639478E-2</c:v>
                </c:pt>
                <c:pt idx="5255">
                  <c:v>5.0951325731726234E-2</c:v>
                </c:pt>
                <c:pt idx="5256">
                  <c:v>7.2904452169753178E-2</c:v>
                </c:pt>
                <c:pt idx="5257">
                  <c:v>9.1421500177625417E-2</c:v>
                </c:pt>
                <c:pt idx="5258">
                  <c:v>0.13142196100915127</c:v>
                </c:pt>
                <c:pt idx="5259">
                  <c:v>0.16258158471061904</c:v>
                </c:pt>
                <c:pt idx="5260">
                  <c:v>0.18911671759438084</c:v>
                </c:pt>
                <c:pt idx="5261">
                  <c:v>0.21255451995179886</c:v>
                </c:pt>
                <c:pt idx="5262">
                  <c:v>0.24078245681064345</c:v>
                </c:pt>
                <c:pt idx="5263">
                  <c:v>0.26806050686363886</c:v>
                </c:pt>
                <c:pt idx="5264">
                  <c:v>0.2922221994160048</c:v>
                </c:pt>
                <c:pt idx="5265">
                  <c:v>0.31183949358912905</c:v>
                </c:pt>
                <c:pt idx="5266">
                  <c:v>0.32777831811541747</c:v>
                </c:pt>
                <c:pt idx="5267">
                  <c:v>0.34055036951618967</c:v>
                </c:pt>
                <c:pt idx="5268">
                  <c:v>0.35051195036956539</c:v>
                </c:pt>
                <c:pt idx="5269">
                  <c:v>0.35789916165430957</c:v>
                </c:pt>
                <c:pt idx="5270">
                  <c:v>0.36287318206098895</c:v>
                </c:pt>
                <c:pt idx="5271">
                  <c:v>0.36553294166402306</c:v>
                </c:pt>
                <c:pt idx="5272">
                  <c:v>0.36592370831622417</c:v>
                </c:pt>
                <c:pt idx="5273">
                  <c:v>0.36404711372241833</c:v>
                </c:pt>
                <c:pt idx="5274">
                  <c:v>0.35988408148586631</c:v>
                </c:pt>
                <c:pt idx="5275">
                  <c:v>0.35335701715768242</c:v>
                </c:pt>
                <c:pt idx="5276">
                  <c:v>0.34433100808916905</c:v>
                </c:pt>
                <c:pt idx="5277">
                  <c:v>0.33260070713619116</c:v>
                </c:pt>
                <c:pt idx="5278">
                  <c:v>0.31785407723278136</c:v>
                </c:pt>
                <c:pt idx="5279">
                  <c:v>0.30107009386155043</c:v>
                </c:pt>
                <c:pt idx="5280">
                  <c:v>0.28203139187355541</c:v>
                </c:pt>
                <c:pt idx="5281">
                  <c:v>0.26043473278644025</c:v>
                </c:pt>
                <c:pt idx="5282">
                  <c:v>0.23575344796053468</c:v>
                </c:pt>
                <c:pt idx="5283">
                  <c:v>0.21112921911845739</c:v>
                </c:pt>
                <c:pt idx="5284">
                  <c:v>0.18338323156747929</c:v>
                </c:pt>
                <c:pt idx="5285">
                  <c:v>0.14778734972385249</c:v>
                </c:pt>
                <c:pt idx="5286">
                  <c:v>0.11921699960894055</c:v>
                </c:pt>
                <c:pt idx="5287">
                  <c:v>8.2937317346231124E-2</c:v>
                </c:pt>
                <c:pt idx="5288">
                  <c:v>6.9005964628232649E-2</c:v>
                </c:pt>
                <c:pt idx="5289">
                  <c:v>5.4409074436798585E-2</c:v>
                </c:pt>
                <c:pt idx="5290">
                  <c:v>3.8211148755062381E-2</c:v>
                </c:pt>
                <c:pt idx="5291">
                  <c:v>1.5507932778136691E-2</c:v>
                </c:pt>
                <c:pt idx="5292">
                  <c:v>4.8495385310261185E-3</c:v>
                </c:pt>
                <c:pt idx="5293">
                  <c:v>2.0759885573116079E-3</c:v>
                </c:pt>
                <c:pt idx="5294">
                  <c:v>2.0479174414220554E-3</c:v>
                </c:pt>
                <c:pt idx="5295">
                  <c:v>2.0485572202214512E-3</c:v>
                </c:pt>
                <c:pt idx="5296">
                  <c:v>2.0508217649252334E-3</c:v>
                </c:pt>
                <c:pt idx="5297">
                  <c:v>2.0484522495090966E-3</c:v>
                </c:pt>
                <c:pt idx="5298">
                  <c:v>2.0347378294634836E-3</c:v>
                </c:pt>
                <c:pt idx="5299">
                  <c:v>2.0217783924464769E-3</c:v>
                </c:pt>
                <c:pt idx="5300">
                  <c:v>2.0023912383277912E-3</c:v>
                </c:pt>
                <c:pt idx="5301">
                  <c:v>1.9831695638005049E-3</c:v>
                </c:pt>
                <c:pt idx="5302">
                  <c:v>1.9706594055525955E-3</c:v>
                </c:pt>
                <c:pt idx="5303">
                  <c:v>1.9798062077362221E-3</c:v>
                </c:pt>
                <c:pt idx="5304">
                  <c:v>1.975560648799674E-3</c:v>
                </c:pt>
                <c:pt idx="5305">
                  <c:v>1.9522086923570994E-3</c:v>
                </c:pt>
                <c:pt idx="5306">
                  <c:v>1.933693234987717E-3</c:v>
                </c:pt>
                <c:pt idx="5307">
                  <c:v>1.9076013153260468E-3</c:v>
                </c:pt>
                <c:pt idx="5308">
                  <c:v>1.9117665484511444E-3</c:v>
                </c:pt>
                <c:pt idx="5309">
                  <c:v>1.9057547064127572E-3</c:v>
                </c:pt>
                <c:pt idx="5310">
                  <c:v>1.9028049214660715E-3</c:v>
                </c:pt>
                <c:pt idx="5311">
                  <c:v>1.9368403465953718E-3</c:v>
                </c:pt>
                <c:pt idx="5312">
                  <c:v>1.9525057598239772E-3</c:v>
                </c:pt>
                <c:pt idx="5313">
                  <c:v>1.95507250818692E-3</c:v>
                </c:pt>
                <c:pt idx="5314">
                  <c:v>1.9457310162545967E-3</c:v>
                </c:pt>
                <c:pt idx="5315">
                  <c:v>1.9441627737269973E-3</c:v>
                </c:pt>
                <c:pt idx="5316">
                  <c:v>1.929242845212736E-3</c:v>
                </c:pt>
                <c:pt idx="5317">
                  <c:v>1.8999682544822794E-3</c:v>
                </c:pt>
                <c:pt idx="5318">
                  <c:v>1.9013218191599466E-3</c:v>
                </c:pt>
                <c:pt idx="5319">
                  <c:v>1.9055011194201966E-3</c:v>
                </c:pt>
                <c:pt idx="5320">
                  <c:v>1.9121174097103896E-3</c:v>
                </c:pt>
                <c:pt idx="5321">
                  <c:v>1.9151686322165338E-3</c:v>
                </c:pt>
                <c:pt idx="5322">
                  <c:v>1.9091924618973505E-3</c:v>
                </c:pt>
                <c:pt idx="5323">
                  <c:v>1.8888613171082996E-3</c:v>
                </c:pt>
                <c:pt idx="5324">
                  <c:v>1.8581743222766314E-3</c:v>
                </c:pt>
                <c:pt idx="5325">
                  <c:v>1.8175593171173249E-3</c:v>
                </c:pt>
                <c:pt idx="5326">
                  <c:v>1.7819410439267682E-3</c:v>
                </c:pt>
                <c:pt idx="5327">
                  <c:v>1.7376182877223642E-3</c:v>
                </c:pt>
                <c:pt idx="5328">
                  <c:v>1.6833979152124467E-3</c:v>
                </c:pt>
                <c:pt idx="5329">
                  <c:v>1.6350795393756071E-3</c:v>
                </c:pt>
                <c:pt idx="5330">
                  <c:v>1.5856847291559814E-3</c:v>
                </c:pt>
                <c:pt idx="5331">
                  <c:v>1.5356969619347227E-3</c:v>
                </c:pt>
                <c:pt idx="5332">
                  <c:v>1.4932804635679608E-3</c:v>
                </c:pt>
                <c:pt idx="5333">
                  <c:v>1.4596726456469339E-3</c:v>
                </c:pt>
                <c:pt idx="5334">
                  <c:v>1.4204333906696364E-3</c:v>
                </c:pt>
                <c:pt idx="5335">
                  <c:v>1.368125030231703E-3</c:v>
                </c:pt>
                <c:pt idx="5336">
                  <c:v>1.3321822971337084E-3</c:v>
                </c:pt>
                <c:pt idx="5337">
                  <c:v>1.2907049084543811E-3</c:v>
                </c:pt>
                <c:pt idx="5338">
                  <c:v>1.2434915076680549E-3</c:v>
                </c:pt>
                <c:pt idx="5339">
                  <c:v>1.1852666096573536E-3</c:v>
                </c:pt>
                <c:pt idx="5340">
                  <c:v>1.1184895509232546E-3</c:v>
                </c:pt>
                <c:pt idx="5341">
                  <c:v>1.0983295181712436E-3</c:v>
                </c:pt>
                <c:pt idx="5342">
                  <c:v>1.0704007805381137E-3</c:v>
                </c:pt>
                <c:pt idx="5343">
                  <c:v>1.0387740955847731E-3</c:v>
                </c:pt>
                <c:pt idx="5344">
                  <c:v>1.0042746772315665E-3</c:v>
                </c:pt>
                <c:pt idx="5345">
                  <c:v>9.925806230094232E-4</c:v>
                </c:pt>
                <c:pt idx="5346">
                  <c:v>9.8128578955707069E-4</c:v>
                </c:pt>
                <c:pt idx="5347">
                  <c:v>9.6972199559816055E-4</c:v>
                </c:pt>
                <c:pt idx="5348">
                  <c:v>9.5765165814927738E-4</c:v>
                </c:pt>
                <c:pt idx="5349">
                  <c:v>9.6077345230991343E-4</c:v>
                </c:pt>
                <c:pt idx="5350">
                  <c:v>9.646765186181799E-4</c:v>
                </c:pt>
                <c:pt idx="5351">
                  <c:v>9.6956143498358601E-4</c:v>
                </c:pt>
                <c:pt idx="5352">
                  <c:v>9.7539134071543355E-4</c:v>
                </c:pt>
                <c:pt idx="5353">
                  <c:v>9.7624657274653776E-4</c:v>
                </c:pt>
                <c:pt idx="5354">
                  <c:v>9.7651409031077789E-4</c:v>
                </c:pt>
                <c:pt idx="5355">
                  <c:v>9.7165989392917313E-4</c:v>
                </c:pt>
                <c:pt idx="5356">
                  <c:v>9.6636815130593718E-4</c:v>
                </c:pt>
                <c:pt idx="5357">
                  <c:v>9.692883062235796E-4</c:v>
                </c:pt>
                <c:pt idx="5358">
                  <c:v>9.7213129331254482E-4</c:v>
                </c:pt>
                <c:pt idx="5359">
                  <c:v>9.7523629240738974E-4</c:v>
                </c:pt>
                <c:pt idx="5360">
                  <c:v>9.7899074677706434E-4</c:v>
                </c:pt>
                <c:pt idx="5361">
                  <c:v>9.8339932563241278E-4</c:v>
                </c:pt>
                <c:pt idx="5362">
                  <c:v>9.880048580873321E-4</c:v>
                </c:pt>
                <c:pt idx="5363">
                  <c:v>9.9291036458248167E-4</c:v>
                </c:pt>
                <c:pt idx="5364">
                  <c:v>9.982284503873833E-4</c:v>
                </c:pt>
                <c:pt idx="5365">
                  <c:v>1.004157461857314E-3</c:v>
                </c:pt>
                <c:pt idx="5366">
                  <c:v>1.0107057099172747E-3</c:v>
                </c:pt>
                <c:pt idx="5367">
                  <c:v>1.0174233620857123E-3</c:v>
                </c:pt>
                <c:pt idx="5368">
                  <c:v>1.0245085906066421E-3</c:v>
                </c:pt>
                <c:pt idx="5369">
                  <c:v>1.0265370657356429E-3</c:v>
                </c:pt>
                <c:pt idx="5370">
                  <c:v>1.0220971591186985E-3</c:v>
                </c:pt>
                <c:pt idx="5371">
                  <c:v>1.0166868759207035E-3</c:v>
                </c:pt>
                <c:pt idx="5372">
                  <c:v>1.0118417802462087E-3</c:v>
                </c:pt>
                <c:pt idx="5373">
                  <c:v>1.0079126653011123E-3</c:v>
                </c:pt>
                <c:pt idx="5374">
                  <c:v>1.0038559206504141E-3</c:v>
                </c:pt>
                <c:pt idx="5375">
                  <c:v>1.000048201360039E-3</c:v>
                </c:pt>
                <c:pt idx="5376">
                  <c:v>9.9688451171010091E-4</c:v>
                </c:pt>
                <c:pt idx="5377">
                  <c:v>9.9436069984348494E-4</c:v>
                </c:pt>
                <c:pt idx="5378">
                  <c:v>9.9204252309438015E-4</c:v>
                </c:pt>
                <c:pt idx="5379">
                  <c:v>9.9004869167079843E-4</c:v>
                </c:pt>
                <c:pt idx="5380">
                  <c:v>9.8848802650937308E-4</c:v>
                </c:pt>
                <c:pt idx="5381">
                  <c:v>9.8758595293641383E-4</c:v>
                </c:pt>
                <c:pt idx="5382">
                  <c:v>9.8734135799015258E-4</c:v>
                </c:pt>
                <c:pt idx="5383">
                  <c:v>9.8731100550120783E-4</c:v>
                </c:pt>
                <c:pt idx="5384">
                  <c:v>9.8771885965762401E-4</c:v>
                </c:pt>
                <c:pt idx="5385">
                  <c:v>9.827496867011148E-4</c:v>
                </c:pt>
                <c:pt idx="5386">
                  <c:v>9.7105627836402604E-4</c:v>
                </c:pt>
                <c:pt idx="5387">
                  <c:v>9.6636063945507221E-4</c:v>
                </c:pt>
                <c:pt idx="5388">
                  <c:v>9.6206594227238914E-4</c:v>
                </c:pt>
                <c:pt idx="5389">
                  <c:v>9.5909999521799107E-4</c:v>
                </c:pt>
                <c:pt idx="5390">
                  <c:v>9.5651767527888591E-4</c:v>
                </c:pt>
                <c:pt idx="5391">
                  <c:v>5.8909417405791286E-3</c:v>
                </c:pt>
                <c:pt idx="5392">
                  <c:v>6.3388494481139762E-3</c:v>
                </c:pt>
                <c:pt idx="5393">
                  <c:v>6.4049909882509639E-3</c:v>
                </c:pt>
                <c:pt idx="5394">
                  <c:v>7.6717356664844239E-3</c:v>
                </c:pt>
                <c:pt idx="5395">
                  <c:v>8.6853201725129933E-3</c:v>
                </c:pt>
                <c:pt idx="5396">
                  <c:v>8.7251533942986573E-3</c:v>
                </c:pt>
                <c:pt idx="5397">
                  <c:v>1.047724177954055E-2</c:v>
                </c:pt>
                <c:pt idx="5398">
                  <c:v>1.0483436024103666E-2</c:v>
                </c:pt>
                <c:pt idx="5399">
                  <c:v>1.2602157962911127E-2</c:v>
                </c:pt>
                <c:pt idx="5400">
                  <c:v>1.3008619514606495E-2</c:v>
                </c:pt>
                <c:pt idx="5401">
                  <c:v>1.3013689059578153E-2</c:v>
                </c:pt>
                <c:pt idx="5402">
                  <c:v>1.3444199865268115E-2</c:v>
                </c:pt>
                <c:pt idx="5403">
                  <c:v>1.4001527369599963E-2</c:v>
                </c:pt>
                <c:pt idx="5404">
                  <c:v>1.5546163544886235E-2</c:v>
                </c:pt>
                <c:pt idx="5405">
                  <c:v>1.6080283953384122E-2</c:v>
                </c:pt>
                <c:pt idx="5406">
                  <c:v>1.6122511340171664E-2</c:v>
                </c:pt>
                <c:pt idx="5407">
                  <c:v>1.6132017029724607E-2</c:v>
                </c:pt>
                <c:pt idx="5408">
                  <c:v>1.6139481235355968E-2</c:v>
                </c:pt>
                <c:pt idx="5409">
                  <c:v>1.6154472226621565E-2</c:v>
                </c:pt>
                <c:pt idx="5410">
                  <c:v>1.641994831212025E-2</c:v>
                </c:pt>
                <c:pt idx="5411">
                  <c:v>1.7166017866925603E-2</c:v>
                </c:pt>
                <c:pt idx="5412">
                  <c:v>1.7763847491712045E-2</c:v>
                </c:pt>
                <c:pt idx="5413">
                  <c:v>1.7719067982981979E-2</c:v>
                </c:pt>
                <c:pt idx="5414">
                  <c:v>1.7893011166385215E-2</c:v>
                </c:pt>
                <c:pt idx="5415">
                  <c:v>1.8615789148507655E-2</c:v>
                </c:pt>
                <c:pt idx="5416">
                  <c:v>1.8791154629932545E-2</c:v>
                </c:pt>
                <c:pt idx="5417">
                  <c:v>1.870035462324271E-2</c:v>
                </c:pt>
                <c:pt idx="5418">
                  <c:v>1.8605472822664483E-2</c:v>
                </c:pt>
                <c:pt idx="5419">
                  <c:v>1.8501761099158666E-2</c:v>
                </c:pt>
                <c:pt idx="5420">
                  <c:v>1.9179253842133252E-2</c:v>
                </c:pt>
                <c:pt idx="5421">
                  <c:v>2.11089171074905E-2</c:v>
                </c:pt>
                <c:pt idx="5422">
                  <c:v>2.1441368311200516E-2</c:v>
                </c:pt>
                <c:pt idx="5423">
                  <c:v>2.1360813911692027E-2</c:v>
                </c:pt>
                <c:pt idx="5424">
                  <c:v>2.157247518047338E-2</c:v>
                </c:pt>
                <c:pt idx="5425">
                  <c:v>2.1700113345190768E-2</c:v>
                </c:pt>
                <c:pt idx="5426">
                  <c:v>2.2163878955643961E-2</c:v>
                </c:pt>
                <c:pt idx="5427">
                  <c:v>2.485407012337966E-2</c:v>
                </c:pt>
                <c:pt idx="5428">
                  <c:v>2.5657247734337914E-2</c:v>
                </c:pt>
                <c:pt idx="5429">
                  <c:v>2.5587917704296116E-2</c:v>
                </c:pt>
                <c:pt idx="5430">
                  <c:v>2.6242348188707073E-2</c:v>
                </c:pt>
                <c:pt idx="5431">
                  <c:v>2.6430342608393251E-2</c:v>
                </c:pt>
                <c:pt idx="5432">
                  <c:v>2.6589570509558687E-2</c:v>
                </c:pt>
                <c:pt idx="5433">
                  <c:v>2.6586769228792068E-2</c:v>
                </c:pt>
                <c:pt idx="5434">
                  <c:v>2.6580856388742174E-2</c:v>
                </c:pt>
                <c:pt idx="5435">
                  <c:v>2.6581999384978967E-2</c:v>
                </c:pt>
                <c:pt idx="5436">
                  <c:v>2.6627950252543917E-2</c:v>
                </c:pt>
                <c:pt idx="5437">
                  <c:v>2.6778082251930783E-2</c:v>
                </c:pt>
                <c:pt idx="5438">
                  <c:v>2.7620755047699307E-2</c:v>
                </c:pt>
                <c:pt idx="5439">
                  <c:v>2.9286662706169482E-2</c:v>
                </c:pt>
                <c:pt idx="5440">
                  <c:v>3.4741761949880171E-2</c:v>
                </c:pt>
                <c:pt idx="5441">
                  <c:v>4.4988421014198157E-2</c:v>
                </c:pt>
                <c:pt idx="5442">
                  <c:v>4.5107752076895387E-2</c:v>
                </c:pt>
                <c:pt idx="5443">
                  <c:v>4.5331606011481521E-2</c:v>
                </c:pt>
                <c:pt idx="5444">
                  <c:v>4.5185869881662413E-2</c:v>
                </c:pt>
                <c:pt idx="5445">
                  <c:v>4.4924981579547565E-2</c:v>
                </c:pt>
                <c:pt idx="5446">
                  <c:v>4.5182745875130111E-2</c:v>
                </c:pt>
                <c:pt idx="5447">
                  <c:v>4.6503752708068564E-2</c:v>
                </c:pt>
                <c:pt idx="5448">
                  <c:v>4.9375526353136183E-2</c:v>
                </c:pt>
                <c:pt idx="5449">
                  <c:v>5.3918100135110163E-2</c:v>
                </c:pt>
                <c:pt idx="5450">
                  <c:v>5.9435062658635116E-2</c:v>
                </c:pt>
                <c:pt idx="5451">
                  <c:v>6.4787804204558652E-2</c:v>
                </c:pt>
                <c:pt idx="5452">
                  <c:v>7.2315958116938139E-2</c:v>
                </c:pt>
                <c:pt idx="5453">
                  <c:v>8.1600403614180486E-2</c:v>
                </c:pt>
                <c:pt idx="5454">
                  <c:v>9.2067541437424905E-2</c:v>
                </c:pt>
                <c:pt idx="5455">
                  <c:v>0.10029301220448704</c:v>
                </c:pt>
                <c:pt idx="5456">
                  <c:v>0.10729817968452579</c:v>
                </c:pt>
                <c:pt idx="5457">
                  <c:v>0.10938133454264344</c:v>
                </c:pt>
                <c:pt idx="5458">
                  <c:v>0.11268887277754303</c:v>
                </c:pt>
                <c:pt idx="5459">
                  <c:v>0.11517226833046947</c:v>
                </c:pt>
                <c:pt idx="5460">
                  <c:v>0.11672401497874862</c:v>
                </c:pt>
                <c:pt idx="5461">
                  <c:v>0.11672034896238136</c:v>
                </c:pt>
                <c:pt idx="5462">
                  <c:v>0.11640321848163751</c:v>
                </c:pt>
                <c:pt idx="5463">
                  <c:v>0.11619702193333153</c:v>
                </c:pt>
                <c:pt idx="5464">
                  <c:v>0.11568526857025131</c:v>
                </c:pt>
                <c:pt idx="5465">
                  <c:v>0.11515762633195653</c:v>
                </c:pt>
                <c:pt idx="5466">
                  <c:v>0.11470133580061982</c:v>
                </c:pt>
                <c:pt idx="5467">
                  <c:v>0.11453682877995228</c:v>
                </c:pt>
                <c:pt idx="5468">
                  <c:v>0.11621647521864607</c:v>
                </c:pt>
                <c:pt idx="5469">
                  <c:v>0.11719027006130701</c:v>
                </c:pt>
                <c:pt idx="5470">
                  <c:v>0.11737514268211233</c:v>
                </c:pt>
                <c:pt idx="5471">
                  <c:v>0.11651126171969792</c:v>
                </c:pt>
                <c:pt idx="5472">
                  <c:v>0.11661751551870049</c:v>
                </c:pt>
                <c:pt idx="5473">
                  <c:v>0.11748575846444195</c:v>
                </c:pt>
                <c:pt idx="5474">
                  <c:v>0.11790325542911727</c:v>
                </c:pt>
                <c:pt idx="5475">
                  <c:v>0.12758479097242323</c:v>
                </c:pt>
                <c:pt idx="5476">
                  <c:v>0.13631843215875955</c:v>
                </c:pt>
                <c:pt idx="5477">
                  <c:v>0.14458810798858163</c:v>
                </c:pt>
                <c:pt idx="5478">
                  <c:v>0.15225565571447572</c:v>
                </c:pt>
                <c:pt idx="5479">
                  <c:v>0.17464357854252291</c:v>
                </c:pt>
                <c:pt idx="5480">
                  <c:v>0.21026384687078775</c:v>
                </c:pt>
                <c:pt idx="5481">
                  <c:v>0.24803882281641285</c:v>
                </c:pt>
                <c:pt idx="5482">
                  <c:v>0.27884151815553071</c:v>
                </c:pt>
                <c:pt idx="5483">
                  <c:v>0.30490345493867638</c:v>
                </c:pt>
                <c:pt idx="5484">
                  <c:v>0.30820151546444491</c:v>
                </c:pt>
                <c:pt idx="5485">
                  <c:v>0.31073575973860007</c:v>
                </c:pt>
                <c:pt idx="5486">
                  <c:v>0.30379169076242574</c:v>
                </c:pt>
                <c:pt idx="5487">
                  <c:v>0.31615703852186849</c:v>
                </c:pt>
                <c:pt idx="5488">
                  <c:v>0.32469706437798201</c:v>
                </c:pt>
                <c:pt idx="5489">
                  <c:v>0.33122267768357844</c:v>
                </c:pt>
                <c:pt idx="5490">
                  <c:v>0.33615746902998872</c:v>
                </c:pt>
                <c:pt idx="5491">
                  <c:v>0.34132776736463555</c:v>
                </c:pt>
                <c:pt idx="5492">
                  <c:v>0.34544612672042596</c:v>
                </c:pt>
                <c:pt idx="5493">
                  <c:v>0.34507164442934446</c:v>
                </c:pt>
                <c:pt idx="5494">
                  <c:v>0.34677131155839608</c:v>
                </c:pt>
                <c:pt idx="5495">
                  <c:v>0.3459635641290163</c:v>
                </c:pt>
                <c:pt idx="5496">
                  <c:v>0.34249874351374898</c:v>
                </c:pt>
                <c:pt idx="5497">
                  <c:v>0.33450745135438587</c:v>
                </c:pt>
                <c:pt idx="5498">
                  <c:v>0.33112930497935245</c:v>
                </c:pt>
                <c:pt idx="5499">
                  <c:v>0.32506507648196464</c:v>
                </c:pt>
                <c:pt idx="5500">
                  <c:v>0.3147864504610558</c:v>
                </c:pt>
                <c:pt idx="5501">
                  <c:v>0.3007904282085711</c:v>
                </c:pt>
                <c:pt idx="5502">
                  <c:v>0.27799863402268882</c:v>
                </c:pt>
                <c:pt idx="5503">
                  <c:v>0.24614202808898275</c:v>
                </c:pt>
                <c:pt idx="5504">
                  <c:v>0.20554621279610522</c:v>
                </c:pt>
                <c:pt idx="5505">
                  <c:v>0.19257631343485981</c:v>
                </c:pt>
                <c:pt idx="5506">
                  <c:v>0.1771493892141846</c:v>
                </c:pt>
                <c:pt idx="5507">
                  <c:v>0.15907644370376711</c:v>
                </c:pt>
                <c:pt idx="5508">
                  <c:v>0.13788793411680272</c:v>
                </c:pt>
                <c:pt idx="5509">
                  <c:v>0.16096324866434431</c:v>
                </c:pt>
                <c:pt idx="5510">
                  <c:v>0.20156377086848259</c:v>
                </c:pt>
                <c:pt idx="5511">
                  <c:v>0.20678104663559962</c:v>
                </c:pt>
                <c:pt idx="5512">
                  <c:v>0.2058814546043409</c:v>
                </c:pt>
                <c:pt idx="5513">
                  <c:v>0.20501223609938291</c:v>
                </c:pt>
                <c:pt idx="5514">
                  <c:v>0.19826817906750166</c:v>
                </c:pt>
                <c:pt idx="5515">
                  <c:v>0.19316767779651234</c:v>
                </c:pt>
                <c:pt idx="5516">
                  <c:v>0.20000128344367765</c:v>
                </c:pt>
                <c:pt idx="5517">
                  <c:v>0.26302719368399635</c:v>
                </c:pt>
                <c:pt idx="5518">
                  <c:v>0.31681471648954951</c:v>
                </c:pt>
                <c:pt idx="5519">
                  <c:v>0.37525618814195022</c:v>
                </c:pt>
                <c:pt idx="5520">
                  <c:v>0.43076483694328194</c:v>
                </c:pt>
                <c:pt idx="5521">
                  <c:v>0.47768329682027366</c:v>
                </c:pt>
                <c:pt idx="5522">
                  <c:v>0.5383776784063895</c:v>
                </c:pt>
                <c:pt idx="5523">
                  <c:v>0.61015258937891426</c:v>
                </c:pt>
                <c:pt idx="5524">
                  <c:v>0.66492986301363921</c:v>
                </c:pt>
                <c:pt idx="5525">
                  <c:v>0.70819850266268936</c:v>
                </c:pt>
                <c:pt idx="5526">
                  <c:v>0.71992776170326445</c:v>
                </c:pt>
                <c:pt idx="5527">
                  <c:v>0.7185994342508687</c:v>
                </c:pt>
                <c:pt idx="5528">
                  <c:v>0.71613351596853647</c:v>
                </c:pt>
                <c:pt idx="5529">
                  <c:v>0.71507006452331434</c:v>
                </c:pt>
                <c:pt idx="5530">
                  <c:v>0.70103501205832419</c:v>
                </c:pt>
                <c:pt idx="5531">
                  <c:v>0.68865703016010849</c:v>
                </c:pt>
                <c:pt idx="5532">
                  <c:v>0.67424835558001184</c:v>
                </c:pt>
                <c:pt idx="5533">
                  <c:v>0.6569567370760061</c:v>
                </c:pt>
                <c:pt idx="5534">
                  <c:v>0.63815509385312708</c:v>
                </c:pt>
                <c:pt idx="5535">
                  <c:v>0.62090100291107631</c:v>
                </c:pt>
                <c:pt idx="5536">
                  <c:v>0.60349284474937703</c:v>
                </c:pt>
                <c:pt idx="5537">
                  <c:v>0.59420986539393472</c:v>
                </c:pt>
                <c:pt idx="5538">
                  <c:v>0.59806013991776175</c:v>
                </c:pt>
                <c:pt idx="5539">
                  <c:v>0.60984373440270745</c:v>
                </c:pt>
                <c:pt idx="5540">
                  <c:v>0.62059875172692025</c:v>
                </c:pt>
                <c:pt idx="5541">
                  <c:v>0.61352839826598971</c:v>
                </c:pt>
                <c:pt idx="5542">
                  <c:v>0.58582254060372008</c:v>
                </c:pt>
                <c:pt idx="5543">
                  <c:v>0.54142470348388938</c:v>
                </c:pt>
                <c:pt idx="5544">
                  <c:v>0.50464809500988694</c:v>
                </c:pt>
                <c:pt idx="5545">
                  <c:v>0.48170869467115651</c:v>
                </c:pt>
                <c:pt idx="5546">
                  <c:v>0.49506383975510898</c:v>
                </c:pt>
                <c:pt idx="5547">
                  <c:v>0.53050798058150939</c:v>
                </c:pt>
                <c:pt idx="5548">
                  <c:v>0.55998892213883811</c:v>
                </c:pt>
                <c:pt idx="5549">
                  <c:v>0.57969082848184439</c:v>
                </c:pt>
                <c:pt idx="5550">
                  <c:v>0.5939671327775472</c:v>
                </c:pt>
                <c:pt idx="5551">
                  <c:v>0.6097990011154496</c:v>
                </c:pt>
                <c:pt idx="5552">
                  <c:v>0.61510438219752606</c:v>
                </c:pt>
                <c:pt idx="5553">
                  <c:v>0.60838124356839496</c:v>
                </c:pt>
                <c:pt idx="5554">
                  <c:v>0.60217487687341031</c:v>
                </c:pt>
                <c:pt idx="5555">
                  <c:v>0.58833573544468698</c:v>
                </c:pt>
                <c:pt idx="5556">
                  <c:v>0.58302723819636149</c:v>
                </c:pt>
                <c:pt idx="5557">
                  <c:v>0.58093610582370636</c:v>
                </c:pt>
                <c:pt idx="5558">
                  <c:v>0.58373980753109567</c:v>
                </c:pt>
                <c:pt idx="5559">
                  <c:v>0.6081710877142259</c:v>
                </c:pt>
                <c:pt idx="5560">
                  <c:v>0.63371190479338146</c:v>
                </c:pt>
                <c:pt idx="5561">
                  <c:v>0.64822580811966901</c:v>
                </c:pt>
                <c:pt idx="5562">
                  <c:v>0.66137971892678826</c:v>
                </c:pt>
                <c:pt idx="5563">
                  <c:v>0.67683591048210456</c:v>
                </c:pt>
                <c:pt idx="5564">
                  <c:v>0.68371775776986765</c:v>
                </c:pt>
                <c:pt idx="5565">
                  <c:v>0.68507511162224211</c:v>
                </c:pt>
                <c:pt idx="5566">
                  <c:v>0.68482151303007144</c:v>
                </c:pt>
                <c:pt idx="5567">
                  <c:v>0.68015942474288638</c:v>
                </c:pt>
                <c:pt idx="5568">
                  <c:v>0.67105067260040474</c:v>
                </c:pt>
                <c:pt idx="5569">
                  <c:v>0.67146882906320216</c:v>
                </c:pt>
                <c:pt idx="5570">
                  <c:v>0.67568280915037782</c:v>
                </c:pt>
                <c:pt idx="5571">
                  <c:v>0.67879513664460434</c:v>
                </c:pt>
                <c:pt idx="5572">
                  <c:v>0.67641350229850095</c:v>
                </c:pt>
                <c:pt idx="5573">
                  <c:v>0.68491721226926205</c:v>
                </c:pt>
                <c:pt idx="5574">
                  <c:v>0.69999941744730321</c:v>
                </c:pt>
                <c:pt idx="5575">
                  <c:v>0.7136219725969325</c:v>
                </c:pt>
                <c:pt idx="5576">
                  <c:v>0.72191559557399476</c:v>
                </c:pt>
                <c:pt idx="5577">
                  <c:v>0.72250681666413652</c:v>
                </c:pt>
                <c:pt idx="5578">
                  <c:v>0.71915830960107585</c:v>
                </c:pt>
                <c:pt idx="5579">
                  <c:v>0.71728512930315091</c:v>
                </c:pt>
                <c:pt idx="5580">
                  <c:v>0.7179307476049378</c:v>
                </c:pt>
                <c:pt idx="5581">
                  <c:v>0.71789453930819969</c:v>
                </c:pt>
                <c:pt idx="5582">
                  <c:v>0.72178350264124436</c:v>
                </c:pt>
                <c:pt idx="5583">
                  <c:v>0.72618826171210893</c:v>
                </c:pt>
                <c:pt idx="5584">
                  <c:v>0.73955181349598365</c:v>
                </c:pt>
                <c:pt idx="5585">
                  <c:v>0.75717477873175332</c:v>
                </c:pt>
                <c:pt idx="5586">
                  <c:v>0.77813208338058515</c:v>
                </c:pt>
                <c:pt idx="5587">
                  <c:v>0.79530728709816878</c:v>
                </c:pt>
                <c:pt idx="5588">
                  <c:v>0.80224185224025246</c:v>
                </c:pt>
                <c:pt idx="5589">
                  <c:v>0.78760434525663547</c:v>
                </c:pt>
                <c:pt idx="5590">
                  <c:v>0.77363888301652262</c:v>
                </c:pt>
                <c:pt idx="5591">
                  <c:v>0.75574976077136236</c:v>
                </c:pt>
                <c:pt idx="5592">
                  <c:v>0.73606553577290201</c:v>
                </c:pt>
                <c:pt idx="5593">
                  <c:v>0.71173460295059998</c:v>
                </c:pt>
                <c:pt idx="5594">
                  <c:v>0.69602806286958618</c:v>
                </c:pt>
                <c:pt idx="5595">
                  <c:v>0.68947947121960995</c:v>
                </c:pt>
                <c:pt idx="5596">
                  <c:v>0.69169313963287216</c:v>
                </c:pt>
                <c:pt idx="5597">
                  <c:v>0.69450650341453235</c:v>
                </c:pt>
                <c:pt idx="5598">
                  <c:v>0.69680582310202799</c:v>
                </c:pt>
                <c:pt idx="5599">
                  <c:v>0.69013869385807558</c:v>
                </c:pt>
                <c:pt idx="5600">
                  <c:v>0.67829764765777245</c:v>
                </c:pt>
                <c:pt idx="5601">
                  <c:v>0.66493792221456116</c:v>
                </c:pt>
                <c:pt idx="5602">
                  <c:v>0.6456515596955299</c:v>
                </c:pt>
                <c:pt idx="5603">
                  <c:v>0.61802896853082512</c:v>
                </c:pt>
                <c:pt idx="5604">
                  <c:v>0.57975762104597084</c:v>
                </c:pt>
                <c:pt idx="5605">
                  <c:v>0.53175673735571838</c:v>
                </c:pt>
                <c:pt idx="5606">
                  <c:v>0.47150386863706728</c:v>
                </c:pt>
                <c:pt idx="5607">
                  <c:v>0.41018130688039894</c:v>
                </c:pt>
                <c:pt idx="5608">
                  <c:v>0.36560594761418652</c:v>
                </c:pt>
                <c:pt idx="5609">
                  <c:v>0.33415917798418099</c:v>
                </c:pt>
                <c:pt idx="5610">
                  <c:v>0.38073161194734356</c:v>
                </c:pt>
                <c:pt idx="5611">
                  <c:v>0.46976268141939626</c:v>
                </c:pt>
                <c:pt idx="5612">
                  <c:v>0.54449002397791957</c:v>
                </c:pt>
                <c:pt idx="5613">
                  <c:v>0.6068327141486286</c:v>
                </c:pt>
                <c:pt idx="5614">
                  <c:v>0.65405945032960711</c:v>
                </c:pt>
                <c:pt idx="5615">
                  <c:v>0.68858501202603695</c:v>
                </c:pt>
                <c:pt idx="5616">
                  <c:v>0.71393697034103853</c:v>
                </c:pt>
                <c:pt idx="5617">
                  <c:v>0.73519171320017618</c:v>
                </c:pt>
                <c:pt idx="5618">
                  <c:v>0.75668322176757985</c:v>
                </c:pt>
                <c:pt idx="5619">
                  <c:v>0.77808539228780249</c:v>
                </c:pt>
                <c:pt idx="5620">
                  <c:v>0.79417534066700546</c:v>
                </c:pt>
                <c:pt idx="5621">
                  <c:v>0.80970468940195617</c:v>
                </c:pt>
                <c:pt idx="5622">
                  <c:v>0.82292063938986104</c:v>
                </c:pt>
                <c:pt idx="5623">
                  <c:v>0.83691489678229114</c:v>
                </c:pt>
                <c:pt idx="5624">
                  <c:v>0.85049824434601451</c:v>
                </c:pt>
                <c:pt idx="5625">
                  <c:v>0.8627962085027524</c:v>
                </c:pt>
                <c:pt idx="5626">
                  <c:v>0.86345798494825665</c:v>
                </c:pt>
                <c:pt idx="5627">
                  <c:v>0.86015274222440063</c:v>
                </c:pt>
                <c:pt idx="5628">
                  <c:v>0.84794080261315707</c:v>
                </c:pt>
                <c:pt idx="5629">
                  <c:v>0.83073589439687257</c:v>
                </c:pt>
                <c:pt idx="5630">
                  <c:v>0.804481290410615</c:v>
                </c:pt>
                <c:pt idx="5631">
                  <c:v>0.76674512033707121</c:v>
                </c:pt>
                <c:pt idx="5632">
                  <c:v>0.72839287614566128</c:v>
                </c:pt>
                <c:pt idx="5633">
                  <c:v>0.69119898097172772</c:v>
                </c:pt>
                <c:pt idx="5634">
                  <c:v>0.66254404403265088</c:v>
                </c:pt>
                <c:pt idx="5635">
                  <c:v>0.63125628483135399</c:v>
                </c:pt>
                <c:pt idx="5636">
                  <c:v>0.58465660513605977</c:v>
                </c:pt>
                <c:pt idx="5637">
                  <c:v>0.54928586477047947</c:v>
                </c:pt>
                <c:pt idx="5638">
                  <c:v>0.50976650328046258</c:v>
                </c:pt>
                <c:pt idx="5639">
                  <c:v>0.49129047677304311</c:v>
                </c:pt>
                <c:pt idx="5640">
                  <c:v>0.49713362600798872</c:v>
                </c:pt>
                <c:pt idx="5641">
                  <c:v>0.49257530741594097</c:v>
                </c:pt>
                <c:pt idx="5642">
                  <c:v>0.48670859677096029</c:v>
                </c:pt>
                <c:pt idx="5643">
                  <c:v>0.48755096122384822</c:v>
                </c:pt>
                <c:pt idx="5644">
                  <c:v>0.49973552907318369</c:v>
                </c:pt>
                <c:pt idx="5645">
                  <c:v>0.5385979941345711</c:v>
                </c:pt>
                <c:pt idx="5646">
                  <c:v>0.58790425357147635</c:v>
                </c:pt>
                <c:pt idx="5647">
                  <c:v>0.62844238033367539</c:v>
                </c:pt>
                <c:pt idx="5648">
                  <c:v>0.65688984950645946</c:v>
                </c:pt>
                <c:pt idx="5649">
                  <c:v>0.67113094467224321</c:v>
                </c:pt>
                <c:pt idx="5650">
                  <c:v>0.67835086894319063</c:v>
                </c:pt>
                <c:pt idx="5651">
                  <c:v>0.67466978763619756</c:v>
                </c:pt>
                <c:pt idx="5652">
                  <c:v>0.65757131372970978</c:v>
                </c:pt>
                <c:pt idx="5653">
                  <c:v>0.63357010009054604</c:v>
                </c:pt>
                <c:pt idx="5654">
                  <c:v>0.60725370385395638</c:v>
                </c:pt>
                <c:pt idx="5655">
                  <c:v>0.57992823103363633</c:v>
                </c:pt>
                <c:pt idx="5656">
                  <c:v>0.57074465602147206</c:v>
                </c:pt>
                <c:pt idx="5657">
                  <c:v>0.57407516016971316</c:v>
                </c:pt>
                <c:pt idx="5658">
                  <c:v>0.59133947538064113</c:v>
                </c:pt>
                <c:pt idx="5659">
                  <c:v>0.61291219720411028</c:v>
                </c:pt>
                <c:pt idx="5660">
                  <c:v>0.63938116749610108</c:v>
                </c:pt>
                <c:pt idx="5661">
                  <c:v>0.66464223871926809</c:v>
                </c:pt>
                <c:pt idx="5662">
                  <c:v>0.68688968589045574</c:v>
                </c:pt>
                <c:pt idx="5663">
                  <c:v>0.70450854575146815</c:v>
                </c:pt>
                <c:pt idx="5664">
                  <c:v>0.71428718574125238</c:v>
                </c:pt>
                <c:pt idx="5665">
                  <c:v>0.72152534520001721</c:v>
                </c:pt>
                <c:pt idx="5666">
                  <c:v>0.73298530577381793</c:v>
                </c:pt>
                <c:pt idx="5667">
                  <c:v>0.74501452515914823</c:v>
                </c:pt>
                <c:pt idx="5668">
                  <c:v>0.75666164584555562</c:v>
                </c:pt>
                <c:pt idx="5669">
                  <c:v>0.76270501455870876</c:v>
                </c:pt>
                <c:pt idx="5670">
                  <c:v>0.75676706133752569</c:v>
                </c:pt>
                <c:pt idx="5671">
                  <c:v>0.75585486924649437</c:v>
                </c:pt>
                <c:pt idx="5672">
                  <c:v>0.7550491005761194</c:v>
                </c:pt>
                <c:pt idx="5673">
                  <c:v>0.75459009408428135</c:v>
                </c:pt>
                <c:pt idx="5674">
                  <c:v>0.75183427389970992</c:v>
                </c:pt>
                <c:pt idx="5675">
                  <c:v>0.73145754502407823</c:v>
                </c:pt>
                <c:pt idx="5676">
                  <c:v>0.69310248687582643</c:v>
                </c:pt>
                <c:pt idx="5677">
                  <c:v>0.64620905602285317</c:v>
                </c:pt>
                <c:pt idx="5678">
                  <c:v>0.59627913372329244</c:v>
                </c:pt>
                <c:pt idx="5679">
                  <c:v>0.55282323571477976</c:v>
                </c:pt>
                <c:pt idx="5680">
                  <c:v>0.51921706694218961</c:v>
                </c:pt>
                <c:pt idx="5681">
                  <c:v>0.49764357415949262</c:v>
                </c:pt>
                <c:pt idx="5682">
                  <c:v>0.5159288015927237</c:v>
                </c:pt>
                <c:pt idx="5683">
                  <c:v>0.5747583149915606</c:v>
                </c:pt>
                <c:pt idx="5684">
                  <c:v>0.61575180138635488</c:v>
                </c:pt>
                <c:pt idx="5685">
                  <c:v>0.6169882429700535</c:v>
                </c:pt>
                <c:pt idx="5686">
                  <c:v>0.61747068066410216</c:v>
                </c:pt>
                <c:pt idx="5687">
                  <c:v>0.61527147553847539</c:v>
                </c:pt>
                <c:pt idx="5688">
                  <c:v>0.61120112417119909</c:v>
                </c:pt>
                <c:pt idx="5689">
                  <c:v>0.60890561083362527</c:v>
                </c:pt>
                <c:pt idx="5690">
                  <c:v>0.60255001511967865</c:v>
                </c:pt>
                <c:pt idx="5691">
                  <c:v>0.59194008257054154</c:v>
                </c:pt>
                <c:pt idx="5692">
                  <c:v>0.57990023202727869</c:v>
                </c:pt>
                <c:pt idx="5693">
                  <c:v>0.56662038301674067</c:v>
                </c:pt>
                <c:pt idx="5694">
                  <c:v>0.55313574828732481</c:v>
                </c:pt>
                <c:pt idx="5695">
                  <c:v>0.53793550446199112</c:v>
                </c:pt>
                <c:pt idx="5696">
                  <c:v>0.52255584348599704</c:v>
                </c:pt>
                <c:pt idx="5697">
                  <c:v>0.50692856374980155</c:v>
                </c:pt>
                <c:pt idx="5698">
                  <c:v>0.48795550194429382</c:v>
                </c:pt>
                <c:pt idx="5699">
                  <c:v>0.46620201413138834</c:v>
                </c:pt>
                <c:pt idx="5700">
                  <c:v>0.45640142252821531</c:v>
                </c:pt>
                <c:pt idx="5701">
                  <c:v>0.45000312985027802</c:v>
                </c:pt>
                <c:pt idx="5702">
                  <c:v>0.45345106678135605</c:v>
                </c:pt>
                <c:pt idx="5703">
                  <c:v>0.47198138370183823</c:v>
                </c:pt>
                <c:pt idx="5704">
                  <c:v>0.50879906361681659</c:v>
                </c:pt>
                <c:pt idx="5705">
                  <c:v>0.54359789538750947</c:v>
                </c:pt>
                <c:pt idx="5706">
                  <c:v>0.57377981211864237</c:v>
                </c:pt>
                <c:pt idx="5707">
                  <c:v>0.57872834365871328</c:v>
                </c:pt>
                <c:pt idx="5708">
                  <c:v>0.57822106024051778</c:v>
                </c:pt>
                <c:pt idx="5709">
                  <c:v>0.60781352624077578</c:v>
                </c:pt>
                <c:pt idx="5710">
                  <c:v>0.63110639056226836</c:v>
                </c:pt>
                <c:pt idx="5711">
                  <c:v>0.64919952094647237</c:v>
                </c:pt>
                <c:pt idx="5712">
                  <c:v>0.65403282388057826</c:v>
                </c:pt>
                <c:pt idx="5713">
                  <c:v>0.63420210806000243</c:v>
                </c:pt>
                <c:pt idx="5714">
                  <c:v>0.61912263331787032</c:v>
                </c:pt>
                <c:pt idx="5715">
                  <c:v>0.6319704986490583</c:v>
                </c:pt>
                <c:pt idx="5716">
                  <c:v>0.64415800891627717</c:v>
                </c:pt>
                <c:pt idx="5717">
                  <c:v>0.64612178935620135</c:v>
                </c:pt>
                <c:pt idx="5718">
                  <c:v>0.64356940473717217</c:v>
                </c:pt>
                <c:pt idx="5719">
                  <c:v>0.63838342998775222</c:v>
                </c:pt>
                <c:pt idx="5720">
                  <c:v>0.63984267963341002</c:v>
                </c:pt>
                <c:pt idx="5721">
                  <c:v>0.65010333949809573</c:v>
                </c:pt>
                <c:pt idx="5722">
                  <c:v>0.65407096630299344</c:v>
                </c:pt>
                <c:pt idx="5723">
                  <c:v>0.66289767965472768</c:v>
                </c:pt>
                <c:pt idx="5724">
                  <c:v>0.66597257305600832</c:v>
                </c:pt>
                <c:pt idx="5725">
                  <c:v>0.66887146898803929</c:v>
                </c:pt>
                <c:pt idx="5726">
                  <c:v>0.67132445314032974</c:v>
                </c:pt>
                <c:pt idx="5727">
                  <c:v>0.6701412384156118</c:v>
                </c:pt>
                <c:pt idx="5728">
                  <c:v>0.67171230896665612</c:v>
                </c:pt>
                <c:pt idx="5729">
                  <c:v>0.67382390805723857</c:v>
                </c:pt>
                <c:pt idx="5730">
                  <c:v>0.67482140281051195</c:v>
                </c:pt>
                <c:pt idx="5731">
                  <c:v>0.67485554503505263</c:v>
                </c:pt>
                <c:pt idx="5732">
                  <c:v>0.68131930059959867</c:v>
                </c:pt>
                <c:pt idx="5733">
                  <c:v>0.68643854025437012</c:v>
                </c:pt>
                <c:pt idx="5734">
                  <c:v>0.67606319278362104</c:v>
                </c:pt>
                <c:pt idx="5735">
                  <c:v>0.65722266160669784</c:v>
                </c:pt>
                <c:pt idx="5736">
                  <c:v>0.63582233528555698</c:v>
                </c:pt>
                <c:pt idx="5737">
                  <c:v>0.62992391206206322</c:v>
                </c:pt>
                <c:pt idx="5738">
                  <c:v>0.63108848955631813</c:v>
                </c:pt>
                <c:pt idx="5739">
                  <c:v>0.60599771623295362</c:v>
                </c:pt>
                <c:pt idx="5740">
                  <c:v>0.57787422348494344</c:v>
                </c:pt>
                <c:pt idx="5741">
                  <c:v>0.54831381813967539</c:v>
                </c:pt>
                <c:pt idx="5742">
                  <c:v>0.51932044787590859</c:v>
                </c:pt>
                <c:pt idx="5743">
                  <c:v>0.48508948228754323</c:v>
                </c:pt>
                <c:pt idx="5744">
                  <c:v>0.45175867793908187</c:v>
                </c:pt>
                <c:pt idx="5745">
                  <c:v>0.40782259385321035</c:v>
                </c:pt>
                <c:pt idx="5746">
                  <c:v>0.35276609492373379</c:v>
                </c:pt>
                <c:pt idx="5747">
                  <c:v>0.31941600181173946</c:v>
                </c:pt>
                <c:pt idx="5748">
                  <c:v>0.30905475922820336</c:v>
                </c:pt>
                <c:pt idx="5749">
                  <c:v>0.30414779099438599</c:v>
                </c:pt>
                <c:pt idx="5750">
                  <c:v>0.3186614748718582</c:v>
                </c:pt>
                <c:pt idx="5751">
                  <c:v>0.33672454903620375</c:v>
                </c:pt>
                <c:pt idx="5752">
                  <c:v>0.37589308080534967</c:v>
                </c:pt>
                <c:pt idx="5753">
                  <c:v>0.4229900128346768</c:v>
                </c:pt>
                <c:pt idx="5754">
                  <c:v>0.45165556877952323</c:v>
                </c:pt>
                <c:pt idx="5755">
                  <c:v>0.47256943155880671</c:v>
                </c:pt>
                <c:pt idx="5756">
                  <c:v>0.47894431517625352</c:v>
                </c:pt>
                <c:pt idx="5757">
                  <c:v>0.48975058571551494</c:v>
                </c:pt>
                <c:pt idx="5758">
                  <c:v>0.50720298826640464</c:v>
                </c:pt>
                <c:pt idx="5759">
                  <c:v>0.52309215253589425</c:v>
                </c:pt>
                <c:pt idx="5760">
                  <c:v>0.54069983955263101</c:v>
                </c:pt>
                <c:pt idx="5761">
                  <c:v>0.55341961018998664</c:v>
                </c:pt>
                <c:pt idx="5762">
                  <c:v>0.54416641385101583</c:v>
                </c:pt>
                <c:pt idx="5763">
                  <c:v>0.52173527499648487</c:v>
                </c:pt>
                <c:pt idx="5764">
                  <c:v>0.49310636246430417</c:v>
                </c:pt>
                <c:pt idx="5765">
                  <c:v>0.46971884539419989</c:v>
                </c:pt>
                <c:pt idx="5766">
                  <c:v>0.4463512886208279</c:v>
                </c:pt>
                <c:pt idx="5767">
                  <c:v>0.43690142325216186</c:v>
                </c:pt>
                <c:pt idx="5768">
                  <c:v>0.42410514158546292</c:v>
                </c:pt>
                <c:pt idx="5769">
                  <c:v>0.42152755815552256</c:v>
                </c:pt>
                <c:pt idx="5770">
                  <c:v>0.40989804391942891</c:v>
                </c:pt>
                <c:pt idx="5771">
                  <c:v>0.40262944026206804</c:v>
                </c:pt>
                <c:pt idx="5772">
                  <c:v>0.40177240673239983</c:v>
                </c:pt>
                <c:pt idx="5773">
                  <c:v>0.42417104259862592</c:v>
                </c:pt>
                <c:pt idx="5774">
                  <c:v>0.46726191229709102</c:v>
                </c:pt>
                <c:pt idx="5775">
                  <c:v>0.51777249309417894</c:v>
                </c:pt>
                <c:pt idx="5776">
                  <c:v>0.58723755621676044</c:v>
                </c:pt>
                <c:pt idx="5777">
                  <c:v>0.64004047620152948</c:v>
                </c:pt>
                <c:pt idx="5778">
                  <c:v>0.68316939109164421</c:v>
                </c:pt>
                <c:pt idx="5779">
                  <c:v>0.72323946595233313</c:v>
                </c:pt>
                <c:pt idx="5780">
                  <c:v>0.75707875582965711</c:v>
                </c:pt>
                <c:pt idx="5781">
                  <c:v>0.7823102691095154</c:v>
                </c:pt>
                <c:pt idx="5782">
                  <c:v>0.8011263535143508</c:v>
                </c:pt>
                <c:pt idx="5783">
                  <c:v>0.82210053125856608</c:v>
                </c:pt>
                <c:pt idx="5784">
                  <c:v>0.83707592012711818</c:v>
                </c:pt>
                <c:pt idx="5785">
                  <c:v>0.84984496950682442</c:v>
                </c:pt>
                <c:pt idx="5786">
                  <c:v>0.86999542497321258</c:v>
                </c:pt>
                <c:pt idx="5787">
                  <c:v>0.88638949260604694</c:v>
                </c:pt>
                <c:pt idx="5788">
                  <c:v>0.89072174884834998</c:v>
                </c:pt>
                <c:pt idx="5789">
                  <c:v>0.89022300984753933</c:v>
                </c:pt>
                <c:pt idx="5790">
                  <c:v>0.87888352072759657</c:v>
                </c:pt>
                <c:pt idx="5791">
                  <c:v>0.85398094442324779</c:v>
                </c:pt>
                <c:pt idx="5792">
                  <c:v>0.83079642653858066</c:v>
                </c:pt>
                <c:pt idx="5793">
                  <c:v>0.80812038519122442</c:v>
                </c:pt>
                <c:pt idx="5794">
                  <c:v>0.78652763597320097</c:v>
                </c:pt>
                <c:pt idx="5795">
                  <c:v>0.76446829728067578</c:v>
                </c:pt>
                <c:pt idx="5796">
                  <c:v>0.76185590737011744</c:v>
                </c:pt>
                <c:pt idx="5797">
                  <c:v>0.75948224351215121</c:v>
                </c:pt>
                <c:pt idx="5798">
                  <c:v>0.76010397620769155</c:v>
                </c:pt>
                <c:pt idx="5799">
                  <c:v>0.7608155357320121</c:v>
                </c:pt>
                <c:pt idx="5800">
                  <c:v>0.76155651526042489</c:v>
                </c:pt>
                <c:pt idx="5801">
                  <c:v>0.77225011174079317</c:v>
                </c:pt>
                <c:pt idx="5802">
                  <c:v>0.79584634479935168</c:v>
                </c:pt>
                <c:pt idx="5803">
                  <c:v>0.81852585894913843</c:v>
                </c:pt>
                <c:pt idx="5804">
                  <c:v>0.83087138354099133</c:v>
                </c:pt>
                <c:pt idx="5805">
                  <c:v>0.83558809249532262</c:v>
                </c:pt>
                <c:pt idx="5806">
                  <c:v>0.8306097691435137</c:v>
                </c:pt>
                <c:pt idx="5807">
                  <c:v>0.82516980922046357</c:v>
                </c:pt>
                <c:pt idx="5808">
                  <c:v>0.80951922461732173</c:v>
                </c:pt>
                <c:pt idx="5809">
                  <c:v>0.78642944219348099</c:v>
                </c:pt>
                <c:pt idx="5810">
                  <c:v>0.76837792731749432</c:v>
                </c:pt>
                <c:pt idx="5811">
                  <c:v>0.75280731418772506</c:v>
                </c:pt>
                <c:pt idx="5812">
                  <c:v>0.73737617126339028</c:v>
                </c:pt>
                <c:pt idx="5813">
                  <c:v>0.70872126284747849</c:v>
                </c:pt>
                <c:pt idx="5814">
                  <c:v>0.68622066473992149</c:v>
                </c:pt>
                <c:pt idx="5815">
                  <c:v>0.66718074735065969</c:v>
                </c:pt>
                <c:pt idx="5816">
                  <c:v>0.64144061223200566</c:v>
                </c:pt>
                <c:pt idx="5817">
                  <c:v>0.6425598944609231</c:v>
                </c:pt>
                <c:pt idx="5818">
                  <c:v>0.64509309678219318</c:v>
                </c:pt>
                <c:pt idx="5819">
                  <c:v>0.6446014311180126</c:v>
                </c:pt>
                <c:pt idx="5820">
                  <c:v>0.65074789628169338</c:v>
                </c:pt>
                <c:pt idx="5821">
                  <c:v>0.67002224492339435</c:v>
                </c:pt>
                <c:pt idx="5822">
                  <c:v>0.67123299743793718</c:v>
                </c:pt>
                <c:pt idx="5823">
                  <c:v>0.67102074165999281</c:v>
                </c:pt>
                <c:pt idx="5824">
                  <c:v>0.68340297742177269</c:v>
                </c:pt>
                <c:pt idx="5825">
                  <c:v>0.69437969945246847</c:v>
                </c:pt>
                <c:pt idx="5826">
                  <c:v>0.69378702665580883</c:v>
                </c:pt>
                <c:pt idx="5827">
                  <c:v>0.68893921099259381</c:v>
                </c:pt>
                <c:pt idx="5828">
                  <c:v>0.6763870532762607</c:v>
                </c:pt>
                <c:pt idx="5829">
                  <c:v>0.66286656135739819</c:v>
                </c:pt>
                <c:pt idx="5830">
                  <c:v>0.64913900325697116</c:v>
                </c:pt>
                <c:pt idx="5831">
                  <c:v>0.64002048564879133</c:v>
                </c:pt>
                <c:pt idx="5832">
                  <c:v>0.63338053089587998</c:v>
                </c:pt>
                <c:pt idx="5833">
                  <c:v>0.64236386053144401</c:v>
                </c:pt>
                <c:pt idx="5834">
                  <c:v>0.65659335630837634</c:v>
                </c:pt>
                <c:pt idx="5835">
                  <c:v>0.66639214223808396</c:v>
                </c:pt>
                <c:pt idx="5836">
                  <c:v>0.65678829401245475</c:v>
                </c:pt>
                <c:pt idx="5837">
                  <c:v>0.63789608088851435</c:v>
                </c:pt>
                <c:pt idx="5838">
                  <c:v>0.62457640776462697</c:v>
                </c:pt>
                <c:pt idx="5839">
                  <c:v>0.61651051826668579</c:v>
                </c:pt>
                <c:pt idx="5840">
                  <c:v>0.61026201695751703</c:v>
                </c:pt>
                <c:pt idx="5841">
                  <c:v>0.60626689936365996</c:v>
                </c:pt>
                <c:pt idx="5842">
                  <c:v>0.61144558018806416</c:v>
                </c:pt>
                <c:pt idx="5843">
                  <c:v>0.63289124994982915</c:v>
                </c:pt>
                <c:pt idx="5844">
                  <c:v>0.66253376670478037</c:v>
                </c:pt>
                <c:pt idx="5845">
                  <c:v>0.69264637433137732</c:v>
                </c:pt>
                <c:pt idx="5846">
                  <c:v>0.71206596989127502</c:v>
                </c:pt>
                <c:pt idx="5847">
                  <c:v>0.70964317146721523</c:v>
                </c:pt>
                <c:pt idx="5848">
                  <c:v>0.69975285924713537</c:v>
                </c:pt>
                <c:pt idx="5849">
                  <c:v>0.68851379545559022</c:v>
                </c:pt>
                <c:pt idx="5850">
                  <c:v>0.66809567640392808</c:v>
                </c:pt>
                <c:pt idx="5851">
                  <c:v>0.65182154280384375</c:v>
                </c:pt>
                <c:pt idx="5852">
                  <c:v>0.6522931168141537</c:v>
                </c:pt>
                <c:pt idx="5853">
                  <c:v>0.65282205490599599</c:v>
                </c:pt>
                <c:pt idx="5854">
                  <c:v>0.64352615907340371</c:v>
                </c:pt>
                <c:pt idx="5855">
                  <c:v>0.63710070689211173</c:v>
                </c:pt>
                <c:pt idx="5856">
                  <c:v>0.63894187906796507</c:v>
                </c:pt>
                <c:pt idx="5857">
                  <c:v>0.64715543155909661</c:v>
                </c:pt>
                <c:pt idx="5858">
                  <c:v>0.65277720089023339</c:v>
                </c:pt>
                <c:pt idx="5859">
                  <c:v>0.65736769876416357</c:v>
                </c:pt>
                <c:pt idx="5860">
                  <c:v>0.65862849483337815</c:v>
                </c:pt>
                <c:pt idx="5861">
                  <c:v>0.6529781613689154</c:v>
                </c:pt>
                <c:pt idx="5862">
                  <c:v>0.63685783588314393</c:v>
                </c:pt>
                <c:pt idx="5863">
                  <c:v>0.60029176398562478</c:v>
                </c:pt>
                <c:pt idx="5864">
                  <c:v>0.55135369404468026</c:v>
                </c:pt>
                <c:pt idx="5865">
                  <c:v>0.49883348257987076</c:v>
                </c:pt>
                <c:pt idx="5866">
                  <c:v>0.46058328253539116</c:v>
                </c:pt>
                <c:pt idx="5867">
                  <c:v>0.41217383855677597</c:v>
                </c:pt>
                <c:pt idx="5868">
                  <c:v>0.35864635623160712</c:v>
                </c:pt>
                <c:pt idx="5869">
                  <c:v>0.29790844904394781</c:v>
                </c:pt>
                <c:pt idx="5870">
                  <c:v>0.24622085590286086</c:v>
                </c:pt>
                <c:pt idx="5871">
                  <c:v>0.19485334189098766</c:v>
                </c:pt>
                <c:pt idx="5872">
                  <c:v>0.17276655523870649</c:v>
                </c:pt>
                <c:pt idx="5873">
                  <c:v>0.19736825269525002</c:v>
                </c:pt>
                <c:pt idx="5874">
                  <c:v>0.27787208613250353</c:v>
                </c:pt>
                <c:pt idx="5875">
                  <c:v>0.33317457642104104</c:v>
                </c:pt>
                <c:pt idx="5876">
                  <c:v>0.40432572768130121</c:v>
                </c:pt>
                <c:pt idx="5877">
                  <c:v>0.48539899118373964</c:v>
                </c:pt>
                <c:pt idx="5878">
                  <c:v>0.56244983196106846</c:v>
                </c:pt>
                <c:pt idx="5879">
                  <c:v>0.62148281024810348</c:v>
                </c:pt>
                <c:pt idx="5880">
                  <c:v>0.67191282433278132</c:v>
                </c:pt>
                <c:pt idx="5881">
                  <c:v>0.71445676063663965</c:v>
                </c:pt>
                <c:pt idx="5882">
                  <c:v>0.75144176083212466</c:v>
                </c:pt>
                <c:pt idx="5883">
                  <c:v>0.78436994334567745</c:v>
                </c:pt>
                <c:pt idx="5884">
                  <c:v>0.81250986063557396</c:v>
                </c:pt>
                <c:pt idx="5885">
                  <c:v>0.83360024519034737</c:v>
                </c:pt>
                <c:pt idx="5886">
                  <c:v>0.84094859209200135</c:v>
                </c:pt>
                <c:pt idx="5887">
                  <c:v>0.83446681075083962</c:v>
                </c:pt>
                <c:pt idx="5888">
                  <c:v>0.83099001405284911</c:v>
                </c:pt>
                <c:pt idx="5889">
                  <c:v>0.8226854655089062</c:v>
                </c:pt>
                <c:pt idx="5890">
                  <c:v>0.81463862713330781</c:v>
                </c:pt>
                <c:pt idx="5891">
                  <c:v>0.804872726403842</c:v>
                </c:pt>
                <c:pt idx="5892">
                  <c:v>0.79611827644124711</c:v>
                </c:pt>
                <c:pt idx="5893">
                  <c:v>0.78708532608466242</c:v>
                </c:pt>
                <c:pt idx="5894">
                  <c:v>0.77401542116332678</c:v>
                </c:pt>
                <c:pt idx="5895">
                  <c:v>0.74919187259847908</c:v>
                </c:pt>
                <c:pt idx="5896">
                  <c:v>0.72267262434332413</c:v>
                </c:pt>
                <c:pt idx="5897">
                  <c:v>0.68887382331433655</c:v>
                </c:pt>
                <c:pt idx="5898">
                  <c:v>0.65473741528913032</c:v>
                </c:pt>
                <c:pt idx="5899">
                  <c:v>0.61828806816438753</c:v>
                </c:pt>
                <c:pt idx="5900">
                  <c:v>0.57932380339369161</c:v>
                </c:pt>
                <c:pt idx="5901">
                  <c:v>0.53709729395657435</c:v>
                </c:pt>
                <c:pt idx="5902">
                  <c:v>0.5153747510478176</c:v>
                </c:pt>
                <c:pt idx="5903">
                  <c:v>0.50689201010956009</c:v>
                </c:pt>
                <c:pt idx="5904">
                  <c:v>0.51290905484572402</c:v>
                </c:pt>
                <c:pt idx="5905">
                  <c:v>0.51790741537791074</c:v>
                </c:pt>
                <c:pt idx="5906">
                  <c:v>0.52571474891519387</c:v>
                </c:pt>
                <c:pt idx="5907">
                  <c:v>0.52951729287353622</c:v>
                </c:pt>
                <c:pt idx="5908">
                  <c:v>0.52951729287353577</c:v>
                </c:pt>
                <c:pt idx="5909">
                  <c:v>0.53014455963658935</c:v>
                </c:pt>
                <c:pt idx="5910">
                  <c:v>0.53083795988716087</c:v>
                </c:pt>
                <c:pt idx="5911">
                  <c:v>0.53283398128747173</c:v>
                </c:pt>
                <c:pt idx="5912">
                  <c:v>0.53502223847048402</c:v>
                </c:pt>
                <c:pt idx="5913">
                  <c:v>0.53716840874664917</c:v>
                </c:pt>
                <c:pt idx="5914">
                  <c:v>0.53716840874664828</c:v>
                </c:pt>
                <c:pt idx="5915">
                  <c:v>0.53716840874664828</c:v>
                </c:pt>
                <c:pt idx="5916">
                  <c:v>0.53939661209263323</c:v>
                </c:pt>
                <c:pt idx="5917">
                  <c:v>0.54544361944235353</c:v>
                </c:pt>
                <c:pt idx="5918">
                  <c:v>0.55183641973079722</c:v>
                </c:pt>
                <c:pt idx="5919">
                  <c:v>0.55587311628878855</c:v>
                </c:pt>
                <c:pt idx="5920">
                  <c:v>0.5557269933511747</c:v>
                </c:pt>
                <c:pt idx="5921">
                  <c:v>0.53290836679831999</c:v>
                </c:pt>
                <c:pt idx="5922">
                  <c:v>0.50306008449658146</c:v>
                </c:pt>
                <c:pt idx="5923">
                  <c:v>0.45549053987950927</c:v>
                </c:pt>
                <c:pt idx="5924">
                  <c:v>0.40051715601066651</c:v>
                </c:pt>
                <c:pt idx="5925">
                  <c:v>0.35131043752463853</c:v>
                </c:pt>
                <c:pt idx="5926">
                  <c:v>0.321793853271855</c:v>
                </c:pt>
                <c:pt idx="5927">
                  <c:v>0.33242261113387406</c:v>
                </c:pt>
                <c:pt idx="5928">
                  <c:v>0.38205517555164636</c:v>
                </c:pt>
                <c:pt idx="5929">
                  <c:v>0.46272555439467195</c:v>
                </c:pt>
                <c:pt idx="5930">
                  <c:v>0.55235238322623903</c:v>
                </c:pt>
                <c:pt idx="5931">
                  <c:v>0.63321324529533773</c:v>
                </c:pt>
                <c:pt idx="5932">
                  <c:v>0.69027202684216749</c:v>
                </c:pt>
                <c:pt idx="5933">
                  <c:v>0.74270888012625824</c:v>
                </c:pt>
                <c:pt idx="5934">
                  <c:v>0.78678760972491302</c:v>
                </c:pt>
                <c:pt idx="5935">
                  <c:v>0.82381037775520549</c:v>
                </c:pt>
                <c:pt idx="5936">
                  <c:v>0.85237168599775626</c:v>
                </c:pt>
                <c:pt idx="5937">
                  <c:v>0.87491421212279308</c:v>
                </c:pt>
                <c:pt idx="5938">
                  <c:v>0.89182027528189178</c:v>
                </c:pt>
                <c:pt idx="5939">
                  <c:v>0.90343012489826224</c:v>
                </c:pt>
                <c:pt idx="5940">
                  <c:v>0.91016005382996179</c:v>
                </c:pt>
                <c:pt idx="5941">
                  <c:v>0.90620501511267082</c:v>
                </c:pt>
                <c:pt idx="5942">
                  <c:v>0.89610749781954313</c:v>
                </c:pt>
                <c:pt idx="5943">
                  <c:v>0.87987143584838501</c:v>
                </c:pt>
                <c:pt idx="5944">
                  <c:v>0.85944473835865287</c:v>
                </c:pt>
                <c:pt idx="5945">
                  <c:v>0.83023060002511972</c:v>
                </c:pt>
                <c:pt idx="5946">
                  <c:v>0.79848743039469061</c:v>
                </c:pt>
                <c:pt idx="5947">
                  <c:v>0.77403251113063742</c:v>
                </c:pt>
                <c:pt idx="5948">
                  <c:v>0.76623114428558414</c:v>
                </c:pt>
                <c:pt idx="5949">
                  <c:v>0.76641107298199096</c:v>
                </c:pt>
                <c:pt idx="5950">
                  <c:v>0.76207668878957802</c:v>
                </c:pt>
                <c:pt idx="5951">
                  <c:v>0.75784797631736278</c:v>
                </c:pt>
                <c:pt idx="5952">
                  <c:v>0.76566642010671637</c:v>
                </c:pt>
                <c:pt idx="5953">
                  <c:v>0.77190238140436962</c:v>
                </c:pt>
                <c:pt idx="5954">
                  <c:v>0.78055773507025039</c:v>
                </c:pt>
                <c:pt idx="5955">
                  <c:v>0.78031936857592255</c:v>
                </c:pt>
                <c:pt idx="5956">
                  <c:v>0.7799154977461219</c:v>
                </c:pt>
                <c:pt idx="5957">
                  <c:v>0.77903230576279392</c:v>
                </c:pt>
                <c:pt idx="5958">
                  <c:v>0.77881903777168304</c:v>
                </c:pt>
                <c:pt idx="5959">
                  <c:v>0.77532970700626969</c:v>
                </c:pt>
                <c:pt idx="5960">
                  <c:v>0.76786491731284767</c:v>
                </c:pt>
                <c:pt idx="5961">
                  <c:v>0.75632548881696782</c:v>
                </c:pt>
                <c:pt idx="5962">
                  <c:v>0.74832440725679361</c:v>
                </c:pt>
                <c:pt idx="5963">
                  <c:v>0.73835493697495036</c:v>
                </c:pt>
                <c:pt idx="5964">
                  <c:v>0.72683955818711732</c:v>
                </c:pt>
                <c:pt idx="5965">
                  <c:v>0.71226992612618012</c:v>
                </c:pt>
                <c:pt idx="5966">
                  <c:v>0.69597695360653633</c:v>
                </c:pt>
                <c:pt idx="5967">
                  <c:v>0.67787813356022586</c:v>
                </c:pt>
                <c:pt idx="5968">
                  <c:v>0.65816815421183938</c:v>
                </c:pt>
                <c:pt idx="5969">
                  <c:v>0.63706850603695619</c:v>
                </c:pt>
                <c:pt idx="5970">
                  <c:v>0.61325276575640053</c:v>
                </c:pt>
                <c:pt idx="5971">
                  <c:v>0.61140466163033247</c:v>
                </c:pt>
                <c:pt idx="5972">
                  <c:v>0.61591476530794631</c:v>
                </c:pt>
                <c:pt idx="5973">
                  <c:v>0.61855296064930154</c:v>
                </c:pt>
                <c:pt idx="5974">
                  <c:v>0.61600355875416724</c:v>
                </c:pt>
                <c:pt idx="5975">
                  <c:v>0.62505700056841684</c:v>
                </c:pt>
                <c:pt idx="5976">
                  <c:v>0.63672804467166622</c:v>
                </c:pt>
                <c:pt idx="5977">
                  <c:v>0.64947466675393539</c:v>
                </c:pt>
                <c:pt idx="5978">
                  <c:v>0.65420418853744</c:v>
                </c:pt>
                <c:pt idx="5979">
                  <c:v>0.65420418853744</c:v>
                </c:pt>
                <c:pt idx="5980">
                  <c:v>0.6574306431886745</c:v>
                </c:pt>
                <c:pt idx="5981">
                  <c:v>0.65788907648160422</c:v>
                </c:pt>
                <c:pt idx="5982">
                  <c:v>0.65357290051883399</c:v>
                </c:pt>
                <c:pt idx="5983">
                  <c:v>0.64428371368486625</c:v>
                </c:pt>
                <c:pt idx="5984">
                  <c:v>0.63564419102483927</c:v>
                </c:pt>
                <c:pt idx="5985">
                  <c:v>0.63420727028893642</c:v>
                </c:pt>
                <c:pt idx="5986">
                  <c:v>0.63224600222456562</c:v>
                </c:pt>
                <c:pt idx="5987">
                  <c:v>0.62788269127654872</c:v>
                </c:pt>
                <c:pt idx="5988">
                  <c:v>0.62953003531836238</c:v>
                </c:pt>
                <c:pt idx="5989">
                  <c:v>0.65460462638302874</c:v>
                </c:pt>
                <c:pt idx="5990">
                  <c:v>0.67358552102865021</c:v>
                </c:pt>
                <c:pt idx="5991">
                  <c:v>0.68487348015713756</c:v>
                </c:pt>
                <c:pt idx="5992">
                  <c:v>0.67873427803808151</c:v>
                </c:pt>
                <c:pt idx="5993">
                  <c:v>0.66060748329242203</c:v>
                </c:pt>
                <c:pt idx="5994">
                  <c:v>0.6440137383533806</c:v>
                </c:pt>
                <c:pt idx="5995">
                  <c:v>0.63230596866418598</c:v>
                </c:pt>
                <c:pt idx="5996">
                  <c:v>0.62287851408144213</c:v>
                </c:pt>
                <c:pt idx="5997">
                  <c:v>0.61626021556901578</c:v>
                </c:pt>
                <c:pt idx="5998">
                  <c:v>0.61391188541288522</c:v>
                </c:pt>
                <c:pt idx="5999">
                  <c:v>0.61254560079405174</c:v>
                </c:pt>
                <c:pt idx="6000">
                  <c:v>0.61174106989940946</c:v>
                </c:pt>
                <c:pt idx="6001">
                  <c:v>0.60641346578059596</c:v>
                </c:pt>
                <c:pt idx="6002">
                  <c:v>0.61460752990051015</c:v>
                </c:pt>
                <c:pt idx="6003">
                  <c:v>0.62926911525827733</c:v>
                </c:pt>
                <c:pt idx="6004">
                  <c:v>0.65452863047202914</c:v>
                </c:pt>
                <c:pt idx="6005">
                  <c:v>0.67204198864237208</c:v>
                </c:pt>
                <c:pt idx="6006">
                  <c:v>0.68240584595264686</c:v>
                </c:pt>
                <c:pt idx="6007">
                  <c:v>0.6859443420449296</c:v>
                </c:pt>
                <c:pt idx="6008">
                  <c:v>0.68276360468152097</c:v>
                </c:pt>
                <c:pt idx="6009">
                  <c:v>0.67276833834025385</c:v>
                </c:pt>
                <c:pt idx="6010">
                  <c:v>0.65654550299057579</c:v>
                </c:pt>
                <c:pt idx="6011">
                  <c:v>0.6386825118031797</c:v>
                </c:pt>
                <c:pt idx="6012">
                  <c:v>0.62092858015932484</c:v>
                </c:pt>
                <c:pt idx="6013">
                  <c:v>0.6135179623077982</c:v>
                </c:pt>
                <c:pt idx="6014">
                  <c:v>0.61114699571604514</c:v>
                </c:pt>
                <c:pt idx="6015">
                  <c:v>0.60738396023005836</c:v>
                </c:pt>
                <c:pt idx="6016">
                  <c:v>0.59366968036332923</c:v>
                </c:pt>
                <c:pt idx="6017">
                  <c:v>0.59445300519423128</c:v>
                </c:pt>
                <c:pt idx="6018">
                  <c:v>0.60038768716223156</c:v>
                </c:pt>
                <c:pt idx="6019">
                  <c:v>0.60038768716223156</c:v>
                </c:pt>
                <c:pt idx="6020">
                  <c:v>0.6020581205751081</c:v>
                </c:pt>
                <c:pt idx="6021">
                  <c:v>0.60672378578825104</c:v>
                </c:pt>
                <c:pt idx="6022">
                  <c:v>0.6113332248965766</c:v>
                </c:pt>
                <c:pt idx="6023">
                  <c:v>0.60449211354042354</c:v>
                </c:pt>
                <c:pt idx="6024">
                  <c:v>0.59528620714687541</c:v>
                </c:pt>
                <c:pt idx="6025">
                  <c:v>0.57278395128216109</c:v>
                </c:pt>
                <c:pt idx="6026">
                  <c:v>0.54559902293247031</c:v>
                </c:pt>
                <c:pt idx="6027">
                  <c:v>0.49736595676502804</c:v>
                </c:pt>
                <c:pt idx="6028">
                  <c:v>0.42431245381068172</c:v>
                </c:pt>
                <c:pt idx="6029">
                  <c:v>0.3482775269514603</c:v>
                </c:pt>
                <c:pt idx="6030">
                  <c:v>0.28063250445949711</c:v>
                </c:pt>
                <c:pt idx="6031">
                  <c:v>0.22178166581288908</c:v>
                </c:pt>
                <c:pt idx="6032">
                  <c:v>0.26704978893012304</c:v>
                </c:pt>
                <c:pt idx="6033">
                  <c:v>0.30646603855256638</c:v>
                </c:pt>
                <c:pt idx="6034">
                  <c:v>0.32802259938729705</c:v>
                </c:pt>
                <c:pt idx="6035">
                  <c:v>0.3290850416051721</c:v>
                </c:pt>
                <c:pt idx="6036">
                  <c:v>0.32735405911712639</c:v>
                </c:pt>
                <c:pt idx="6037">
                  <c:v>0.32542294831790275</c:v>
                </c:pt>
                <c:pt idx="6038">
                  <c:v>0.32347689582910472</c:v>
                </c:pt>
                <c:pt idx="6039">
                  <c:v>0.32141329482263298</c:v>
                </c:pt>
                <c:pt idx="6040">
                  <c:v>0.31890249434994034</c:v>
                </c:pt>
                <c:pt idx="6041">
                  <c:v>0.3164253379147795</c:v>
                </c:pt>
                <c:pt idx="6042">
                  <c:v>0.3135633293638167</c:v>
                </c:pt>
                <c:pt idx="6043">
                  <c:v>0.31116905727316641</c:v>
                </c:pt>
                <c:pt idx="6044">
                  <c:v>0.30794697858870218</c:v>
                </c:pt>
                <c:pt idx="6045">
                  <c:v>0.30794697858870218</c:v>
                </c:pt>
                <c:pt idx="6046">
                  <c:v>0.30727306398960147</c:v>
                </c:pt>
                <c:pt idx="6047">
                  <c:v>0.30598115694323502</c:v>
                </c:pt>
                <c:pt idx="6048">
                  <c:v>0.30456050893316772</c:v>
                </c:pt>
                <c:pt idx="6049">
                  <c:v>0.30256730178600161</c:v>
                </c:pt>
                <c:pt idx="6050">
                  <c:v>0.30014312449178027</c:v>
                </c:pt>
                <c:pt idx="6051">
                  <c:v>0.29720524659486314</c:v>
                </c:pt>
                <c:pt idx="6052">
                  <c:v>0.29393570284156395</c:v>
                </c:pt>
                <c:pt idx="6053">
                  <c:v>0.29959176327880988</c:v>
                </c:pt>
                <c:pt idx="6054">
                  <c:v>0.37801384984895881</c:v>
                </c:pt>
                <c:pt idx="6055">
                  <c:v>0.47737105379397893</c:v>
                </c:pt>
                <c:pt idx="6056">
                  <c:v>0.5537706655173017</c:v>
                </c:pt>
                <c:pt idx="6057">
                  <c:v>0.61418213234678565</c:v>
                </c:pt>
                <c:pt idx="6058">
                  <c:v>0.66561158290701106</c:v>
                </c:pt>
                <c:pt idx="6059">
                  <c:v>0.70986516136074596</c:v>
                </c:pt>
                <c:pt idx="6060">
                  <c:v>0.7507248901710103</c:v>
                </c:pt>
                <c:pt idx="6061">
                  <c:v>0.77322571516060545</c:v>
                </c:pt>
                <c:pt idx="6062">
                  <c:v>0.78529533763380499</c:v>
                </c:pt>
                <c:pt idx="6063">
                  <c:v>0.79331710783744069</c:v>
                </c:pt>
                <c:pt idx="6064">
                  <c:v>0.79453252005355723</c:v>
                </c:pt>
                <c:pt idx="6065">
                  <c:v>0.79158593387830911</c:v>
                </c:pt>
                <c:pt idx="6066">
                  <c:v>0.78439492199949645</c:v>
                </c:pt>
                <c:pt idx="6067">
                  <c:v>0.77552000603700477</c:v>
                </c:pt>
                <c:pt idx="6068">
                  <c:v>0.7682543117721925</c:v>
                </c:pt>
                <c:pt idx="6069">
                  <c:v>0.76199373817343896</c:v>
                </c:pt>
                <c:pt idx="6070">
                  <c:v>0.75839798223480448</c:v>
                </c:pt>
                <c:pt idx="6071">
                  <c:v>0.75352296170831912</c:v>
                </c:pt>
                <c:pt idx="6072">
                  <c:v>0.75475953946281515</c:v>
                </c:pt>
                <c:pt idx="6073">
                  <c:v>0.75675403001045427</c:v>
                </c:pt>
                <c:pt idx="6074">
                  <c:v>0.75021605517452572</c:v>
                </c:pt>
                <c:pt idx="6075">
                  <c:v>0.72841102588007289</c:v>
                </c:pt>
                <c:pt idx="6076">
                  <c:v>0.7033499419850272</c:v>
                </c:pt>
                <c:pt idx="6077">
                  <c:v>0.66990325240133064</c:v>
                </c:pt>
                <c:pt idx="6078">
                  <c:v>0.62909567755125806</c:v>
                </c:pt>
                <c:pt idx="6079">
                  <c:v>0.58145096563592225</c:v>
                </c:pt>
                <c:pt idx="6080">
                  <c:v>0.53717770212165816</c:v>
                </c:pt>
                <c:pt idx="6081">
                  <c:v>0.49655527152188961</c:v>
                </c:pt>
                <c:pt idx="6082">
                  <c:v>0.46847821372067655</c:v>
                </c:pt>
                <c:pt idx="6083">
                  <c:v>0.4825156611175731</c:v>
                </c:pt>
                <c:pt idx="6084">
                  <c:v>0.52281607724239743</c:v>
                </c:pt>
                <c:pt idx="6085">
                  <c:v>0.55282937572857627</c:v>
                </c:pt>
                <c:pt idx="6086">
                  <c:v>0.5734093163225823</c:v>
                </c:pt>
                <c:pt idx="6087">
                  <c:v>0.57339646636568753</c:v>
                </c:pt>
                <c:pt idx="6088">
                  <c:v>0.56650699896485979</c:v>
                </c:pt>
                <c:pt idx="6089">
                  <c:v>0.58544752243546661</c:v>
                </c:pt>
                <c:pt idx="6090">
                  <c:v>0.59615929135406565</c:v>
                </c:pt>
                <c:pt idx="6091">
                  <c:v>0.61211868825049875</c:v>
                </c:pt>
                <c:pt idx="6092">
                  <c:v>0.63008701390503452</c:v>
                </c:pt>
                <c:pt idx="6093">
                  <c:v>0.64731869121268071</c:v>
                </c:pt>
                <c:pt idx="6094">
                  <c:v>0.66752895263975554</c:v>
                </c:pt>
                <c:pt idx="6095">
                  <c:v>0.68430183389989319</c:v>
                </c:pt>
                <c:pt idx="6096">
                  <c:v>0.69652580998961433</c:v>
                </c:pt>
                <c:pt idx="6097">
                  <c:v>0.70590560916903455</c:v>
                </c:pt>
                <c:pt idx="6098">
                  <c:v>0.70970892225650228</c:v>
                </c:pt>
                <c:pt idx="6099">
                  <c:v>0.70796664472623738</c:v>
                </c:pt>
                <c:pt idx="6100">
                  <c:v>0.69644006461740215</c:v>
                </c:pt>
                <c:pt idx="6101">
                  <c:v>0.6871871790852524</c:v>
                </c:pt>
                <c:pt idx="6102">
                  <c:v>0.66097409637017546</c:v>
                </c:pt>
                <c:pt idx="6103">
                  <c:v>0.62764902135151035</c:v>
                </c:pt>
                <c:pt idx="6104">
                  <c:v>0.59612484105390684</c:v>
                </c:pt>
                <c:pt idx="6105">
                  <c:v>0.54819411532618445</c:v>
                </c:pt>
                <c:pt idx="6106">
                  <c:v>0.48139336690173812</c:v>
                </c:pt>
                <c:pt idx="6107">
                  <c:v>0.41226289246814873</c:v>
                </c:pt>
                <c:pt idx="6108">
                  <c:v>0.33238843491381931</c:v>
                </c:pt>
                <c:pt idx="6109">
                  <c:v>0.262168199970995</c:v>
                </c:pt>
                <c:pt idx="6110">
                  <c:v>0.2507564972877489</c:v>
                </c:pt>
                <c:pt idx="6111">
                  <c:v>0.27063020334272586</c:v>
                </c:pt>
                <c:pt idx="6112">
                  <c:v>0.29892862178449042</c:v>
                </c:pt>
                <c:pt idx="6113">
                  <c:v>0.33311917263632962</c:v>
                </c:pt>
                <c:pt idx="6114">
                  <c:v>0.36080833439549348</c:v>
                </c:pt>
                <c:pt idx="6115">
                  <c:v>0.37311353957088422</c:v>
                </c:pt>
                <c:pt idx="6116">
                  <c:v>0.37279664058476103</c:v>
                </c:pt>
                <c:pt idx="6117">
                  <c:v>0.371211256154517</c:v>
                </c:pt>
                <c:pt idx="6118">
                  <c:v>0.36796557372982652</c:v>
                </c:pt>
                <c:pt idx="6119">
                  <c:v>0.36298992647463613</c:v>
                </c:pt>
                <c:pt idx="6120">
                  <c:v>0.37613217845585384</c:v>
                </c:pt>
                <c:pt idx="6121">
                  <c:v>0.39869775536335111</c:v>
                </c:pt>
                <c:pt idx="6122">
                  <c:v>0.4383107326084163</c:v>
                </c:pt>
                <c:pt idx="6123">
                  <c:v>0.47790410991167509</c:v>
                </c:pt>
                <c:pt idx="6124">
                  <c:v>0.50417995370943336</c:v>
                </c:pt>
                <c:pt idx="6125">
                  <c:v>0.52847960258908078</c:v>
                </c:pt>
                <c:pt idx="6126">
                  <c:v>0.54372000262440601</c:v>
                </c:pt>
                <c:pt idx="6127">
                  <c:v>0.5449803528693542</c:v>
                </c:pt>
                <c:pt idx="6128">
                  <c:v>0.54533021582517593</c:v>
                </c:pt>
                <c:pt idx="6129">
                  <c:v>0.54738095792625829</c:v>
                </c:pt>
                <c:pt idx="6130">
                  <c:v>0.54680167533065582</c:v>
                </c:pt>
                <c:pt idx="6131">
                  <c:v>0.54659038721647391</c:v>
                </c:pt>
                <c:pt idx="6132">
                  <c:v>0.56619654351724913</c:v>
                </c:pt>
                <c:pt idx="6133">
                  <c:v>0.57723530564705994</c:v>
                </c:pt>
                <c:pt idx="6134">
                  <c:v>0.5801958875941633</c:v>
                </c:pt>
                <c:pt idx="6135">
                  <c:v>0.56016795437743094</c:v>
                </c:pt>
                <c:pt idx="6136">
                  <c:v>0.53293999786426849</c:v>
                </c:pt>
                <c:pt idx="6137">
                  <c:v>0.51096892951021766</c:v>
                </c:pt>
                <c:pt idx="6138">
                  <c:v>0.48647055028563962</c:v>
                </c:pt>
                <c:pt idx="6139">
                  <c:v>0.48467727376269787</c:v>
                </c:pt>
                <c:pt idx="6140">
                  <c:v>0.49464855958764326</c:v>
                </c:pt>
                <c:pt idx="6141">
                  <c:v>0.50575495552126437</c:v>
                </c:pt>
                <c:pt idx="6142">
                  <c:v>0.51603949661758486</c:v>
                </c:pt>
                <c:pt idx="6143">
                  <c:v>0.52104834943797673</c:v>
                </c:pt>
                <c:pt idx="6144">
                  <c:v>0.52555551063542838</c:v>
                </c:pt>
                <c:pt idx="6145">
                  <c:v>0.52663562444223722</c:v>
                </c:pt>
                <c:pt idx="6146">
                  <c:v>0.50820340398372443</c:v>
                </c:pt>
                <c:pt idx="6147">
                  <c:v>0.48255407728992084</c:v>
                </c:pt>
                <c:pt idx="6148">
                  <c:v>0.45389120456395415</c:v>
                </c:pt>
                <c:pt idx="6149">
                  <c:v>0.42431401176392242</c:v>
                </c:pt>
                <c:pt idx="6150">
                  <c:v>0.42907910883859485</c:v>
                </c:pt>
                <c:pt idx="6151">
                  <c:v>0.43976469771157978</c:v>
                </c:pt>
                <c:pt idx="6152">
                  <c:v>0.44740160818427033</c:v>
                </c:pt>
                <c:pt idx="6153">
                  <c:v>0.45064418339535683</c:v>
                </c:pt>
                <c:pt idx="6154">
                  <c:v>0.4578921780741817</c:v>
                </c:pt>
                <c:pt idx="6155">
                  <c:v>0.45569799512611309</c:v>
                </c:pt>
                <c:pt idx="6156">
                  <c:v>0.46432769384802375</c:v>
                </c:pt>
                <c:pt idx="6157">
                  <c:v>0.48104840081463324</c:v>
                </c:pt>
                <c:pt idx="6158">
                  <c:v>0.51533058872574222</c:v>
                </c:pt>
                <c:pt idx="6159">
                  <c:v>0.55153939961460086</c:v>
                </c:pt>
                <c:pt idx="6160">
                  <c:v>0.58926596424597766</c:v>
                </c:pt>
                <c:pt idx="6161">
                  <c:v>0.58763775564119014</c:v>
                </c:pt>
                <c:pt idx="6162">
                  <c:v>0.56460754692994464</c:v>
                </c:pt>
                <c:pt idx="6163">
                  <c:v>0.53404477797086125</c:v>
                </c:pt>
                <c:pt idx="6164">
                  <c:v>0.51781694359308228</c:v>
                </c:pt>
                <c:pt idx="6165">
                  <c:v>0.53566941593163431</c:v>
                </c:pt>
                <c:pt idx="6166">
                  <c:v>0.55196087309260233</c:v>
                </c:pt>
                <c:pt idx="6167">
                  <c:v>0.56522815640368007</c:v>
                </c:pt>
                <c:pt idx="6168">
                  <c:v>0.57626762178236812</c:v>
                </c:pt>
                <c:pt idx="6169">
                  <c:v>0.57469540620883908</c:v>
                </c:pt>
                <c:pt idx="6170">
                  <c:v>0.59271226174792058</c:v>
                </c:pt>
                <c:pt idx="6171">
                  <c:v>0.61253171613071333</c:v>
                </c:pt>
                <c:pt idx="6172">
                  <c:v>0.63560102800646001</c:v>
                </c:pt>
                <c:pt idx="6173">
                  <c:v>0.65608278502996509</c:v>
                </c:pt>
                <c:pt idx="6174">
                  <c:v>0.67459015140790157</c:v>
                </c:pt>
                <c:pt idx="6175">
                  <c:v>0.6830014636662266</c:v>
                </c:pt>
                <c:pt idx="6176">
                  <c:v>0.68757513494456357</c:v>
                </c:pt>
                <c:pt idx="6177">
                  <c:v>0.68742868474562102</c:v>
                </c:pt>
                <c:pt idx="6178">
                  <c:v>0.69209070102444992</c:v>
                </c:pt>
                <c:pt idx="6179">
                  <c:v>0.69958289443032129</c:v>
                </c:pt>
                <c:pt idx="6180">
                  <c:v>0.68904603331786141</c:v>
                </c:pt>
                <c:pt idx="6181">
                  <c:v>0.67205348940924725</c:v>
                </c:pt>
                <c:pt idx="6182">
                  <c:v>0.6575227538776317</c:v>
                </c:pt>
                <c:pt idx="6183">
                  <c:v>0.65474915656290822</c:v>
                </c:pt>
                <c:pt idx="6184">
                  <c:v>0.63562729164741871</c:v>
                </c:pt>
                <c:pt idx="6185">
                  <c:v>0.63720905616492707</c:v>
                </c:pt>
                <c:pt idx="6186">
                  <c:v>0.63719214829020554</c:v>
                </c:pt>
                <c:pt idx="6187">
                  <c:v>0.65069195486336506</c:v>
                </c:pt>
                <c:pt idx="6188">
                  <c:v>0.66786186825883986</c:v>
                </c:pt>
                <c:pt idx="6189">
                  <c:v>0.68784417047460134</c:v>
                </c:pt>
                <c:pt idx="6190">
                  <c:v>0.68156886332844369</c:v>
                </c:pt>
                <c:pt idx="6191">
                  <c:v>0.68283265922578518</c:v>
                </c:pt>
                <c:pt idx="6192">
                  <c:v>0.68352412111038707</c:v>
                </c:pt>
                <c:pt idx="6193">
                  <c:v>0.6836712875877895</c:v>
                </c:pt>
                <c:pt idx="6194">
                  <c:v>0.67709330998783035</c:v>
                </c:pt>
                <c:pt idx="6195">
                  <c:v>0.66586825850935127</c:v>
                </c:pt>
                <c:pt idx="6196">
                  <c:v>0.65878638482316398</c:v>
                </c:pt>
                <c:pt idx="6197">
                  <c:v>0.65205523072793325</c:v>
                </c:pt>
                <c:pt idx="6198">
                  <c:v>0.64211475449979027</c:v>
                </c:pt>
                <c:pt idx="6199">
                  <c:v>0.64358415397615443</c:v>
                </c:pt>
                <c:pt idx="6200">
                  <c:v>0.64292376976440435</c:v>
                </c:pt>
                <c:pt idx="6201">
                  <c:v>0.63820598014035002</c:v>
                </c:pt>
                <c:pt idx="6202">
                  <c:v>0.62652063889033516</c:v>
                </c:pt>
                <c:pt idx="6203">
                  <c:v>0.63119336635501011</c:v>
                </c:pt>
                <c:pt idx="6204">
                  <c:v>0.63494178436606441</c:v>
                </c:pt>
                <c:pt idx="6205">
                  <c:v>0.6453871916820475</c:v>
                </c:pt>
                <c:pt idx="6206">
                  <c:v>0.65753174432326278</c:v>
                </c:pt>
                <c:pt idx="6207">
                  <c:v>0.66410101322549553</c:v>
                </c:pt>
                <c:pt idx="6208">
                  <c:v>0.65884830865033728</c:v>
                </c:pt>
                <c:pt idx="6209">
                  <c:v>0.64356761395986561</c:v>
                </c:pt>
                <c:pt idx="6210">
                  <c:v>0.65049709756204044</c:v>
                </c:pt>
                <c:pt idx="6211">
                  <c:v>0.65655708981003358</c:v>
                </c:pt>
                <c:pt idx="6212">
                  <c:v>0.66291887463956434</c:v>
                </c:pt>
                <c:pt idx="6213">
                  <c:v>0.66291887463956434</c:v>
                </c:pt>
                <c:pt idx="6214">
                  <c:v>0.66719453748604396</c:v>
                </c:pt>
                <c:pt idx="6215">
                  <c:v>0.67273791526977167</c:v>
                </c:pt>
                <c:pt idx="6216">
                  <c:v>0.67662898087291024</c:v>
                </c:pt>
                <c:pt idx="6217">
                  <c:v>0.65262731621892478</c:v>
                </c:pt>
                <c:pt idx="6218">
                  <c:v>0.60130041248804889</c:v>
                </c:pt>
                <c:pt idx="6219">
                  <c:v>0.51601413352696546</c:v>
                </c:pt>
                <c:pt idx="6220">
                  <c:v>0.44802346781424468</c:v>
                </c:pt>
                <c:pt idx="6221">
                  <c:v>0.40230095364336288</c:v>
                </c:pt>
                <c:pt idx="6222">
                  <c:v>0.34556100203648604</c:v>
                </c:pt>
                <c:pt idx="6223">
                  <c:v>0.31340684274811692</c:v>
                </c:pt>
                <c:pt idx="6224">
                  <c:v>0.33434544767714258</c:v>
                </c:pt>
                <c:pt idx="6225">
                  <c:v>0.42541895479635999</c:v>
                </c:pt>
                <c:pt idx="6226">
                  <c:v>0.53604073852743594</c:v>
                </c:pt>
                <c:pt idx="6227">
                  <c:v>0.61865322301644032</c:v>
                </c:pt>
                <c:pt idx="6228">
                  <c:v>0.61599585215261077</c:v>
                </c:pt>
                <c:pt idx="6229">
                  <c:v>0.61695260224707216</c:v>
                </c:pt>
                <c:pt idx="6230">
                  <c:v>0.61861851344009045</c:v>
                </c:pt>
                <c:pt idx="6231">
                  <c:v>0.62157462232670169</c:v>
                </c:pt>
                <c:pt idx="6232">
                  <c:v>0.61809433909158606</c:v>
                </c:pt>
                <c:pt idx="6233">
                  <c:v>0.58143270963040716</c:v>
                </c:pt>
                <c:pt idx="6234">
                  <c:v>0.58143270963040716</c:v>
                </c:pt>
                <c:pt idx="6235">
                  <c:v>0.58143270963040716</c:v>
                </c:pt>
                <c:pt idx="6236">
                  <c:v>0.58143270963040716</c:v>
                </c:pt>
                <c:pt idx="6237">
                  <c:v>0.58143270963040716</c:v>
                </c:pt>
                <c:pt idx="6238">
                  <c:v>0.58143270963040716</c:v>
                </c:pt>
                <c:pt idx="6239">
                  <c:v>0.58143270963040716</c:v>
                </c:pt>
                <c:pt idx="6240">
                  <c:v>0.58143270963040716</c:v>
                </c:pt>
                <c:pt idx="6241">
                  <c:v>0.58143270963040716</c:v>
                </c:pt>
                <c:pt idx="6242">
                  <c:v>0.58143270963040716</c:v>
                </c:pt>
                <c:pt idx="6243">
                  <c:v>0.58143270963040716</c:v>
                </c:pt>
                <c:pt idx="6244">
                  <c:v>0.58143270963040716</c:v>
                </c:pt>
                <c:pt idx="6245">
                  <c:v>0.58143270963040716</c:v>
                </c:pt>
                <c:pt idx="6246">
                  <c:v>0.58143270963040716</c:v>
                </c:pt>
                <c:pt idx="6247">
                  <c:v>0.58143270963040716</c:v>
                </c:pt>
                <c:pt idx="6248">
                  <c:v>0.58143270963040716</c:v>
                </c:pt>
                <c:pt idx="6249">
                  <c:v>0.58143270963040716</c:v>
                </c:pt>
                <c:pt idx="6250">
                  <c:v>0.58143270963040716</c:v>
                </c:pt>
                <c:pt idx="6251">
                  <c:v>0.58143270963040716</c:v>
                </c:pt>
                <c:pt idx="6252">
                  <c:v>0.58325688553733346</c:v>
                </c:pt>
                <c:pt idx="6253">
                  <c:v>0.58095053413132369</c:v>
                </c:pt>
                <c:pt idx="6254">
                  <c:v>0.57190322151188133</c:v>
                </c:pt>
                <c:pt idx="6255">
                  <c:v>0.50847858531932888</c:v>
                </c:pt>
                <c:pt idx="6256">
                  <c:v>0.36946245929971605</c:v>
                </c:pt>
                <c:pt idx="6257">
                  <c:v>8.5810320674179458E-2</c:v>
                </c:pt>
                <c:pt idx="6258">
                  <c:v>0</c:v>
                </c:pt>
                <c:pt idx="6259">
                  <c:v>0</c:v>
                </c:pt>
                <c:pt idx="6260">
                  <c:v>0</c:v>
                </c:pt>
                <c:pt idx="6261">
                  <c:v>0</c:v>
                </c:pt>
                <c:pt idx="6262">
                  <c:v>0</c:v>
                </c:pt>
                <c:pt idx="6263">
                  <c:v>0</c:v>
                </c:pt>
                <c:pt idx="6264">
                  <c:v>0</c:v>
                </c:pt>
                <c:pt idx="6265">
                  <c:v>0</c:v>
                </c:pt>
                <c:pt idx="6266">
                  <c:v>0</c:v>
                </c:pt>
                <c:pt idx="6267">
                  <c:v>0</c:v>
                </c:pt>
                <c:pt idx="6268">
                  <c:v>0</c:v>
                </c:pt>
                <c:pt idx="6269">
                  <c:v>0</c:v>
                </c:pt>
                <c:pt idx="6270">
                  <c:v>0</c:v>
                </c:pt>
                <c:pt idx="6271">
                  <c:v>0</c:v>
                </c:pt>
                <c:pt idx="6272">
                  <c:v>0</c:v>
                </c:pt>
                <c:pt idx="6273">
                  <c:v>0</c:v>
                </c:pt>
                <c:pt idx="6274">
                  <c:v>0</c:v>
                </c:pt>
                <c:pt idx="6275">
                  <c:v>0</c:v>
                </c:pt>
                <c:pt idx="6276">
                  <c:v>0</c:v>
                </c:pt>
                <c:pt idx="6277">
                  <c:v>0</c:v>
                </c:pt>
                <c:pt idx="6278">
                  <c:v>0</c:v>
                </c:pt>
                <c:pt idx="6279">
                  <c:v>0</c:v>
                </c:pt>
                <c:pt idx="6280">
                  <c:v>0</c:v>
                </c:pt>
                <c:pt idx="6281">
                  <c:v>0</c:v>
                </c:pt>
                <c:pt idx="6282">
                  <c:v>0</c:v>
                </c:pt>
                <c:pt idx="6283">
                  <c:v>0</c:v>
                </c:pt>
                <c:pt idx="6284">
                  <c:v>0</c:v>
                </c:pt>
                <c:pt idx="6285">
                  <c:v>0</c:v>
                </c:pt>
                <c:pt idx="6286">
                  <c:v>0</c:v>
                </c:pt>
                <c:pt idx="6287">
                  <c:v>0</c:v>
                </c:pt>
                <c:pt idx="6288">
                  <c:v>0</c:v>
                </c:pt>
                <c:pt idx="6289">
                  <c:v>0</c:v>
                </c:pt>
                <c:pt idx="6290">
                  <c:v>0</c:v>
                </c:pt>
                <c:pt idx="6291">
                  <c:v>0</c:v>
                </c:pt>
                <c:pt idx="6292">
                  <c:v>0</c:v>
                </c:pt>
                <c:pt idx="6293">
                  <c:v>0</c:v>
                </c:pt>
                <c:pt idx="6294">
                  <c:v>0</c:v>
                </c:pt>
                <c:pt idx="6295">
                  <c:v>0</c:v>
                </c:pt>
                <c:pt idx="6296">
                  <c:v>0</c:v>
                </c:pt>
                <c:pt idx="6297">
                  <c:v>0</c:v>
                </c:pt>
                <c:pt idx="6298">
                  <c:v>0</c:v>
                </c:pt>
                <c:pt idx="6299">
                  <c:v>0</c:v>
                </c:pt>
                <c:pt idx="6300">
                  <c:v>0</c:v>
                </c:pt>
                <c:pt idx="6301">
                  <c:v>0</c:v>
                </c:pt>
                <c:pt idx="6302">
                  <c:v>0</c:v>
                </c:pt>
                <c:pt idx="6303">
                  <c:v>0</c:v>
                </c:pt>
                <c:pt idx="6304">
                  <c:v>0</c:v>
                </c:pt>
                <c:pt idx="6305">
                  <c:v>0</c:v>
                </c:pt>
                <c:pt idx="6306">
                  <c:v>0</c:v>
                </c:pt>
                <c:pt idx="6307">
                  <c:v>0</c:v>
                </c:pt>
                <c:pt idx="6308">
                  <c:v>0</c:v>
                </c:pt>
                <c:pt idx="6309">
                  <c:v>0</c:v>
                </c:pt>
                <c:pt idx="6310">
                  <c:v>0</c:v>
                </c:pt>
                <c:pt idx="6311">
                  <c:v>0</c:v>
                </c:pt>
                <c:pt idx="6312">
                  <c:v>0</c:v>
                </c:pt>
                <c:pt idx="6313">
                  <c:v>0</c:v>
                </c:pt>
                <c:pt idx="6314">
                  <c:v>0</c:v>
                </c:pt>
                <c:pt idx="6315">
                  <c:v>0</c:v>
                </c:pt>
                <c:pt idx="6316">
                  <c:v>0</c:v>
                </c:pt>
                <c:pt idx="6317">
                  <c:v>0</c:v>
                </c:pt>
                <c:pt idx="6318">
                  <c:v>0</c:v>
                </c:pt>
                <c:pt idx="6319">
                  <c:v>0</c:v>
                </c:pt>
                <c:pt idx="6320">
                  <c:v>0</c:v>
                </c:pt>
                <c:pt idx="6321">
                  <c:v>0</c:v>
                </c:pt>
                <c:pt idx="6322">
                  <c:v>0</c:v>
                </c:pt>
                <c:pt idx="6323">
                  <c:v>0</c:v>
                </c:pt>
                <c:pt idx="6324">
                  <c:v>0</c:v>
                </c:pt>
                <c:pt idx="6325">
                  <c:v>0</c:v>
                </c:pt>
                <c:pt idx="6326">
                  <c:v>0</c:v>
                </c:pt>
                <c:pt idx="6327">
                  <c:v>0</c:v>
                </c:pt>
                <c:pt idx="6328">
                  <c:v>0</c:v>
                </c:pt>
                <c:pt idx="6329">
                  <c:v>0</c:v>
                </c:pt>
                <c:pt idx="6330">
                  <c:v>0</c:v>
                </c:pt>
                <c:pt idx="6331">
                  <c:v>0</c:v>
                </c:pt>
                <c:pt idx="6332">
                  <c:v>0</c:v>
                </c:pt>
                <c:pt idx="6333">
                  <c:v>0</c:v>
                </c:pt>
                <c:pt idx="6334">
                  <c:v>0</c:v>
                </c:pt>
                <c:pt idx="6335">
                  <c:v>0</c:v>
                </c:pt>
                <c:pt idx="6336">
                  <c:v>0</c:v>
                </c:pt>
                <c:pt idx="6337">
                  <c:v>0</c:v>
                </c:pt>
                <c:pt idx="6338">
                  <c:v>0</c:v>
                </c:pt>
                <c:pt idx="6339">
                  <c:v>0</c:v>
                </c:pt>
                <c:pt idx="6340">
                  <c:v>0</c:v>
                </c:pt>
                <c:pt idx="6341">
                  <c:v>0</c:v>
                </c:pt>
                <c:pt idx="6342">
                  <c:v>0</c:v>
                </c:pt>
                <c:pt idx="6343">
                  <c:v>0</c:v>
                </c:pt>
                <c:pt idx="6344">
                  <c:v>0</c:v>
                </c:pt>
                <c:pt idx="6345">
                  <c:v>0</c:v>
                </c:pt>
                <c:pt idx="6346">
                  <c:v>0</c:v>
                </c:pt>
                <c:pt idx="6347">
                  <c:v>0</c:v>
                </c:pt>
                <c:pt idx="6348">
                  <c:v>0</c:v>
                </c:pt>
                <c:pt idx="6349">
                  <c:v>0</c:v>
                </c:pt>
                <c:pt idx="6350">
                  <c:v>0</c:v>
                </c:pt>
                <c:pt idx="6351">
                  <c:v>0</c:v>
                </c:pt>
                <c:pt idx="6352">
                  <c:v>0</c:v>
                </c:pt>
                <c:pt idx="6353">
                  <c:v>0</c:v>
                </c:pt>
                <c:pt idx="6354">
                  <c:v>0</c:v>
                </c:pt>
                <c:pt idx="6355">
                  <c:v>0</c:v>
                </c:pt>
                <c:pt idx="6356">
                  <c:v>0</c:v>
                </c:pt>
                <c:pt idx="6357">
                  <c:v>0</c:v>
                </c:pt>
                <c:pt idx="6358">
                  <c:v>0</c:v>
                </c:pt>
                <c:pt idx="6359">
                  <c:v>1.2592906128272695E-2</c:v>
                </c:pt>
                <c:pt idx="6360">
                  <c:v>3.8615787134188284E-2</c:v>
                </c:pt>
                <c:pt idx="6361">
                  <c:v>0.14754924997151103</c:v>
                </c:pt>
                <c:pt idx="6362">
                  <c:v>0.21804011231545309</c:v>
                </c:pt>
                <c:pt idx="6363">
                  <c:v>0.27426764046496593</c:v>
                </c:pt>
                <c:pt idx="6364">
                  <c:v>0.38329299891526791</c:v>
                </c:pt>
                <c:pt idx="6365">
                  <c:v>0.46860607331497672</c:v>
                </c:pt>
                <c:pt idx="6366">
                  <c:v>0.54069178805421048</c:v>
                </c:pt>
                <c:pt idx="6367">
                  <c:v>0.59905667190508749</c:v>
                </c:pt>
                <c:pt idx="6368">
                  <c:v>0.66941634065850253</c:v>
                </c:pt>
                <c:pt idx="6369">
                  <c:v>0.72661449604791206</c:v>
                </c:pt>
                <c:pt idx="6370">
                  <c:v>0.7734327702774012</c:v>
                </c:pt>
                <c:pt idx="6371">
                  <c:v>0.81170520680072611</c:v>
                </c:pt>
                <c:pt idx="6372">
                  <c:v>0.84283651195673603</c:v>
                </c:pt>
                <c:pt idx="6373">
                  <c:v>0.86757291865730768</c:v>
                </c:pt>
                <c:pt idx="6374">
                  <c:v>0.88495467002106865</c:v>
                </c:pt>
                <c:pt idx="6375">
                  <c:v>0.87451675705310983</c:v>
                </c:pt>
                <c:pt idx="6376">
                  <c:v>0.87451675705310983</c:v>
                </c:pt>
                <c:pt idx="6377">
                  <c:v>0.87451675705310983</c:v>
                </c:pt>
                <c:pt idx="6378">
                  <c:v>0.87451675705310983</c:v>
                </c:pt>
                <c:pt idx="6379">
                  <c:v>0.87451675705310983</c:v>
                </c:pt>
                <c:pt idx="6380">
                  <c:v>0.87451675705310983</c:v>
                </c:pt>
                <c:pt idx="6381">
                  <c:v>0.87451675705310983</c:v>
                </c:pt>
                <c:pt idx="6382">
                  <c:v>0.87451675705310983</c:v>
                </c:pt>
                <c:pt idx="6383">
                  <c:v>0.87451675705310983</c:v>
                </c:pt>
                <c:pt idx="6384">
                  <c:v>0.87451675705310983</c:v>
                </c:pt>
                <c:pt idx="6385">
                  <c:v>0.87451675705310983</c:v>
                </c:pt>
                <c:pt idx="6386">
                  <c:v>0.87451675705310983</c:v>
                </c:pt>
                <c:pt idx="6387">
                  <c:v>0.87451675705310983</c:v>
                </c:pt>
                <c:pt idx="6388">
                  <c:v>0.87440418260147634</c:v>
                </c:pt>
                <c:pt idx="6389">
                  <c:v>0.87549283320093196</c:v>
                </c:pt>
                <c:pt idx="6390">
                  <c:v>0.88003745939023403</c:v>
                </c:pt>
                <c:pt idx="6391">
                  <c:v>0.89096235552386038</c:v>
                </c:pt>
                <c:pt idx="6392">
                  <c:v>0.90054180825302221</c:v>
                </c:pt>
                <c:pt idx="6393">
                  <c:v>0.9084563820438899</c:v>
                </c:pt>
                <c:pt idx="6394">
                  <c:v>0.9017013852887934</c:v>
                </c:pt>
                <c:pt idx="6395">
                  <c:v>0.88334556805499409</c:v>
                </c:pt>
                <c:pt idx="6396">
                  <c:v>0.86661587971402787</c:v>
                </c:pt>
                <c:pt idx="6397">
                  <c:v>0.85249768782125024</c:v>
                </c:pt>
                <c:pt idx="6398">
                  <c:v>0.83574825204663128</c:v>
                </c:pt>
                <c:pt idx="6399">
                  <c:v>0.79897621045183498</c:v>
                </c:pt>
                <c:pt idx="6400">
                  <c:v>0.75557379762516663</c:v>
                </c:pt>
                <c:pt idx="6401">
                  <c:v>0.70724625688269582</c:v>
                </c:pt>
                <c:pt idx="6402">
                  <c:v>0.6578931083001428</c:v>
                </c:pt>
                <c:pt idx="6403">
                  <c:v>0.60747242889138497</c:v>
                </c:pt>
                <c:pt idx="6404">
                  <c:v>0.56429655776430521</c:v>
                </c:pt>
                <c:pt idx="6405">
                  <c:v>0.58000381240247578</c:v>
                </c:pt>
                <c:pt idx="6406">
                  <c:v>0.624528645993356</c:v>
                </c:pt>
                <c:pt idx="6407">
                  <c:v>0.65582501358593204</c:v>
                </c:pt>
                <c:pt idx="6408">
                  <c:v>0.65272500966127456</c:v>
                </c:pt>
                <c:pt idx="6409">
                  <c:v>0.64751303485292422</c:v>
                </c:pt>
                <c:pt idx="6410">
                  <c:v>0.64018159412691189</c:v>
                </c:pt>
                <c:pt idx="6411">
                  <c:v>0.63262404516662751</c:v>
                </c:pt>
                <c:pt idx="6412">
                  <c:v>0.62553945874885153</c:v>
                </c:pt>
                <c:pt idx="6413">
                  <c:v>0.62237948717157177</c:v>
                </c:pt>
                <c:pt idx="6414">
                  <c:v>0.62237948717157177</c:v>
                </c:pt>
                <c:pt idx="6415">
                  <c:v>0.61102562810911143</c:v>
                </c:pt>
                <c:pt idx="6416">
                  <c:v>0.59815250766981731</c:v>
                </c:pt>
                <c:pt idx="6417">
                  <c:v>0.58398684759847108</c:v>
                </c:pt>
                <c:pt idx="6418">
                  <c:v>0.56934273872892605</c:v>
                </c:pt>
                <c:pt idx="6419">
                  <c:v>0.55531179957903876</c:v>
                </c:pt>
                <c:pt idx="6420">
                  <c:v>0.54029789968058195</c:v>
                </c:pt>
                <c:pt idx="6421">
                  <c:v>0.52519283120286642</c:v>
                </c:pt>
                <c:pt idx="6422">
                  <c:v>0.50650541826155515</c:v>
                </c:pt>
                <c:pt idx="6423">
                  <c:v>0.48287462352661625</c:v>
                </c:pt>
                <c:pt idx="6424">
                  <c:v>0.45635329217129056</c:v>
                </c:pt>
                <c:pt idx="6425">
                  <c:v>0.45138219236701238</c:v>
                </c:pt>
                <c:pt idx="6426">
                  <c:v>0.4517230416418167</c:v>
                </c:pt>
                <c:pt idx="6427">
                  <c:v>0.4490945224710528</c:v>
                </c:pt>
                <c:pt idx="6428">
                  <c:v>0.44495324854844126</c:v>
                </c:pt>
                <c:pt idx="6429">
                  <c:v>0.47322844047536067</c:v>
                </c:pt>
                <c:pt idx="6430">
                  <c:v>0.50814952055762908</c:v>
                </c:pt>
                <c:pt idx="6431">
                  <c:v>0.53649922017965446</c:v>
                </c:pt>
                <c:pt idx="6432">
                  <c:v>0.55899305306622737</c:v>
                </c:pt>
                <c:pt idx="6433">
                  <c:v>0.57867214985645166</c:v>
                </c:pt>
                <c:pt idx="6434">
                  <c:v>0.59469714334923773</c:v>
                </c:pt>
                <c:pt idx="6435">
                  <c:v>0.60720604481061147</c:v>
                </c:pt>
                <c:pt idx="6436">
                  <c:v>0.60870347354138432</c:v>
                </c:pt>
                <c:pt idx="6437">
                  <c:v>0.61193620936557847</c:v>
                </c:pt>
                <c:pt idx="6438">
                  <c:v>0.62117124930384693</c:v>
                </c:pt>
                <c:pt idx="6439">
                  <c:v>0.6563087843176526</c:v>
                </c:pt>
                <c:pt idx="6440">
                  <c:v>0.6711049578438254</c:v>
                </c:pt>
                <c:pt idx="6441">
                  <c:v>0.68541848483783263</c:v>
                </c:pt>
                <c:pt idx="6442">
                  <c:v>0.69785555776910702</c:v>
                </c:pt>
                <c:pt idx="6443">
                  <c:v>0.70286236125460755</c:v>
                </c:pt>
                <c:pt idx="6444">
                  <c:v>0.70286236125460755</c:v>
                </c:pt>
                <c:pt idx="6445">
                  <c:v>0.72361977207181083</c:v>
                </c:pt>
                <c:pt idx="6446">
                  <c:v>0.74769066462513079</c:v>
                </c:pt>
                <c:pt idx="6447">
                  <c:v>0.77025508827176814</c:v>
                </c:pt>
                <c:pt idx="6448">
                  <c:v>0.79302564858998303</c:v>
                </c:pt>
                <c:pt idx="6449">
                  <c:v>0.81415446904636246</c:v>
                </c:pt>
                <c:pt idx="6450">
                  <c:v>0.8330000744862569</c:v>
                </c:pt>
                <c:pt idx="6451">
                  <c:v>0.84890042307483093</c:v>
                </c:pt>
                <c:pt idx="6452">
                  <c:v>0.86290051484485419</c:v>
                </c:pt>
                <c:pt idx="6453">
                  <c:v>0.87448362382743949</c:v>
                </c:pt>
                <c:pt idx="6454">
                  <c:v>0.89789097553511876</c:v>
                </c:pt>
                <c:pt idx="6455">
                  <c:v>0.91719306535165968</c:v>
                </c:pt>
                <c:pt idx="6456">
                  <c:v>0.92534129454654157</c:v>
                </c:pt>
                <c:pt idx="6457">
                  <c:v>0.92450363981966399</c:v>
                </c:pt>
                <c:pt idx="6458">
                  <c:v>0.91716678890543935</c:v>
                </c:pt>
                <c:pt idx="6459">
                  <c:v>0.90165819229014388</c:v>
                </c:pt>
                <c:pt idx="6460">
                  <c:v>0.89158866718238849</c:v>
                </c:pt>
                <c:pt idx="6461">
                  <c:v>0.87586294696696088</c:v>
                </c:pt>
                <c:pt idx="6462">
                  <c:v>0.87988251227192082</c:v>
                </c:pt>
                <c:pt idx="6463">
                  <c:v>0.88081627561511289</c:v>
                </c:pt>
                <c:pt idx="6464">
                  <c:v>0.86580963640640152</c:v>
                </c:pt>
                <c:pt idx="6465">
                  <c:v>0.84097882355612907</c:v>
                </c:pt>
                <c:pt idx="6466">
                  <c:v>0.8154703789586627</c:v>
                </c:pt>
                <c:pt idx="6467">
                  <c:v>0.78802352586304958</c:v>
                </c:pt>
                <c:pt idx="6468">
                  <c:v>0.76057777097711843</c:v>
                </c:pt>
                <c:pt idx="6469">
                  <c:v>0.75301847445192227</c:v>
                </c:pt>
                <c:pt idx="6470">
                  <c:v>0.74691915253335917</c:v>
                </c:pt>
                <c:pt idx="6471">
                  <c:v>0.74691915253335917</c:v>
                </c:pt>
                <c:pt idx="6472">
                  <c:v>0.74691915253335917</c:v>
                </c:pt>
                <c:pt idx="6473">
                  <c:v>0.74691915253335917</c:v>
                </c:pt>
                <c:pt idx="6474">
                  <c:v>0.74691915253335917</c:v>
                </c:pt>
                <c:pt idx="6475">
                  <c:v>0.74691915253335917</c:v>
                </c:pt>
                <c:pt idx="6476">
                  <c:v>0.74691915253335917</c:v>
                </c:pt>
                <c:pt idx="6477">
                  <c:v>0.74691915253335917</c:v>
                </c:pt>
                <c:pt idx="6478">
                  <c:v>0.74691915253335917</c:v>
                </c:pt>
                <c:pt idx="6479">
                  <c:v>0.74691915253335917</c:v>
                </c:pt>
                <c:pt idx="6480">
                  <c:v>0.74691915253335917</c:v>
                </c:pt>
                <c:pt idx="6481">
                  <c:v>0.74691915253335917</c:v>
                </c:pt>
                <c:pt idx="6482">
                  <c:v>0.74691915253335917</c:v>
                </c:pt>
                <c:pt idx="6483">
                  <c:v>0.73385795778079832</c:v>
                </c:pt>
                <c:pt idx="6484">
                  <c:v>0.69504210655390786</c:v>
                </c:pt>
                <c:pt idx="6485">
                  <c:v>0.65139613291897103</c:v>
                </c:pt>
                <c:pt idx="6486">
                  <c:v>0.61937940674258696</c:v>
                </c:pt>
                <c:pt idx="6487">
                  <c:v>0.6126612324169739</c:v>
                </c:pt>
                <c:pt idx="6488">
                  <c:v>0.60408882900896055</c:v>
                </c:pt>
                <c:pt idx="6489">
                  <c:v>0.60357076992160197</c:v>
                </c:pt>
                <c:pt idx="6490">
                  <c:v>0.60357076992160197</c:v>
                </c:pt>
                <c:pt idx="6491">
                  <c:v>0.60442916828552395</c:v>
                </c:pt>
                <c:pt idx="6492">
                  <c:v>0.52022974952547807</c:v>
                </c:pt>
                <c:pt idx="6493">
                  <c:v>0.41937377871554271</c:v>
                </c:pt>
                <c:pt idx="6494">
                  <c:v>0.34655912777437636</c:v>
                </c:pt>
                <c:pt idx="6495">
                  <c:v>0.32155975574260154</c:v>
                </c:pt>
                <c:pt idx="6496">
                  <c:v>0.29224617204284142</c:v>
                </c:pt>
                <c:pt idx="6497">
                  <c:v>0.27493399259126894</c:v>
                </c:pt>
                <c:pt idx="6498">
                  <c:v>0.25443326490769808</c:v>
                </c:pt>
                <c:pt idx="6499">
                  <c:v>0.19970877317567531</c:v>
                </c:pt>
                <c:pt idx="6500">
                  <c:v>0</c:v>
                </c:pt>
                <c:pt idx="6501">
                  <c:v>0</c:v>
                </c:pt>
                <c:pt idx="6502">
                  <c:v>0</c:v>
                </c:pt>
                <c:pt idx="6503">
                  <c:v>0</c:v>
                </c:pt>
                <c:pt idx="6504">
                  <c:v>0</c:v>
                </c:pt>
                <c:pt idx="6505">
                  <c:v>0</c:v>
                </c:pt>
                <c:pt idx="6506">
                  <c:v>0</c:v>
                </c:pt>
                <c:pt idx="6507">
                  <c:v>0</c:v>
                </c:pt>
                <c:pt idx="6508">
                  <c:v>0</c:v>
                </c:pt>
                <c:pt idx="6509">
                  <c:v>0</c:v>
                </c:pt>
                <c:pt idx="6510">
                  <c:v>0.23759510452291813</c:v>
                </c:pt>
                <c:pt idx="6511">
                  <c:v>0.42872076406623022</c:v>
                </c:pt>
                <c:pt idx="6512">
                  <c:v>0.54582236575340493</c:v>
                </c:pt>
                <c:pt idx="6513">
                  <c:v>0.63295728885752978</c:v>
                </c:pt>
                <c:pt idx="6514">
                  <c:v>0.7011679790355122</c:v>
                </c:pt>
                <c:pt idx="6515">
                  <c:v>0.7554930232633349</c:v>
                </c:pt>
                <c:pt idx="6516">
                  <c:v>0.78620434930911787</c:v>
                </c:pt>
                <c:pt idx="6517">
                  <c:v>0.79453259192059034</c:v>
                </c:pt>
                <c:pt idx="6518">
                  <c:v>0.7990412006927512</c:v>
                </c:pt>
                <c:pt idx="6519">
                  <c:v>0.80242141227292185</c:v>
                </c:pt>
                <c:pt idx="6520">
                  <c:v>0.82158298414708697</c:v>
                </c:pt>
                <c:pt idx="6521">
                  <c:v>0.84469130678606186</c:v>
                </c:pt>
                <c:pt idx="6522">
                  <c:v>0.86267083883346241</c:v>
                </c:pt>
                <c:pt idx="6523">
                  <c:v>0.88228922422067946</c:v>
                </c:pt>
                <c:pt idx="6524">
                  <c:v>0.8963431275549425</c:v>
                </c:pt>
                <c:pt idx="6525">
                  <c:v>0.90509672652781403</c:v>
                </c:pt>
                <c:pt idx="6526">
                  <c:v>0.90870736667938035</c:v>
                </c:pt>
                <c:pt idx="6527">
                  <c:v>0.90719454198192839</c:v>
                </c:pt>
                <c:pt idx="6528">
                  <c:v>0.90057086903499683</c:v>
                </c:pt>
                <c:pt idx="6529">
                  <c:v>0.88871461473623181</c:v>
                </c:pt>
                <c:pt idx="6530">
                  <c:v>0.87146134193230851</c:v>
                </c:pt>
                <c:pt idx="6531">
                  <c:v>0.84848311689345268</c:v>
                </c:pt>
                <c:pt idx="6532">
                  <c:v>0.81921117195357773</c:v>
                </c:pt>
                <c:pt idx="6533">
                  <c:v>0.78305661605148091</c:v>
                </c:pt>
                <c:pt idx="6534">
                  <c:v>0.73897393402832268</c:v>
                </c:pt>
                <c:pt idx="6535">
                  <c:v>0.68548532309800847</c:v>
                </c:pt>
                <c:pt idx="6536">
                  <c:v>0.62013482732891212</c:v>
                </c:pt>
                <c:pt idx="6537">
                  <c:v>0.53868555183324673</c:v>
                </c:pt>
                <c:pt idx="6538">
                  <c:v>0.43208382172849025</c:v>
                </c:pt>
                <c:pt idx="6539">
                  <c:v>0.27235686770019202</c:v>
                </c:pt>
                <c:pt idx="6540">
                  <c:v>0.25294578517974142</c:v>
                </c:pt>
                <c:pt idx="6541">
                  <c:v>0.252589331175127</c:v>
                </c:pt>
                <c:pt idx="6542">
                  <c:v>0.25273489357123691</c:v>
                </c:pt>
                <c:pt idx="6543">
                  <c:v>0.25312401760179781</c:v>
                </c:pt>
                <c:pt idx="6544">
                  <c:v>0.25372389848386301</c:v>
                </c:pt>
                <c:pt idx="6545">
                  <c:v>0.25442690930225814</c:v>
                </c:pt>
                <c:pt idx="6546">
                  <c:v>0.25074293324116331</c:v>
                </c:pt>
                <c:pt idx="6547">
                  <c:v>0.21521875563548362</c:v>
                </c:pt>
                <c:pt idx="6548">
                  <c:v>0.16501458448782816</c:v>
                </c:pt>
                <c:pt idx="6549">
                  <c:v>9.8283949128550804E-2</c:v>
                </c:pt>
                <c:pt idx="6550">
                  <c:v>0.12934553122390696</c:v>
                </c:pt>
                <c:pt idx="6551">
                  <c:v>0.27830060993522077</c:v>
                </c:pt>
                <c:pt idx="6552">
                  <c:v>0.36777510093233845</c:v>
                </c:pt>
                <c:pt idx="6553">
                  <c:v>0.49780851822791622</c:v>
                </c:pt>
                <c:pt idx="6554">
                  <c:v>0.58241822682017053</c:v>
                </c:pt>
                <c:pt idx="6555">
                  <c:v>0.63462133517425046</c:v>
                </c:pt>
                <c:pt idx="6556">
                  <c:v>0.67715531729119505</c:v>
                </c:pt>
                <c:pt idx="6557">
                  <c:v>0.70880131098487242</c:v>
                </c:pt>
                <c:pt idx="6558">
                  <c:v>0.70419970242270857</c:v>
                </c:pt>
                <c:pt idx="6559">
                  <c:v>0.70256731072760115</c:v>
                </c:pt>
                <c:pt idx="6560">
                  <c:v>0.70270497031918866</c:v>
                </c:pt>
                <c:pt idx="6561">
                  <c:v>0.70284853701739525</c:v>
                </c:pt>
                <c:pt idx="6562">
                  <c:v>0.70307693631225909</c:v>
                </c:pt>
                <c:pt idx="6563">
                  <c:v>0.70331071839497938</c:v>
                </c:pt>
                <c:pt idx="6564">
                  <c:v>0.70358883527808636</c:v>
                </c:pt>
                <c:pt idx="6565">
                  <c:v>0.70387805615147647</c:v>
                </c:pt>
                <c:pt idx="6566">
                  <c:v>0.70421694766296206</c:v>
                </c:pt>
                <c:pt idx="6567">
                  <c:v>0.70456083415088755</c:v>
                </c:pt>
                <c:pt idx="6568">
                  <c:v>0.70497574335524049</c:v>
                </c:pt>
                <c:pt idx="6569">
                  <c:v>0.70012366728403241</c:v>
                </c:pt>
                <c:pt idx="6570">
                  <c:v>0.69651333538869875</c:v>
                </c:pt>
                <c:pt idx="6571">
                  <c:v>0.69503748045984348</c:v>
                </c:pt>
                <c:pt idx="6572">
                  <c:v>0.73667256841710782</c:v>
                </c:pt>
                <c:pt idx="6573">
                  <c:v>0.77027576702451217</c:v>
                </c:pt>
                <c:pt idx="6574">
                  <c:v>0.79686809154829041</c:v>
                </c:pt>
                <c:pt idx="6575">
                  <c:v>0.81713853670300551</c:v>
                </c:pt>
                <c:pt idx="6576">
                  <c:v>0.8316672842342947</c:v>
                </c:pt>
                <c:pt idx="6577">
                  <c:v>0.84538264974222321</c:v>
                </c:pt>
                <c:pt idx="6578">
                  <c:v>0.85826261693440498</c:v>
                </c:pt>
                <c:pt idx="6579">
                  <c:v>0.86821913022087049</c:v>
                </c:pt>
                <c:pt idx="6580">
                  <c:v>0.8807858114454451</c:v>
                </c:pt>
                <c:pt idx="6581">
                  <c:v>0.8945664087646007</c:v>
                </c:pt>
                <c:pt idx="6582">
                  <c:v>0.90760578076616649</c:v>
                </c:pt>
                <c:pt idx="6583">
                  <c:v>0.90760578076616649</c:v>
                </c:pt>
                <c:pt idx="6584">
                  <c:v>0.91083189405512177</c:v>
                </c:pt>
                <c:pt idx="6585">
                  <c:v>0.9188646740730736</c:v>
                </c:pt>
                <c:pt idx="6586">
                  <c:v>0.92696579025355774</c:v>
                </c:pt>
                <c:pt idx="6587">
                  <c:v>0.93489648573686046</c:v>
                </c:pt>
                <c:pt idx="6588">
                  <c:v>0.9370276074706807</c:v>
                </c:pt>
                <c:pt idx="6589">
                  <c:v>0.91544438609481382</c:v>
                </c:pt>
                <c:pt idx="6590">
                  <c:v>0.88521694274433116</c:v>
                </c:pt>
                <c:pt idx="6591">
                  <c:v>0.85961778147936518</c:v>
                </c:pt>
                <c:pt idx="6592">
                  <c:v>0.83593992164438569</c:v>
                </c:pt>
                <c:pt idx="6593">
                  <c:v>0.82965038129552104</c:v>
                </c:pt>
                <c:pt idx="6594">
                  <c:v>0.8233402246020477</c:v>
                </c:pt>
                <c:pt idx="6595">
                  <c:v>0.8233402246020477</c:v>
                </c:pt>
                <c:pt idx="6596">
                  <c:v>0.82334022460204781</c:v>
                </c:pt>
                <c:pt idx="6597">
                  <c:v>0.8233402246020477</c:v>
                </c:pt>
                <c:pt idx="6598">
                  <c:v>0.8233402246020477</c:v>
                </c:pt>
                <c:pt idx="6599">
                  <c:v>0.84816006612125361</c:v>
                </c:pt>
                <c:pt idx="6600">
                  <c:v>0.87689117522443816</c:v>
                </c:pt>
                <c:pt idx="6601">
                  <c:v>0.90673527888273486</c:v>
                </c:pt>
                <c:pt idx="6602">
                  <c:v>0.92209806336943068</c:v>
                </c:pt>
                <c:pt idx="6603">
                  <c:v>0.9320161996895453</c:v>
                </c:pt>
                <c:pt idx="6604">
                  <c:v>0.93544711427680505</c:v>
                </c:pt>
                <c:pt idx="6605">
                  <c:v>0.93251186442794809</c:v>
                </c:pt>
                <c:pt idx="6606">
                  <c:v>0.92437129243148941</c:v>
                </c:pt>
                <c:pt idx="6607">
                  <c:v>0.90311525574621632</c:v>
                </c:pt>
                <c:pt idx="6608">
                  <c:v>0.90021580034718163</c:v>
                </c:pt>
                <c:pt idx="6609">
                  <c:v>0.90021580034718163</c:v>
                </c:pt>
                <c:pt idx="6610">
                  <c:v>0.89975362677625215</c:v>
                </c:pt>
                <c:pt idx="6611">
                  <c:v>0.88887951602469806</c:v>
                </c:pt>
                <c:pt idx="6612">
                  <c:v>0.86617328519031633</c:v>
                </c:pt>
                <c:pt idx="6613">
                  <c:v>0.8427127505585531</c:v>
                </c:pt>
                <c:pt idx="6614">
                  <c:v>0.82570449633353149</c:v>
                </c:pt>
                <c:pt idx="6615">
                  <c:v>0.80162474857266408</c:v>
                </c:pt>
                <c:pt idx="6616">
                  <c:v>0.77025126146653822</c:v>
                </c:pt>
                <c:pt idx="6617">
                  <c:v>0.73388939830834676</c:v>
                </c:pt>
                <c:pt idx="6618">
                  <c:v>0.69354231129117705</c:v>
                </c:pt>
                <c:pt idx="6619">
                  <c:v>0.66175295905711817</c:v>
                </c:pt>
                <c:pt idx="6620">
                  <c:v>0.65358959476551592</c:v>
                </c:pt>
                <c:pt idx="6621">
                  <c:v>0.65277393240831572</c:v>
                </c:pt>
                <c:pt idx="6622">
                  <c:v>0.65231995609193705</c:v>
                </c:pt>
                <c:pt idx="6623">
                  <c:v>0.6498205743213572</c:v>
                </c:pt>
                <c:pt idx="6624">
                  <c:v>0.64712299805001239</c:v>
                </c:pt>
                <c:pt idx="6625">
                  <c:v>0.70078706425547721</c:v>
                </c:pt>
                <c:pt idx="6626">
                  <c:v>0.74447393638161374</c:v>
                </c:pt>
                <c:pt idx="6627">
                  <c:v>0.77986214947028198</c:v>
                </c:pt>
                <c:pt idx="6628">
                  <c:v>0.8080427588329917</c:v>
                </c:pt>
                <c:pt idx="6629">
                  <c:v>0.82975045991527119</c:v>
                </c:pt>
                <c:pt idx="6630">
                  <c:v>0.84548397327088765</c:v>
                </c:pt>
                <c:pt idx="6631">
                  <c:v>0.85557294843128218</c:v>
                </c:pt>
                <c:pt idx="6632">
                  <c:v>0.86209021733630742</c:v>
                </c:pt>
                <c:pt idx="6633">
                  <c:v>0.86401285938941264</c:v>
                </c:pt>
                <c:pt idx="6634">
                  <c:v>0.85083724218560586</c:v>
                </c:pt>
                <c:pt idx="6635">
                  <c:v>0.83316444155095926</c:v>
                </c:pt>
                <c:pt idx="6636">
                  <c:v>0.81888308986586889</c:v>
                </c:pt>
                <c:pt idx="6637">
                  <c:v>0.8446223596049548</c:v>
                </c:pt>
                <c:pt idx="6638">
                  <c:v>0.84527852450601348</c:v>
                </c:pt>
                <c:pt idx="6639">
                  <c:v>0.83498197360280679</c:v>
                </c:pt>
                <c:pt idx="6640">
                  <c:v>0.81959820434758512</c:v>
                </c:pt>
                <c:pt idx="6641">
                  <c:v>0.8097196033391153</c:v>
                </c:pt>
                <c:pt idx="6642">
                  <c:v>0.80988632657030424</c:v>
                </c:pt>
                <c:pt idx="6643">
                  <c:v>0.80603812510296002</c:v>
                </c:pt>
                <c:pt idx="6644">
                  <c:v>0.78815388959789223</c:v>
                </c:pt>
                <c:pt idx="6645">
                  <c:v>0.78216686625119436</c:v>
                </c:pt>
                <c:pt idx="6646">
                  <c:v>0.78391808691184095</c:v>
                </c:pt>
                <c:pt idx="6647">
                  <c:v>0.78091498877277088</c:v>
                </c:pt>
                <c:pt idx="6648">
                  <c:v>0.77771316752434361</c:v>
                </c:pt>
                <c:pt idx="6649">
                  <c:v>0.77114442522698579</c:v>
                </c:pt>
                <c:pt idx="6650">
                  <c:v>0.76057062948493437</c:v>
                </c:pt>
                <c:pt idx="6651">
                  <c:v>0.74675958440355017</c:v>
                </c:pt>
                <c:pt idx="6652">
                  <c:v>0.73454812822563953</c:v>
                </c:pt>
                <c:pt idx="6653">
                  <c:v>0.71889230825385142</c:v>
                </c:pt>
                <c:pt idx="6654">
                  <c:v>0.70004889051272812</c:v>
                </c:pt>
                <c:pt idx="6655">
                  <c:v>0.70004889051272812</c:v>
                </c:pt>
                <c:pt idx="6656">
                  <c:v>0.70004889051272812</c:v>
                </c:pt>
                <c:pt idx="6657">
                  <c:v>0.70004889051272812</c:v>
                </c:pt>
                <c:pt idx="6658">
                  <c:v>0.70004889051272812</c:v>
                </c:pt>
                <c:pt idx="6659">
                  <c:v>0.70004889051272812</c:v>
                </c:pt>
                <c:pt idx="6660">
                  <c:v>0.70004889051272812</c:v>
                </c:pt>
                <c:pt idx="6661">
                  <c:v>0.70004889051272812</c:v>
                </c:pt>
                <c:pt idx="6662">
                  <c:v>0.70004889051272812</c:v>
                </c:pt>
                <c:pt idx="6663">
                  <c:v>0.70004889051272812</c:v>
                </c:pt>
                <c:pt idx="6664">
                  <c:v>0.70591533311134935</c:v>
                </c:pt>
                <c:pt idx="6665">
                  <c:v>0.70783445991630223</c:v>
                </c:pt>
                <c:pt idx="6666">
                  <c:v>0.69297359132525316</c:v>
                </c:pt>
                <c:pt idx="6667">
                  <c:v>0.62610723602060059</c:v>
                </c:pt>
                <c:pt idx="6668">
                  <c:v>0.56507875283774267</c:v>
                </c:pt>
                <c:pt idx="6669">
                  <c:v>0.51133708449217485</c:v>
                </c:pt>
                <c:pt idx="6670">
                  <c:v>0.47584331737405233</c:v>
                </c:pt>
                <c:pt idx="6671">
                  <c:v>0.47114082632362719</c:v>
                </c:pt>
                <c:pt idx="6672">
                  <c:v>0.51952980371117086</c:v>
                </c:pt>
                <c:pt idx="6673">
                  <c:v>0.5884880464329868</c:v>
                </c:pt>
                <c:pt idx="6674">
                  <c:v>0.57438622943396556</c:v>
                </c:pt>
                <c:pt idx="6675">
                  <c:v>0.57524646076892538</c:v>
                </c:pt>
                <c:pt idx="6676">
                  <c:v>0.57524646076892538</c:v>
                </c:pt>
                <c:pt idx="6677">
                  <c:v>0.57524646076892538</c:v>
                </c:pt>
                <c:pt idx="6678">
                  <c:v>0.57524646076892538</c:v>
                </c:pt>
                <c:pt idx="6679">
                  <c:v>0.57524646076892538</c:v>
                </c:pt>
                <c:pt idx="6680">
                  <c:v>0.57524646076892538</c:v>
                </c:pt>
                <c:pt idx="6681">
                  <c:v>0.57524646076892538</c:v>
                </c:pt>
                <c:pt idx="6682">
                  <c:v>0.57524646076892538</c:v>
                </c:pt>
                <c:pt idx="6683">
                  <c:v>0.57524646076892538</c:v>
                </c:pt>
                <c:pt idx="6684">
                  <c:v>0.57524646076892538</c:v>
                </c:pt>
                <c:pt idx="6685">
                  <c:v>0.57524646076892538</c:v>
                </c:pt>
                <c:pt idx="6686">
                  <c:v>0.57524646076892538</c:v>
                </c:pt>
                <c:pt idx="6687">
                  <c:v>0.57524646076892538</c:v>
                </c:pt>
                <c:pt idx="6688">
                  <c:v>0.57524646076892538</c:v>
                </c:pt>
                <c:pt idx="6689">
                  <c:v>0.57524646076892538</c:v>
                </c:pt>
                <c:pt idx="6690">
                  <c:v>0.57524646076892538</c:v>
                </c:pt>
                <c:pt idx="6691">
                  <c:v>0.57524646076892538</c:v>
                </c:pt>
                <c:pt idx="6692">
                  <c:v>0.64972603811962404</c:v>
                </c:pt>
                <c:pt idx="6693">
                  <c:v>0.69769771171307382</c:v>
                </c:pt>
                <c:pt idx="6694">
                  <c:v>0.73209533244975533</c:v>
                </c:pt>
                <c:pt idx="6695">
                  <c:v>0.7377330558403391</c:v>
                </c:pt>
                <c:pt idx="6696">
                  <c:v>0.73490168741557982</c:v>
                </c:pt>
                <c:pt idx="6697">
                  <c:v>0.7368921497170986</c:v>
                </c:pt>
                <c:pt idx="6698">
                  <c:v>0.74332643837397183</c:v>
                </c:pt>
                <c:pt idx="6699">
                  <c:v>0.74818514238107836</c:v>
                </c:pt>
                <c:pt idx="6700">
                  <c:v>0.74364350897746267</c:v>
                </c:pt>
                <c:pt idx="6701">
                  <c:v>0.72593435723006816</c:v>
                </c:pt>
                <c:pt idx="6702">
                  <c:v>0.67244598450882509</c:v>
                </c:pt>
                <c:pt idx="6703">
                  <c:v>0.59791083269631951</c:v>
                </c:pt>
                <c:pt idx="6704">
                  <c:v>0.59439957017401979</c:v>
                </c:pt>
                <c:pt idx="6705">
                  <c:v>0.59475005342700193</c:v>
                </c:pt>
                <c:pt idx="6706">
                  <c:v>0.59475005342700193</c:v>
                </c:pt>
                <c:pt idx="6707">
                  <c:v>0.59475005342700193</c:v>
                </c:pt>
                <c:pt idx="6708">
                  <c:v>0.59475005342700193</c:v>
                </c:pt>
                <c:pt idx="6709">
                  <c:v>0.59475005342700193</c:v>
                </c:pt>
                <c:pt idx="6710">
                  <c:v>0.59475005342700193</c:v>
                </c:pt>
                <c:pt idx="6711">
                  <c:v>0.59475005342700193</c:v>
                </c:pt>
                <c:pt idx="6712">
                  <c:v>0.59475005342700193</c:v>
                </c:pt>
                <c:pt idx="6713">
                  <c:v>0.59475005342700193</c:v>
                </c:pt>
                <c:pt idx="6714">
                  <c:v>0.59475005342700193</c:v>
                </c:pt>
                <c:pt idx="6715">
                  <c:v>0.59475005342700193</c:v>
                </c:pt>
                <c:pt idx="6716">
                  <c:v>0.59475005342700193</c:v>
                </c:pt>
                <c:pt idx="6717">
                  <c:v>0.59475005342700193</c:v>
                </c:pt>
                <c:pt idx="6718">
                  <c:v>0.59475005342700193</c:v>
                </c:pt>
                <c:pt idx="6719">
                  <c:v>0.59475005342700193</c:v>
                </c:pt>
                <c:pt idx="6720">
                  <c:v>0.59475005342700193</c:v>
                </c:pt>
                <c:pt idx="6721">
                  <c:v>0.59475005342700193</c:v>
                </c:pt>
                <c:pt idx="6722">
                  <c:v>0.49438906705602326</c:v>
                </c:pt>
                <c:pt idx="6723">
                  <c:v>0.38332176033704501</c:v>
                </c:pt>
                <c:pt idx="6724">
                  <c:v>0.23429681668004679</c:v>
                </c:pt>
                <c:pt idx="6725">
                  <c:v>0.10790775163100172</c:v>
                </c:pt>
                <c:pt idx="6726">
                  <c:v>0.12072320542586643</c:v>
                </c:pt>
                <c:pt idx="6727">
                  <c:v>0.16976927301750058</c:v>
                </c:pt>
                <c:pt idx="6728">
                  <c:v>0.21193687960026128</c:v>
                </c:pt>
                <c:pt idx="6729">
                  <c:v>0.24949606411425321</c:v>
                </c:pt>
                <c:pt idx="6730">
                  <c:v>0.28400744685984131</c:v>
                </c:pt>
                <c:pt idx="6731">
                  <c:v>0.35530313730650442</c:v>
                </c:pt>
                <c:pt idx="6732">
                  <c:v>0.42545393970604567</c:v>
                </c:pt>
                <c:pt idx="6733">
                  <c:v>0.50003608186959336</c:v>
                </c:pt>
                <c:pt idx="6734">
                  <c:v>0.55433258167813071</c:v>
                </c:pt>
                <c:pt idx="6735">
                  <c:v>0.6255785396737058</c:v>
                </c:pt>
                <c:pt idx="6736">
                  <c:v>0.67729652678784669</c:v>
                </c:pt>
                <c:pt idx="6737">
                  <c:v>0.71937895591399648</c:v>
                </c:pt>
                <c:pt idx="6738">
                  <c:v>0.74783239909024168</c:v>
                </c:pt>
                <c:pt idx="6739">
                  <c:v>0.77974878906340606</c:v>
                </c:pt>
                <c:pt idx="6740">
                  <c:v>0.80471308266690322</c:v>
                </c:pt>
                <c:pt idx="6741">
                  <c:v>0.82269588462726539</c:v>
                </c:pt>
                <c:pt idx="6742">
                  <c:v>0.83321332442181939</c:v>
                </c:pt>
                <c:pt idx="6743">
                  <c:v>0.83826421827045505</c:v>
                </c:pt>
                <c:pt idx="6744">
                  <c:v>0.83746494996211063</c:v>
                </c:pt>
                <c:pt idx="6745">
                  <c:v>0.83141506652114539</c:v>
                </c:pt>
                <c:pt idx="6746">
                  <c:v>0.83141506652114539</c:v>
                </c:pt>
                <c:pt idx="6747">
                  <c:v>0.83141506652114539</c:v>
                </c:pt>
                <c:pt idx="6748">
                  <c:v>0.83141506652114539</c:v>
                </c:pt>
                <c:pt idx="6749">
                  <c:v>0.83141506652114539</c:v>
                </c:pt>
                <c:pt idx="6750">
                  <c:v>0.83141506652114539</c:v>
                </c:pt>
                <c:pt idx="6751">
                  <c:v>0.83141506652114539</c:v>
                </c:pt>
                <c:pt idx="6752">
                  <c:v>0.83141506652114539</c:v>
                </c:pt>
                <c:pt idx="6753">
                  <c:v>0.83950510470258222</c:v>
                </c:pt>
                <c:pt idx="6754">
                  <c:v>0.85063215629515576</c:v>
                </c:pt>
                <c:pt idx="6755">
                  <c:v>0.86340245465145005</c:v>
                </c:pt>
                <c:pt idx="6756">
                  <c:v>0.87751434846909504</c:v>
                </c:pt>
                <c:pt idx="6757">
                  <c:v>0.89441417760060571</c:v>
                </c:pt>
                <c:pt idx="6758">
                  <c:v>0.91049623957772263</c:v>
                </c:pt>
                <c:pt idx="6759">
                  <c:v>0.92544388201501238</c:v>
                </c:pt>
                <c:pt idx="6760">
                  <c:v>0.9390995397035663</c:v>
                </c:pt>
                <c:pt idx="6761">
                  <c:v>0.94439290818023203</c:v>
                </c:pt>
                <c:pt idx="6762">
                  <c:v>0.94442898250227703</c:v>
                </c:pt>
                <c:pt idx="6763">
                  <c:v>0.93587379240591284</c:v>
                </c:pt>
                <c:pt idx="6764">
                  <c:v>0.92514674046470768</c:v>
                </c:pt>
                <c:pt idx="6765">
                  <c:v>0.91995106594714871</c:v>
                </c:pt>
                <c:pt idx="6766">
                  <c:v>0.92328135924306454</c:v>
                </c:pt>
                <c:pt idx="6767">
                  <c:v>0.92637545613007954</c:v>
                </c:pt>
                <c:pt idx="6768">
                  <c:v>0.93339535801075024</c:v>
                </c:pt>
                <c:pt idx="6769">
                  <c:v>0.93298799242985242</c:v>
                </c:pt>
                <c:pt idx="6770">
                  <c:v>0.93247005248442738</c:v>
                </c:pt>
                <c:pt idx="6771">
                  <c:v>0.93254104304107543</c:v>
                </c:pt>
                <c:pt idx="6772">
                  <c:v>0.93405461437753023</c:v>
                </c:pt>
                <c:pt idx="6773">
                  <c:v>0.93560176514181304</c:v>
                </c:pt>
                <c:pt idx="6774">
                  <c:v>0.93757834437223342</c:v>
                </c:pt>
                <c:pt idx="6775">
                  <c:v>0.93940753744256089</c:v>
                </c:pt>
                <c:pt idx="6776">
                  <c:v>0.95000739175173521</c:v>
                </c:pt>
                <c:pt idx="6777">
                  <c:v>0.95000153031548529</c:v>
                </c:pt>
                <c:pt idx="6778">
                  <c:v>0.9387351704962229</c:v>
                </c:pt>
                <c:pt idx="6779">
                  <c:v>0.92250258380155037</c:v>
                </c:pt>
                <c:pt idx="6780">
                  <c:v>0.90447322097626159</c:v>
                </c:pt>
                <c:pt idx="6781">
                  <c:v>0.90329862095051006</c:v>
                </c:pt>
                <c:pt idx="6782">
                  <c:v>0.90329862095051006</c:v>
                </c:pt>
                <c:pt idx="6783">
                  <c:v>0.89881317212073508</c:v>
                </c:pt>
                <c:pt idx="6784">
                  <c:v>0.89326367017511599</c:v>
                </c:pt>
                <c:pt idx="6785">
                  <c:v>0.88289569075755669</c:v>
                </c:pt>
                <c:pt idx="6786">
                  <c:v>0.87128238570382732</c:v>
                </c:pt>
                <c:pt idx="6787">
                  <c:v>0.85405518315615714</c:v>
                </c:pt>
                <c:pt idx="6788">
                  <c:v>0.83393783313546554</c:v>
                </c:pt>
                <c:pt idx="6789">
                  <c:v>0.81173068456251074</c:v>
                </c:pt>
                <c:pt idx="6790">
                  <c:v>0.7883652130490838</c:v>
                </c:pt>
                <c:pt idx="6791">
                  <c:v>0.78237605533323151</c:v>
                </c:pt>
                <c:pt idx="6792">
                  <c:v>0.76861398404953729</c:v>
                </c:pt>
                <c:pt idx="6793">
                  <c:v>0.74497131953285622</c:v>
                </c:pt>
                <c:pt idx="6794">
                  <c:v>0.7218146730689442</c:v>
                </c:pt>
                <c:pt idx="6795">
                  <c:v>0.71489722064269745</c:v>
                </c:pt>
                <c:pt idx="6796">
                  <c:v>0.70386446546088244</c:v>
                </c:pt>
                <c:pt idx="6797">
                  <c:v>0.6921462224189634</c:v>
                </c:pt>
                <c:pt idx="6798">
                  <c:v>0.69505119181707531</c:v>
                </c:pt>
                <c:pt idx="6799">
                  <c:v>0.70017242162060156</c:v>
                </c:pt>
                <c:pt idx="6800">
                  <c:v>0.70761428652052361</c:v>
                </c:pt>
                <c:pt idx="6801">
                  <c:v>0.71398587046716722</c:v>
                </c:pt>
                <c:pt idx="6802">
                  <c:v>0.71418771736217823</c:v>
                </c:pt>
                <c:pt idx="6803">
                  <c:v>0.70816168185060657</c:v>
                </c:pt>
                <c:pt idx="6804">
                  <c:v>0.69599699995604425</c:v>
                </c:pt>
                <c:pt idx="6805">
                  <c:v>0.67742447889034052</c:v>
                </c:pt>
                <c:pt idx="6806">
                  <c:v>0.65565954408987737</c:v>
                </c:pt>
                <c:pt idx="6807">
                  <c:v>0.63831063212491379</c:v>
                </c:pt>
                <c:pt idx="6808">
                  <c:v>0.63322610416663871</c:v>
                </c:pt>
                <c:pt idx="6809">
                  <c:v>0.63376558038756636</c:v>
                </c:pt>
                <c:pt idx="6810">
                  <c:v>0.63928964965320711</c:v>
                </c:pt>
                <c:pt idx="6811">
                  <c:v>0.64015521582912327</c:v>
                </c:pt>
                <c:pt idx="6812">
                  <c:v>0.64015521582912327</c:v>
                </c:pt>
                <c:pt idx="6813">
                  <c:v>0.64326459268884806</c:v>
                </c:pt>
                <c:pt idx="6814">
                  <c:v>0.64694886125988682</c:v>
                </c:pt>
                <c:pt idx="6815">
                  <c:v>0.65286713848137912</c:v>
                </c:pt>
                <c:pt idx="6816">
                  <c:v>0.65905916110464946</c:v>
                </c:pt>
                <c:pt idx="6817">
                  <c:v>0.66337876255000561</c:v>
                </c:pt>
                <c:pt idx="6818">
                  <c:v>0.66369990177290106</c:v>
                </c:pt>
                <c:pt idx="6819">
                  <c:v>0.64961777646768271</c:v>
                </c:pt>
                <c:pt idx="6820">
                  <c:v>0.62663079045101655</c:v>
                </c:pt>
                <c:pt idx="6821">
                  <c:v>0.5498679493665608</c:v>
                </c:pt>
                <c:pt idx="6822">
                  <c:v>0.50577323705158461</c:v>
                </c:pt>
                <c:pt idx="6823">
                  <c:v>0.53051364312579241</c:v>
                </c:pt>
                <c:pt idx="6824">
                  <c:v>0.58741602776125013</c:v>
                </c:pt>
                <c:pt idx="6825">
                  <c:v>0.61853002824657732</c:v>
                </c:pt>
                <c:pt idx="6826">
                  <c:v>0.63560876081138051</c:v>
                </c:pt>
                <c:pt idx="6827">
                  <c:v>0.63887982810969468</c:v>
                </c:pt>
                <c:pt idx="6828">
                  <c:v>0.64664899962135569</c:v>
                </c:pt>
                <c:pt idx="6829">
                  <c:v>0.65057994426978483</c:v>
                </c:pt>
                <c:pt idx="6830">
                  <c:v>0.65061436285473051</c:v>
                </c:pt>
                <c:pt idx="6831">
                  <c:v>0.66040223077775495</c:v>
                </c:pt>
                <c:pt idx="6832">
                  <c:v>0.67157935923422196</c:v>
                </c:pt>
                <c:pt idx="6833">
                  <c:v>0.67788055783339951</c:v>
                </c:pt>
                <c:pt idx="6834">
                  <c:v>0.68580667036084997</c:v>
                </c:pt>
                <c:pt idx="6835">
                  <c:v>0.69392305491440298</c:v>
                </c:pt>
                <c:pt idx="6836">
                  <c:v>0.7229791935805493</c:v>
                </c:pt>
                <c:pt idx="6837">
                  <c:v>0.74462683628982607</c:v>
                </c:pt>
                <c:pt idx="6838">
                  <c:v>0.75939684369876492</c:v>
                </c:pt>
                <c:pt idx="6839">
                  <c:v>0.76773185986187087</c:v>
                </c:pt>
                <c:pt idx="6840">
                  <c:v>0.77005936562989541</c:v>
                </c:pt>
                <c:pt idx="6841">
                  <c:v>0.76646296048513174</c:v>
                </c:pt>
                <c:pt idx="6842">
                  <c:v>0.75686317607848208</c:v>
                </c:pt>
                <c:pt idx="6843">
                  <c:v>0.74092300999815164</c:v>
                </c:pt>
                <c:pt idx="6844">
                  <c:v>0.7183047723461109</c:v>
                </c:pt>
                <c:pt idx="6845">
                  <c:v>0.68840201787614042</c:v>
                </c:pt>
                <c:pt idx="6846">
                  <c:v>0.65008399290097008</c:v>
                </c:pt>
                <c:pt idx="6847">
                  <c:v>0.60610178255821623</c:v>
                </c:pt>
                <c:pt idx="6848">
                  <c:v>0.55333599150874324</c:v>
                </c:pt>
                <c:pt idx="6849">
                  <c:v>0.4945691123631259</c:v>
                </c:pt>
                <c:pt idx="6850">
                  <c:v>0.4378298609669683</c:v>
                </c:pt>
                <c:pt idx="6851">
                  <c:v>0.39652185665349748</c:v>
                </c:pt>
                <c:pt idx="6852">
                  <c:v>0.39813531279518105</c:v>
                </c:pt>
                <c:pt idx="6853">
                  <c:v>0.40243427040298901</c:v>
                </c:pt>
                <c:pt idx="6854">
                  <c:v>0.40170022450439036</c:v>
                </c:pt>
                <c:pt idx="6855">
                  <c:v>0.40361040454116787</c:v>
                </c:pt>
                <c:pt idx="6856">
                  <c:v>0.40323839921061766</c:v>
                </c:pt>
                <c:pt idx="6857">
                  <c:v>0.39596109907626176</c:v>
                </c:pt>
                <c:pt idx="6858">
                  <c:v>0.37094240705942133</c:v>
                </c:pt>
                <c:pt idx="6859">
                  <c:v>0.32912554916721781</c:v>
                </c:pt>
                <c:pt idx="6860">
                  <c:v>0.26848475037725644</c:v>
                </c:pt>
                <c:pt idx="6861">
                  <c:v>0.24952116824566656</c:v>
                </c:pt>
                <c:pt idx="6862">
                  <c:v>0.23652266739975403</c:v>
                </c:pt>
                <c:pt idx="6863">
                  <c:v>0.21820153846167245</c:v>
                </c:pt>
                <c:pt idx="6864">
                  <c:v>0.20271571834906812</c:v>
                </c:pt>
                <c:pt idx="6865">
                  <c:v>0.19117658703362489</c:v>
                </c:pt>
                <c:pt idx="6866">
                  <c:v>0.19014358927187325</c:v>
                </c:pt>
                <c:pt idx="6867">
                  <c:v>0.18946174566018917</c:v>
                </c:pt>
                <c:pt idx="6868">
                  <c:v>0.1888425241304772</c:v>
                </c:pt>
                <c:pt idx="6869">
                  <c:v>0.18754842240712186</c:v>
                </c:pt>
                <c:pt idx="6870">
                  <c:v>0.18849290806026664</c:v>
                </c:pt>
                <c:pt idx="6871">
                  <c:v>0.20085859723605273</c:v>
                </c:pt>
                <c:pt idx="6872">
                  <c:v>0.25918060327663045</c:v>
                </c:pt>
                <c:pt idx="6873">
                  <c:v>0.38260547322463256</c:v>
                </c:pt>
                <c:pt idx="6874">
                  <c:v>0.46780763934320274</c:v>
                </c:pt>
                <c:pt idx="6875">
                  <c:v>0.55588944608347479</c:v>
                </c:pt>
                <c:pt idx="6876">
                  <c:v>0.62479094083836229</c:v>
                </c:pt>
                <c:pt idx="6877">
                  <c:v>0.68036641892340344</c:v>
                </c:pt>
                <c:pt idx="6878">
                  <c:v>0.72563005555346249</c:v>
                </c:pt>
                <c:pt idx="6879">
                  <c:v>0.77044599839704975</c:v>
                </c:pt>
                <c:pt idx="6880">
                  <c:v>0.8101228702306752</c:v>
                </c:pt>
                <c:pt idx="6881">
                  <c:v>0.8429747790027059</c:v>
                </c:pt>
                <c:pt idx="6882">
                  <c:v>0.8624283148246078</c:v>
                </c:pt>
                <c:pt idx="6883">
                  <c:v>0.87644531017413185</c:v>
                </c:pt>
                <c:pt idx="6884">
                  <c:v>0.88579087730048123</c:v>
                </c:pt>
                <c:pt idx="6885">
                  <c:v>0.8932927519142041</c:v>
                </c:pt>
                <c:pt idx="6886">
                  <c:v>0.89807455959428417</c:v>
                </c:pt>
                <c:pt idx="6887">
                  <c:v>0.89175432576009783</c:v>
                </c:pt>
                <c:pt idx="6888">
                  <c:v>0.88087124537787442</c:v>
                </c:pt>
                <c:pt idx="6889">
                  <c:v>0.86031417572099778</c:v>
                </c:pt>
                <c:pt idx="6890">
                  <c:v>0.85901576638097343</c:v>
                </c:pt>
                <c:pt idx="6891">
                  <c:v>0.87641512061830218</c:v>
                </c:pt>
                <c:pt idx="6892">
                  <c:v>0.8924580585901537</c:v>
                </c:pt>
                <c:pt idx="6893">
                  <c:v>0.90375308188113512</c:v>
                </c:pt>
                <c:pt idx="6894">
                  <c:v>0.90101439532222627</c:v>
                </c:pt>
                <c:pt idx="6895">
                  <c:v>0.90131180005447809</c:v>
                </c:pt>
                <c:pt idx="6896">
                  <c:v>0.87704311522842782</c:v>
                </c:pt>
                <c:pt idx="6897">
                  <c:v>0.84926355473555837</c:v>
                </c:pt>
                <c:pt idx="6898">
                  <c:v>0.82575972963770472</c:v>
                </c:pt>
                <c:pt idx="6899">
                  <c:v>0.8030887446479803</c:v>
                </c:pt>
                <c:pt idx="6900">
                  <c:v>0.78250223828850696</c:v>
                </c:pt>
                <c:pt idx="6901">
                  <c:v>0.76922531766118685</c:v>
                </c:pt>
                <c:pt idx="6902">
                  <c:v>0.76989546926045505</c:v>
                </c:pt>
                <c:pt idx="6903">
                  <c:v>0.77350339962928261</c:v>
                </c:pt>
                <c:pt idx="6904">
                  <c:v>0.77699268285785639</c:v>
                </c:pt>
                <c:pt idx="6905">
                  <c:v>0.77699268285785639</c:v>
                </c:pt>
                <c:pt idx="6906">
                  <c:v>0.77699268285785639</c:v>
                </c:pt>
                <c:pt idx="6907">
                  <c:v>0.77699268285785639</c:v>
                </c:pt>
                <c:pt idx="6908">
                  <c:v>0.77699268285785639</c:v>
                </c:pt>
                <c:pt idx="6909">
                  <c:v>0.77699268285785639</c:v>
                </c:pt>
                <c:pt idx="6910">
                  <c:v>0.77699268285785639</c:v>
                </c:pt>
                <c:pt idx="6911">
                  <c:v>0.77699268285785639</c:v>
                </c:pt>
                <c:pt idx="6912">
                  <c:v>0.77699268285785639</c:v>
                </c:pt>
                <c:pt idx="6913">
                  <c:v>0.77699268285785639</c:v>
                </c:pt>
                <c:pt idx="6914">
                  <c:v>0.77699268285785639</c:v>
                </c:pt>
                <c:pt idx="6915">
                  <c:v>0.77699268285785639</c:v>
                </c:pt>
                <c:pt idx="6916">
                  <c:v>0.77699268285785639</c:v>
                </c:pt>
                <c:pt idx="6917">
                  <c:v>0.77699268285785639</c:v>
                </c:pt>
                <c:pt idx="6918">
                  <c:v>0.77699268285785639</c:v>
                </c:pt>
                <c:pt idx="6919">
                  <c:v>0.78014903948585979</c:v>
                </c:pt>
                <c:pt idx="6920">
                  <c:v>0.73280776861713925</c:v>
                </c:pt>
                <c:pt idx="6921">
                  <c:v>0.66609775521283188</c:v>
                </c:pt>
                <c:pt idx="6922">
                  <c:v>0.58633266307061294</c:v>
                </c:pt>
                <c:pt idx="6923">
                  <c:v>0.5319849778106488</c:v>
                </c:pt>
                <c:pt idx="6924">
                  <c:v>0.47335584692070681</c:v>
                </c:pt>
                <c:pt idx="6925">
                  <c:v>0.3600801972621217</c:v>
                </c:pt>
                <c:pt idx="6926">
                  <c:v>0.31587568512537145</c:v>
                </c:pt>
                <c:pt idx="6927">
                  <c:v>0.31024113578232282</c:v>
                </c:pt>
                <c:pt idx="6928">
                  <c:v>0.31008985440435338</c:v>
                </c:pt>
                <c:pt idx="6929">
                  <c:v>0.30946469255682424</c:v>
                </c:pt>
                <c:pt idx="6930">
                  <c:v>0.3087912185135534</c:v>
                </c:pt>
                <c:pt idx="6931">
                  <c:v>0.30806699511317892</c:v>
                </c:pt>
                <c:pt idx="6932">
                  <c:v>0.45230266354322402</c:v>
                </c:pt>
                <c:pt idx="6933">
                  <c:v>0.55949602481619343</c:v>
                </c:pt>
                <c:pt idx="6934">
                  <c:v>0.64210474365410164</c:v>
                </c:pt>
                <c:pt idx="6935">
                  <c:v>0.70877767992666496</c:v>
                </c:pt>
                <c:pt idx="6936">
                  <c:v>0.76370000327517473</c:v>
                </c:pt>
                <c:pt idx="6937">
                  <c:v>0.80926768633371682</c:v>
                </c:pt>
                <c:pt idx="6938">
                  <c:v>0.84699190018943016</c:v>
                </c:pt>
                <c:pt idx="6939">
                  <c:v>0.8778843702505621</c:v>
                </c:pt>
                <c:pt idx="6940">
                  <c:v>0.9026468045559678</c:v>
                </c:pt>
                <c:pt idx="6941">
                  <c:v>0.92177336570391455</c:v>
                </c:pt>
                <c:pt idx="6942">
                  <c:v>0.93560975805529889</c:v>
                </c:pt>
                <c:pt idx="6943">
                  <c:v>0.94435523363432383</c:v>
                </c:pt>
                <c:pt idx="6944">
                  <c:v>0.94432864548868845</c:v>
                </c:pt>
                <c:pt idx="6945">
                  <c:v>0.93775615704910742</c:v>
                </c:pt>
                <c:pt idx="6946">
                  <c:v>0.92352200623075953</c:v>
                </c:pt>
                <c:pt idx="6947">
                  <c:v>0.90166759111930272</c:v>
                </c:pt>
                <c:pt idx="6948">
                  <c:v>0.87666296903642349</c:v>
                </c:pt>
                <c:pt idx="6949">
                  <c:v>0.85111569017848121</c:v>
                </c:pt>
                <c:pt idx="6950">
                  <c:v>0.83104721098524403</c:v>
                </c:pt>
                <c:pt idx="6951">
                  <c:v>0.80714814788404221</c:v>
                </c:pt>
                <c:pt idx="6952">
                  <c:v>0.78652341457707986</c:v>
                </c:pt>
                <c:pt idx="6953">
                  <c:v>0.79109482459563918</c:v>
                </c:pt>
                <c:pt idx="6954">
                  <c:v>0.79071186128165694</c:v>
                </c:pt>
                <c:pt idx="6955">
                  <c:v>0.74927400014212897</c:v>
                </c:pt>
                <c:pt idx="6956">
                  <c:v>0.70923104225314382</c:v>
                </c:pt>
                <c:pt idx="6957">
                  <c:v>0.66039598905671471</c:v>
                </c:pt>
                <c:pt idx="6958">
                  <c:v>0.60118271833583259</c:v>
                </c:pt>
                <c:pt idx="6959">
                  <c:v>0.53523831251324294</c:v>
                </c:pt>
                <c:pt idx="6960">
                  <c:v>0.45223122930790305</c:v>
                </c:pt>
                <c:pt idx="6961">
                  <c:v>0.34059018062311547</c:v>
                </c:pt>
                <c:pt idx="6962">
                  <c:v>0.3416296223610647</c:v>
                </c:pt>
                <c:pt idx="6963">
                  <c:v>0.34144750103144589</c:v>
                </c:pt>
                <c:pt idx="6964">
                  <c:v>0.34128404094838283</c:v>
                </c:pt>
                <c:pt idx="6965">
                  <c:v>0.34112982200530328</c:v>
                </c:pt>
                <c:pt idx="6966">
                  <c:v>0.34098490300677681</c:v>
                </c:pt>
                <c:pt idx="6967">
                  <c:v>0.34086856620956291</c:v>
                </c:pt>
                <c:pt idx="6968">
                  <c:v>0.3407809888094504</c:v>
                </c:pt>
                <c:pt idx="6969">
                  <c:v>0.34395220405720905</c:v>
                </c:pt>
                <c:pt idx="6970">
                  <c:v>0.34711528721407003</c:v>
                </c:pt>
                <c:pt idx="6971">
                  <c:v>0.35024873097783832</c:v>
                </c:pt>
                <c:pt idx="6972">
                  <c:v>0.3533245153972156</c:v>
                </c:pt>
                <c:pt idx="6973">
                  <c:v>0.35633327565612577</c:v>
                </c:pt>
                <c:pt idx="6974">
                  <c:v>0.36225787941024468</c:v>
                </c:pt>
                <c:pt idx="6975">
                  <c:v>0.36974891077052341</c:v>
                </c:pt>
                <c:pt idx="6976">
                  <c:v>0.37833822169281489</c:v>
                </c:pt>
                <c:pt idx="6977">
                  <c:v>0.3816698937746098</c:v>
                </c:pt>
                <c:pt idx="6978">
                  <c:v>0.38477274906760806</c:v>
                </c:pt>
                <c:pt idx="6979">
                  <c:v>0.390184596356696</c:v>
                </c:pt>
                <c:pt idx="6980">
                  <c:v>0.40079412079233084</c:v>
                </c:pt>
                <c:pt idx="6981">
                  <c:v>0.40911053910952622</c:v>
                </c:pt>
                <c:pt idx="6982">
                  <c:v>0.34525846470096444</c:v>
                </c:pt>
                <c:pt idx="6983">
                  <c:v>0.24011604037501602</c:v>
                </c:pt>
                <c:pt idx="6984">
                  <c:v>0.18172509059678305</c:v>
                </c:pt>
                <c:pt idx="6985">
                  <c:v>8.0403579797493161E-3</c:v>
                </c:pt>
                <c:pt idx="6986">
                  <c:v>7.4075273751249204E-3</c:v>
                </c:pt>
                <c:pt idx="6987">
                  <c:v>6.3268633618986901E-3</c:v>
                </c:pt>
                <c:pt idx="6988">
                  <c:v>5.4202351309824903E-3</c:v>
                </c:pt>
                <c:pt idx="6989">
                  <c:v>3.7016132401420836E-3</c:v>
                </c:pt>
                <c:pt idx="6990">
                  <c:v>2.8643690367639403E-3</c:v>
                </c:pt>
                <c:pt idx="6991">
                  <c:v>1.9165054472285621E-3</c:v>
                </c:pt>
                <c:pt idx="6992">
                  <c:v>1.5182797697722906E-3</c:v>
                </c:pt>
                <c:pt idx="6993">
                  <c:v>1.373493117114712E-3</c:v>
                </c:pt>
                <c:pt idx="6994">
                  <c:v>1.3279159934179907E-3</c:v>
                </c:pt>
                <c:pt idx="6995">
                  <c:v>1.2597508731849196E-3</c:v>
                </c:pt>
                <c:pt idx="6996">
                  <c:v>8.8959053531419954E-4</c:v>
                </c:pt>
              </c:numCache>
            </c:numRef>
          </c:val>
          <c:smooth val="0"/>
          <c:extLst>
            <c:ext xmlns:c16="http://schemas.microsoft.com/office/drawing/2014/chart" uri="{C3380CC4-5D6E-409C-BE32-E72D297353CC}">
              <c16:uniqueId val="{00000007-34E5-0744-AA2C-554353F9D891}"/>
            </c:ext>
          </c:extLst>
        </c:ser>
        <c:ser>
          <c:idx val="8"/>
          <c:order val="8"/>
          <c:tx>
            <c:strRef>
              <c:f>'Rolling Stdev Data'!$I$1:$I$2</c:f>
              <c:strCache>
                <c:ptCount val="2"/>
                <c:pt idx="0">
                  <c:v>%</c:v>
                </c:pt>
                <c:pt idx="1">
                  <c:v>PUMP FAILURE (1 or 0)</c:v>
                </c:pt>
              </c:strCache>
            </c:strRef>
          </c:tx>
          <c:spPr>
            <a:ln w="28575" cap="rnd">
              <a:solidFill>
                <a:schemeClr val="accent3">
                  <a:lumMod val="60000"/>
                </a:schemeClr>
              </a:solidFill>
              <a:round/>
            </a:ln>
            <a:effectLst/>
          </c:spPr>
          <c:marker>
            <c:symbol val="none"/>
          </c:marker>
          <c:val>
            <c:numRef>
              <c:f>'Rolling Stdev Data'!$I$3:$I$7000</c:f>
              <c:numCache>
                <c:formatCode>General</c:formatCode>
                <c:ptCount val="699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0</c:v>
                </c:pt>
                <c:pt idx="2254">
                  <c:v>0</c:v>
                </c:pt>
                <c:pt idx="2255">
                  <c:v>0</c:v>
                </c:pt>
                <c:pt idx="2256">
                  <c:v>0</c:v>
                </c:pt>
                <c:pt idx="2257">
                  <c:v>0</c:v>
                </c:pt>
                <c:pt idx="2258">
                  <c:v>0</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pt idx="2452">
                  <c:v>0</c:v>
                </c:pt>
                <c:pt idx="2453">
                  <c:v>0</c:v>
                </c:pt>
                <c:pt idx="2454">
                  <c:v>0</c:v>
                </c:pt>
                <c:pt idx="2455">
                  <c:v>0</c:v>
                </c:pt>
                <c:pt idx="2456">
                  <c:v>0</c:v>
                </c:pt>
                <c:pt idx="2457">
                  <c:v>0</c:v>
                </c:pt>
                <c:pt idx="2458">
                  <c:v>0</c:v>
                </c:pt>
                <c:pt idx="2459">
                  <c:v>0</c:v>
                </c:pt>
                <c:pt idx="2460">
                  <c:v>0</c:v>
                </c:pt>
                <c:pt idx="2461">
                  <c:v>0</c:v>
                </c:pt>
                <c:pt idx="2462">
                  <c:v>0</c:v>
                </c:pt>
                <c:pt idx="2463">
                  <c:v>0</c:v>
                </c:pt>
                <c:pt idx="2464">
                  <c:v>0</c:v>
                </c:pt>
                <c:pt idx="2465">
                  <c:v>0</c:v>
                </c:pt>
                <c:pt idx="2466">
                  <c:v>0</c:v>
                </c:pt>
                <c:pt idx="2467">
                  <c:v>0</c:v>
                </c:pt>
                <c:pt idx="2468">
                  <c:v>0</c:v>
                </c:pt>
                <c:pt idx="2469">
                  <c:v>0</c:v>
                </c:pt>
                <c:pt idx="2470">
                  <c:v>0</c:v>
                </c:pt>
                <c:pt idx="2471">
                  <c:v>0</c:v>
                </c:pt>
                <c:pt idx="2472">
                  <c:v>0</c:v>
                </c:pt>
                <c:pt idx="2473">
                  <c:v>0</c:v>
                </c:pt>
                <c:pt idx="2474">
                  <c:v>0</c:v>
                </c:pt>
                <c:pt idx="2475">
                  <c:v>0</c:v>
                </c:pt>
                <c:pt idx="2476">
                  <c:v>0</c:v>
                </c:pt>
                <c:pt idx="2477">
                  <c:v>0</c:v>
                </c:pt>
                <c:pt idx="2478">
                  <c:v>0</c:v>
                </c:pt>
                <c:pt idx="2479">
                  <c:v>0</c:v>
                </c:pt>
                <c:pt idx="2480">
                  <c:v>0</c:v>
                </c:pt>
                <c:pt idx="2481">
                  <c:v>0</c:v>
                </c:pt>
                <c:pt idx="2482">
                  <c:v>0</c:v>
                </c:pt>
                <c:pt idx="2483">
                  <c:v>0</c:v>
                </c:pt>
                <c:pt idx="2484">
                  <c:v>0</c:v>
                </c:pt>
                <c:pt idx="2485">
                  <c:v>0</c:v>
                </c:pt>
                <c:pt idx="2486">
                  <c:v>0</c:v>
                </c:pt>
                <c:pt idx="2487">
                  <c:v>0</c:v>
                </c:pt>
                <c:pt idx="2488">
                  <c:v>0</c:v>
                </c:pt>
                <c:pt idx="2489">
                  <c:v>0</c:v>
                </c:pt>
                <c:pt idx="2490">
                  <c:v>0</c:v>
                </c:pt>
                <c:pt idx="2491">
                  <c:v>0</c:v>
                </c:pt>
                <c:pt idx="2492">
                  <c:v>0</c:v>
                </c:pt>
                <c:pt idx="2493">
                  <c:v>0</c:v>
                </c:pt>
                <c:pt idx="2494">
                  <c:v>0</c:v>
                </c:pt>
                <c:pt idx="2495">
                  <c:v>0</c:v>
                </c:pt>
                <c:pt idx="2496">
                  <c:v>0</c:v>
                </c:pt>
                <c:pt idx="2497">
                  <c:v>0</c:v>
                </c:pt>
                <c:pt idx="2498">
                  <c:v>0</c:v>
                </c:pt>
                <c:pt idx="2499">
                  <c:v>0</c:v>
                </c:pt>
                <c:pt idx="2500">
                  <c:v>0</c:v>
                </c:pt>
                <c:pt idx="2501">
                  <c:v>0</c:v>
                </c:pt>
                <c:pt idx="2502">
                  <c:v>0</c:v>
                </c:pt>
                <c:pt idx="2503">
                  <c:v>0</c:v>
                </c:pt>
                <c:pt idx="2504">
                  <c:v>0</c:v>
                </c:pt>
                <c:pt idx="2505">
                  <c:v>0</c:v>
                </c:pt>
                <c:pt idx="2506">
                  <c:v>0</c:v>
                </c:pt>
                <c:pt idx="2507">
                  <c:v>0</c:v>
                </c:pt>
                <c:pt idx="2508">
                  <c:v>0</c:v>
                </c:pt>
                <c:pt idx="2509">
                  <c:v>0</c:v>
                </c:pt>
                <c:pt idx="2510">
                  <c:v>0</c:v>
                </c:pt>
                <c:pt idx="2511">
                  <c:v>0</c:v>
                </c:pt>
                <c:pt idx="2512">
                  <c:v>0</c:v>
                </c:pt>
                <c:pt idx="2513">
                  <c:v>0</c:v>
                </c:pt>
                <c:pt idx="2514">
                  <c:v>0</c:v>
                </c:pt>
                <c:pt idx="2515">
                  <c:v>0</c:v>
                </c:pt>
                <c:pt idx="2516">
                  <c:v>0</c:v>
                </c:pt>
                <c:pt idx="2517">
                  <c:v>0</c:v>
                </c:pt>
                <c:pt idx="2518">
                  <c:v>0</c:v>
                </c:pt>
                <c:pt idx="2519">
                  <c:v>0</c:v>
                </c:pt>
                <c:pt idx="2520">
                  <c:v>0</c:v>
                </c:pt>
                <c:pt idx="2521">
                  <c:v>0</c:v>
                </c:pt>
                <c:pt idx="2522">
                  <c:v>0</c:v>
                </c:pt>
                <c:pt idx="2523">
                  <c:v>0</c:v>
                </c:pt>
                <c:pt idx="2524">
                  <c:v>0</c:v>
                </c:pt>
                <c:pt idx="2525">
                  <c:v>0</c:v>
                </c:pt>
                <c:pt idx="2526">
                  <c:v>0</c:v>
                </c:pt>
                <c:pt idx="2527">
                  <c:v>0</c:v>
                </c:pt>
                <c:pt idx="2528">
                  <c:v>0</c:v>
                </c:pt>
                <c:pt idx="2529">
                  <c:v>0</c:v>
                </c:pt>
                <c:pt idx="2530">
                  <c:v>0</c:v>
                </c:pt>
                <c:pt idx="2531">
                  <c:v>0</c:v>
                </c:pt>
                <c:pt idx="2532">
                  <c:v>0</c:v>
                </c:pt>
                <c:pt idx="2533">
                  <c:v>0</c:v>
                </c:pt>
                <c:pt idx="2534">
                  <c:v>0</c:v>
                </c:pt>
                <c:pt idx="2535">
                  <c:v>0</c:v>
                </c:pt>
                <c:pt idx="2536">
                  <c:v>0</c:v>
                </c:pt>
                <c:pt idx="2537">
                  <c:v>0</c:v>
                </c:pt>
                <c:pt idx="2538">
                  <c:v>0</c:v>
                </c:pt>
                <c:pt idx="2539">
                  <c:v>0</c:v>
                </c:pt>
                <c:pt idx="2540">
                  <c:v>0</c:v>
                </c:pt>
                <c:pt idx="2541">
                  <c:v>0</c:v>
                </c:pt>
                <c:pt idx="2542">
                  <c:v>0</c:v>
                </c:pt>
                <c:pt idx="2543">
                  <c:v>0</c:v>
                </c:pt>
                <c:pt idx="2544">
                  <c:v>0</c:v>
                </c:pt>
                <c:pt idx="2545">
                  <c:v>0</c:v>
                </c:pt>
                <c:pt idx="2546">
                  <c:v>0</c:v>
                </c:pt>
                <c:pt idx="2547">
                  <c:v>0</c:v>
                </c:pt>
                <c:pt idx="2548">
                  <c:v>0</c:v>
                </c:pt>
                <c:pt idx="2549">
                  <c:v>0</c:v>
                </c:pt>
                <c:pt idx="2550">
                  <c:v>0</c:v>
                </c:pt>
                <c:pt idx="2551">
                  <c:v>0</c:v>
                </c:pt>
                <c:pt idx="2552">
                  <c:v>0</c:v>
                </c:pt>
                <c:pt idx="2553">
                  <c:v>0</c:v>
                </c:pt>
                <c:pt idx="2554">
                  <c:v>0</c:v>
                </c:pt>
                <c:pt idx="2555">
                  <c:v>0</c:v>
                </c:pt>
                <c:pt idx="2556">
                  <c:v>0</c:v>
                </c:pt>
                <c:pt idx="2557">
                  <c:v>0</c:v>
                </c:pt>
                <c:pt idx="2558">
                  <c:v>0</c:v>
                </c:pt>
                <c:pt idx="2559">
                  <c:v>0</c:v>
                </c:pt>
                <c:pt idx="2560">
                  <c:v>0</c:v>
                </c:pt>
                <c:pt idx="2561">
                  <c:v>0</c:v>
                </c:pt>
                <c:pt idx="2562">
                  <c:v>0</c:v>
                </c:pt>
                <c:pt idx="2563">
                  <c:v>0</c:v>
                </c:pt>
                <c:pt idx="2564">
                  <c:v>0</c:v>
                </c:pt>
                <c:pt idx="2565">
                  <c:v>0</c:v>
                </c:pt>
                <c:pt idx="2566">
                  <c:v>0</c:v>
                </c:pt>
                <c:pt idx="2567">
                  <c:v>0</c:v>
                </c:pt>
                <c:pt idx="2568">
                  <c:v>0</c:v>
                </c:pt>
                <c:pt idx="2569">
                  <c:v>0</c:v>
                </c:pt>
                <c:pt idx="2570">
                  <c:v>0</c:v>
                </c:pt>
                <c:pt idx="2571">
                  <c:v>0</c:v>
                </c:pt>
                <c:pt idx="2572">
                  <c:v>0</c:v>
                </c:pt>
                <c:pt idx="2573">
                  <c:v>0</c:v>
                </c:pt>
                <c:pt idx="2574">
                  <c:v>0</c:v>
                </c:pt>
                <c:pt idx="2575">
                  <c:v>0</c:v>
                </c:pt>
                <c:pt idx="2576">
                  <c:v>0</c:v>
                </c:pt>
                <c:pt idx="2577">
                  <c:v>0</c:v>
                </c:pt>
                <c:pt idx="2578">
                  <c:v>0</c:v>
                </c:pt>
                <c:pt idx="2579">
                  <c:v>0</c:v>
                </c:pt>
                <c:pt idx="2580">
                  <c:v>0</c:v>
                </c:pt>
                <c:pt idx="2581">
                  <c:v>0</c:v>
                </c:pt>
                <c:pt idx="2582">
                  <c:v>0</c:v>
                </c:pt>
                <c:pt idx="2583">
                  <c:v>0</c:v>
                </c:pt>
                <c:pt idx="2584">
                  <c:v>0</c:v>
                </c:pt>
                <c:pt idx="2585">
                  <c:v>0</c:v>
                </c:pt>
                <c:pt idx="2586">
                  <c:v>0</c:v>
                </c:pt>
                <c:pt idx="2587">
                  <c:v>0</c:v>
                </c:pt>
                <c:pt idx="2588">
                  <c:v>0</c:v>
                </c:pt>
                <c:pt idx="2589">
                  <c:v>0</c:v>
                </c:pt>
                <c:pt idx="2590">
                  <c:v>0</c:v>
                </c:pt>
                <c:pt idx="2591">
                  <c:v>0</c:v>
                </c:pt>
                <c:pt idx="2592">
                  <c:v>0</c:v>
                </c:pt>
                <c:pt idx="2593">
                  <c:v>0</c:v>
                </c:pt>
                <c:pt idx="2594">
                  <c:v>0</c:v>
                </c:pt>
                <c:pt idx="2595">
                  <c:v>0</c:v>
                </c:pt>
                <c:pt idx="2596">
                  <c:v>0</c:v>
                </c:pt>
                <c:pt idx="2597">
                  <c:v>0</c:v>
                </c:pt>
                <c:pt idx="2598">
                  <c:v>0</c:v>
                </c:pt>
                <c:pt idx="2599">
                  <c:v>0</c:v>
                </c:pt>
                <c:pt idx="2600">
                  <c:v>0</c:v>
                </c:pt>
                <c:pt idx="2601">
                  <c:v>0</c:v>
                </c:pt>
                <c:pt idx="2602">
                  <c:v>0</c:v>
                </c:pt>
                <c:pt idx="2603">
                  <c:v>0</c:v>
                </c:pt>
                <c:pt idx="2604">
                  <c:v>0</c:v>
                </c:pt>
                <c:pt idx="2605">
                  <c:v>0</c:v>
                </c:pt>
                <c:pt idx="2606">
                  <c:v>0</c:v>
                </c:pt>
                <c:pt idx="2607">
                  <c:v>0</c:v>
                </c:pt>
                <c:pt idx="2608">
                  <c:v>0</c:v>
                </c:pt>
                <c:pt idx="2609">
                  <c:v>0</c:v>
                </c:pt>
                <c:pt idx="2610">
                  <c:v>0</c:v>
                </c:pt>
                <c:pt idx="2611">
                  <c:v>0</c:v>
                </c:pt>
                <c:pt idx="2612">
                  <c:v>0</c:v>
                </c:pt>
                <c:pt idx="2613">
                  <c:v>0</c:v>
                </c:pt>
                <c:pt idx="2614">
                  <c:v>0</c:v>
                </c:pt>
                <c:pt idx="2615">
                  <c:v>0</c:v>
                </c:pt>
                <c:pt idx="2616">
                  <c:v>0</c:v>
                </c:pt>
                <c:pt idx="2617">
                  <c:v>0</c:v>
                </c:pt>
                <c:pt idx="2618">
                  <c:v>0</c:v>
                </c:pt>
                <c:pt idx="2619">
                  <c:v>0</c:v>
                </c:pt>
                <c:pt idx="2620">
                  <c:v>0</c:v>
                </c:pt>
                <c:pt idx="2621">
                  <c:v>0</c:v>
                </c:pt>
                <c:pt idx="2622">
                  <c:v>0</c:v>
                </c:pt>
                <c:pt idx="2623">
                  <c:v>0</c:v>
                </c:pt>
                <c:pt idx="2624">
                  <c:v>0</c:v>
                </c:pt>
                <c:pt idx="2625">
                  <c:v>0</c:v>
                </c:pt>
                <c:pt idx="2626">
                  <c:v>0</c:v>
                </c:pt>
                <c:pt idx="2627">
                  <c:v>0</c:v>
                </c:pt>
                <c:pt idx="2628">
                  <c:v>0</c:v>
                </c:pt>
                <c:pt idx="2629">
                  <c:v>0</c:v>
                </c:pt>
                <c:pt idx="2630">
                  <c:v>0</c:v>
                </c:pt>
                <c:pt idx="2631">
                  <c:v>0</c:v>
                </c:pt>
                <c:pt idx="2632">
                  <c:v>0</c:v>
                </c:pt>
                <c:pt idx="2633">
                  <c:v>0</c:v>
                </c:pt>
                <c:pt idx="2634">
                  <c:v>0</c:v>
                </c:pt>
                <c:pt idx="2635">
                  <c:v>0</c:v>
                </c:pt>
                <c:pt idx="2636">
                  <c:v>0</c:v>
                </c:pt>
                <c:pt idx="2637">
                  <c:v>0</c:v>
                </c:pt>
                <c:pt idx="2638">
                  <c:v>0</c:v>
                </c:pt>
                <c:pt idx="2639">
                  <c:v>0</c:v>
                </c:pt>
                <c:pt idx="2640">
                  <c:v>0</c:v>
                </c:pt>
                <c:pt idx="2641">
                  <c:v>0</c:v>
                </c:pt>
                <c:pt idx="2642">
                  <c:v>0</c:v>
                </c:pt>
                <c:pt idx="2643">
                  <c:v>0</c:v>
                </c:pt>
                <c:pt idx="2644">
                  <c:v>0</c:v>
                </c:pt>
                <c:pt idx="2645">
                  <c:v>0</c:v>
                </c:pt>
                <c:pt idx="2646">
                  <c:v>0</c:v>
                </c:pt>
                <c:pt idx="2647">
                  <c:v>0</c:v>
                </c:pt>
                <c:pt idx="2648">
                  <c:v>0</c:v>
                </c:pt>
                <c:pt idx="2649">
                  <c:v>0</c:v>
                </c:pt>
                <c:pt idx="2650">
                  <c:v>0</c:v>
                </c:pt>
                <c:pt idx="2651">
                  <c:v>0</c:v>
                </c:pt>
                <c:pt idx="2652">
                  <c:v>0</c:v>
                </c:pt>
                <c:pt idx="2653">
                  <c:v>0</c:v>
                </c:pt>
                <c:pt idx="2654">
                  <c:v>0</c:v>
                </c:pt>
                <c:pt idx="2655">
                  <c:v>0</c:v>
                </c:pt>
                <c:pt idx="2656">
                  <c:v>0</c:v>
                </c:pt>
                <c:pt idx="2657">
                  <c:v>0</c:v>
                </c:pt>
                <c:pt idx="2658">
                  <c:v>0</c:v>
                </c:pt>
                <c:pt idx="2659">
                  <c:v>0</c:v>
                </c:pt>
                <c:pt idx="2660">
                  <c:v>0</c:v>
                </c:pt>
                <c:pt idx="2661">
                  <c:v>0</c:v>
                </c:pt>
                <c:pt idx="2662">
                  <c:v>0</c:v>
                </c:pt>
                <c:pt idx="2663">
                  <c:v>0</c:v>
                </c:pt>
                <c:pt idx="2664">
                  <c:v>0</c:v>
                </c:pt>
                <c:pt idx="2665">
                  <c:v>0</c:v>
                </c:pt>
                <c:pt idx="2666">
                  <c:v>0</c:v>
                </c:pt>
                <c:pt idx="2667">
                  <c:v>0</c:v>
                </c:pt>
                <c:pt idx="2668">
                  <c:v>0</c:v>
                </c:pt>
                <c:pt idx="2669">
                  <c:v>0</c:v>
                </c:pt>
                <c:pt idx="2670">
                  <c:v>0</c:v>
                </c:pt>
                <c:pt idx="2671">
                  <c:v>0</c:v>
                </c:pt>
                <c:pt idx="2672">
                  <c:v>0</c:v>
                </c:pt>
                <c:pt idx="2673">
                  <c:v>0</c:v>
                </c:pt>
                <c:pt idx="2674">
                  <c:v>0</c:v>
                </c:pt>
                <c:pt idx="2675">
                  <c:v>0</c:v>
                </c:pt>
                <c:pt idx="2676">
                  <c:v>0</c:v>
                </c:pt>
                <c:pt idx="2677">
                  <c:v>0</c:v>
                </c:pt>
                <c:pt idx="2678">
                  <c:v>0</c:v>
                </c:pt>
                <c:pt idx="2679">
                  <c:v>0</c:v>
                </c:pt>
                <c:pt idx="2680">
                  <c:v>0</c:v>
                </c:pt>
                <c:pt idx="2681">
                  <c:v>0</c:v>
                </c:pt>
                <c:pt idx="2682">
                  <c:v>0</c:v>
                </c:pt>
                <c:pt idx="2683">
                  <c:v>0</c:v>
                </c:pt>
                <c:pt idx="2684">
                  <c:v>0</c:v>
                </c:pt>
                <c:pt idx="2685">
                  <c:v>0</c:v>
                </c:pt>
                <c:pt idx="2686">
                  <c:v>0</c:v>
                </c:pt>
                <c:pt idx="2687">
                  <c:v>0</c:v>
                </c:pt>
                <c:pt idx="2688">
                  <c:v>0</c:v>
                </c:pt>
                <c:pt idx="2689">
                  <c:v>0</c:v>
                </c:pt>
                <c:pt idx="2690">
                  <c:v>0</c:v>
                </c:pt>
                <c:pt idx="2691">
                  <c:v>0</c:v>
                </c:pt>
                <c:pt idx="2692">
                  <c:v>0</c:v>
                </c:pt>
                <c:pt idx="2693">
                  <c:v>0</c:v>
                </c:pt>
                <c:pt idx="2694">
                  <c:v>0</c:v>
                </c:pt>
                <c:pt idx="2695">
                  <c:v>0</c:v>
                </c:pt>
                <c:pt idx="2696">
                  <c:v>0</c:v>
                </c:pt>
                <c:pt idx="2697">
                  <c:v>0</c:v>
                </c:pt>
                <c:pt idx="2698">
                  <c:v>0</c:v>
                </c:pt>
                <c:pt idx="2699">
                  <c:v>0</c:v>
                </c:pt>
                <c:pt idx="2700">
                  <c:v>0</c:v>
                </c:pt>
                <c:pt idx="2701">
                  <c:v>0</c:v>
                </c:pt>
                <c:pt idx="2702">
                  <c:v>0</c:v>
                </c:pt>
                <c:pt idx="2703">
                  <c:v>0</c:v>
                </c:pt>
                <c:pt idx="2704">
                  <c:v>0</c:v>
                </c:pt>
                <c:pt idx="2705">
                  <c:v>0</c:v>
                </c:pt>
                <c:pt idx="2706">
                  <c:v>0</c:v>
                </c:pt>
                <c:pt idx="2707">
                  <c:v>0</c:v>
                </c:pt>
                <c:pt idx="2708">
                  <c:v>0</c:v>
                </c:pt>
                <c:pt idx="2709">
                  <c:v>0</c:v>
                </c:pt>
                <c:pt idx="2710">
                  <c:v>0</c:v>
                </c:pt>
                <c:pt idx="2711">
                  <c:v>0</c:v>
                </c:pt>
                <c:pt idx="2712">
                  <c:v>0</c:v>
                </c:pt>
                <c:pt idx="2713">
                  <c:v>0</c:v>
                </c:pt>
                <c:pt idx="2714">
                  <c:v>0</c:v>
                </c:pt>
                <c:pt idx="2715">
                  <c:v>0</c:v>
                </c:pt>
                <c:pt idx="2716">
                  <c:v>0</c:v>
                </c:pt>
                <c:pt idx="2717">
                  <c:v>0</c:v>
                </c:pt>
                <c:pt idx="2718">
                  <c:v>0</c:v>
                </c:pt>
                <c:pt idx="2719">
                  <c:v>0</c:v>
                </c:pt>
                <c:pt idx="2720">
                  <c:v>0</c:v>
                </c:pt>
                <c:pt idx="2721">
                  <c:v>0</c:v>
                </c:pt>
                <c:pt idx="2722">
                  <c:v>0</c:v>
                </c:pt>
                <c:pt idx="2723">
                  <c:v>0</c:v>
                </c:pt>
                <c:pt idx="2724">
                  <c:v>0</c:v>
                </c:pt>
                <c:pt idx="2725">
                  <c:v>0</c:v>
                </c:pt>
                <c:pt idx="2726">
                  <c:v>0</c:v>
                </c:pt>
                <c:pt idx="2727">
                  <c:v>0</c:v>
                </c:pt>
                <c:pt idx="2728">
                  <c:v>0</c:v>
                </c:pt>
                <c:pt idx="2729">
                  <c:v>0</c:v>
                </c:pt>
                <c:pt idx="2730">
                  <c:v>0</c:v>
                </c:pt>
                <c:pt idx="2731">
                  <c:v>0</c:v>
                </c:pt>
                <c:pt idx="2732">
                  <c:v>0</c:v>
                </c:pt>
                <c:pt idx="2733">
                  <c:v>0</c:v>
                </c:pt>
                <c:pt idx="2734">
                  <c:v>0</c:v>
                </c:pt>
                <c:pt idx="2735">
                  <c:v>0</c:v>
                </c:pt>
                <c:pt idx="2736">
                  <c:v>0</c:v>
                </c:pt>
                <c:pt idx="2737">
                  <c:v>0</c:v>
                </c:pt>
                <c:pt idx="2738">
                  <c:v>0</c:v>
                </c:pt>
                <c:pt idx="2739">
                  <c:v>0</c:v>
                </c:pt>
                <c:pt idx="2740">
                  <c:v>0</c:v>
                </c:pt>
                <c:pt idx="2741">
                  <c:v>0</c:v>
                </c:pt>
                <c:pt idx="2742">
                  <c:v>0</c:v>
                </c:pt>
                <c:pt idx="2743">
                  <c:v>0</c:v>
                </c:pt>
                <c:pt idx="2744">
                  <c:v>0</c:v>
                </c:pt>
                <c:pt idx="2745">
                  <c:v>0</c:v>
                </c:pt>
                <c:pt idx="2746">
                  <c:v>0</c:v>
                </c:pt>
                <c:pt idx="2747">
                  <c:v>0</c:v>
                </c:pt>
                <c:pt idx="2748">
                  <c:v>0</c:v>
                </c:pt>
                <c:pt idx="2749">
                  <c:v>0</c:v>
                </c:pt>
                <c:pt idx="2750">
                  <c:v>0</c:v>
                </c:pt>
                <c:pt idx="2751">
                  <c:v>0</c:v>
                </c:pt>
                <c:pt idx="2752">
                  <c:v>0</c:v>
                </c:pt>
                <c:pt idx="2753">
                  <c:v>0</c:v>
                </c:pt>
                <c:pt idx="2754">
                  <c:v>0</c:v>
                </c:pt>
                <c:pt idx="2755">
                  <c:v>0</c:v>
                </c:pt>
                <c:pt idx="2756">
                  <c:v>0</c:v>
                </c:pt>
                <c:pt idx="2757">
                  <c:v>0</c:v>
                </c:pt>
                <c:pt idx="2758">
                  <c:v>0</c:v>
                </c:pt>
                <c:pt idx="2759">
                  <c:v>0</c:v>
                </c:pt>
                <c:pt idx="2760">
                  <c:v>0</c:v>
                </c:pt>
                <c:pt idx="2761">
                  <c:v>0</c:v>
                </c:pt>
                <c:pt idx="2762">
                  <c:v>0</c:v>
                </c:pt>
                <c:pt idx="2763">
                  <c:v>0</c:v>
                </c:pt>
                <c:pt idx="2764">
                  <c:v>0</c:v>
                </c:pt>
                <c:pt idx="2765">
                  <c:v>0</c:v>
                </c:pt>
                <c:pt idx="2766">
                  <c:v>0</c:v>
                </c:pt>
                <c:pt idx="2767">
                  <c:v>0</c:v>
                </c:pt>
                <c:pt idx="2768">
                  <c:v>0</c:v>
                </c:pt>
                <c:pt idx="2769">
                  <c:v>0</c:v>
                </c:pt>
                <c:pt idx="2770">
                  <c:v>0</c:v>
                </c:pt>
                <c:pt idx="2771">
                  <c:v>0</c:v>
                </c:pt>
                <c:pt idx="2772">
                  <c:v>0</c:v>
                </c:pt>
                <c:pt idx="2773">
                  <c:v>0</c:v>
                </c:pt>
                <c:pt idx="2774">
                  <c:v>0</c:v>
                </c:pt>
                <c:pt idx="2775">
                  <c:v>0</c:v>
                </c:pt>
                <c:pt idx="2776">
                  <c:v>0</c:v>
                </c:pt>
                <c:pt idx="2777">
                  <c:v>0</c:v>
                </c:pt>
                <c:pt idx="2778">
                  <c:v>0</c:v>
                </c:pt>
                <c:pt idx="2779">
                  <c:v>0</c:v>
                </c:pt>
                <c:pt idx="2780">
                  <c:v>0</c:v>
                </c:pt>
                <c:pt idx="2781">
                  <c:v>0</c:v>
                </c:pt>
                <c:pt idx="2782">
                  <c:v>0</c:v>
                </c:pt>
                <c:pt idx="2783">
                  <c:v>0</c:v>
                </c:pt>
                <c:pt idx="2784">
                  <c:v>0</c:v>
                </c:pt>
                <c:pt idx="2785">
                  <c:v>0</c:v>
                </c:pt>
                <c:pt idx="2786">
                  <c:v>0</c:v>
                </c:pt>
                <c:pt idx="2787">
                  <c:v>0</c:v>
                </c:pt>
                <c:pt idx="2788">
                  <c:v>0</c:v>
                </c:pt>
                <c:pt idx="2789">
                  <c:v>0</c:v>
                </c:pt>
                <c:pt idx="2790">
                  <c:v>0</c:v>
                </c:pt>
                <c:pt idx="2791">
                  <c:v>0</c:v>
                </c:pt>
                <c:pt idx="2792">
                  <c:v>0</c:v>
                </c:pt>
                <c:pt idx="2793">
                  <c:v>0</c:v>
                </c:pt>
                <c:pt idx="2794">
                  <c:v>0</c:v>
                </c:pt>
                <c:pt idx="2795">
                  <c:v>0</c:v>
                </c:pt>
                <c:pt idx="2796">
                  <c:v>0</c:v>
                </c:pt>
                <c:pt idx="2797">
                  <c:v>0</c:v>
                </c:pt>
                <c:pt idx="2798">
                  <c:v>0</c:v>
                </c:pt>
                <c:pt idx="2799">
                  <c:v>0</c:v>
                </c:pt>
                <c:pt idx="2800">
                  <c:v>0</c:v>
                </c:pt>
                <c:pt idx="2801">
                  <c:v>0</c:v>
                </c:pt>
                <c:pt idx="2802">
                  <c:v>0</c:v>
                </c:pt>
                <c:pt idx="2803">
                  <c:v>0</c:v>
                </c:pt>
                <c:pt idx="2804">
                  <c:v>0</c:v>
                </c:pt>
                <c:pt idx="2805">
                  <c:v>0</c:v>
                </c:pt>
                <c:pt idx="2806">
                  <c:v>0</c:v>
                </c:pt>
                <c:pt idx="2807">
                  <c:v>0</c:v>
                </c:pt>
                <c:pt idx="2808">
                  <c:v>0</c:v>
                </c:pt>
                <c:pt idx="2809">
                  <c:v>0</c:v>
                </c:pt>
                <c:pt idx="2810">
                  <c:v>0</c:v>
                </c:pt>
                <c:pt idx="2811">
                  <c:v>0</c:v>
                </c:pt>
                <c:pt idx="2812">
                  <c:v>0</c:v>
                </c:pt>
                <c:pt idx="2813">
                  <c:v>0</c:v>
                </c:pt>
                <c:pt idx="2814">
                  <c:v>0</c:v>
                </c:pt>
                <c:pt idx="2815">
                  <c:v>0</c:v>
                </c:pt>
                <c:pt idx="2816">
                  <c:v>0</c:v>
                </c:pt>
                <c:pt idx="2817">
                  <c:v>0</c:v>
                </c:pt>
                <c:pt idx="2818">
                  <c:v>0</c:v>
                </c:pt>
                <c:pt idx="2819">
                  <c:v>0</c:v>
                </c:pt>
                <c:pt idx="2820">
                  <c:v>0</c:v>
                </c:pt>
                <c:pt idx="2821">
                  <c:v>0</c:v>
                </c:pt>
                <c:pt idx="2822">
                  <c:v>0</c:v>
                </c:pt>
                <c:pt idx="2823">
                  <c:v>0</c:v>
                </c:pt>
                <c:pt idx="2824">
                  <c:v>0</c:v>
                </c:pt>
                <c:pt idx="2825">
                  <c:v>0</c:v>
                </c:pt>
                <c:pt idx="2826">
                  <c:v>0</c:v>
                </c:pt>
                <c:pt idx="2827">
                  <c:v>0</c:v>
                </c:pt>
                <c:pt idx="2828">
                  <c:v>0</c:v>
                </c:pt>
                <c:pt idx="2829">
                  <c:v>0</c:v>
                </c:pt>
                <c:pt idx="2830">
                  <c:v>0</c:v>
                </c:pt>
                <c:pt idx="2831">
                  <c:v>0</c:v>
                </c:pt>
                <c:pt idx="2832">
                  <c:v>0</c:v>
                </c:pt>
                <c:pt idx="2833">
                  <c:v>0</c:v>
                </c:pt>
                <c:pt idx="2834">
                  <c:v>0</c:v>
                </c:pt>
                <c:pt idx="2835">
                  <c:v>0</c:v>
                </c:pt>
                <c:pt idx="2836">
                  <c:v>0</c:v>
                </c:pt>
                <c:pt idx="2837">
                  <c:v>0</c:v>
                </c:pt>
                <c:pt idx="2838">
                  <c:v>0</c:v>
                </c:pt>
                <c:pt idx="2839">
                  <c:v>0</c:v>
                </c:pt>
                <c:pt idx="2840">
                  <c:v>0</c:v>
                </c:pt>
                <c:pt idx="2841">
                  <c:v>0</c:v>
                </c:pt>
                <c:pt idx="2842">
                  <c:v>0</c:v>
                </c:pt>
                <c:pt idx="2843">
                  <c:v>0</c:v>
                </c:pt>
                <c:pt idx="2844">
                  <c:v>0</c:v>
                </c:pt>
                <c:pt idx="2845">
                  <c:v>0</c:v>
                </c:pt>
                <c:pt idx="2846">
                  <c:v>0</c:v>
                </c:pt>
                <c:pt idx="2847">
                  <c:v>0</c:v>
                </c:pt>
                <c:pt idx="2848">
                  <c:v>0</c:v>
                </c:pt>
                <c:pt idx="2849">
                  <c:v>0</c:v>
                </c:pt>
                <c:pt idx="2850">
                  <c:v>0</c:v>
                </c:pt>
                <c:pt idx="2851">
                  <c:v>0</c:v>
                </c:pt>
                <c:pt idx="2852">
                  <c:v>0</c:v>
                </c:pt>
                <c:pt idx="2853">
                  <c:v>0</c:v>
                </c:pt>
                <c:pt idx="2854">
                  <c:v>0</c:v>
                </c:pt>
                <c:pt idx="2855">
                  <c:v>0</c:v>
                </c:pt>
                <c:pt idx="2856">
                  <c:v>0</c:v>
                </c:pt>
                <c:pt idx="2857">
                  <c:v>0</c:v>
                </c:pt>
                <c:pt idx="2858">
                  <c:v>0</c:v>
                </c:pt>
                <c:pt idx="2859">
                  <c:v>0</c:v>
                </c:pt>
                <c:pt idx="2860">
                  <c:v>0</c:v>
                </c:pt>
                <c:pt idx="2861">
                  <c:v>0</c:v>
                </c:pt>
                <c:pt idx="2862">
                  <c:v>0</c:v>
                </c:pt>
                <c:pt idx="2863">
                  <c:v>0</c:v>
                </c:pt>
                <c:pt idx="2864">
                  <c:v>0</c:v>
                </c:pt>
                <c:pt idx="2865">
                  <c:v>0</c:v>
                </c:pt>
                <c:pt idx="2866">
                  <c:v>0</c:v>
                </c:pt>
                <c:pt idx="2867">
                  <c:v>0</c:v>
                </c:pt>
                <c:pt idx="2868">
                  <c:v>0</c:v>
                </c:pt>
                <c:pt idx="2869">
                  <c:v>0</c:v>
                </c:pt>
                <c:pt idx="2870">
                  <c:v>0</c:v>
                </c:pt>
                <c:pt idx="2871">
                  <c:v>0</c:v>
                </c:pt>
                <c:pt idx="2872">
                  <c:v>0</c:v>
                </c:pt>
                <c:pt idx="2873">
                  <c:v>0</c:v>
                </c:pt>
                <c:pt idx="2874">
                  <c:v>0</c:v>
                </c:pt>
                <c:pt idx="2875">
                  <c:v>0</c:v>
                </c:pt>
                <c:pt idx="2876">
                  <c:v>0</c:v>
                </c:pt>
                <c:pt idx="2877">
                  <c:v>0</c:v>
                </c:pt>
                <c:pt idx="2878">
                  <c:v>0</c:v>
                </c:pt>
                <c:pt idx="2879">
                  <c:v>0</c:v>
                </c:pt>
                <c:pt idx="2880">
                  <c:v>0</c:v>
                </c:pt>
                <c:pt idx="2881">
                  <c:v>0</c:v>
                </c:pt>
                <c:pt idx="2882">
                  <c:v>0</c:v>
                </c:pt>
                <c:pt idx="2883">
                  <c:v>0</c:v>
                </c:pt>
                <c:pt idx="2884">
                  <c:v>0</c:v>
                </c:pt>
                <c:pt idx="2885">
                  <c:v>0</c:v>
                </c:pt>
                <c:pt idx="2886">
                  <c:v>0</c:v>
                </c:pt>
                <c:pt idx="2887">
                  <c:v>0</c:v>
                </c:pt>
                <c:pt idx="2888">
                  <c:v>0</c:v>
                </c:pt>
                <c:pt idx="2889">
                  <c:v>0</c:v>
                </c:pt>
                <c:pt idx="2890">
                  <c:v>0</c:v>
                </c:pt>
                <c:pt idx="2891">
                  <c:v>0</c:v>
                </c:pt>
                <c:pt idx="2892">
                  <c:v>0</c:v>
                </c:pt>
                <c:pt idx="2893">
                  <c:v>0</c:v>
                </c:pt>
                <c:pt idx="2894">
                  <c:v>0</c:v>
                </c:pt>
                <c:pt idx="2895">
                  <c:v>0</c:v>
                </c:pt>
                <c:pt idx="2896">
                  <c:v>0</c:v>
                </c:pt>
                <c:pt idx="2897">
                  <c:v>0</c:v>
                </c:pt>
                <c:pt idx="2898">
                  <c:v>0</c:v>
                </c:pt>
                <c:pt idx="2899">
                  <c:v>0</c:v>
                </c:pt>
                <c:pt idx="2900">
                  <c:v>0</c:v>
                </c:pt>
                <c:pt idx="2901">
                  <c:v>0</c:v>
                </c:pt>
                <c:pt idx="2902">
                  <c:v>0</c:v>
                </c:pt>
                <c:pt idx="2903">
                  <c:v>0</c:v>
                </c:pt>
                <c:pt idx="2904">
                  <c:v>0</c:v>
                </c:pt>
                <c:pt idx="2905">
                  <c:v>0</c:v>
                </c:pt>
                <c:pt idx="2906">
                  <c:v>0</c:v>
                </c:pt>
                <c:pt idx="2907">
                  <c:v>0</c:v>
                </c:pt>
                <c:pt idx="2908">
                  <c:v>0</c:v>
                </c:pt>
                <c:pt idx="2909">
                  <c:v>0</c:v>
                </c:pt>
                <c:pt idx="2910">
                  <c:v>0</c:v>
                </c:pt>
                <c:pt idx="2911">
                  <c:v>0</c:v>
                </c:pt>
                <c:pt idx="2912">
                  <c:v>0</c:v>
                </c:pt>
                <c:pt idx="2913">
                  <c:v>0</c:v>
                </c:pt>
                <c:pt idx="2914">
                  <c:v>0</c:v>
                </c:pt>
                <c:pt idx="2915">
                  <c:v>0</c:v>
                </c:pt>
                <c:pt idx="2916">
                  <c:v>0</c:v>
                </c:pt>
                <c:pt idx="2917">
                  <c:v>0</c:v>
                </c:pt>
                <c:pt idx="2918">
                  <c:v>0</c:v>
                </c:pt>
                <c:pt idx="2919">
                  <c:v>0</c:v>
                </c:pt>
                <c:pt idx="2920">
                  <c:v>0</c:v>
                </c:pt>
                <c:pt idx="2921">
                  <c:v>0</c:v>
                </c:pt>
                <c:pt idx="2922">
                  <c:v>0</c:v>
                </c:pt>
                <c:pt idx="2923">
                  <c:v>0</c:v>
                </c:pt>
                <c:pt idx="2924">
                  <c:v>0</c:v>
                </c:pt>
                <c:pt idx="2925">
                  <c:v>0</c:v>
                </c:pt>
                <c:pt idx="2926">
                  <c:v>0</c:v>
                </c:pt>
                <c:pt idx="2927">
                  <c:v>0</c:v>
                </c:pt>
                <c:pt idx="2928">
                  <c:v>0</c:v>
                </c:pt>
                <c:pt idx="2929">
                  <c:v>0</c:v>
                </c:pt>
                <c:pt idx="2930">
                  <c:v>0</c:v>
                </c:pt>
                <c:pt idx="2931">
                  <c:v>0</c:v>
                </c:pt>
                <c:pt idx="2932">
                  <c:v>0</c:v>
                </c:pt>
                <c:pt idx="2933">
                  <c:v>0</c:v>
                </c:pt>
                <c:pt idx="2934">
                  <c:v>0</c:v>
                </c:pt>
                <c:pt idx="2935">
                  <c:v>0</c:v>
                </c:pt>
                <c:pt idx="2936">
                  <c:v>0</c:v>
                </c:pt>
                <c:pt idx="2937">
                  <c:v>0</c:v>
                </c:pt>
                <c:pt idx="2938">
                  <c:v>0</c:v>
                </c:pt>
                <c:pt idx="2939">
                  <c:v>0</c:v>
                </c:pt>
                <c:pt idx="2940">
                  <c:v>0</c:v>
                </c:pt>
                <c:pt idx="2941">
                  <c:v>0</c:v>
                </c:pt>
                <c:pt idx="2942">
                  <c:v>0</c:v>
                </c:pt>
                <c:pt idx="2943">
                  <c:v>0</c:v>
                </c:pt>
                <c:pt idx="2944">
                  <c:v>0</c:v>
                </c:pt>
                <c:pt idx="2945">
                  <c:v>0</c:v>
                </c:pt>
                <c:pt idx="2946">
                  <c:v>0</c:v>
                </c:pt>
                <c:pt idx="2947">
                  <c:v>0</c:v>
                </c:pt>
                <c:pt idx="2948">
                  <c:v>0</c:v>
                </c:pt>
                <c:pt idx="2949">
                  <c:v>0</c:v>
                </c:pt>
                <c:pt idx="2950">
                  <c:v>0</c:v>
                </c:pt>
                <c:pt idx="2951">
                  <c:v>0</c:v>
                </c:pt>
                <c:pt idx="2952">
                  <c:v>0</c:v>
                </c:pt>
                <c:pt idx="2953">
                  <c:v>0</c:v>
                </c:pt>
                <c:pt idx="2954">
                  <c:v>0</c:v>
                </c:pt>
                <c:pt idx="2955">
                  <c:v>0</c:v>
                </c:pt>
                <c:pt idx="2956">
                  <c:v>0</c:v>
                </c:pt>
                <c:pt idx="2957">
                  <c:v>0</c:v>
                </c:pt>
                <c:pt idx="2958">
                  <c:v>0</c:v>
                </c:pt>
                <c:pt idx="2959">
                  <c:v>0</c:v>
                </c:pt>
                <c:pt idx="2960">
                  <c:v>0</c:v>
                </c:pt>
                <c:pt idx="2961">
                  <c:v>0</c:v>
                </c:pt>
                <c:pt idx="2962">
                  <c:v>0</c:v>
                </c:pt>
                <c:pt idx="2963">
                  <c:v>0</c:v>
                </c:pt>
                <c:pt idx="2964">
                  <c:v>0</c:v>
                </c:pt>
                <c:pt idx="2965">
                  <c:v>0</c:v>
                </c:pt>
                <c:pt idx="2966">
                  <c:v>0</c:v>
                </c:pt>
                <c:pt idx="2967">
                  <c:v>0</c:v>
                </c:pt>
                <c:pt idx="2968">
                  <c:v>0</c:v>
                </c:pt>
                <c:pt idx="2969">
                  <c:v>0</c:v>
                </c:pt>
                <c:pt idx="2970">
                  <c:v>0</c:v>
                </c:pt>
                <c:pt idx="2971">
                  <c:v>0</c:v>
                </c:pt>
                <c:pt idx="2972">
                  <c:v>0</c:v>
                </c:pt>
                <c:pt idx="2973">
                  <c:v>0</c:v>
                </c:pt>
                <c:pt idx="2974">
                  <c:v>0</c:v>
                </c:pt>
                <c:pt idx="2975">
                  <c:v>0</c:v>
                </c:pt>
                <c:pt idx="2976">
                  <c:v>0</c:v>
                </c:pt>
                <c:pt idx="2977">
                  <c:v>0</c:v>
                </c:pt>
                <c:pt idx="2978">
                  <c:v>0</c:v>
                </c:pt>
                <c:pt idx="2979">
                  <c:v>0</c:v>
                </c:pt>
                <c:pt idx="2980">
                  <c:v>0</c:v>
                </c:pt>
                <c:pt idx="2981">
                  <c:v>0</c:v>
                </c:pt>
                <c:pt idx="2982">
                  <c:v>0</c:v>
                </c:pt>
                <c:pt idx="2983">
                  <c:v>0</c:v>
                </c:pt>
                <c:pt idx="2984">
                  <c:v>0</c:v>
                </c:pt>
                <c:pt idx="2985">
                  <c:v>0</c:v>
                </c:pt>
                <c:pt idx="2986">
                  <c:v>0</c:v>
                </c:pt>
                <c:pt idx="2987">
                  <c:v>0</c:v>
                </c:pt>
                <c:pt idx="2988">
                  <c:v>0</c:v>
                </c:pt>
                <c:pt idx="2989">
                  <c:v>0</c:v>
                </c:pt>
                <c:pt idx="2990">
                  <c:v>0</c:v>
                </c:pt>
                <c:pt idx="2991">
                  <c:v>0</c:v>
                </c:pt>
                <c:pt idx="2992">
                  <c:v>0</c:v>
                </c:pt>
                <c:pt idx="2993">
                  <c:v>0</c:v>
                </c:pt>
                <c:pt idx="2994">
                  <c:v>0</c:v>
                </c:pt>
                <c:pt idx="2995">
                  <c:v>0</c:v>
                </c:pt>
                <c:pt idx="2996">
                  <c:v>0</c:v>
                </c:pt>
                <c:pt idx="2997">
                  <c:v>0</c:v>
                </c:pt>
                <c:pt idx="2998">
                  <c:v>0</c:v>
                </c:pt>
                <c:pt idx="2999">
                  <c:v>0</c:v>
                </c:pt>
                <c:pt idx="3000">
                  <c:v>0</c:v>
                </c:pt>
                <c:pt idx="3001">
                  <c:v>0</c:v>
                </c:pt>
                <c:pt idx="3002">
                  <c:v>0</c:v>
                </c:pt>
                <c:pt idx="3003">
                  <c:v>0</c:v>
                </c:pt>
                <c:pt idx="3004">
                  <c:v>0</c:v>
                </c:pt>
                <c:pt idx="3005">
                  <c:v>0</c:v>
                </c:pt>
                <c:pt idx="3006">
                  <c:v>0</c:v>
                </c:pt>
                <c:pt idx="3007">
                  <c:v>0</c:v>
                </c:pt>
                <c:pt idx="3008">
                  <c:v>0</c:v>
                </c:pt>
                <c:pt idx="3009">
                  <c:v>0</c:v>
                </c:pt>
                <c:pt idx="3010">
                  <c:v>0</c:v>
                </c:pt>
                <c:pt idx="3011">
                  <c:v>0</c:v>
                </c:pt>
                <c:pt idx="3012">
                  <c:v>0</c:v>
                </c:pt>
                <c:pt idx="3013">
                  <c:v>0</c:v>
                </c:pt>
                <c:pt idx="3014">
                  <c:v>0</c:v>
                </c:pt>
                <c:pt idx="3015">
                  <c:v>0</c:v>
                </c:pt>
                <c:pt idx="3016">
                  <c:v>0</c:v>
                </c:pt>
                <c:pt idx="3017">
                  <c:v>0</c:v>
                </c:pt>
                <c:pt idx="3018">
                  <c:v>0</c:v>
                </c:pt>
                <c:pt idx="3019">
                  <c:v>0</c:v>
                </c:pt>
                <c:pt idx="3020">
                  <c:v>0</c:v>
                </c:pt>
                <c:pt idx="3021">
                  <c:v>0</c:v>
                </c:pt>
                <c:pt idx="3022">
                  <c:v>0</c:v>
                </c:pt>
                <c:pt idx="3023">
                  <c:v>0</c:v>
                </c:pt>
                <c:pt idx="3024">
                  <c:v>0</c:v>
                </c:pt>
                <c:pt idx="3025">
                  <c:v>0</c:v>
                </c:pt>
                <c:pt idx="3026">
                  <c:v>0</c:v>
                </c:pt>
                <c:pt idx="3027">
                  <c:v>0</c:v>
                </c:pt>
                <c:pt idx="3028">
                  <c:v>0</c:v>
                </c:pt>
                <c:pt idx="3029">
                  <c:v>0</c:v>
                </c:pt>
                <c:pt idx="3030">
                  <c:v>0</c:v>
                </c:pt>
                <c:pt idx="3031">
                  <c:v>0</c:v>
                </c:pt>
                <c:pt idx="3032">
                  <c:v>0</c:v>
                </c:pt>
                <c:pt idx="3033">
                  <c:v>0</c:v>
                </c:pt>
                <c:pt idx="3034">
                  <c:v>0</c:v>
                </c:pt>
                <c:pt idx="3035">
                  <c:v>0</c:v>
                </c:pt>
                <c:pt idx="3036">
                  <c:v>0</c:v>
                </c:pt>
                <c:pt idx="3037">
                  <c:v>0</c:v>
                </c:pt>
                <c:pt idx="3038">
                  <c:v>0</c:v>
                </c:pt>
                <c:pt idx="3039">
                  <c:v>0</c:v>
                </c:pt>
                <c:pt idx="3040">
                  <c:v>0</c:v>
                </c:pt>
                <c:pt idx="3041">
                  <c:v>0</c:v>
                </c:pt>
                <c:pt idx="3042">
                  <c:v>0</c:v>
                </c:pt>
                <c:pt idx="3043">
                  <c:v>0</c:v>
                </c:pt>
                <c:pt idx="3044">
                  <c:v>0</c:v>
                </c:pt>
                <c:pt idx="3045">
                  <c:v>0</c:v>
                </c:pt>
                <c:pt idx="3046">
                  <c:v>0</c:v>
                </c:pt>
                <c:pt idx="3047">
                  <c:v>0</c:v>
                </c:pt>
                <c:pt idx="3048">
                  <c:v>0</c:v>
                </c:pt>
                <c:pt idx="3049">
                  <c:v>0</c:v>
                </c:pt>
                <c:pt idx="3050">
                  <c:v>0</c:v>
                </c:pt>
                <c:pt idx="3051">
                  <c:v>0</c:v>
                </c:pt>
                <c:pt idx="3052">
                  <c:v>0</c:v>
                </c:pt>
                <c:pt idx="3053">
                  <c:v>0</c:v>
                </c:pt>
                <c:pt idx="3054">
                  <c:v>0</c:v>
                </c:pt>
                <c:pt idx="3055">
                  <c:v>0</c:v>
                </c:pt>
                <c:pt idx="3056">
                  <c:v>0</c:v>
                </c:pt>
                <c:pt idx="3057">
                  <c:v>0</c:v>
                </c:pt>
                <c:pt idx="3058">
                  <c:v>0</c:v>
                </c:pt>
                <c:pt idx="3059">
                  <c:v>0</c:v>
                </c:pt>
                <c:pt idx="3060">
                  <c:v>0</c:v>
                </c:pt>
                <c:pt idx="3061">
                  <c:v>0</c:v>
                </c:pt>
                <c:pt idx="3062">
                  <c:v>0</c:v>
                </c:pt>
                <c:pt idx="3063">
                  <c:v>0</c:v>
                </c:pt>
                <c:pt idx="3064">
                  <c:v>0</c:v>
                </c:pt>
                <c:pt idx="3065">
                  <c:v>0</c:v>
                </c:pt>
                <c:pt idx="3066">
                  <c:v>0</c:v>
                </c:pt>
                <c:pt idx="3067">
                  <c:v>0</c:v>
                </c:pt>
                <c:pt idx="3068">
                  <c:v>0</c:v>
                </c:pt>
                <c:pt idx="3069">
                  <c:v>0</c:v>
                </c:pt>
                <c:pt idx="3070">
                  <c:v>0</c:v>
                </c:pt>
                <c:pt idx="3071">
                  <c:v>0</c:v>
                </c:pt>
                <c:pt idx="3072">
                  <c:v>0</c:v>
                </c:pt>
                <c:pt idx="3073">
                  <c:v>0</c:v>
                </c:pt>
                <c:pt idx="3074">
                  <c:v>0</c:v>
                </c:pt>
                <c:pt idx="3075">
                  <c:v>0</c:v>
                </c:pt>
                <c:pt idx="3076">
                  <c:v>0</c:v>
                </c:pt>
                <c:pt idx="3077">
                  <c:v>0</c:v>
                </c:pt>
                <c:pt idx="3078">
                  <c:v>0</c:v>
                </c:pt>
                <c:pt idx="3079">
                  <c:v>0</c:v>
                </c:pt>
                <c:pt idx="3080">
                  <c:v>0</c:v>
                </c:pt>
                <c:pt idx="3081">
                  <c:v>0</c:v>
                </c:pt>
                <c:pt idx="3082">
                  <c:v>0</c:v>
                </c:pt>
                <c:pt idx="3083">
                  <c:v>0</c:v>
                </c:pt>
                <c:pt idx="3084">
                  <c:v>0</c:v>
                </c:pt>
                <c:pt idx="3085">
                  <c:v>0</c:v>
                </c:pt>
                <c:pt idx="3086">
                  <c:v>0</c:v>
                </c:pt>
                <c:pt idx="3087">
                  <c:v>0</c:v>
                </c:pt>
                <c:pt idx="3088">
                  <c:v>0</c:v>
                </c:pt>
                <c:pt idx="3089">
                  <c:v>0</c:v>
                </c:pt>
                <c:pt idx="3090">
                  <c:v>0</c:v>
                </c:pt>
                <c:pt idx="3091">
                  <c:v>0</c:v>
                </c:pt>
                <c:pt idx="3092">
                  <c:v>0</c:v>
                </c:pt>
                <c:pt idx="3093">
                  <c:v>0</c:v>
                </c:pt>
                <c:pt idx="3094">
                  <c:v>0</c:v>
                </c:pt>
                <c:pt idx="3095">
                  <c:v>0</c:v>
                </c:pt>
                <c:pt idx="3096">
                  <c:v>0</c:v>
                </c:pt>
                <c:pt idx="3097">
                  <c:v>0</c:v>
                </c:pt>
                <c:pt idx="3098">
                  <c:v>0</c:v>
                </c:pt>
                <c:pt idx="3099">
                  <c:v>0</c:v>
                </c:pt>
                <c:pt idx="3100">
                  <c:v>0</c:v>
                </c:pt>
                <c:pt idx="3101">
                  <c:v>0</c:v>
                </c:pt>
                <c:pt idx="3102">
                  <c:v>0</c:v>
                </c:pt>
                <c:pt idx="3103">
                  <c:v>0</c:v>
                </c:pt>
                <c:pt idx="3104">
                  <c:v>0</c:v>
                </c:pt>
                <c:pt idx="3105">
                  <c:v>0</c:v>
                </c:pt>
                <c:pt idx="3106">
                  <c:v>0</c:v>
                </c:pt>
                <c:pt idx="3107">
                  <c:v>0</c:v>
                </c:pt>
                <c:pt idx="3108">
                  <c:v>0</c:v>
                </c:pt>
                <c:pt idx="3109">
                  <c:v>0</c:v>
                </c:pt>
                <c:pt idx="3110">
                  <c:v>0</c:v>
                </c:pt>
                <c:pt idx="3111">
                  <c:v>0</c:v>
                </c:pt>
                <c:pt idx="3112">
                  <c:v>0</c:v>
                </c:pt>
                <c:pt idx="3113">
                  <c:v>0</c:v>
                </c:pt>
                <c:pt idx="3114">
                  <c:v>0</c:v>
                </c:pt>
                <c:pt idx="3115">
                  <c:v>0</c:v>
                </c:pt>
                <c:pt idx="3116">
                  <c:v>0</c:v>
                </c:pt>
                <c:pt idx="3117">
                  <c:v>0</c:v>
                </c:pt>
                <c:pt idx="3118">
                  <c:v>0</c:v>
                </c:pt>
                <c:pt idx="3119">
                  <c:v>0</c:v>
                </c:pt>
                <c:pt idx="3120">
                  <c:v>0</c:v>
                </c:pt>
                <c:pt idx="3121">
                  <c:v>0</c:v>
                </c:pt>
                <c:pt idx="3122">
                  <c:v>0</c:v>
                </c:pt>
                <c:pt idx="3123">
                  <c:v>0</c:v>
                </c:pt>
                <c:pt idx="3124">
                  <c:v>0</c:v>
                </c:pt>
                <c:pt idx="3125">
                  <c:v>0</c:v>
                </c:pt>
                <c:pt idx="3126">
                  <c:v>0</c:v>
                </c:pt>
                <c:pt idx="3127">
                  <c:v>0</c:v>
                </c:pt>
                <c:pt idx="3128">
                  <c:v>0</c:v>
                </c:pt>
                <c:pt idx="3129">
                  <c:v>0</c:v>
                </c:pt>
                <c:pt idx="3130">
                  <c:v>0</c:v>
                </c:pt>
                <c:pt idx="3131">
                  <c:v>0</c:v>
                </c:pt>
                <c:pt idx="3132">
                  <c:v>0</c:v>
                </c:pt>
                <c:pt idx="3133">
                  <c:v>0</c:v>
                </c:pt>
                <c:pt idx="3134">
                  <c:v>0</c:v>
                </c:pt>
                <c:pt idx="3135">
                  <c:v>0</c:v>
                </c:pt>
                <c:pt idx="3136">
                  <c:v>0</c:v>
                </c:pt>
                <c:pt idx="3137">
                  <c:v>0</c:v>
                </c:pt>
                <c:pt idx="3138">
                  <c:v>0</c:v>
                </c:pt>
                <c:pt idx="3139">
                  <c:v>0</c:v>
                </c:pt>
                <c:pt idx="3140">
                  <c:v>0</c:v>
                </c:pt>
                <c:pt idx="3141">
                  <c:v>0</c:v>
                </c:pt>
                <c:pt idx="3142">
                  <c:v>0</c:v>
                </c:pt>
                <c:pt idx="3143">
                  <c:v>0</c:v>
                </c:pt>
                <c:pt idx="3144">
                  <c:v>0</c:v>
                </c:pt>
                <c:pt idx="3145">
                  <c:v>0</c:v>
                </c:pt>
                <c:pt idx="3146">
                  <c:v>0</c:v>
                </c:pt>
                <c:pt idx="3147">
                  <c:v>0</c:v>
                </c:pt>
                <c:pt idx="3148">
                  <c:v>0</c:v>
                </c:pt>
                <c:pt idx="3149">
                  <c:v>0</c:v>
                </c:pt>
                <c:pt idx="3150">
                  <c:v>0</c:v>
                </c:pt>
                <c:pt idx="3151">
                  <c:v>0</c:v>
                </c:pt>
                <c:pt idx="3152">
                  <c:v>0</c:v>
                </c:pt>
                <c:pt idx="3153">
                  <c:v>0</c:v>
                </c:pt>
                <c:pt idx="3154">
                  <c:v>0</c:v>
                </c:pt>
                <c:pt idx="3155">
                  <c:v>0</c:v>
                </c:pt>
                <c:pt idx="3156">
                  <c:v>0</c:v>
                </c:pt>
                <c:pt idx="3157">
                  <c:v>0</c:v>
                </c:pt>
                <c:pt idx="3158">
                  <c:v>0</c:v>
                </c:pt>
                <c:pt idx="3159">
                  <c:v>0</c:v>
                </c:pt>
                <c:pt idx="3160">
                  <c:v>0</c:v>
                </c:pt>
                <c:pt idx="3161">
                  <c:v>0</c:v>
                </c:pt>
                <c:pt idx="3162">
                  <c:v>0</c:v>
                </c:pt>
                <c:pt idx="3163">
                  <c:v>0</c:v>
                </c:pt>
                <c:pt idx="3164">
                  <c:v>0</c:v>
                </c:pt>
                <c:pt idx="3165">
                  <c:v>0</c:v>
                </c:pt>
                <c:pt idx="3166">
                  <c:v>0</c:v>
                </c:pt>
                <c:pt idx="3167">
                  <c:v>0</c:v>
                </c:pt>
                <c:pt idx="3168">
                  <c:v>0</c:v>
                </c:pt>
                <c:pt idx="3169">
                  <c:v>0</c:v>
                </c:pt>
                <c:pt idx="3170">
                  <c:v>0</c:v>
                </c:pt>
                <c:pt idx="3171">
                  <c:v>0</c:v>
                </c:pt>
                <c:pt idx="3172">
                  <c:v>0</c:v>
                </c:pt>
                <c:pt idx="3173">
                  <c:v>0</c:v>
                </c:pt>
                <c:pt idx="3174">
                  <c:v>0</c:v>
                </c:pt>
                <c:pt idx="3175">
                  <c:v>0</c:v>
                </c:pt>
                <c:pt idx="3176">
                  <c:v>0</c:v>
                </c:pt>
                <c:pt idx="3177">
                  <c:v>0</c:v>
                </c:pt>
                <c:pt idx="3178">
                  <c:v>0</c:v>
                </c:pt>
                <c:pt idx="3179">
                  <c:v>0</c:v>
                </c:pt>
                <c:pt idx="3180">
                  <c:v>0</c:v>
                </c:pt>
                <c:pt idx="3181">
                  <c:v>0</c:v>
                </c:pt>
                <c:pt idx="3182">
                  <c:v>0</c:v>
                </c:pt>
                <c:pt idx="3183">
                  <c:v>0</c:v>
                </c:pt>
                <c:pt idx="3184">
                  <c:v>0</c:v>
                </c:pt>
                <c:pt idx="3185">
                  <c:v>0</c:v>
                </c:pt>
                <c:pt idx="3186">
                  <c:v>0</c:v>
                </c:pt>
                <c:pt idx="3187">
                  <c:v>0</c:v>
                </c:pt>
                <c:pt idx="3188">
                  <c:v>0</c:v>
                </c:pt>
                <c:pt idx="3189">
                  <c:v>0</c:v>
                </c:pt>
                <c:pt idx="3190">
                  <c:v>0</c:v>
                </c:pt>
                <c:pt idx="3191">
                  <c:v>0</c:v>
                </c:pt>
                <c:pt idx="3192">
                  <c:v>0</c:v>
                </c:pt>
                <c:pt idx="3193">
                  <c:v>0</c:v>
                </c:pt>
                <c:pt idx="3194">
                  <c:v>0</c:v>
                </c:pt>
                <c:pt idx="3195">
                  <c:v>0</c:v>
                </c:pt>
                <c:pt idx="3196">
                  <c:v>0</c:v>
                </c:pt>
                <c:pt idx="3197">
                  <c:v>0</c:v>
                </c:pt>
                <c:pt idx="3198">
                  <c:v>0</c:v>
                </c:pt>
                <c:pt idx="3199">
                  <c:v>0</c:v>
                </c:pt>
                <c:pt idx="3200">
                  <c:v>0</c:v>
                </c:pt>
                <c:pt idx="3201">
                  <c:v>0</c:v>
                </c:pt>
                <c:pt idx="3202">
                  <c:v>0</c:v>
                </c:pt>
                <c:pt idx="3203">
                  <c:v>0</c:v>
                </c:pt>
                <c:pt idx="3204">
                  <c:v>0</c:v>
                </c:pt>
                <c:pt idx="3205">
                  <c:v>0</c:v>
                </c:pt>
                <c:pt idx="3206">
                  <c:v>0</c:v>
                </c:pt>
                <c:pt idx="3207">
                  <c:v>0</c:v>
                </c:pt>
                <c:pt idx="3208">
                  <c:v>0</c:v>
                </c:pt>
                <c:pt idx="3209">
                  <c:v>0</c:v>
                </c:pt>
                <c:pt idx="3210">
                  <c:v>0</c:v>
                </c:pt>
                <c:pt idx="3211">
                  <c:v>0</c:v>
                </c:pt>
                <c:pt idx="3212">
                  <c:v>0</c:v>
                </c:pt>
                <c:pt idx="3213">
                  <c:v>0</c:v>
                </c:pt>
                <c:pt idx="3214">
                  <c:v>0</c:v>
                </c:pt>
                <c:pt idx="3215">
                  <c:v>0</c:v>
                </c:pt>
                <c:pt idx="3216">
                  <c:v>0</c:v>
                </c:pt>
                <c:pt idx="3217">
                  <c:v>0</c:v>
                </c:pt>
                <c:pt idx="3218">
                  <c:v>0</c:v>
                </c:pt>
                <c:pt idx="3219">
                  <c:v>0</c:v>
                </c:pt>
                <c:pt idx="3220">
                  <c:v>0</c:v>
                </c:pt>
                <c:pt idx="3221">
                  <c:v>0</c:v>
                </c:pt>
                <c:pt idx="3222">
                  <c:v>0</c:v>
                </c:pt>
                <c:pt idx="3223">
                  <c:v>0</c:v>
                </c:pt>
                <c:pt idx="3224">
                  <c:v>0</c:v>
                </c:pt>
                <c:pt idx="3225">
                  <c:v>0</c:v>
                </c:pt>
                <c:pt idx="3226">
                  <c:v>0</c:v>
                </c:pt>
                <c:pt idx="3227">
                  <c:v>0</c:v>
                </c:pt>
                <c:pt idx="3228">
                  <c:v>0</c:v>
                </c:pt>
                <c:pt idx="3229">
                  <c:v>0</c:v>
                </c:pt>
                <c:pt idx="3230">
                  <c:v>0</c:v>
                </c:pt>
                <c:pt idx="3231">
                  <c:v>0</c:v>
                </c:pt>
                <c:pt idx="3232">
                  <c:v>0</c:v>
                </c:pt>
                <c:pt idx="3233">
                  <c:v>0</c:v>
                </c:pt>
                <c:pt idx="3234">
                  <c:v>0</c:v>
                </c:pt>
                <c:pt idx="3235">
                  <c:v>0</c:v>
                </c:pt>
                <c:pt idx="3236">
                  <c:v>0</c:v>
                </c:pt>
                <c:pt idx="3237">
                  <c:v>0</c:v>
                </c:pt>
                <c:pt idx="3238">
                  <c:v>0</c:v>
                </c:pt>
                <c:pt idx="3239">
                  <c:v>0</c:v>
                </c:pt>
                <c:pt idx="3240">
                  <c:v>0</c:v>
                </c:pt>
                <c:pt idx="3241">
                  <c:v>0</c:v>
                </c:pt>
                <c:pt idx="3242">
                  <c:v>0</c:v>
                </c:pt>
                <c:pt idx="3243">
                  <c:v>0</c:v>
                </c:pt>
                <c:pt idx="3244">
                  <c:v>0</c:v>
                </c:pt>
                <c:pt idx="3245">
                  <c:v>0</c:v>
                </c:pt>
                <c:pt idx="3246">
                  <c:v>0</c:v>
                </c:pt>
                <c:pt idx="3247">
                  <c:v>0</c:v>
                </c:pt>
                <c:pt idx="3248">
                  <c:v>0</c:v>
                </c:pt>
                <c:pt idx="3249">
                  <c:v>0</c:v>
                </c:pt>
                <c:pt idx="3250">
                  <c:v>0</c:v>
                </c:pt>
                <c:pt idx="3251">
                  <c:v>0</c:v>
                </c:pt>
                <c:pt idx="3252">
                  <c:v>0</c:v>
                </c:pt>
                <c:pt idx="3253">
                  <c:v>0</c:v>
                </c:pt>
                <c:pt idx="3254">
                  <c:v>0</c:v>
                </c:pt>
                <c:pt idx="3255">
                  <c:v>0</c:v>
                </c:pt>
                <c:pt idx="3256">
                  <c:v>0</c:v>
                </c:pt>
                <c:pt idx="3257">
                  <c:v>0</c:v>
                </c:pt>
                <c:pt idx="3258">
                  <c:v>0</c:v>
                </c:pt>
                <c:pt idx="3259">
                  <c:v>0</c:v>
                </c:pt>
                <c:pt idx="3260">
                  <c:v>0</c:v>
                </c:pt>
                <c:pt idx="3261">
                  <c:v>0</c:v>
                </c:pt>
                <c:pt idx="3262">
                  <c:v>0</c:v>
                </c:pt>
                <c:pt idx="3263">
                  <c:v>0</c:v>
                </c:pt>
                <c:pt idx="3264">
                  <c:v>0</c:v>
                </c:pt>
                <c:pt idx="3265">
                  <c:v>0</c:v>
                </c:pt>
                <c:pt idx="3266">
                  <c:v>0</c:v>
                </c:pt>
                <c:pt idx="3267">
                  <c:v>0</c:v>
                </c:pt>
                <c:pt idx="3268">
                  <c:v>0</c:v>
                </c:pt>
                <c:pt idx="3269">
                  <c:v>0</c:v>
                </c:pt>
                <c:pt idx="3270">
                  <c:v>0</c:v>
                </c:pt>
                <c:pt idx="3271">
                  <c:v>0</c:v>
                </c:pt>
                <c:pt idx="3272">
                  <c:v>0</c:v>
                </c:pt>
                <c:pt idx="3273">
                  <c:v>0</c:v>
                </c:pt>
                <c:pt idx="3274">
                  <c:v>0</c:v>
                </c:pt>
                <c:pt idx="3275">
                  <c:v>0</c:v>
                </c:pt>
                <c:pt idx="3276">
                  <c:v>0</c:v>
                </c:pt>
                <c:pt idx="3277">
                  <c:v>0</c:v>
                </c:pt>
                <c:pt idx="3278">
                  <c:v>0</c:v>
                </c:pt>
                <c:pt idx="3279">
                  <c:v>0</c:v>
                </c:pt>
                <c:pt idx="3280">
                  <c:v>0</c:v>
                </c:pt>
                <c:pt idx="3281">
                  <c:v>0</c:v>
                </c:pt>
                <c:pt idx="3282">
                  <c:v>0</c:v>
                </c:pt>
                <c:pt idx="3283">
                  <c:v>0</c:v>
                </c:pt>
                <c:pt idx="3284">
                  <c:v>0</c:v>
                </c:pt>
                <c:pt idx="3285">
                  <c:v>0</c:v>
                </c:pt>
                <c:pt idx="3286">
                  <c:v>0</c:v>
                </c:pt>
                <c:pt idx="3287">
                  <c:v>0</c:v>
                </c:pt>
                <c:pt idx="3288">
                  <c:v>0</c:v>
                </c:pt>
                <c:pt idx="3289">
                  <c:v>0</c:v>
                </c:pt>
                <c:pt idx="3290">
                  <c:v>0</c:v>
                </c:pt>
                <c:pt idx="3291">
                  <c:v>0</c:v>
                </c:pt>
                <c:pt idx="3292">
                  <c:v>0</c:v>
                </c:pt>
                <c:pt idx="3293">
                  <c:v>0</c:v>
                </c:pt>
                <c:pt idx="3294">
                  <c:v>0</c:v>
                </c:pt>
                <c:pt idx="3295">
                  <c:v>0</c:v>
                </c:pt>
                <c:pt idx="3296">
                  <c:v>0</c:v>
                </c:pt>
                <c:pt idx="3297">
                  <c:v>0</c:v>
                </c:pt>
                <c:pt idx="3298">
                  <c:v>0</c:v>
                </c:pt>
                <c:pt idx="3299">
                  <c:v>0</c:v>
                </c:pt>
                <c:pt idx="3300">
                  <c:v>0</c:v>
                </c:pt>
                <c:pt idx="3301">
                  <c:v>0</c:v>
                </c:pt>
                <c:pt idx="3302">
                  <c:v>0</c:v>
                </c:pt>
                <c:pt idx="3303">
                  <c:v>0</c:v>
                </c:pt>
                <c:pt idx="3304">
                  <c:v>0</c:v>
                </c:pt>
                <c:pt idx="3305">
                  <c:v>0</c:v>
                </c:pt>
                <c:pt idx="3306">
                  <c:v>0</c:v>
                </c:pt>
                <c:pt idx="3307">
                  <c:v>0</c:v>
                </c:pt>
                <c:pt idx="3308">
                  <c:v>0</c:v>
                </c:pt>
                <c:pt idx="3309">
                  <c:v>0</c:v>
                </c:pt>
                <c:pt idx="3310">
                  <c:v>0</c:v>
                </c:pt>
                <c:pt idx="3311">
                  <c:v>0</c:v>
                </c:pt>
                <c:pt idx="3312">
                  <c:v>0</c:v>
                </c:pt>
                <c:pt idx="3313">
                  <c:v>0</c:v>
                </c:pt>
                <c:pt idx="3314">
                  <c:v>0</c:v>
                </c:pt>
                <c:pt idx="3315">
                  <c:v>0</c:v>
                </c:pt>
                <c:pt idx="3316">
                  <c:v>0</c:v>
                </c:pt>
                <c:pt idx="3317">
                  <c:v>0</c:v>
                </c:pt>
                <c:pt idx="3318">
                  <c:v>0</c:v>
                </c:pt>
                <c:pt idx="3319">
                  <c:v>0</c:v>
                </c:pt>
                <c:pt idx="3320">
                  <c:v>0</c:v>
                </c:pt>
                <c:pt idx="3321">
                  <c:v>0</c:v>
                </c:pt>
                <c:pt idx="3322">
                  <c:v>0</c:v>
                </c:pt>
                <c:pt idx="3323">
                  <c:v>0</c:v>
                </c:pt>
                <c:pt idx="3324">
                  <c:v>0</c:v>
                </c:pt>
                <c:pt idx="3325">
                  <c:v>0</c:v>
                </c:pt>
                <c:pt idx="3326">
                  <c:v>0</c:v>
                </c:pt>
                <c:pt idx="3327">
                  <c:v>0</c:v>
                </c:pt>
                <c:pt idx="3328">
                  <c:v>0</c:v>
                </c:pt>
                <c:pt idx="3329">
                  <c:v>0</c:v>
                </c:pt>
                <c:pt idx="3330">
                  <c:v>0</c:v>
                </c:pt>
                <c:pt idx="3331">
                  <c:v>0</c:v>
                </c:pt>
                <c:pt idx="3332">
                  <c:v>0</c:v>
                </c:pt>
                <c:pt idx="3333">
                  <c:v>0</c:v>
                </c:pt>
                <c:pt idx="3334">
                  <c:v>0</c:v>
                </c:pt>
                <c:pt idx="3335">
                  <c:v>0</c:v>
                </c:pt>
                <c:pt idx="3336">
                  <c:v>0</c:v>
                </c:pt>
                <c:pt idx="3337">
                  <c:v>0</c:v>
                </c:pt>
                <c:pt idx="3338">
                  <c:v>0</c:v>
                </c:pt>
                <c:pt idx="3339">
                  <c:v>0</c:v>
                </c:pt>
                <c:pt idx="3340">
                  <c:v>0</c:v>
                </c:pt>
                <c:pt idx="3341">
                  <c:v>0</c:v>
                </c:pt>
                <c:pt idx="3342">
                  <c:v>0</c:v>
                </c:pt>
                <c:pt idx="3343">
                  <c:v>0</c:v>
                </c:pt>
                <c:pt idx="3344">
                  <c:v>0</c:v>
                </c:pt>
                <c:pt idx="3345">
                  <c:v>0</c:v>
                </c:pt>
                <c:pt idx="3346">
                  <c:v>0</c:v>
                </c:pt>
                <c:pt idx="3347">
                  <c:v>0</c:v>
                </c:pt>
                <c:pt idx="3348">
                  <c:v>0</c:v>
                </c:pt>
                <c:pt idx="3349">
                  <c:v>0</c:v>
                </c:pt>
                <c:pt idx="3350">
                  <c:v>0</c:v>
                </c:pt>
                <c:pt idx="3351">
                  <c:v>0</c:v>
                </c:pt>
                <c:pt idx="3352">
                  <c:v>0</c:v>
                </c:pt>
                <c:pt idx="3353">
                  <c:v>0</c:v>
                </c:pt>
                <c:pt idx="3354">
                  <c:v>0</c:v>
                </c:pt>
                <c:pt idx="3355">
                  <c:v>0</c:v>
                </c:pt>
                <c:pt idx="3356">
                  <c:v>0</c:v>
                </c:pt>
                <c:pt idx="3357">
                  <c:v>0</c:v>
                </c:pt>
                <c:pt idx="3358">
                  <c:v>0</c:v>
                </c:pt>
                <c:pt idx="3359">
                  <c:v>0</c:v>
                </c:pt>
                <c:pt idx="3360">
                  <c:v>0</c:v>
                </c:pt>
                <c:pt idx="3361">
                  <c:v>0</c:v>
                </c:pt>
                <c:pt idx="3362">
                  <c:v>0</c:v>
                </c:pt>
                <c:pt idx="3363">
                  <c:v>0</c:v>
                </c:pt>
                <c:pt idx="3364">
                  <c:v>0</c:v>
                </c:pt>
                <c:pt idx="3365">
                  <c:v>0</c:v>
                </c:pt>
                <c:pt idx="3366">
                  <c:v>0</c:v>
                </c:pt>
                <c:pt idx="3367">
                  <c:v>0</c:v>
                </c:pt>
                <c:pt idx="3368">
                  <c:v>0</c:v>
                </c:pt>
                <c:pt idx="3369">
                  <c:v>0</c:v>
                </c:pt>
                <c:pt idx="3370">
                  <c:v>0</c:v>
                </c:pt>
                <c:pt idx="3371">
                  <c:v>0</c:v>
                </c:pt>
                <c:pt idx="3372">
                  <c:v>0</c:v>
                </c:pt>
                <c:pt idx="3373">
                  <c:v>0</c:v>
                </c:pt>
                <c:pt idx="3374">
                  <c:v>0</c:v>
                </c:pt>
                <c:pt idx="3375">
                  <c:v>0</c:v>
                </c:pt>
                <c:pt idx="3376">
                  <c:v>0</c:v>
                </c:pt>
                <c:pt idx="3377">
                  <c:v>0</c:v>
                </c:pt>
                <c:pt idx="3378">
                  <c:v>0</c:v>
                </c:pt>
                <c:pt idx="3379">
                  <c:v>0</c:v>
                </c:pt>
                <c:pt idx="3380">
                  <c:v>0</c:v>
                </c:pt>
                <c:pt idx="3381">
                  <c:v>0</c:v>
                </c:pt>
                <c:pt idx="3382">
                  <c:v>0</c:v>
                </c:pt>
                <c:pt idx="3383">
                  <c:v>0</c:v>
                </c:pt>
                <c:pt idx="3384">
                  <c:v>0</c:v>
                </c:pt>
                <c:pt idx="3385">
                  <c:v>0</c:v>
                </c:pt>
                <c:pt idx="3386">
                  <c:v>0</c:v>
                </c:pt>
                <c:pt idx="3387">
                  <c:v>0</c:v>
                </c:pt>
                <c:pt idx="3388">
                  <c:v>0</c:v>
                </c:pt>
                <c:pt idx="3389">
                  <c:v>0</c:v>
                </c:pt>
                <c:pt idx="3390">
                  <c:v>0</c:v>
                </c:pt>
                <c:pt idx="3391">
                  <c:v>0</c:v>
                </c:pt>
                <c:pt idx="3392">
                  <c:v>0</c:v>
                </c:pt>
                <c:pt idx="3393">
                  <c:v>0</c:v>
                </c:pt>
                <c:pt idx="3394">
                  <c:v>0</c:v>
                </c:pt>
                <c:pt idx="3395">
                  <c:v>0</c:v>
                </c:pt>
                <c:pt idx="3396">
                  <c:v>0</c:v>
                </c:pt>
                <c:pt idx="3397">
                  <c:v>0</c:v>
                </c:pt>
                <c:pt idx="3398">
                  <c:v>0</c:v>
                </c:pt>
                <c:pt idx="3399">
                  <c:v>0</c:v>
                </c:pt>
                <c:pt idx="3400">
                  <c:v>0</c:v>
                </c:pt>
                <c:pt idx="3401">
                  <c:v>0</c:v>
                </c:pt>
                <c:pt idx="3402">
                  <c:v>0</c:v>
                </c:pt>
                <c:pt idx="3403">
                  <c:v>0</c:v>
                </c:pt>
                <c:pt idx="3404">
                  <c:v>0</c:v>
                </c:pt>
                <c:pt idx="3405">
                  <c:v>0</c:v>
                </c:pt>
                <c:pt idx="3406">
                  <c:v>0</c:v>
                </c:pt>
                <c:pt idx="3407">
                  <c:v>0</c:v>
                </c:pt>
                <c:pt idx="3408">
                  <c:v>0</c:v>
                </c:pt>
                <c:pt idx="3409">
                  <c:v>0</c:v>
                </c:pt>
                <c:pt idx="3410">
                  <c:v>0</c:v>
                </c:pt>
                <c:pt idx="3411">
                  <c:v>0</c:v>
                </c:pt>
                <c:pt idx="3412">
                  <c:v>0</c:v>
                </c:pt>
                <c:pt idx="3413">
                  <c:v>0</c:v>
                </c:pt>
                <c:pt idx="3414">
                  <c:v>0</c:v>
                </c:pt>
                <c:pt idx="3415">
                  <c:v>0</c:v>
                </c:pt>
                <c:pt idx="3416">
                  <c:v>0</c:v>
                </c:pt>
                <c:pt idx="3417">
                  <c:v>0</c:v>
                </c:pt>
                <c:pt idx="3418">
                  <c:v>0</c:v>
                </c:pt>
                <c:pt idx="3419">
                  <c:v>0</c:v>
                </c:pt>
                <c:pt idx="3420">
                  <c:v>0</c:v>
                </c:pt>
                <c:pt idx="3421">
                  <c:v>0</c:v>
                </c:pt>
                <c:pt idx="3422">
                  <c:v>0</c:v>
                </c:pt>
                <c:pt idx="3423">
                  <c:v>0</c:v>
                </c:pt>
                <c:pt idx="3424">
                  <c:v>0</c:v>
                </c:pt>
                <c:pt idx="3425">
                  <c:v>0</c:v>
                </c:pt>
                <c:pt idx="3426">
                  <c:v>0</c:v>
                </c:pt>
                <c:pt idx="3427">
                  <c:v>0</c:v>
                </c:pt>
                <c:pt idx="3428">
                  <c:v>0</c:v>
                </c:pt>
                <c:pt idx="3429">
                  <c:v>0</c:v>
                </c:pt>
                <c:pt idx="3430">
                  <c:v>0</c:v>
                </c:pt>
                <c:pt idx="3431">
                  <c:v>0</c:v>
                </c:pt>
                <c:pt idx="3432">
                  <c:v>0</c:v>
                </c:pt>
                <c:pt idx="3433">
                  <c:v>0</c:v>
                </c:pt>
                <c:pt idx="3434">
                  <c:v>0</c:v>
                </c:pt>
                <c:pt idx="3435">
                  <c:v>0</c:v>
                </c:pt>
                <c:pt idx="3436">
                  <c:v>0</c:v>
                </c:pt>
                <c:pt idx="3437">
                  <c:v>0</c:v>
                </c:pt>
                <c:pt idx="3438">
                  <c:v>0</c:v>
                </c:pt>
                <c:pt idx="3439">
                  <c:v>0</c:v>
                </c:pt>
                <c:pt idx="3440">
                  <c:v>0</c:v>
                </c:pt>
                <c:pt idx="3441">
                  <c:v>0</c:v>
                </c:pt>
                <c:pt idx="3442">
                  <c:v>0</c:v>
                </c:pt>
                <c:pt idx="3443">
                  <c:v>0</c:v>
                </c:pt>
                <c:pt idx="3444">
                  <c:v>0</c:v>
                </c:pt>
                <c:pt idx="3445">
                  <c:v>0</c:v>
                </c:pt>
                <c:pt idx="3446">
                  <c:v>0</c:v>
                </c:pt>
                <c:pt idx="3447">
                  <c:v>0</c:v>
                </c:pt>
                <c:pt idx="3448">
                  <c:v>0</c:v>
                </c:pt>
                <c:pt idx="3449">
                  <c:v>0</c:v>
                </c:pt>
                <c:pt idx="3450">
                  <c:v>0</c:v>
                </c:pt>
                <c:pt idx="3451">
                  <c:v>0</c:v>
                </c:pt>
                <c:pt idx="3452">
                  <c:v>0</c:v>
                </c:pt>
                <c:pt idx="3453">
                  <c:v>0</c:v>
                </c:pt>
                <c:pt idx="3454">
                  <c:v>0</c:v>
                </c:pt>
                <c:pt idx="3455">
                  <c:v>0</c:v>
                </c:pt>
                <c:pt idx="3456">
                  <c:v>0</c:v>
                </c:pt>
                <c:pt idx="3457">
                  <c:v>0</c:v>
                </c:pt>
                <c:pt idx="3458">
                  <c:v>0</c:v>
                </c:pt>
                <c:pt idx="3459">
                  <c:v>0</c:v>
                </c:pt>
                <c:pt idx="3460">
                  <c:v>0</c:v>
                </c:pt>
                <c:pt idx="3461">
                  <c:v>0</c:v>
                </c:pt>
                <c:pt idx="3462">
                  <c:v>0</c:v>
                </c:pt>
                <c:pt idx="3463">
                  <c:v>0</c:v>
                </c:pt>
                <c:pt idx="3464">
                  <c:v>0</c:v>
                </c:pt>
                <c:pt idx="3465">
                  <c:v>0</c:v>
                </c:pt>
                <c:pt idx="3466">
                  <c:v>0</c:v>
                </c:pt>
                <c:pt idx="3467">
                  <c:v>0</c:v>
                </c:pt>
                <c:pt idx="3468">
                  <c:v>0</c:v>
                </c:pt>
                <c:pt idx="3469">
                  <c:v>0</c:v>
                </c:pt>
                <c:pt idx="3470">
                  <c:v>0</c:v>
                </c:pt>
                <c:pt idx="3471">
                  <c:v>0</c:v>
                </c:pt>
                <c:pt idx="3472">
                  <c:v>0</c:v>
                </c:pt>
                <c:pt idx="3473">
                  <c:v>0</c:v>
                </c:pt>
                <c:pt idx="3474">
                  <c:v>0</c:v>
                </c:pt>
                <c:pt idx="3475">
                  <c:v>0</c:v>
                </c:pt>
                <c:pt idx="3476">
                  <c:v>0</c:v>
                </c:pt>
                <c:pt idx="3477">
                  <c:v>0</c:v>
                </c:pt>
                <c:pt idx="3478">
                  <c:v>0</c:v>
                </c:pt>
                <c:pt idx="3479">
                  <c:v>0</c:v>
                </c:pt>
                <c:pt idx="3480">
                  <c:v>0</c:v>
                </c:pt>
                <c:pt idx="3481">
                  <c:v>0</c:v>
                </c:pt>
                <c:pt idx="3482">
                  <c:v>0</c:v>
                </c:pt>
                <c:pt idx="3483">
                  <c:v>0</c:v>
                </c:pt>
                <c:pt idx="3484">
                  <c:v>0</c:v>
                </c:pt>
                <c:pt idx="3485">
                  <c:v>0</c:v>
                </c:pt>
                <c:pt idx="3486">
                  <c:v>0</c:v>
                </c:pt>
                <c:pt idx="3487">
                  <c:v>0</c:v>
                </c:pt>
                <c:pt idx="3488">
                  <c:v>0</c:v>
                </c:pt>
                <c:pt idx="3489">
                  <c:v>0</c:v>
                </c:pt>
                <c:pt idx="3490">
                  <c:v>0</c:v>
                </c:pt>
                <c:pt idx="3491">
                  <c:v>0</c:v>
                </c:pt>
                <c:pt idx="3492">
                  <c:v>0</c:v>
                </c:pt>
                <c:pt idx="3493">
                  <c:v>0</c:v>
                </c:pt>
                <c:pt idx="3494">
                  <c:v>0</c:v>
                </c:pt>
                <c:pt idx="3495">
                  <c:v>0</c:v>
                </c:pt>
                <c:pt idx="3496">
                  <c:v>0</c:v>
                </c:pt>
                <c:pt idx="3497">
                  <c:v>0</c:v>
                </c:pt>
                <c:pt idx="3498">
                  <c:v>0</c:v>
                </c:pt>
                <c:pt idx="3499">
                  <c:v>0</c:v>
                </c:pt>
                <c:pt idx="3500">
                  <c:v>0</c:v>
                </c:pt>
                <c:pt idx="3501">
                  <c:v>0</c:v>
                </c:pt>
                <c:pt idx="3502">
                  <c:v>0</c:v>
                </c:pt>
                <c:pt idx="3503">
                  <c:v>0</c:v>
                </c:pt>
                <c:pt idx="3504">
                  <c:v>0</c:v>
                </c:pt>
                <c:pt idx="3505">
                  <c:v>0</c:v>
                </c:pt>
                <c:pt idx="3506">
                  <c:v>0</c:v>
                </c:pt>
                <c:pt idx="3507">
                  <c:v>0</c:v>
                </c:pt>
                <c:pt idx="3508">
                  <c:v>0</c:v>
                </c:pt>
                <c:pt idx="3509">
                  <c:v>0</c:v>
                </c:pt>
                <c:pt idx="3510">
                  <c:v>0</c:v>
                </c:pt>
                <c:pt idx="3511">
                  <c:v>0</c:v>
                </c:pt>
                <c:pt idx="3512">
                  <c:v>0</c:v>
                </c:pt>
                <c:pt idx="3513">
                  <c:v>0</c:v>
                </c:pt>
                <c:pt idx="3514">
                  <c:v>0</c:v>
                </c:pt>
                <c:pt idx="3515">
                  <c:v>0</c:v>
                </c:pt>
                <c:pt idx="3516">
                  <c:v>0</c:v>
                </c:pt>
                <c:pt idx="3517">
                  <c:v>0</c:v>
                </c:pt>
                <c:pt idx="3518">
                  <c:v>0</c:v>
                </c:pt>
                <c:pt idx="3519">
                  <c:v>0</c:v>
                </c:pt>
                <c:pt idx="3520">
                  <c:v>0</c:v>
                </c:pt>
                <c:pt idx="3521">
                  <c:v>0</c:v>
                </c:pt>
                <c:pt idx="3522">
                  <c:v>0</c:v>
                </c:pt>
                <c:pt idx="3523">
                  <c:v>0</c:v>
                </c:pt>
                <c:pt idx="3524">
                  <c:v>0</c:v>
                </c:pt>
                <c:pt idx="3525">
                  <c:v>0</c:v>
                </c:pt>
                <c:pt idx="3526">
                  <c:v>0</c:v>
                </c:pt>
                <c:pt idx="3527">
                  <c:v>0</c:v>
                </c:pt>
                <c:pt idx="3528">
                  <c:v>0</c:v>
                </c:pt>
                <c:pt idx="3529">
                  <c:v>0</c:v>
                </c:pt>
                <c:pt idx="3530">
                  <c:v>0</c:v>
                </c:pt>
                <c:pt idx="3531">
                  <c:v>0</c:v>
                </c:pt>
                <c:pt idx="3532">
                  <c:v>0</c:v>
                </c:pt>
                <c:pt idx="3533">
                  <c:v>0</c:v>
                </c:pt>
                <c:pt idx="3534">
                  <c:v>0</c:v>
                </c:pt>
                <c:pt idx="3535">
                  <c:v>0</c:v>
                </c:pt>
                <c:pt idx="3536">
                  <c:v>0</c:v>
                </c:pt>
                <c:pt idx="3537">
                  <c:v>0</c:v>
                </c:pt>
                <c:pt idx="3538">
                  <c:v>0</c:v>
                </c:pt>
                <c:pt idx="3539">
                  <c:v>0</c:v>
                </c:pt>
                <c:pt idx="3540">
                  <c:v>0</c:v>
                </c:pt>
                <c:pt idx="3541">
                  <c:v>0</c:v>
                </c:pt>
                <c:pt idx="3542">
                  <c:v>0</c:v>
                </c:pt>
                <c:pt idx="3543">
                  <c:v>0</c:v>
                </c:pt>
                <c:pt idx="3544">
                  <c:v>0</c:v>
                </c:pt>
                <c:pt idx="3545">
                  <c:v>0</c:v>
                </c:pt>
                <c:pt idx="3546">
                  <c:v>0</c:v>
                </c:pt>
                <c:pt idx="3547">
                  <c:v>0</c:v>
                </c:pt>
                <c:pt idx="3548">
                  <c:v>0</c:v>
                </c:pt>
                <c:pt idx="3549">
                  <c:v>0</c:v>
                </c:pt>
                <c:pt idx="3550">
                  <c:v>0</c:v>
                </c:pt>
                <c:pt idx="3551">
                  <c:v>0</c:v>
                </c:pt>
                <c:pt idx="3552">
                  <c:v>0</c:v>
                </c:pt>
                <c:pt idx="3553">
                  <c:v>0</c:v>
                </c:pt>
                <c:pt idx="3554">
                  <c:v>0</c:v>
                </c:pt>
                <c:pt idx="3555">
                  <c:v>0</c:v>
                </c:pt>
                <c:pt idx="3556">
                  <c:v>0</c:v>
                </c:pt>
                <c:pt idx="3557">
                  <c:v>0</c:v>
                </c:pt>
                <c:pt idx="3558">
                  <c:v>0</c:v>
                </c:pt>
                <c:pt idx="3559">
                  <c:v>0</c:v>
                </c:pt>
                <c:pt idx="3560">
                  <c:v>0</c:v>
                </c:pt>
                <c:pt idx="3561">
                  <c:v>0</c:v>
                </c:pt>
                <c:pt idx="3562">
                  <c:v>0</c:v>
                </c:pt>
                <c:pt idx="3563">
                  <c:v>0</c:v>
                </c:pt>
                <c:pt idx="3564">
                  <c:v>0</c:v>
                </c:pt>
                <c:pt idx="3565">
                  <c:v>0</c:v>
                </c:pt>
                <c:pt idx="3566">
                  <c:v>0</c:v>
                </c:pt>
                <c:pt idx="3567">
                  <c:v>0</c:v>
                </c:pt>
                <c:pt idx="3568">
                  <c:v>0</c:v>
                </c:pt>
                <c:pt idx="3569">
                  <c:v>0</c:v>
                </c:pt>
                <c:pt idx="3570">
                  <c:v>0</c:v>
                </c:pt>
                <c:pt idx="3571">
                  <c:v>0</c:v>
                </c:pt>
                <c:pt idx="3572">
                  <c:v>0</c:v>
                </c:pt>
                <c:pt idx="3573">
                  <c:v>0</c:v>
                </c:pt>
                <c:pt idx="3574">
                  <c:v>0</c:v>
                </c:pt>
                <c:pt idx="3575">
                  <c:v>0</c:v>
                </c:pt>
                <c:pt idx="3576">
                  <c:v>0</c:v>
                </c:pt>
                <c:pt idx="3577">
                  <c:v>0</c:v>
                </c:pt>
                <c:pt idx="3578">
                  <c:v>0</c:v>
                </c:pt>
                <c:pt idx="3579">
                  <c:v>0</c:v>
                </c:pt>
                <c:pt idx="3580">
                  <c:v>0</c:v>
                </c:pt>
                <c:pt idx="3581">
                  <c:v>0</c:v>
                </c:pt>
                <c:pt idx="3582">
                  <c:v>0</c:v>
                </c:pt>
                <c:pt idx="3583">
                  <c:v>0</c:v>
                </c:pt>
                <c:pt idx="3584">
                  <c:v>0</c:v>
                </c:pt>
                <c:pt idx="3585">
                  <c:v>0</c:v>
                </c:pt>
                <c:pt idx="3586">
                  <c:v>0</c:v>
                </c:pt>
                <c:pt idx="3587">
                  <c:v>0</c:v>
                </c:pt>
                <c:pt idx="3588">
                  <c:v>0</c:v>
                </c:pt>
                <c:pt idx="3589">
                  <c:v>0</c:v>
                </c:pt>
                <c:pt idx="3590">
                  <c:v>0</c:v>
                </c:pt>
                <c:pt idx="3591">
                  <c:v>0</c:v>
                </c:pt>
                <c:pt idx="3592">
                  <c:v>0</c:v>
                </c:pt>
                <c:pt idx="3593">
                  <c:v>0</c:v>
                </c:pt>
                <c:pt idx="3594">
                  <c:v>0</c:v>
                </c:pt>
                <c:pt idx="3595">
                  <c:v>0</c:v>
                </c:pt>
                <c:pt idx="3596">
                  <c:v>0</c:v>
                </c:pt>
                <c:pt idx="3597">
                  <c:v>0</c:v>
                </c:pt>
                <c:pt idx="3598">
                  <c:v>0</c:v>
                </c:pt>
                <c:pt idx="3599">
                  <c:v>0</c:v>
                </c:pt>
                <c:pt idx="3600">
                  <c:v>0</c:v>
                </c:pt>
                <c:pt idx="3601">
                  <c:v>0</c:v>
                </c:pt>
                <c:pt idx="3602">
                  <c:v>0</c:v>
                </c:pt>
                <c:pt idx="3603">
                  <c:v>0</c:v>
                </c:pt>
                <c:pt idx="3604">
                  <c:v>0</c:v>
                </c:pt>
                <c:pt idx="3605">
                  <c:v>0</c:v>
                </c:pt>
                <c:pt idx="3606">
                  <c:v>0</c:v>
                </c:pt>
                <c:pt idx="3607">
                  <c:v>0</c:v>
                </c:pt>
                <c:pt idx="3608">
                  <c:v>0</c:v>
                </c:pt>
                <c:pt idx="3609">
                  <c:v>0</c:v>
                </c:pt>
                <c:pt idx="3610">
                  <c:v>0</c:v>
                </c:pt>
                <c:pt idx="3611">
                  <c:v>0</c:v>
                </c:pt>
                <c:pt idx="3612">
                  <c:v>0</c:v>
                </c:pt>
                <c:pt idx="3613">
                  <c:v>0</c:v>
                </c:pt>
                <c:pt idx="3614">
                  <c:v>0</c:v>
                </c:pt>
                <c:pt idx="3615">
                  <c:v>0</c:v>
                </c:pt>
                <c:pt idx="3616">
                  <c:v>0</c:v>
                </c:pt>
                <c:pt idx="3617">
                  <c:v>0</c:v>
                </c:pt>
                <c:pt idx="3618">
                  <c:v>0</c:v>
                </c:pt>
                <c:pt idx="3619">
                  <c:v>0</c:v>
                </c:pt>
                <c:pt idx="3620">
                  <c:v>0</c:v>
                </c:pt>
                <c:pt idx="3621">
                  <c:v>0</c:v>
                </c:pt>
                <c:pt idx="3622">
                  <c:v>0</c:v>
                </c:pt>
                <c:pt idx="3623">
                  <c:v>0</c:v>
                </c:pt>
                <c:pt idx="3624">
                  <c:v>0</c:v>
                </c:pt>
                <c:pt idx="3625">
                  <c:v>0</c:v>
                </c:pt>
                <c:pt idx="3626">
                  <c:v>0</c:v>
                </c:pt>
                <c:pt idx="3627">
                  <c:v>0</c:v>
                </c:pt>
                <c:pt idx="3628">
                  <c:v>0</c:v>
                </c:pt>
                <c:pt idx="3629">
                  <c:v>0</c:v>
                </c:pt>
                <c:pt idx="3630">
                  <c:v>0</c:v>
                </c:pt>
                <c:pt idx="3631">
                  <c:v>0</c:v>
                </c:pt>
                <c:pt idx="3632">
                  <c:v>0</c:v>
                </c:pt>
                <c:pt idx="3633">
                  <c:v>0</c:v>
                </c:pt>
                <c:pt idx="3634">
                  <c:v>0</c:v>
                </c:pt>
                <c:pt idx="3635">
                  <c:v>0</c:v>
                </c:pt>
                <c:pt idx="3636">
                  <c:v>0</c:v>
                </c:pt>
                <c:pt idx="3637">
                  <c:v>0</c:v>
                </c:pt>
                <c:pt idx="3638">
                  <c:v>0</c:v>
                </c:pt>
                <c:pt idx="3639">
                  <c:v>0</c:v>
                </c:pt>
                <c:pt idx="3640">
                  <c:v>0</c:v>
                </c:pt>
                <c:pt idx="3641">
                  <c:v>0</c:v>
                </c:pt>
                <c:pt idx="3642">
                  <c:v>0</c:v>
                </c:pt>
                <c:pt idx="3643">
                  <c:v>0</c:v>
                </c:pt>
                <c:pt idx="3644">
                  <c:v>0</c:v>
                </c:pt>
                <c:pt idx="3645">
                  <c:v>0</c:v>
                </c:pt>
                <c:pt idx="3646">
                  <c:v>0</c:v>
                </c:pt>
                <c:pt idx="3647">
                  <c:v>0</c:v>
                </c:pt>
                <c:pt idx="3648">
                  <c:v>0</c:v>
                </c:pt>
                <c:pt idx="3649">
                  <c:v>0</c:v>
                </c:pt>
                <c:pt idx="3650">
                  <c:v>0</c:v>
                </c:pt>
                <c:pt idx="3651">
                  <c:v>0</c:v>
                </c:pt>
                <c:pt idx="3652">
                  <c:v>0</c:v>
                </c:pt>
                <c:pt idx="3653">
                  <c:v>0</c:v>
                </c:pt>
                <c:pt idx="3654">
                  <c:v>0</c:v>
                </c:pt>
                <c:pt idx="3655">
                  <c:v>0</c:v>
                </c:pt>
                <c:pt idx="3656">
                  <c:v>0</c:v>
                </c:pt>
                <c:pt idx="3657">
                  <c:v>0</c:v>
                </c:pt>
                <c:pt idx="3658">
                  <c:v>0</c:v>
                </c:pt>
                <c:pt idx="3659">
                  <c:v>0</c:v>
                </c:pt>
                <c:pt idx="3660">
                  <c:v>0</c:v>
                </c:pt>
                <c:pt idx="3661">
                  <c:v>0</c:v>
                </c:pt>
                <c:pt idx="3662">
                  <c:v>0</c:v>
                </c:pt>
                <c:pt idx="3663">
                  <c:v>0</c:v>
                </c:pt>
                <c:pt idx="3664">
                  <c:v>0</c:v>
                </c:pt>
                <c:pt idx="3665">
                  <c:v>0</c:v>
                </c:pt>
                <c:pt idx="3666">
                  <c:v>0</c:v>
                </c:pt>
                <c:pt idx="3667">
                  <c:v>0</c:v>
                </c:pt>
                <c:pt idx="3668">
                  <c:v>0</c:v>
                </c:pt>
                <c:pt idx="3669">
                  <c:v>0</c:v>
                </c:pt>
                <c:pt idx="3670">
                  <c:v>0</c:v>
                </c:pt>
                <c:pt idx="3671">
                  <c:v>0</c:v>
                </c:pt>
                <c:pt idx="3672">
                  <c:v>0</c:v>
                </c:pt>
                <c:pt idx="3673">
                  <c:v>0</c:v>
                </c:pt>
                <c:pt idx="3674">
                  <c:v>0</c:v>
                </c:pt>
                <c:pt idx="3675">
                  <c:v>0</c:v>
                </c:pt>
                <c:pt idx="3676">
                  <c:v>0</c:v>
                </c:pt>
                <c:pt idx="3677">
                  <c:v>0</c:v>
                </c:pt>
                <c:pt idx="3678">
                  <c:v>0</c:v>
                </c:pt>
                <c:pt idx="3679">
                  <c:v>0</c:v>
                </c:pt>
                <c:pt idx="3680">
                  <c:v>0</c:v>
                </c:pt>
                <c:pt idx="3681">
                  <c:v>0</c:v>
                </c:pt>
                <c:pt idx="3682">
                  <c:v>0</c:v>
                </c:pt>
                <c:pt idx="3683">
                  <c:v>0</c:v>
                </c:pt>
                <c:pt idx="3684">
                  <c:v>0</c:v>
                </c:pt>
                <c:pt idx="3685">
                  <c:v>0</c:v>
                </c:pt>
                <c:pt idx="3686">
                  <c:v>0</c:v>
                </c:pt>
                <c:pt idx="3687">
                  <c:v>0</c:v>
                </c:pt>
                <c:pt idx="3688">
                  <c:v>0</c:v>
                </c:pt>
                <c:pt idx="3689">
                  <c:v>0</c:v>
                </c:pt>
                <c:pt idx="3690">
                  <c:v>0</c:v>
                </c:pt>
                <c:pt idx="3691">
                  <c:v>0</c:v>
                </c:pt>
                <c:pt idx="3692">
                  <c:v>0</c:v>
                </c:pt>
                <c:pt idx="3693">
                  <c:v>0</c:v>
                </c:pt>
                <c:pt idx="3694">
                  <c:v>0</c:v>
                </c:pt>
                <c:pt idx="3695">
                  <c:v>0</c:v>
                </c:pt>
                <c:pt idx="3696">
                  <c:v>0</c:v>
                </c:pt>
                <c:pt idx="3697">
                  <c:v>0</c:v>
                </c:pt>
                <c:pt idx="3698">
                  <c:v>0</c:v>
                </c:pt>
                <c:pt idx="3699">
                  <c:v>0</c:v>
                </c:pt>
                <c:pt idx="3700">
                  <c:v>0</c:v>
                </c:pt>
                <c:pt idx="3701">
                  <c:v>0</c:v>
                </c:pt>
                <c:pt idx="3702">
                  <c:v>0</c:v>
                </c:pt>
                <c:pt idx="3703">
                  <c:v>0</c:v>
                </c:pt>
                <c:pt idx="3704">
                  <c:v>0</c:v>
                </c:pt>
                <c:pt idx="3705">
                  <c:v>0</c:v>
                </c:pt>
                <c:pt idx="3706">
                  <c:v>0</c:v>
                </c:pt>
                <c:pt idx="3707">
                  <c:v>0</c:v>
                </c:pt>
                <c:pt idx="3708">
                  <c:v>0</c:v>
                </c:pt>
                <c:pt idx="3709">
                  <c:v>0</c:v>
                </c:pt>
                <c:pt idx="3710">
                  <c:v>0</c:v>
                </c:pt>
                <c:pt idx="3711">
                  <c:v>0</c:v>
                </c:pt>
                <c:pt idx="3712">
                  <c:v>0</c:v>
                </c:pt>
                <c:pt idx="3713">
                  <c:v>0</c:v>
                </c:pt>
                <c:pt idx="3714">
                  <c:v>0</c:v>
                </c:pt>
                <c:pt idx="3715">
                  <c:v>0</c:v>
                </c:pt>
                <c:pt idx="3716">
                  <c:v>0</c:v>
                </c:pt>
                <c:pt idx="3717">
                  <c:v>0</c:v>
                </c:pt>
                <c:pt idx="3718">
                  <c:v>0</c:v>
                </c:pt>
                <c:pt idx="3719">
                  <c:v>0</c:v>
                </c:pt>
                <c:pt idx="3720">
                  <c:v>0</c:v>
                </c:pt>
                <c:pt idx="3721">
                  <c:v>0</c:v>
                </c:pt>
                <c:pt idx="3722">
                  <c:v>0</c:v>
                </c:pt>
                <c:pt idx="3723">
                  <c:v>0</c:v>
                </c:pt>
                <c:pt idx="3724">
                  <c:v>0</c:v>
                </c:pt>
                <c:pt idx="3725">
                  <c:v>0</c:v>
                </c:pt>
                <c:pt idx="3726">
                  <c:v>0</c:v>
                </c:pt>
                <c:pt idx="3727">
                  <c:v>0</c:v>
                </c:pt>
                <c:pt idx="3728">
                  <c:v>0</c:v>
                </c:pt>
                <c:pt idx="3729">
                  <c:v>0</c:v>
                </c:pt>
                <c:pt idx="3730">
                  <c:v>0</c:v>
                </c:pt>
                <c:pt idx="3731">
                  <c:v>0</c:v>
                </c:pt>
                <c:pt idx="3732">
                  <c:v>0</c:v>
                </c:pt>
                <c:pt idx="3733">
                  <c:v>0</c:v>
                </c:pt>
                <c:pt idx="3734">
                  <c:v>0</c:v>
                </c:pt>
                <c:pt idx="3735">
                  <c:v>0</c:v>
                </c:pt>
                <c:pt idx="3736">
                  <c:v>0</c:v>
                </c:pt>
                <c:pt idx="3737">
                  <c:v>0</c:v>
                </c:pt>
                <c:pt idx="3738">
                  <c:v>0</c:v>
                </c:pt>
                <c:pt idx="3739">
                  <c:v>0</c:v>
                </c:pt>
                <c:pt idx="3740">
                  <c:v>0</c:v>
                </c:pt>
                <c:pt idx="3741">
                  <c:v>0</c:v>
                </c:pt>
                <c:pt idx="3742">
                  <c:v>0</c:v>
                </c:pt>
                <c:pt idx="3743">
                  <c:v>0</c:v>
                </c:pt>
                <c:pt idx="3744">
                  <c:v>0</c:v>
                </c:pt>
                <c:pt idx="3745">
                  <c:v>0</c:v>
                </c:pt>
                <c:pt idx="3746">
                  <c:v>0</c:v>
                </c:pt>
                <c:pt idx="3747">
                  <c:v>0</c:v>
                </c:pt>
                <c:pt idx="3748">
                  <c:v>0</c:v>
                </c:pt>
                <c:pt idx="3749">
                  <c:v>0</c:v>
                </c:pt>
                <c:pt idx="3750">
                  <c:v>0</c:v>
                </c:pt>
                <c:pt idx="3751">
                  <c:v>0</c:v>
                </c:pt>
                <c:pt idx="3752">
                  <c:v>0</c:v>
                </c:pt>
                <c:pt idx="3753">
                  <c:v>0</c:v>
                </c:pt>
                <c:pt idx="3754">
                  <c:v>0</c:v>
                </c:pt>
                <c:pt idx="3755">
                  <c:v>0</c:v>
                </c:pt>
                <c:pt idx="3756">
                  <c:v>0</c:v>
                </c:pt>
                <c:pt idx="3757">
                  <c:v>0</c:v>
                </c:pt>
                <c:pt idx="3758">
                  <c:v>0</c:v>
                </c:pt>
                <c:pt idx="3759">
                  <c:v>0</c:v>
                </c:pt>
                <c:pt idx="3760">
                  <c:v>0</c:v>
                </c:pt>
                <c:pt idx="3761">
                  <c:v>0</c:v>
                </c:pt>
                <c:pt idx="3762">
                  <c:v>0</c:v>
                </c:pt>
                <c:pt idx="3763">
                  <c:v>0</c:v>
                </c:pt>
                <c:pt idx="3764">
                  <c:v>0</c:v>
                </c:pt>
                <c:pt idx="3765">
                  <c:v>0</c:v>
                </c:pt>
                <c:pt idx="3766">
                  <c:v>0</c:v>
                </c:pt>
                <c:pt idx="3767">
                  <c:v>0</c:v>
                </c:pt>
                <c:pt idx="3768">
                  <c:v>0</c:v>
                </c:pt>
                <c:pt idx="3769">
                  <c:v>0</c:v>
                </c:pt>
                <c:pt idx="3770">
                  <c:v>0</c:v>
                </c:pt>
                <c:pt idx="3771">
                  <c:v>0</c:v>
                </c:pt>
                <c:pt idx="3772">
                  <c:v>0</c:v>
                </c:pt>
                <c:pt idx="3773">
                  <c:v>0</c:v>
                </c:pt>
                <c:pt idx="3774">
                  <c:v>0</c:v>
                </c:pt>
                <c:pt idx="3775">
                  <c:v>0</c:v>
                </c:pt>
                <c:pt idx="3776">
                  <c:v>0</c:v>
                </c:pt>
                <c:pt idx="3777">
                  <c:v>0</c:v>
                </c:pt>
                <c:pt idx="3778">
                  <c:v>0</c:v>
                </c:pt>
                <c:pt idx="3779">
                  <c:v>0</c:v>
                </c:pt>
                <c:pt idx="3780">
                  <c:v>0</c:v>
                </c:pt>
                <c:pt idx="3781">
                  <c:v>0</c:v>
                </c:pt>
                <c:pt idx="3782">
                  <c:v>0</c:v>
                </c:pt>
                <c:pt idx="3783">
                  <c:v>0</c:v>
                </c:pt>
                <c:pt idx="3784">
                  <c:v>0</c:v>
                </c:pt>
                <c:pt idx="3785">
                  <c:v>0</c:v>
                </c:pt>
                <c:pt idx="3786">
                  <c:v>0</c:v>
                </c:pt>
                <c:pt idx="3787">
                  <c:v>0</c:v>
                </c:pt>
                <c:pt idx="3788">
                  <c:v>0</c:v>
                </c:pt>
                <c:pt idx="3789">
                  <c:v>0</c:v>
                </c:pt>
                <c:pt idx="3790">
                  <c:v>0</c:v>
                </c:pt>
                <c:pt idx="3791">
                  <c:v>0</c:v>
                </c:pt>
                <c:pt idx="3792">
                  <c:v>0</c:v>
                </c:pt>
                <c:pt idx="3793">
                  <c:v>0</c:v>
                </c:pt>
                <c:pt idx="3794">
                  <c:v>0</c:v>
                </c:pt>
                <c:pt idx="3795">
                  <c:v>0</c:v>
                </c:pt>
                <c:pt idx="3796">
                  <c:v>0</c:v>
                </c:pt>
                <c:pt idx="3797">
                  <c:v>0</c:v>
                </c:pt>
                <c:pt idx="3798">
                  <c:v>0</c:v>
                </c:pt>
                <c:pt idx="3799">
                  <c:v>0</c:v>
                </c:pt>
                <c:pt idx="3800">
                  <c:v>0</c:v>
                </c:pt>
                <c:pt idx="3801">
                  <c:v>0</c:v>
                </c:pt>
                <c:pt idx="3802">
                  <c:v>0</c:v>
                </c:pt>
                <c:pt idx="3803">
                  <c:v>0</c:v>
                </c:pt>
                <c:pt idx="3804">
                  <c:v>0</c:v>
                </c:pt>
                <c:pt idx="3805">
                  <c:v>0</c:v>
                </c:pt>
                <c:pt idx="3806">
                  <c:v>0</c:v>
                </c:pt>
                <c:pt idx="3807">
                  <c:v>0</c:v>
                </c:pt>
                <c:pt idx="3808">
                  <c:v>0</c:v>
                </c:pt>
                <c:pt idx="3809">
                  <c:v>0</c:v>
                </c:pt>
                <c:pt idx="3810">
                  <c:v>0</c:v>
                </c:pt>
                <c:pt idx="3811">
                  <c:v>0</c:v>
                </c:pt>
                <c:pt idx="3812">
                  <c:v>0</c:v>
                </c:pt>
                <c:pt idx="3813">
                  <c:v>0</c:v>
                </c:pt>
                <c:pt idx="3814">
                  <c:v>0</c:v>
                </c:pt>
                <c:pt idx="3815">
                  <c:v>0</c:v>
                </c:pt>
                <c:pt idx="3816">
                  <c:v>0</c:v>
                </c:pt>
                <c:pt idx="3817">
                  <c:v>0</c:v>
                </c:pt>
                <c:pt idx="3818">
                  <c:v>0</c:v>
                </c:pt>
                <c:pt idx="3819">
                  <c:v>0</c:v>
                </c:pt>
                <c:pt idx="3820">
                  <c:v>0</c:v>
                </c:pt>
                <c:pt idx="3821">
                  <c:v>0</c:v>
                </c:pt>
                <c:pt idx="3822">
                  <c:v>0</c:v>
                </c:pt>
                <c:pt idx="3823">
                  <c:v>0</c:v>
                </c:pt>
                <c:pt idx="3824">
                  <c:v>0</c:v>
                </c:pt>
                <c:pt idx="3825">
                  <c:v>0</c:v>
                </c:pt>
                <c:pt idx="3826">
                  <c:v>0</c:v>
                </c:pt>
                <c:pt idx="3827">
                  <c:v>0</c:v>
                </c:pt>
                <c:pt idx="3828">
                  <c:v>0</c:v>
                </c:pt>
                <c:pt idx="3829">
                  <c:v>0</c:v>
                </c:pt>
                <c:pt idx="3830">
                  <c:v>0</c:v>
                </c:pt>
                <c:pt idx="3831">
                  <c:v>0</c:v>
                </c:pt>
                <c:pt idx="3832">
                  <c:v>0</c:v>
                </c:pt>
                <c:pt idx="3833">
                  <c:v>0</c:v>
                </c:pt>
                <c:pt idx="3834">
                  <c:v>0</c:v>
                </c:pt>
                <c:pt idx="3835">
                  <c:v>0</c:v>
                </c:pt>
                <c:pt idx="3836">
                  <c:v>0</c:v>
                </c:pt>
                <c:pt idx="3837">
                  <c:v>0</c:v>
                </c:pt>
                <c:pt idx="3838">
                  <c:v>0</c:v>
                </c:pt>
                <c:pt idx="3839">
                  <c:v>0</c:v>
                </c:pt>
                <c:pt idx="3840">
                  <c:v>0</c:v>
                </c:pt>
                <c:pt idx="3841">
                  <c:v>0</c:v>
                </c:pt>
                <c:pt idx="3842">
                  <c:v>0</c:v>
                </c:pt>
                <c:pt idx="3843">
                  <c:v>0</c:v>
                </c:pt>
                <c:pt idx="3844">
                  <c:v>0</c:v>
                </c:pt>
                <c:pt idx="3845">
                  <c:v>0</c:v>
                </c:pt>
                <c:pt idx="3846">
                  <c:v>0</c:v>
                </c:pt>
                <c:pt idx="3847">
                  <c:v>0</c:v>
                </c:pt>
                <c:pt idx="3848">
                  <c:v>0</c:v>
                </c:pt>
                <c:pt idx="3849">
                  <c:v>0</c:v>
                </c:pt>
                <c:pt idx="3850">
                  <c:v>0</c:v>
                </c:pt>
                <c:pt idx="3851">
                  <c:v>0</c:v>
                </c:pt>
                <c:pt idx="3852">
                  <c:v>0</c:v>
                </c:pt>
                <c:pt idx="3853">
                  <c:v>0</c:v>
                </c:pt>
                <c:pt idx="3854">
                  <c:v>0</c:v>
                </c:pt>
                <c:pt idx="3855">
                  <c:v>0</c:v>
                </c:pt>
                <c:pt idx="3856">
                  <c:v>0</c:v>
                </c:pt>
                <c:pt idx="3857">
                  <c:v>0</c:v>
                </c:pt>
                <c:pt idx="3858">
                  <c:v>0</c:v>
                </c:pt>
                <c:pt idx="3859">
                  <c:v>0</c:v>
                </c:pt>
                <c:pt idx="3860">
                  <c:v>0</c:v>
                </c:pt>
                <c:pt idx="3861">
                  <c:v>0</c:v>
                </c:pt>
                <c:pt idx="3862">
                  <c:v>0</c:v>
                </c:pt>
                <c:pt idx="3863">
                  <c:v>0</c:v>
                </c:pt>
                <c:pt idx="3864">
                  <c:v>0</c:v>
                </c:pt>
                <c:pt idx="3865">
                  <c:v>0</c:v>
                </c:pt>
                <c:pt idx="3866">
                  <c:v>0</c:v>
                </c:pt>
                <c:pt idx="3867">
                  <c:v>0</c:v>
                </c:pt>
                <c:pt idx="3868">
                  <c:v>0</c:v>
                </c:pt>
                <c:pt idx="3869">
                  <c:v>0</c:v>
                </c:pt>
                <c:pt idx="3870">
                  <c:v>0</c:v>
                </c:pt>
                <c:pt idx="3871">
                  <c:v>0</c:v>
                </c:pt>
                <c:pt idx="3872">
                  <c:v>0</c:v>
                </c:pt>
                <c:pt idx="3873">
                  <c:v>0</c:v>
                </c:pt>
                <c:pt idx="3874">
                  <c:v>0</c:v>
                </c:pt>
                <c:pt idx="3875">
                  <c:v>0</c:v>
                </c:pt>
                <c:pt idx="3876">
                  <c:v>0</c:v>
                </c:pt>
                <c:pt idx="3877">
                  <c:v>0</c:v>
                </c:pt>
                <c:pt idx="3878">
                  <c:v>0</c:v>
                </c:pt>
                <c:pt idx="3879">
                  <c:v>0</c:v>
                </c:pt>
                <c:pt idx="3880">
                  <c:v>0</c:v>
                </c:pt>
                <c:pt idx="3881">
                  <c:v>0</c:v>
                </c:pt>
                <c:pt idx="3882">
                  <c:v>0</c:v>
                </c:pt>
                <c:pt idx="3883">
                  <c:v>0</c:v>
                </c:pt>
                <c:pt idx="3884">
                  <c:v>0</c:v>
                </c:pt>
                <c:pt idx="3885">
                  <c:v>0</c:v>
                </c:pt>
                <c:pt idx="3886">
                  <c:v>0</c:v>
                </c:pt>
                <c:pt idx="3887">
                  <c:v>0</c:v>
                </c:pt>
                <c:pt idx="3888">
                  <c:v>0</c:v>
                </c:pt>
                <c:pt idx="3889">
                  <c:v>0</c:v>
                </c:pt>
                <c:pt idx="3890">
                  <c:v>0</c:v>
                </c:pt>
                <c:pt idx="3891">
                  <c:v>0</c:v>
                </c:pt>
                <c:pt idx="3892">
                  <c:v>0</c:v>
                </c:pt>
                <c:pt idx="3893">
                  <c:v>0</c:v>
                </c:pt>
                <c:pt idx="3894">
                  <c:v>0</c:v>
                </c:pt>
                <c:pt idx="3895">
                  <c:v>0</c:v>
                </c:pt>
                <c:pt idx="3896">
                  <c:v>0</c:v>
                </c:pt>
                <c:pt idx="3897">
                  <c:v>0</c:v>
                </c:pt>
                <c:pt idx="3898">
                  <c:v>0</c:v>
                </c:pt>
                <c:pt idx="3899">
                  <c:v>0</c:v>
                </c:pt>
                <c:pt idx="3900">
                  <c:v>0</c:v>
                </c:pt>
                <c:pt idx="3901">
                  <c:v>0</c:v>
                </c:pt>
                <c:pt idx="3902">
                  <c:v>0</c:v>
                </c:pt>
                <c:pt idx="3903">
                  <c:v>0</c:v>
                </c:pt>
                <c:pt idx="3904">
                  <c:v>0</c:v>
                </c:pt>
                <c:pt idx="3905">
                  <c:v>0</c:v>
                </c:pt>
                <c:pt idx="3906">
                  <c:v>0</c:v>
                </c:pt>
                <c:pt idx="3907">
                  <c:v>0</c:v>
                </c:pt>
                <c:pt idx="3908">
                  <c:v>0</c:v>
                </c:pt>
                <c:pt idx="3909">
                  <c:v>0</c:v>
                </c:pt>
                <c:pt idx="3910">
                  <c:v>0</c:v>
                </c:pt>
                <c:pt idx="3911">
                  <c:v>0</c:v>
                </c:pt>
                <c:pt idx="3912">
                  <c:v>0</c:v>
                </c:pt>
                <c:pt idx="3913">
                  <c:v>0</c:v>
                </c:pt>
                <c:pt idx="3914">
                  <c:v>0</c:v>
                </c:pt>
                <c:pt idx="3915">
                  <c:v>0</c:v>
                </c:pt>
                <c:pt idx="3916">
                  <c:v>0</c:v>
                </c:pt>
                <c:pt idx="3917">
                  <c:v>0</c:v>
                </c:pt>
                <c:pt idx="3918">
                  <c:v>0</c:v>
                </c:pt>
                <c:pt idx="3919">
                  <c:v>0</c:v>
                </c:pt>
                <c:pt idx="3920">
                  <c:v>0</c:v>
                </c:pt>
                <c:pt idx="3921">
                  <c:v>0</c:v>
                </c:pt>
                <c:pt idx="3922">
                  <c:v>0</c:v>
                </c:pt>
                <c:pt idx="3923">
                  <c:v>0</c:v>
                </c:pt>
                <c:pt idx="3924">
                  <c:v>0</c:v>
                </c:pt>
                <c:pt idx="3925">
                  <c:v>0</c:v>
                </c:pt>
                <c:pt idx="3926">
                  <c:v>0</c:v>
                </c:pt>
                <c:pt idx="3927">
                  <c:v>0</c:v>
                </c:pt>
                <c:pt idx="3928">
                  <c:v>0</c:v>
                </c:pt>
                <c:pt idx="3929">
                  <c:v>0</c:v>
                </c:pt>
                <c:pt idx="3930">
                  <c:v>0</c:v>
                </c:pt>
                <c:pt idx="3931">
                  <c:v>0</c:v>
                </c:pt>
                <c:pt idx="3932">
                  <c:v>0</c:v>
                </c:pt>
                <c:pt idx="3933">
                  <c:v>0</c:v>
                </c:pt>
                <c:pt idx="3934">
                  <c:v>0</c:v>
                </c:pt>
                <c:pt idx="3935">
                  <c:v>0</c:v>
                </c:pt>
                <c:pt idx="3936">
                  <c:v>0</c:v>
                </c:pt>
                <c:pt idx="3937">
                  <c:v>0</c:v>
                </c:pt>
                <c:pt idx="3938">
                  <c:v>0</c:v>
                </c:pt>
                <c:pt idx="3939">
                  <c:v>0</c:v>
                </c:pt>
                <c:pt idx="3940">
                  <c:v>0</c:v>
                </c:pt>
                <c:pt idx="3941">
                  <c:v>0</c:v>
                </c:pt>
                <c:pt idx="3942">
                  <c:v>0</c:v>
                </c:pt>
                <c:pt idx="3943">
                  <c:v>0</c:v>
                </c:pt>
                <c:pt idx="3944">
                  <c:v>0</c:v>
                </c:pt>
                <c:pt idx="3945">
                  <c:v>0</c:v>
                </c:pt>
                <c:pt idx="3946">
                  <c:v>0</c:v>
                </c:pt>
                <c:pt idx="3947">
                  <c:v>0</c:v>
                </c:pt>
                <c:pt idx="3948">
                  <c:v>0</c:v>
                </c:pt>
                <c:pt idx="3949">
                  <c:v>0</c:v>
                </c:pt>
                <c:pt idx="3950">
                  <c:v>0</c:v>
                </c:pt>
                <c:pt idx="3951">
                  <c:v>0</c:v>
                </c:pt>
                <c:pt idx="3952">
                  <c:v>0</c:v>
                </c:pt>
                <c:pt idx="3953">
                  <c:v>0</c:v>
                </c:pt>
                <c:pt idx="3954">
                  <c:v>0</c:v>
                </c:pt>
                <c:pt idx="3955">
                  <c:v>0</c:v>
                </c:pt>
                <c:pt idx="3956">
                  <c:v>0</c:v>
                </c:pt>
                <c:pt idx="3957">
                  <c:v>0</c:v>
                </c:pt>
                <c:pt idx="3958">
                  <c:v>0</c:v>
                </c:pt>
                <c:pt idx="3959">
                  <c:v>0</c:v>
                </c:pt>
                <c:pt idx="3960">
                  <c:v>0</c:v>
                </c:pt>
                <c:pt idx="3961">
                  <c:v>0</c:v>
                </c:pt>
                <c:pt idx="3962">
                  <c:v>0</c:v>
                </c:pt>
                <c:pt idx="3963">
                  <c:v>0</c:v>
                </c:pt>
                <c:pt idx="3964">
                  <c:v>0</c:v>
                </c:pt>
                <c:pt idx="3965">
                  <c:v>0</c:v>
                </c:pt>
                <c:pt idx="3966">
                  <c:v>0</c:v>
                </c:pt>
                <c:pt idx="3967">
                  <c:v>0</c:v>
                </c:pt>
                <c:pt idx="3968">
                  <c:v>0</c:v>
                </c:pt>
                <c:pt idx="3969">
                  <c:v>0</c:v>
                </c:pt>
                <c:pt idx="3970">
                  <c:v>0</c:v>
                </c:pt>
                <c:pt idx="3971">
                  <c:v>0</c:v>
                </c:pt>
                <c:pt idx="3972">
                  <c:v>0</c:v>
                </c:pt>
                <c:pt idx="3973">
                  <c:v>0</c:v>
                </c:pt>
                <c:pt idx="3974">
                  <c:v>0</c:v>
                </c:pt>
                <c:pt idx="3975">
                  <c:v>0</c:v>
                </c:pt>
                <c:pt idx="3976">
                  <c:v>0</c:v>
                </c:pt>
                <c:pt idx="3977">
                  <c:v>0</c:v>
                </c:pt>
                <c:pt idx="3978">
                  <c:v>0</c:v>
                </c:pt>
                <c:pt idx="3979">
                  <c:v>0</c:v>
                </c:pt>
                <c:pt idx="3980">
                  <c:v>0</c:v>
                </c:pt>
                <c:pt idx="3981">
                  <c:v>0</c:v>
                </c:pt>
                <c:pt idx="3982">
                  <c:v>0</c:v>
                </c:pt>
                <c:pt idx="3983">
                  <c:v>0</c:v>
                </c:pt>
                <c:pt idx="3984">
                  <c:v>0</c:v>
                </c:pt>
                <c:pt idx="3985">
                  <c:v>0</c:v>
                </c:pt>
                <c:pt idx="3986">
                  <c:v>0</c:v>
                </c:pt>
                <c:pt idx="3987">
                  <c:v>0</c:v>
                </c:pt>
                <c:pt idx="3988">
                  <c:v>0</c:v>
                </c:pt>
                <c:pt idx="3989">
                  <c:v>0</c:v>
                </c:pt>
                <c:pt idx="3990">
                  <c:v>0</c:v>
                </c:pt>
                <c:pt idx="3991">
                  <c:v>0</c:v>
                </c:pt>
                <c:pt idx="3992">
                  <c:v>0</c:v>
                </c:pt>
                <c:pt idx="3993">
                  <c:v>0</c:v>
                </c:pt>
                <c:pt idx="3994">
                  <c:v>0</c:v>
                </c:pt>
                <c:pt idx="3995">
                  <c:v>0</c:v>
                </c:pt>
                <c:pt idx="3996">
                  <c:v>0</c:v>
                </c:pt>
                <c:pt idx="3997">
                  <c:v>0</c:v>
                </c:pt>
                <c:pt idx="3998">
                  <c:v>0</c:v>
                </c:pt>
                <c:pt idx="3999">
                  <c:v>0</c:v>
                </c:pt>
                <c:pt idx="4000">
                  <c:v>0</c:v>
                </c:pt>
                <c:pt idx="4001">
                  <c:v>0</c:v>
                </c:pt>
                <c:pt idx="4002">
                  <c:v>0</c:v>
                </c:pt>
                <c:pt idx="4003">
                  <c:v>0</c:v>
                </c:pt>
                <c:pt idx="4004">
                  <c:v>0</c:v>
                </c:pt>
                <c:pt idx="4005">
                  <c:v>0</c:v>
                </c:pt>
                <c:pt idx="4006">
                  <c:v>0</c:v>
                </c:pt>
                <c:pt idx="4007">
                  <c:v>0</c:v>
                </c:pt>
                <c:pt idx="4008">
                  <c:v>0</c:v>
                </c:pt>
                <c:pt idx="4009">
                  <c:v>0</c:v>
                </c:pt>
                <c:pt idx="4010">
                  <c:v>0</c:v>
                </c:pt>
                <c:pt idx="4011">
                  <c:v>0</c:v>
                </c:pt>
                <c:pt idx="4012">
                  <c:v>0</c:v>
                </c:pt>
                <c:pt idx="4013">
                  <c:v>0</c:v>
                </c:pt>
                <c:pt idx="4014">
                  <c:v>0</c:v>
                </c:pt>
                <c:pt idx="4015">
                  <c:v>0</c:v>
                </c:pt>
                <c:pt idx="4016">
                  <c:v>0</c:v>
                </c:pt>
                <c:pt idx="4017">
                  <c:v>0</c:v>
                </c:pt>
                <c:pt idx="4018">
                  <c:v>0</c:v>
                </c:pt>
                <c:pt idx="4019">
                  <c:v>0</c:v>
                </c:pt>
                <c:pt idx="4020">
                  <c:v>0</c:v>
                </c:pt>
                <c:pt idx="4021">
                  <c:v>0</c:v>
                </c:pt>
                <c:pt idx="4022">
                  <c:v>0</c:v>
                </c:pt>
                <c:pt idx="4023">
                  <c:v>0</c:v>
                </c:pt>
                <c:pt idx="4024">
                  <c:v>0</c:v>
                </c:pt>
                <c:pt idx="4025">
                  <c:v>0</c:v>
                </c:pt>
                <c:pt idx="4026">
                  <c:v>0</c:v>
                </c:pt>
                <c:pt idx="4027">
                  <c:v>0</c:v>
                </c:pt>
                <c:pt idx="4028">
                  <c:v>0</c:v>
                </c:pt>
                <c:pt idx="4029">
                  <c:v>0</c:v>
                </c:pt>
                <c:pt idx="4030">
                  <c:v>0</c:v>
                </c:pt>
                <c:pt idx="4031">
                  <c:v>0</c:v>
                </c:pt>
                <c:pt idx="4032">
                  <c:v>0</c:v>
                </c:pt>
                <c:pt idx="4033">
                  <c:v>0</c:v>
                </c:pt>
                <c:pt idx="4034">
                  <c:v>0</c:v>
                </c:pt>
                <c:pt idx="4035">
                  <c:v>0</c:v>
                </c:pt>
                <c:pt idx="4036">
                  <c:v>0</c:v>
                </c:pt>
                <c:pt idx="4037">
                  <c:v>0</c:v>
                </c:pt>
                <c:pt idx="4038">
                  <c:v>0</c:v>
                </c:pt>
                <c:pt idx="4039">
                  <c:v>0</c:v>
                </c:pt>
                <c:pt idx="4040">
                  <c:v>0</c:v>
                </c:pt>
                <c:pt idx="4041">
                  <c:v>0</c:v>
                </c:pt>
                <c:pt idx="4042">
                  <c:v>0</c:v>
                </c:pt>
                <c:pt idx="4043">
                  <c:v>0</c:v>
                </c:pt>
                <c:pt idx="4044">
                  <c:v>0</c:v>
                </c:pt>
                <c:pt idx="4045">
                  <c:v>0</c:v>
                </c:pt>
                <c:pt idx="4046">
                  <c:v>0</c:v>
                </c:pt>
                <c:pt idx="4047">
                  <c:v>0</c:v>
                </c:pt>
                <c:pt idx="4048">
                  <c:v>0</c:v>
                </c:pt>
                <c:pt idx="4049">
                  <c:v>0</c:v>
                </c:pt>
                <c:pt idx="4050">
                  <c:v>0</c:v>
                </c:pt>
                <c:pt idx="4051">
                  <c:v>0</c:v>
                </c:pt>
                <c:pt idx="4052">
                  <c:v>0</c:v>
                </c:pt>
                <c:pt idx="4053">
                  <c:v>0</c:v>
                </c:pt>
                <c:pt idx="4054">
                  <c:v>0</c:v>
                </c:pt>
                <c:pt idx="4055">
                  <c:v>0</c:v>
                </c:pt>
                <c:pt idx="4056">
                  <c:v>0</c:v>
                </c:pt>
                <c:pt idx="4057">
                  <c:v>0</c:v>
                </c:pt>
                <c:pt idx="4058">
                  <c:v>0</c:v>
                </c:pt>
                <c:pt idx="4059">
                  <c:v>0</c:v>
                </c:pt>
                <c:pt idx="4060">
                  <c:v>0</c:v>
                </c:pt>
                <c:pt idx="4061">
                  <c:v>0</c:v>
                </c:pt>
                <c:pt idx="4062">
                  <c:v>0</c:v>
                </c:pt>
                <c:pt idx="4063">
                  <c:v>0</c:v>
                </c:pt>
                <c:pt idx="4064">
                  <c:v>0</c:v>
                </c:pt>
                <c:pt idx="4065">
                  <c:v>0</c:v>
                </c:pt>
                <c:pt idx="4066">
                  <c:v>0</c:v>
                </c:pt>
                <c:pt idx="4067">
                  <c:v>0</c:v>
                </c:pt>
                <c:pt idx="4068">
                  <c:v>0</c:v>
                </c:pt>
                <c:pt idx="4069">
                  <c:v>0</c:v>
                </c:pt>
                <c:pt idx="4070">
                  <c:v>0</c:v>
                </c:pt>
                <c:pt idx="4071">
                  <c:v>0</c:v>
                </c:pt>
                <c:pt idx="4072">
                  <c:v>0</c:v>
                </c:pt>
                <c:pt idx="4073">
                  <c:v>0</c:v>
                </c:pt>
                <c:pt idx="4074">
                  <c:v>0</c:v>
                </c:pt>
                <c:pt idx="4075">
                  <c:v>0</c:v>
                </c:pt>
                <c:pt idx="4076">
                  <c:v>0</c:v>
                </c:pt>
                <c:pt idx="4077">
                  <c:v>0</c:v>
                </c:pt>
                <c:pt idx="4078">
                  <c:v>0</c:v>
                </c:pt>
                <c:pt idx="4079">
                  <c:v>0</c:v>
                </c:pt>
                <c:pt idx="4080">
                  <c:v>0</c:v>
                </c:pt>
                <c:pt idx="4081">
                  <c:v>0</c:v>
                </c:pt>
                <c:pt idx="4082">
                  <c:v>0</c:v>
                </c:pt>
                <c:pt idx="4083">
                  <c:v>0</c:v>
                </c:pt>
                <c:pt idx="4084">
                  <c:v>0</c:v>
                </c:pt>
                <c:pt idx="4085">
                  <c:v>0</c:v>
                </c:pt>
                <c:pt idx="4086">
                  <c:v>0</c:v>
                </c:pt>
                <c:pt idx="4087">
                  <c:v>0</c:v>
                </c:pt>
                <c:pt idx="4088">
                  <c:v>0</c:v>
                </c:pt>
                <c:pt idx="4089">
                  <c:v>0</c:v>
                </c:pt>
                <c:pt idx="4090">
                  <c:v>0</c:v>
                </c:pt>
                <c:pt idx="4091">
                  <c:v>0</c:v>
                </c:pt>
                <c:pt idx="4092">
                  <c:v>0</c:v>
                </c:pt>
                <c:pt idx="4093">
                  <c:v>0</c:v>
                </c:pt>
                <c:pt idx="4094">
                  <c:v>0</c:v>
                </c:pt>
                <c:pt idx="4095">
                  <c:v>0</c:v>
                </c:pt>
                <c:pt idx="4096">
                  <c:v>0</c:v>
                </c:pt>
                <c:pt idx="4097">
                  <c:v>0</c:v>
                </c:pt>
                <c:pt idx="4098">
                  <c:v>0</c:v>
                </c:pt>
                <c:pt idx="4099">
                  <c:v>0</c:v>
                </c:pt>
                <c:pt idx="4100">
                  <c:v>0</c:v>
                </c:pt>
                <c:pt idx="4101">
                  <c:v>0</c:v>
                </c:pt>
                <c:pt idx="4102">
                  <c:v>0</c:v>
                </c:pt>
                <c:pt idx="4103">
                  <c:v>0</c:v>
                </c:pt>
                <c:pt idx="4104">
                  <c:v>0</c:v>
                </c:pt>
                <c:pt idx="4105">
                  <c:v>0</c:v>
                </c:pt>
                <c:pt idx="4106">
                  <c:v>0</c:v>
                </c:pt>
                <c:pt idx="4107">
                  <c:v>0</c:v>
                </c:pt>
                <c:pt idx="4108">
                  <c:v>0</c:v>
                </c:pt>
                <c:pt idx="4109">
                  <c:v>0</c:v>
                </c:pt>
                <c:pt idx="4110">
                  <c:v>0</c:v>
                </c:pt>
                <c:pt idx="4111">
                  <c:v>0</c:v>
                </c:pt>
                <c:pt idx="4112">
                  <c:v>0</c:v>
                </c:pt>
                <c:pt idx="4113">
                  <c:v>0</c:v>
                </c:pt>
                <c:pt idx="4114">
                  <c:v>0</c:v>
                </c:pt>
                <c:pt idx="4115">
                  <c:v>0</c:v>
                </c:pt>
                <c:pt idx="4116">
                  <c:v>0</c:v>
                </c:pt>
                <c:pt idx="4117">
                  <c:v>0</c:v>
                </c:pt>
                <c:pt idx="4118">
                  <c:v>0</c:v>
                </c:pt>
                <c:pt idx="4119">
                  <c:v>0</c:v>
                </c:pt>
                <c:pt idx="4120">
                  <c:v>0</c:v>
                </c:pt>
                <c:pt idx="4121">
                  <c:v>0</c:v>
                </c:pt>
                <c:pt idx="4122">
                  <c:v>0</c:v>
                </c:pt>
                <c:pt idx="4123">
                  <c:v>0</c:v>
                </c:pt>
                <c:pt idx="4124">
                  <c:v>0</c:v>
                </c:pt>
                <c:pt idx="4125">
                  <c:v>0</c:v>
                </c:pt>
                <c:pt idx="4126">
                  <c:v>0</c:v>
                </c:pt>
                <c:pt idx="4127">
                  <c:v>0</c:v>
                </c:pt>
                <c:pt idx="4128">
                  <c:v>0</c:v>
                </c:pt>
                <c:pt idx="4129">
                  <c:v>0</c:v>
                </c:pt>
                <c:pt idx="4130">
                  <c:v>0</c:v>
                </c:pt>
                <c:pt idx="4131">
                  <c:v>0</c:v>
                </c:pt>
                <c:pt idx="4132">
                  <c:v>0</c:v>
                </c:pt>
                <c:pt idx="4133">
                  <c:v>0</c:v>
                </c:pt>
                <c:pt idx="4134">
                  <c:v>0</c:v>
                </c:pt>
                <c:pt idx="4135">
                  <c:v>0</c:v>
                </c:pt>
                <c:pt idx="4136">
                  <c:v>0</c:v>
                </c:pt>
                <c:pt idx="4137">
                  <c:v>0</c:v>
                </c:pt>
                <c:pt idx="4138">
                  <c:v>0</c:v>
                </c:pt>
                <c:pt idx="4139">
                  <c:v>0</c:v>
                </c:pt>
                <c:pt idx="4140">
                  <c:v>0</c:v>
                </c:pt>
                <c:pt idx="4141">
                  <c:v>0</c:v>
                </c:pt>
                <c:pt idx="4142">
                  <c:v>0</c:v>
                </c:pt>
                <c:pt idx="4143">
                  <c:v>0</c:v>
                </c:pt>
                <c:pt idx="4144">
                  <c:v>0</c:v>
                </c:pt>
                <c:pt idx="4145">
                  <c:v>0</c:v>
                </c:pt>
                <c:pt idx="4146">
                  <c:v>0</c:v>
                </c:pt>
                <c:pt idx="4147">
                  <c:v>0</c:v>
                </c:pt>
                <c:pt idx="4148">
                  <c:v>0</c:v>
                </c:pt>
                <c:pt idx="4149">
                  <c:v>0</c:v>
                </c:pt>
                <c:pt idx="4150">
                  <c:v>0</c:v>
                </c:pt>
                <c:pt idx="4151">
                  <c:v>0</c:v>
                </c:pt>
                <c:pt idx="4152">
                  <c:v>0</c:v>
                </c:pt>
                <c:pt idx="4153">
                  <c:v>0</c:v>
                </c:pt>
                <c:pt idx="4154">
                  <c:v>0</c:v>
                </c:pt>
                <c:pt idx="4155">
                  <c:v>0</c:v>
                </c:pt>
                <c:pt idx="4156">
                  <c:v>0</c:v>
                </c:pt>
                <c:pt idx="4157">
                  <c:v>0</c:v>
                </c:pt>
                <c:pt idx="4158">
                  <c:v>0</c:v>
                </c:pt>
                <c:pt idx="4159">
                  <c:v>0</c:v>
                </c:pt>
                <c:pt idx="4160">
                  <c:v>0</c:v>
                </c:pt>
                <c:pt idx="4161">
                  <c:v>0</c:v>
                </c:pt>
                <c:pt idx="4162">
                  <c:v>0</c:v>
                </c:pt>
                <c:pt idx="4163">
                  <c:v>0</c:v>
                </c:pt>
                <c:pt idx="4164">
                  <c:v>0</c:v>
                </c:pt>
                <c:pt idx="4165">
                  <c:v>0</c:v>
                </c:pt>
                <c:pt idx="4166">
                  <c:v>0</c:v>
                </c:pt>
                <c:pt idx="4167">
                  <c:v>0</c:v>
                </c:pt>
                <c:pt idx="4168">
                  <c:v>0</c:v>
                </c:pt>
                <c:pt idx="4169">
                  <c:v>0</c:v>
                </c:pt>
                <c:pt idx="4170">
                  <c:v>0</c:v>
                </c:pt>
                <c:pt idx="4171">
                  <c:v>0</c:v>
                </c:pt>
                <c:pt idx="4172">
                  <c:v>0</c:v>
                </c:pt>
                <c:pt idx="4173">
                  <c:v>0</c:v>
                </c:pt>
                <c:pt idx="4174">
                  <c:v>0</c:v>
                </c:pt>
                <c:pt idx="4175">
                  <c:v>0</c:v>
                </c:pt>
                <c:pt idx="4176">
                  <c:v>0</c:v>
                </c:pt>
                <c:pt idx="4177">
                  <c:v>0</c:v>
                </c:pt>
                <c:pt idx="4178">
                  <c:v>0</c:v>
                </c:pt>
                <c:pt idx="4179">
                  <c:v>0</c:v>
                </c:pt>
                <c:pt idx="4180">
                  <c:v>0</c:v>
                </c:pt>
                <c:pt idx="4181">
                  <c:v>0</c:v>
                </c:pt>
                <c:pt idx="4182">
                  <c:v>0</c:v>
                </c:pt>
                <c:pt idx="4183">
                  <c:v>0</c:v>
                </c:pt>
                <c:pt idx="4184">
                  <c:v>0</c:v>
                </c:pt>
                <c:pt idx="4185">
                  <c:v>0</c:v>
                </c:pt>
                <c:pt idx="4186">
                  <c:v>0</c:v>
                </c:pt>
                <c:pt idx="4187">
                  <c:v>0</c:v>
                </c:pt>
                <c:pt idx="4188">
                  <c:v>0</c:v>
                </c:pt>
                <c:pt idx="4189">
                  <c:v>0</c:v>
                </c:pt>
                <c:pt idx="4190">
                  <c:v>0</c:v>
                </c:pt>
                <c:pt idx="4191">
                  <c:v>0</c:v>
                </c:pt>
                <c:pt idx="4192">
                  <c:v>0</c:v>
                </c:pt>
                <c:pt idx="4193">
                  <c:v>0</c:v>
                </c:pt>
                <c:pt idx="4194">
                  <c:v>0</c:v>
                </c:pt>
                <c:pt idx="4195">
                  <c:v>0</c:v>
                </c:pt>
                <c:pt idx="4196">
                  <c:v>0</c:v>
                </c:pt>
                <c:pt idx="4197">
                  <c:v>0</c:v>
                </c:pt>
                <c:pt idx="4198">
                  <c:v>0</c:v>
                </c:pt>
                <c:pt idx="4199">
                  <c:v>0</c:v>
                </c:pt>
                <c:pt idx="4200">
                  <c:v>0</c:v>
                </c:pt>
                <c:pt idx="4201">
                  <c:v>0</c:v>
                </c:pt>
                <c:pt idx="4202">
                  <c:v>0</c:v>
                </c:pt>
                <c:pt idx="4203">
                  <c:v>0</c:v>
                </c:pt>
                <c:pt idx="4204">
                  <c:v>0</c:v>
                </c:pt>
                <c:pt idx="4205">
                  <c:v>0</c:v>
                </c:pt>
                <c:pt idx="4206">
                  <c:v>0</c:v>
                </c:pt>
                <c:pt idx="4207">
                  <c:v>0</c:v>
                </c:pt>
                <c:pt idx="4208">
                  <c:v>0</c:v>
                </c:pt>
                <c:pt idx="4209">
                  <c:v>0</c:v>
                </c:pt>
                <c:pt idx="4210">
                  <c:v>0</c:v>
                </c:pt>
                <c:pt idx="4211">
                  <c:v>0</c:v>
                </c:pt>
                <c:pt idx="4212">
                  <c:v>0</c:v>
                </c:pt>
                <c:pt idx="4213">
                  <c:v>0</c:v>
                </c:pt>
                <c:pt idx="4214">
                  <c:v>0</c:v>
                </c:pt>
                <c:pt idx="4215">
                  <c:v>0</c:v>
                </c:pt>
                <c:pt idx="4216">
                  <c:v>0</c:v>
                </c:pt>
                <c:pt idx="4217">
                  <c:v>0</c:v>
                </c:pt>
                <c:pt idx="4218">
                  <c:v>0</c:v>
                </c:pt>
                <c:pt idx="4219">
                  <c:v>0</c:v>
                </c:pt>
                <c:pt idx="4220">
                  <c:v>0</c:v>
                </c:pt>
                <c:pt idx="4221">
                  <c:v>0</c:v>
                </c:pt>
                <c:pt idx="4222">
                  <c:v>0</c:v>
                </c:pt>
                <c:pt idx="4223">
                  <c:v>0</c:v>
                </c:pt>
                <c:pt idx="4224">
                  <c:v>0</c:v>
                </c:pt>
                <c:pt idx="4225">
                  <c:v>0</c:v>
                </c:pt>
                <c:pt idx="4226">
                  <c:v>0</c:v>
                </c:pt>
                <c:pt idx="4227">
                  <c:v>0</c:v>
                </c:pt>
                <c:pt idx="4228">
                  <c:v>0</c:v>
                </c:pt>
                <c:pt idx="4229">
                  <c:v>0</c:v>
                </c:pt>
                <c:pt idx="4230">
                  <c:v>0</c:v>
                </c:pt>
                <c:pt idx="4231">
                  <c:v>0</c:v>
                </c:pt>
                <c:pt idx="4232">
                  <c:v>0</c:v>
                </c:pt>
                <c:pt idx="4233">
                  <c:v>0</c:v>
                </c:pt>
                <c:pt idx="4234">
                  <c:v>0</c:v>
                </c:pt>
                <c:pt idx="4235">
                  <c:v>0</c:v>
                </c:pt>
                <c:pt idx="4236">
                  <c:v>0</c:v>
                </c:pt>
                <c:pt idx="4237">
                  <c:v>0</c:v>
                </c:pt>
                <c:pt idx="4238">
                  <c:v>0</c:v>
                </c:pt>
                <c:pt idx="4239">
                  <c:v>0</c:v>
                </c:pt>
                <c:pt idx="4240">
                  <c:v>0</c:v>
                </c:pt>
                <c:pt idx="4241">
                  <c:v>0</c:v>
                </c:pt>
                <c:pt idx="4242">
                  <c:v>0</c:v>
                </c:pt>
                <c:pt idx="4243">
                  <c:v>0</c:v>
                </c:pt>
                <c:pt idx="4244">
                  <c:v>0</c:v>
                </c:pt>
                <c:pt idx="4245">
                  <c:v>0</c:v>
                </c:pt>
                <c:pt idx="4246">
                  <c:v>0</c:v>
                </c:pt>
                <c:pt idx="4247">
                  <c:v>0</c:v>
                </c:pt>
                <c:pt idx="4248">
                  <c:v>0</c:v>
                </c:pt>
                <c:pt idx="4249">
                  <c:v>0</c:v>
                </c:pt>
                <c:pt idx="4250">
                  <c:v>0</c:v>
                </c:pt>
                <c:pt idx="4251">
                  <c:v>0</c:v>
                </c:pt>
                <c:pt idx="4252">
                  <c:v>0</c:v>
                </c:pt>
                <c:pt idx="4253">
                  <c:v>0</c:v>
                </c:pt>
                <c:pt idx="4254">
                  <c:v>0</c:v>
                </c:pt>
                <c:pt idx="4255">
                  <c:v>0</c:v>
                </c:pt>
                <c:pt idx="4256">
                  <c:v>0</c:v>
                </c:pt>
                <c:pt idx="4257">
                  <c:v>0</c:v>
                </c:pt>
                <c:pt idx="4258">
                  <c:v>0</c:v>
                </c:pt>
                <c:pt idx="4259">
                  <c:v>0</c:v>
                </c:pt>
                <c:pt idx="4260">
                  <c:v>0</c:v>
                </c:pt>
                <c:pt idx="4261">
                  <c:v>0</c:v>
                </c:pt>
                <c:pt idx="4262">
                  <c:v>0</c:v>
                </c:pt>
                <c:pt idx="4263">
                  <c:v>0</c:v>
                </c:pt>
                <c:pt idx="4264">
                  <c:v>0</c:v>
                </c:pt>
                <c:pt idx="4265">
                  <c:v>0</c:v>
                </c:pt>
                <c:pt idx="4266">
                  <c:v>0</c:v>
                </c:pt>
                <c:pt idx="4267">
                  <c:v>0</c:v>
                </c:pt>
                <c:pt idx="4268">
                  <c:v>0</c:v>
                </c:pt>
                <c:pt idx="4269">
                  <c:v>0</c:v>
                </c:pt>
                <c:pt idx="4270">
                  <c:v>0</c:v>
                </c:pt>
                <c:pt idx="4271">
                  <c:v>0</c:v>
                </c:pt>
                <c:pt idx="4272">
                  <c:v>0</c:v>
                </c:pt>
                <c:pt idx="4273">
                  <c:v>0</c:v>
                </c:pt>
                <c:pt idx="4274">
                  <c:v>0</c:v>
                </c:pt>
                <c:pt idx="4275">
                  <c:v>0</c:v>
                </c:pt>
                <c:pt idx="4276">
                  <c:v>0</c:v>
                </c:pt>
                <c:pt idx="4277">
                  <c:v>0</c:v>
                </c:pt>
                <c:pt idx="4278">
                  <c:v>0</c:v>
                </c:pt>
                <c:pt idx="4279">
                  <c:v>0</c:v>
                </c:pt>
                <c:pt idx="4280">
                  <c:v>0</c:v>
                </c:pt>
                <c:pt idx="4281">
                  <c:v>0</c:v>
                </c:pt>
                <c:pt idx="4282">
                  <c:v>0</c:v>
                </c:pt>
                <c:pt idx="4283">
                  <c:v>0</c:v>
                </c:pt>
                <c:pt idx="4284">
                  <c:v>0</c:v>
                </c:pt>
                <c:pt idx="4285">
                  <c:v>0</c:v>
                </c:pt>
                <c:pt idx="4286">
                  <c:v>0</c:v>
                </c:pt>
                <c:pt idx="4287">
                  <c:v>0</c:v>
                </c:pt>
                <c:pt idx="4288">
                  <c:v>0</c:v>
                </c:pt>
                <c:pt idx="4289">
                  <c:v>0</c:v>
                </c:pt>
                <c:pt idx="4290">
                  <c:v>0</c:v>
                </c:pt>
                <c:pt idx="4291">
                  <c:v>0</c:v>
                </c:pt>
                <c:pt idx="4292">
                  <c:v>0</c:v>
                </c:pt>
                <c:pt idx="4293">
                  <c:v>0</c:v>
                </c:pt>
                <c:pt idx="4294">
                  <c:v>0</c:v>
                </c:pt>
                <c:pt idx="4295">
                  <c:v>0</c:v>
                </c:pt>
                <c:pt idx="4296">
                  <c:v>0</c:v>
                </c:pt>
                <c:pt idx="4297">
                  <c:v>0</c:v>
                </c:pt>
                <c:pt idx="4298">
                  <c:v>0</c:v>
                </c:pt>
                <c:pt idx="4299">
                  <c:v>0</c:v>
                </c:pt>
                <c:pt idx="4300">
                  <c:v>0</c:v>
                </c:pt>
                <c:pt idx="4301">
                  <c:v>0</c:v>
                </c:pt>
                <c:pt idx="4302">
                  <c:v>0</c:v>
                </c:pt>
                <c:pt idx="4303">
                  <c:v>0</c:v>
                </c:pt>
                <c:pt idx="4304">
                  <c:v>0</c:v>
                </c:pt>
                <c:pt idx="4305">
                  <c:v>0</c:v>
                </c:pt>
                <c:pt idx="4306">
                  <c:v>0</c:v>
                </c:pt>
                <c:pt idx="4307">
                  <c:v>0</c:v>
                </c:pt>
                <c:pt idx="4308">
                  <c:v>0</c:v>
                </c:pt>
                <c:pt idx="4309">
                  <c:v>0</c:v>
                </c:pt>
                <c:pt idx="4310">
                  <c:v>0</c:v>
                </c:pt>
                <c:pt idx="4311">
                  <c:v>0</c:v>
                </c:pt>
                <c:pt idx="4312">
                  <c:v>0</c:v>
                </c:pt>
                <c:pt idx="4313">
                  <c:v>0</c:v>
                </c:pt>
                <c:pt idx="4314">
                  <c:v>0</c:v>
                </c:pt>
                <c:pt idx="4315">
                  <c:v>0</c:v>
                </c:pt>
                <c:pt idx="4316">
                  <c:v>0</c:v>
                </c:pt>
                <c:pt idx="4317">
                  <c:v>0</c:v>
                </c:pt>
                <c:pt idx="4318">
                  <c:v>0</c:v>
                </c:pt>
                <c:pt idx="4319">
                  <c:v>0</c:v>
                </c:pt>
                <c:pt idx="4320">
                  <c:v>0</c:v>
                </c:pt>
                <c:pt idx="4321">
                  <c:v>0</c:v>
                </c:pt>
                <c:pt idx="4322">
                  <c:v>0</c:v>
                </c:pt>
                <c:pt idx="4323">
                  <c:v>0</c:v>
                </c:pt>
                <c:pt idx="4324">
                  <c:v>0</c:v>
                </c:pt>
                <c:pt idx="4325">
                  <c:v>0</c:v>
                </c:pt>
                <c:pt idx="4326">
                  <c:v>0</c:v>
                </c:pt>
                <c:pt idx="4327">
                  <c:v>0</c:v>
                </c:pt>
                <c:pt idx="4328">
                  <c:v>0</c:v>
                </c:pt>
                <c:pt idx="4329">
                  <c:v>0</c:v>
                </c:pt>
                <c:pt idx="4330">
                  <c:v>0</c:v>
                </c:pt>
                <c:pt idx="4331">
                  <c:v>0</c:v>
                </c:pt>
                <c:pt idx="4332">
                  <c:v>0</c:v>
                </c:pt>
                <c:pt idx="4333">
                  <c:v>0</c:v>
                </c:pt>
                <c:pt idx="4334">
                  <c:v>0</c:v>
                </c:pt>
                <c:pt idx="4335">
                  <c:v>0</c:v>
                </c:pt>
                <c:pt idx="4336">
                  <c:v>0</c:v>
                </c:pt>
                <c:pt idx="4337">
                  <c:v>0</c:v>
                </c:pt>
                <c:pt idx="4338">
                  <c:v>0</c:v>
                </c:pt>
                <c:pt idx="4339">
                  <c:v>0</c:v>
                </c:pt>
                <c:pt idx="4340">
                  <c:v>0</c:v>
                </c:pt>
                <c:pt idx="4341">
                  <c:v>0</c:v>
                </c:pt>
                <c:pt idx="4342">
                  <c:v>0</c:v>
                </c:pt>
                <c:pt idx="4343">
                  <c:v>0</c:v>
                </c:pt>
                <c:pt idx="4344">
                  <c:v>0</c:v>
                </c:pt>
                <c:pt idx="4345">
                  <c:v>0</c:v>
                </c:pt>
                <c:pt idx="4346">
                  <c:v>0</c:v>
                </c:pt>
                <c:pt idx="4347">
                  <c:v>0</c:v>
                </c:pt>
                <c:pt idx="4348">
                  <c:v>0</c:v>
                </c:pt>
                <c:pt idx="4349">
                  <c:v>0</c:v>
                </c:pt>
                <c:pt idx="4350">
                  <c:v>0</c:v>
                </c:pt>
                <c:pt idx="4351">
                  <c:v>0</c:v>
                </c:pt>
                <c:pt idx="4352">
                  <c:v>0</c:v>
                </c:pt>
                <c:pt idx="4353">
                  <c:v>0</c:v>
                </c:pt>
                <c:pt idx="4354">
                  <c:v>0</c:v>
                </c:pt>
                <c:pt idx="4355">
                  <c:v>0</c:v>
                </c:pt>
                <c:pt idx="4356">
                  <c:v>0</c:v>
                </c:pt>
                <c:pt idx="4357">
                  <c:v>0</c:v>
                </c:pt>
                <c:pt idx="4358">
                  <c:v>0</c:v>
                </c:pt>
                <c:pt idx="4359">
                  <c:v>0</c:v>
                </c:pt>
                <c:pt idx="4360">
                  <c:v>0</c:v>
                </c:pt>
                <c:pt idx="4361">
                  <c:v>0</c:v>
                </c:pt>
                <c:pt idx="4362">
                  <c:v>0</c:v>
                </c:pt>
                <c:pt idx="4363">
                  <c:v>0</c:v>
                </c:pt>
                <c:pt idx="4364">
                  <c:v>0</c:v>
                </c:pt>
                <c:pt idx="4365">
                  <c:v>0</c:v>
                </c:pt>
                <c:pt idx="4366">
                  <c:v>0</c:v>
                </c:pt>
                <c:pt idx="4367">
                  <c:v>0</c:v>
                </c:pt>
                <c:pt idx="4368">
                  <c:v>0</c:v>
                </c:pt>
                <c:pt idx="4369">
                  <c:v>0</c:v>
                </c:pt>
                <c:pt idx="4370">
                  <c:v>0</c:v>
                </c:pt>
                <c:pt idx="4371">
                  <c:v>0</c:v>
                </c:pt>
                <c:pt idx="4372">
                  <c:v>0</c:v>
                </c:pt>
                <c:pt idx="4373">
                  <c:v>0</c:v>
                </c:pt>
                <c:pt idx="4374">
                  <c:v>0</c:v>
                </c:pt>
                <c:pt idx="4375">
                  <c:v>0</c:v>
                </c:pt>
                <c:pt idx="4376">
                  <c:v>0</c:v>
                </c:pt>
                <c:pt idx="4377">
                  <c:v>0</c:v>
                </c:pt>
                <c:pt idx="4378">
                  <c:v>0</c:v>
                </c:pt>
                <c:pt idx="4379">
                  <c:v>0</c:v>
                </c:pt>
                <c:pt idx="4380">
                  <c:v>0</c:v>
                </c:pt>
                <c:pt idx="4381">
                  <c:v>0</c:v>
                </c:pt>
                <c:pt idx="4382">
                  <c:v>0</c:v>
                </c:pt>
                <c:pt idx="4383">
                  <c:v>0</c:v>
                </c:pt>
                <c:pt idx="4384">
                  <c:v>0</c:v>
                </c:pt>
                <c:pt idx="4385">
                  <c:v>0</c:v>
                </c:pt>
                <c:pt idx="4386">
                  <c:v>0</c:v>
                </c:pt>
                <c:pt idx="4387">
                  <c:v>0</c:v>
                </c:pt>
                <c:pt idx="4388">
                  <c:v>0</c:v>
                </c:pt>
                <c:pt idx="4389">
                  <c:v>0</c:v>
                </c:pt>
                <c:pt idx="4390">
                  <c:v>0</c:v>
                </c:pt>
                <c:pt idx="4391">
                  <c:v>0</c:v>
                </c:pt>
                <c:pt idx="4392">
                  <c:v>0</c:v>
                </c:pt>
                <c:pt idx="4393">
                  <c:v>0</c:v>
                </c:pt>
                <c:pt idx="4394">
                  <c:v>0</c:v>
                </c:pt>
                <c:pt idx="4395">
                  <c:v>0</c:v>
                </c:pt>
                <c:pt idx="4396">
                  <c:v>0</c:v>
                </c:pt>
                <c:pt idx="4397">
                  <c:v>0</c:v>
                </c:pt>
                <c:pt idx="4398">
                  <c:v>0</c:v>
                </c:pt>
                <c:pt idx="4399">
                  <c:v>0</c:v>
                </c:pt>
                <c:pt idx="4400">
                  <c:v>0</c:v>
                </c:pt>
                <c:pt idx="4401">
                  <c:v>0</c:v>
                </c:pt>
                <c:pt idx="4402">
                  <c:v>0</c:v>
                </c:pt>
                <c:pt idx="4403">
                  <c:v>0</c:v>
                </c:pt>
                <c:pt idx="4404">
                  <c:v>0</c:v>
                </c:pt>
                <c:pt idx="4405">
                  <c:v>0</c:v>
                </c:pt>
                <c:pt idx="4406">
                  <c:v>0</c:v>
                </c:pt>
                <c:pt idx="4407">
                  <c:v>0</c:v>
                </c:pt>
                <c:pt idx="4408">
                  <c:v>0</c:v>
                </c:pt>
                <c:pt idx="4409">
                  <c:v>0</c:v>
                </c:pt>
                <c:pt idx="4410">
                  <c:v>0</c:v>
                </c:pt>
                <c:pt idx="4411">
                  <c:v>0</c:v>
                </c:pt>
                <c:pt idx="4412">
                  <c:v>0</c:v>
                </c:pt>
                <c:pt idx="4413">
                  <c:v>0</c:v>
                </c:pt>
                <c:pt idx="4414">
                  <c:v>0</c:v>
                </c:pt>
                <c:pt idx="4415">
                  <c:v>0</c:v>
                </c:pt>
                <c:pt idx="4416">
                  <c:v>0</c:v>
                </c:pt>
                <c:pt idx="4417">
                  <c:v>0</c:v>
                </c:pt>
                <c:pt idx="4418">
                  <c:v>0</c:v>
                </c:pt>
                <c:pt idx="4419">
                  <c:v>0</c:v>
                </c:pt>
                <c:pt idx="4420">
                  <c:v>0</c:v>
                </c:pt>
                <c:pt idx="4421">
                  <c:v>0</c:v>
                </c:pt>
                <c:pt idx="4422">
                  <c:v>0</c:v>
                </c:pt>
                <c:pt idx="4423">
                  <c:v>0</c:v>
                </c:pt>
                <c:pt idx="4424">
                  <c:v>0</c:v>
                </c:pt>
                <c:pt idx="4425">
                  <c:v>0</c:v>
                </c:pt>
                <c:pt idx="4426">
                  <c:v>0</c:v>
                </c:pt>
                <c:pt idx="4427">
                  <c:v>0</c:v>
                </c:pt>
                <c:pt idx="4428">
                  <c:v>0</c:v>
                </c:pt>
                <c:pt idx="4429">
                  <c:v>0</c:v>
                </c:pt>
                <c:pt idx="4430">
                  <c:v>0</c:v>
                </c:pt>
                <c:pt idx="4431">
                  <c:v>0</c:v>
                </c:pt>
                <c:pt idx="4432">
                  <c:v>0</c:v>
                </c:pt>
                <c:pt idx="4433">
                  <c:v>0</c:v>
                </c:pt>
                <c:pt idx="4434">
                  <c:v>0</c:v>
                </c:pt>
                <c:pt idx="4435">
                  <c:v>0</c:v>
                </c:pt>
                <c:pt idx="4436">
                  <c:v>0</c:v>
                </c:pt>
                <c:pt idx="4437">
                  <c:v>0</c:v>
                </c:pt>
                <c:pt idx="4438">
                  <c:v>0</c:v>
                </c:pt>
                <c:pt idx="4439">
                  <c:v>0</c:v>
                </c:pt>
                <c:pt idx="4440">
                  <c:v>0</c:v>
                </c:pt>
                <c:pt idx="4441">
                  <c:v>0</c:v>
                </c:pt>
                <c:pt idx="4442">
                  <c:v>0</c:v>
                </c:pt>
                <c:pt idx="4443">
                  <c:v>0</c:v>
                </c:pt>
                <c:pt idx="4444">
                  <c:v>0</c:v>
                </c:pt>
                <c:pt idx="4445">
                  <c:v>0</c:v>
                </c:pt>
                <c:pt idx="4446">
                  <c:v>0</c:v>
                </c:pt>
                <c:pt idx="4447">
                  <c:v>0</c:v>
                </c:pt>
                <c:pt idx="4448">
                  <c:v>0</c:v>
                </c:pt>
                <c:pt idx="4449">
                  <c:v>0</c:v>
                </c:pt>
                <c:pt idx="4450">
                  <c:v>0</c:v>
                </c:pt>
                <c:pt idx="4451">
                  <c:v>0</c:v>
                </c:pt>
                <c:pt idx="4452">
                  <c:v>0</c:v>
                </c:pt>
                <c:pt idx="4453">
                  <c:v>0</c:v>
                </c:pt>
                <c:pt idx="4454">
                  <c:v>0</c:v>
                </c:pt>
                <c:pt idx="4455">
                  <c:v>0</c:v>
                </c:pt>
                <c:pt idx="4456">
                  <c:v>0</c:v>
                </c:pt>
                <c:pt idx="4457">
                  <c:v>0</c:v>
                </c:pt>
                <c:pt idx="4458">
                  <c:v>0</c:v>
                </c:pt>
                <c:pt idx="4459">
                  <c:v>0</c:v>
                </c:pt>
                <c:pt idx="4460">
                  <c:v>0</c:v>
                </c:pt>
                <c:pt idx="4461">
                  <c:v>0</c:v>
                </c:pt>
                <c:pt idx="4462">
                  <c:v>0</c:v>
                </c:pt>
                <c:pt idx="4463">
                  <c:v>0</c:v>
                </c:pt>
                <c:pt idx="4464">
                  <c:v>0</c:v>
                </c:pt>
                <c:pt idx="4465">
                  <c:v>0</c:v>
                </c:pt>
                <c:pt idx="4466">
                  <c:v>0</c:v>
                </c:pt>
                <c:pt idx="4467">
                  <c:v>0</c:v>
                </c:pt>
                <c:pt idx="4468">
                  <c:v>0</c:v>
                </c:pt>
                <c:pt idx="4469">
                  <c:v>0</c:v>
                </c:pt>
                <c:pt idx="4470">
                  <c:v>0</c:v>
                </c:pt>
                <c:pt idx="4471">
                  <c:v>0</c:v>
                </c:pt>
                <c:pt idx="4472">
                  <c:v>0</c:v>
                </c:pt>
                <c:pt idx="4473">
                  <c:v>0</c:v>
                </c:pt>
                <c:pt idx="4474">
                  <c:v>0</c:v>
                </c:pt>
                <c:pt idx="4475">
                  <c:v>0</c:v>
                </c:pt>
                <c:pt idx="4476">
                  <c:v>0</c:v>
                </c:pt>
                <c:pt idx="4477">
                  <c:v>0</c:v>
                </c:pt>
                <c:pt idx="4478">
                  <c:v>0</c:v>
                </c:pt>
                <c:pt idx="4479">
                  <c:v>0</c:v>
                </c:pt>
                <c:pt idx="4480">
                  <c:v>0</c:v>
                </c:pt>
                <c:pt idx="4481">
                  <c:v>0</c:v>
                </c:pt>
                <c:pt idx="4482">
                  <c:v>0</c:v>
                </c:pt>
                <c:pt idx="4483">
                  <c:v>0</c:v>
                </c:pt>
                <c:pt idx="4484">
                  <c:v>0</c:v>
                </c:pt>
                <c:pt idx="4485">
                  <c:v>0</c:v>
                </c:pt>
                <c:pt idx="4486">
                  <c:v>0</c:v>
                </c:pt>
                <c:pt idx="4487">
                  <c:v>0</c:v>
                </c:pt>
                <c:pt idx="4488">
                  <c:v>0</c:v>
                </c:pt>
                <c:pt idx="4489">
                  <c:v>0</c:v>
                </c:pt>
                <c:pt idx="4490">
                  <c:v>0</c:v>
                </c:pt>
                <c:pt idx="4491">
                  <c:v>0</c:v>
                </c:pt>
                <c:pt idx="4492">
                  <c:v>0</c:v>
                </c:pt>
                <c:pt idx="4493">
                  <c:v>0</c:v>
                </c:pt>
                <c:pt idx="4494">
                  <c:v>0</c:v>
                </c:pt>
                <c:pt idx="4495">
                  <c:v>0</c:v>
                </c:pt>
                <c:pt idx="4496">
                  <c:v>0</c:v>
                </c:pt>
                <c:pt idx="4497">
                  <c:v>0</c:v>
                </c:pt>
                <c:pt idx="4498">
                  <c:v>0</c:v>
                </c:pt>
                <c:pt idx="4499">
                  <c:v>0</c:v>
                </c:pt>
                <c:pt idx="4500">
                  <c:v>0</c:v>
                </c:pt>
                <c:pt idx="4501">
                  <c:v>0</c:v>
                </c:pt>
                <c:pt idx="4502">
                  <c:v>0</c:v>
                </c:pt>
                <c:pt idx="4503">
                  <c:v>0</c:v>
                </c:pt>
                <c:pt idx="4504">
                  <c:v>0</c:v>
                </c:pt>
                <c:pt idx="4505">
                  <c:v>0</c:v>
                </c:pt>
                <c:pt idx="4506">
                  <c:v>0</c:v>
                </c:pt>
                <c:pt idx="4507">
                  <c:v>0</c:v>
                </c:pt>
                <c:pt idx="4508">
                  <c:v>0</c:v>
                </c:pt>
                <c:pt idx="4509">
                  <c:v>0</c:v>
                </c:pt>
                <c:pt idx="4510">
                  <c:v>0</c:v>
                </c:pt>
                <c:pt idx="4511">
                  <c:v>0</c:v>
                </c:pt>
                <c:pt idx="4512">
                  <c:v>0</c:v>
                </c:pt>
                <c:pt idx="4513">
                  <c:v>0</c:v>
                </c:pt>
                <c:pt idx="4514">
                  <c:v>0</c:v>
                </c:pt>
                <c:pt idx="4515">
                  <c:v>0</c:v>
                </c:pt>
                <c:pt idx="4516">
                  <c:v>0</c:v>
                </c:pt>
                <c:pt idx="4517">
                  <c:v>0</c:v>
                </c:pt>
                <c:pt idx="4518">
                  <c:v>0</c:v>
                </c:pt>
                <c:pt idx="4519">
                  <c:v>0</c:v>
                </c:pt>
                <c:pt idx="4520">
                  <c:v>0</c:v>
                </c:pt>
                <c:pt idx="4521">
                  <c:v>0</c:v>
                </c:pt>
                <c:pt idx="4522">
                  <c:v>0</c:v>
                </c:pt>
                <c:pt idx="4523">
                  <c:v>0</c:v>
                </c:pt>
                <c:pt idx="4524">
                  <c:v>0</c:v>
                </c:pt>
                <c:pt idx="4525">
                  <c:v>0</c:v>
                </c:pt>
                <c:pt idx="4526">
                  <c:v>0</c:v>
                </c:pt>
                <c:pt idx="4527">
                  <c:v>0</c:v>
                </c:pt>
                <c:pt idx="4528">
                  <c:v>0</c:v>
                </c:pt>
                <c:pt idx="4529">
                  <c:v>0</c:v>
                </c:pt>
                <c:pt idx="4530">
                  <c:v>0</c:v>
                </c:pt>
                <c:pt idx="4531">
                  <c:v>0</c:v>
                </c:pt>
                <c:pt idx="4532">
                  <c:v>0</c:v>
                </c:pt>
                <c:pt idx="4533">
                  <c:v>0</c:v>
                </c:pt>
                <c:pt idx="4534">
                  <c:v>0</c:v>
                </c:pt>
                <c:pt idx="4535">
                  <c:v>0</c:v>
                </c:pt>
                <c:pt idx="4536">
                  <c:v>0</c:v>
                </c:pt>
                <c:pt idx="4537">
                  <c:v>0</c:v>
                </c:pt>
                <c:pt idx="4538">
                  <c:v>0</c:v>
                </c:pt>
                <c:pt idx="4539">
                  <c:v>0</c:v>
                </c:pt>
                <c:pt idx="4540">
                  <c:v>0</c:v>
                </c:pt>
                <c:pt idx="4541">
                  <c:v>0</c:v>
                </c:pt>
                <c:pt idx="4542">
                  <c:v>0</c:v>
                </c:pt>
                <c:pt idx="4543">
                  <c:v>0</c:v>
                </c:pt>
                <c:pt idx="4544">
                  <c:v>0</c:v>
                </c:pt>
                <c:pt idx="4545">
                  <c:v>0</c:v>
                </c:pt>
                <c:pt idx="4546">
                  <c:v>0</c:v>
                </c:pt>
                <c:pt idx="4547">
                  <c:v>0</c:v>
                </c:pt>
                <c:pt idx="4548">
                  <c:v>0</c:v>
                </c:pt>
                <c:pt idx="4549">
                  <c:v>0</c:v>
                </c:pt>
                <c:pt idx="4550">
                  <c:v>0</c:v>
                </c:pt>
                <c:pt idx="4551">
                  <c:v>0</c:v>
                </c:pt>
                <c:pt idx="4552">
                  <c:v>0</c:v>
                </c:pt>
                <c:pt idx="4553">
                  <c:v>0</c:v>
                </c:pt>
                <c:pt idx="4554">
                  <c:v>0</c:v>
                </c:pt>
                <c:pt idx="4555">
                  <c:v>0</c:v>
                </c:pt>
                <c:pt idx="4556">
                  <c:v>0</c:v>
                </c:pt>
                <c:pt idx="4557">
                  <c:v>0</c:v>
                </c:pt>
                <c:pt idx="4558">
                  <c:v>0</c:v>
                </c:pt>
                <c:pt idx="4559">
                  <c:v>0</c:v>
                </c:pt>
                <c:pt idx="4560">
                  <c:v>0</c:v>
                </c:pt>
                <c:pt idx="4561">
                  <c:v>0</c:v>
                </c:pt>
                <c:pt idx="4562">
                  <c:v>0</c:v>
                </c:pt>
                <c:pt idx="4563">
                  <c:v>0</c:v>
                </c:pt>
                <c:pt idx="4564">
                  <c:v>0</c:v>
                </c:pt>
                <c:pt idx="4565">
                  <c:v>0</c:v>
                </c:pt>
                <c:pt idx="4566">
                  <c:v>0</c:v>
                </c:pt>
                <c:pt idx="4567">
                  <c:v>0</c:v>
                </c:pt>
                <c:pt idx="4568">
                  <c:v>0</c:v>
                </c:pt>
                <c:pt idx="4569">
                  <c:v>0</c:v>
                </c:pt>
                <c:pt idx="4570">
                  <c:v>0</c:v>
                </c:pt>
                <c:pt idx="4571">
                  <c:v>0</c:v>
                </c:pt>
                <c:pt idx="4572">
                  <c:v>0</c:v>
                </c:pt>
                <c:pt idx="4573">
                  <c:v>0</c:v>
                </c:pt>
                <c:pt idx="4574">
                  <c:v>0</c:v>
                </c:pt>
                <c:pt idx="4575">
                  <c:v>0</c:v>
                </c:pt>
                <c:pt idx="4576">
                  <c:v>0</c:v>
                </c:pt>
                <c:pt idx="4577">
                  <c:v>0</c:v>
                </c:pt>
                <c:pt idx="4578">
                  <c:v>0</c:v>
                </c:pt>
                <c:pt idx="4579">
                  <c:v>0</c:v>
                </c:pt>
                <c:pt idx="4580">
                  <c:v>0</c:v>
                </c:pt>
                <c:pt idx="4581">
                  <c:v>0</c:v>
                </c:pt>
                <c:pt idx="4582">
                  <c:v>0</c:v>
                </c:pt>
                <c:pt idx="4583">
                  <c:v>0</c:v>
                </c:pt>
                <c:pt idx="4584">
                  <c:v>0</c:v>
                </c:pt>
                <c:pt idx="4585">
                  <c:v>0</c:v>
                </c:pt>
                <c:pt idx="4586">
                  <c:v>0</c:v>
                </c:pt>
                <c:pt idx="4587">
                  <c:v>0</c:v>
                </c:pt>
                <c:pt idx="4588">
                  <c:v>0</c:v>
                </c:pt>
                <c:pt idx="4589">
                  <c:v>0</c:v>
                </c:pt>
                <c:pt idx="4590">
                  <c:v>0</c:v>
                </c:pt>
                <c:pt idx="4591">
                  <c:v>0</c:v>
                </c:pt>
                <c:pt idx="4592">
                  <c:v>0</c:v>
                </c:pt>
                <c:pt idx="4593">
                  <c:v>0</c:v>
                </c:pt>
                <c:pt idx="4594">
                  <c:v>0</c:v>
                </c:pt>
                <c:pt idx="4595">
                  <c:v>0</c:v>
                </c:pt>
                <c:pt idx="4596">
                  <c:v>0</c:v>
                </c:pt>
                <c:pt idx="4597">
                  <c:v>0</c:v>
                </c:pt>
                <c:pt idx="4598">
                  <c:v>0</c:v>
                </c:pt>
                <c:pt idx="4599">
                  <c:v>0</c:v>
                </c:pt>
                <c:pt idx="4600">
                  <c:v>0</c:v>
                </c:pt>
                <c:pt idx="4601">
                  <c:v>0</c:v>
                </c:pt>
                <c:pt idx="4602">
                  <c:v>0</c:v>
                </c:pt>
                <c:pt idx="4603">
                  <c:v>0</c:v>
                </c:pt>
                <c:pt idx="4604">
                  <c:v>0</c:v>
                </c:pt>
                <c:pt idx="4605">
                  <c:v>0</c:v>
                </c:pt>
                <c:pt idx="4606">
                  <c:v>0</c:v>
                </c:pt>
                <c:pt idx="4607">
                  <c:v>0</c:v>
                </c:pt>
                <c:pt idx="4608">
                  <c:v>0</c:v>
                </c:pt>
                <c:pt idx="4609">
                  <c:v>0</c:v>
                </c:pt>
                <c:pt idx="4610">
                  <c:v>0</c:v>
                </c:pt>
                <c:pt idx="4611">
                  <c:v>0</c:v>
                </c:pt>
                <c:pt idx="4612">
                  <c:v>0</c:v>
                </c:pt>
                <c:pt idx="4613">
                  <c:v>0</c:v>
                </c:pt>
                <c:pt idx="4614">
                  <c:v>0</c:v>
                </c:pt>
                <c:pt idx="4615">
                  <c:v>0</c:v>
                </c:pt>
                <c:pt idx="4616">
                  <c:v>0</c:v>
                </c:pt>
                <c:pt idx="4617">
                  <c:v>0</c:v>
                </c:pt>
                <c:pt idx="4618">
                  <c:v>0</c:v>
                </c:pt>
                <c:pt idx="4619">
                  <c:v>0</c:v>
                </c:pt>
                <c:pt idx="4620">
                  <c:v>0</c:v>
                </c:pt>
                <c:pt idx="4621">
                  <c:v>0</c:v>
                </c:pt>
                <c:pt idx="4622">
                  <c:v>0</c:v>
                </c:pt>
                <c:pt idx="4623">
                  <c:v>0</c:v>
                </c:pt>
                <c:pt idx="4624">
                  <c:v>0</c:v>
                </c:pt>
                <c:pt idx="4625">
                  <c:v>0</c:v>
                </c:pt>
                <c:pt idx="4626">
                  <c:v>0</c:v>
                </c:pt>
                <c:pt idx="4627">
                  <c:v>0</c:v>
                </c:pt>
                <c:pt idx="4628">
                  <c:v>0</c:v>
                </c:pt>
                <c:pt idx="4629">
                  <c:v>0</c:v>
                </c:pt>
                <c:pt idx="4630">
                  <c:v>0</c:v>
                </c:pt>
                <c:pt idx="4631">
                  <c:v>0</c:v>
                </c:pt>
                <c:pt idx="4632">
                  <c:v>0</c:v>
                </c:pt>
                <c:pt idx="4633">
                  <c:v>0</c:v>
                </c:pt>
                <c:pt idx="4634">
                  <c:v>0</c:v>
                </c:pt>
                <c:pt idx="4635">
                  <c:v>0</c:v>
                </c:pt>
                <c:pt idx="4636">
                  <c:v>0</c:v>
                </c:pt>
                <c:pt idx="4637">
                  <c:v>0</c:v>
                </c:pt>
                <c:pt idx="4638">
                  <c:v>0</c:v>
                </c:pt>
                <c:pt idx="4639">
                  <c:v>0</c:v>
                </c:pt>
                <c:pt idx="4640">
                  <c:v>0</c:v>
                </c:pt>
                <c:pt idx="4641">
                  <c:v>0</c:v>
                </c:pt>
                <c:pt idx="4642">
                  <c:v>0</c:v>
                </c:pt>
                <c:pt idx="4643">
                  <c:v>0</c:v>
                </c:pt>
                <c:pt idx="4644">
                  <c:v>0</c:v>
                </c:pt>
                <c:pt idx="4645">
                  <c:v>0</c:v>
                </c:pt>
                <c:pt idx="4646">
                  <c:v>0</c:v>
                </c:pt>
                <c:pt idx="4647">
                  <c:v>0</c:v>
                </c:pt>
                <c:pt idx="4648">
                  <c:v>0</c:v>
                </c:pt>
                <c:pt idx="4649">
                  <c:v>0</c:v>
                </c:pt>
                <c:pt idx="4650">
                  <c:v>0</c:v>
                </c:pt>
                <c:pt idx="4651">
                  <c:v>0</c:v>
                </c:pt>
                <c:pt idx="4652">
                  <c:v>0</c:v>
                </c:pt>
                <c:pt idx="4653">
                  <c:v>0</c:v>
                </c:pt>
                <c:pt idx="4654">
                  <c:v>0</c:v>
                </c:pt>
                <c:pt idx="4655">
                  <c:v>0</c:v>
                </c:pt>
                <c:pt idx="4656">
                  <c:v>0</c:v>
                </c:pt>
                <c:pt idx="4657">
                  <c:v>0</c:v>
                </c:pt>
                <c:pt idx="4658">
                  <c:v>0</c:v>
                </c:pt>
                <c:pt idx="4659">
                  <c:v>0</c:v>
                </c:pt>
                <c:pt idx="4660">
                  <c:v>0</c:v>
                </c:pt>
                <c:pt idx="4661">
                  <c:v>0</c:v>
                </c:pt>
                <c:pt idx="4662">
                  <c:v>0</c:v>
                </c:pt>
                <c:pt idx="4663">
                  <c:v>0</c:v>
                </c:pt>
                <c:pt idx="4664">
                  <c:v>0</c:v>
                </c:pt>
                <c:pt idx="4665">
                  <c:v>0</c:v>
                </c:pt>
                <c:pt idx="4666">
                  <c:v>0</c:v>
                </c:pt>
                <c:pt idx="4667">
                  <c:v>0</c:v>
                </c:pt>
                <c:pt idx="4668">
                  <c:v>0</c:v>
                </c:pt>
                <c:pt idx="4669">
                  <c:v>0</c:v>
                </c:pt>
                <c:pt idx="4670">
                  <c:v>0</c:v>
                </c:pt>
                <c:pt idx="4671">
                  <c:v>0</c:v>
                </c:pt>
                <c:pt idx="4672">
                  <c:v>0</c:v>
                </c:pt>
                <c:pt idx="4673">
                  <c:v>0</c:v>
                </c:pt>
                <c:pt idx="4674">
                  <c:v>0</c:v>
                </c:pt>
                <c:pt idx="4675">
                  <c:v>0</c:v>
                </c:pt>
                <c:pt idx="4676">
                  <c:v>0</c:v>
                </c:pt>
                <c:pt idx="4677">
                  <c:v>0</c:v>
                </c:pt>
                <c:pt idx="4678">
                  <c:v>0</c:v>
                </c:pt>
                <c:pt idx="4679">
                  <c:v>0</c:v>
                </c:pt>
                <c:pt idx="4680">
                  <c:v>0</c:v>
                </c:pt>
                <c:pt idx="4681">
                  <c:v>0</c:v>
                </c:pt>
                <c:pt idx="4682">
                  <c:v>0</c:v>
                </c:pt>
                <c:pt idx="4683">
                  <c:v>0</c:v>
                </c:pt>
                <c:pt idx="4684">
                  <c:v>0</c:v>
                </c:pt>
                <c:pt idx="4685">
                  <c:v>0</c:v>
                </c:pt>
                <c:pt idx="4686">
                  <c:v>0</c:v>
                </c:pt>
                <c:pt idx="4687">
                  <c:v>0</c:v>
                </c:pt>
                <c:pt idx="4688">
                  <c:v>0</c:v>
                </c:pt>
                <c:pt idx="4689">
                  <c:v>0</c:v>
                </c:pt>
                <c:pt idx="4690">
                  <c:v>0</c:v>
                </c:pt>
                <c:pt idx="4691">
                  <c:v>0</c:v>
                </c:pt>
                <c:pt idx="4692">
                  <c:v>0</c:v>
                </c:pt>
                <c:pt idx="4693">
                  <c:v>0</c:v>
                </c:pt>
                <c:pt idx="4694">
                  <c:v>0</c:v>
                </c:pt>
                <c:pt idx="4695">
                  <c:v>0</c:v>
                </c:pt>
                <c:pt idx="4696">
                  <c:v>0</c:v>
                </c:pt>
                <c:pt idx="4697">
                  <c:v>0</c:v>
                </c:pt>
                <c:pt idx="4698">
                  <c:v>0</c:v>
                </c:pt>
                <c:pt idx="4699">
                  <c:v>0</c:v>
                </c:pt>
                <c:pt idx="4700">
                  <c:v>0</c:v>
                </c:pt>
                <c:pt idx="4701">
                  <c:v>0</c:v>
                </c:pt>
                <c:pt idx="4702">
                  <c:v>0</c:v>
                </c:pt>
                <c:pt idx="4703">
                  <c:v>0</c:v>
                </c:pt>
                <c:pt idx="4704">
                  <c:v>0</c:v>
                </c:pt>
                <c:pt idx="4705">
                  <c:v>0</c:v>
                </c:pt>
                <c:pt idx="4706">
                  <c:v>0</c:v>
                </c:pt>
                <c:pt idx="4707">
                  <c:v>0</c:v>
                </c:pt>
                <c:pt idx="4708">
                  <c:v>0</c:v>
                </c:pt>
                <c:pt idx="4709">
                  <c:v>0</c:v>
                </c:pt>
                <c:pt idx="4710">
                  <c:v>0</c:v>
                </c:pt>
                <c:pt idx="4711">
                  <c:v>0</c:v>
                </c:pt>
                <c:pt idx="4712">
                  <c:v>0</c:v>
                </c:pt>
                <c:pt idx="4713">
                  <c:v>0</c:v>
                </c:pt>
                <c:pt idx="4714">
                  <c:v>0</c:v>
                </c:pt>
                <c:pt idx="4715">
                  <c:v>0</c:v>
                </c:pt>
                <c:pt idx="4716">
                  <c:v>0</c:v>
                </c:pt>
                <c:pt idx="4717">
                  <c:v>0</c:v>
                </c:pt>
                <c:pt idx="4718">
                  <c:v>0</c:v>
                </c:pt>
                <c:pt idx="4719">
                  <c:v>0</c:v>
                </c:pt>
                <c:pt idx="4720">
                  <c:v>0</c:v>
                </c:pt>
                <c:pt idx="4721">
                  <c:v>0</c:v>
                </c:pt>
                <c:pt idx="4722">
                  <c:v>0</c:v>
                </c:pt>
                <c:pt idx="4723">
                  <c:v>0</c:v>
                </c:pt>
                <c:pt idx="4724">
                  <c:v>0</c:v>
                </c:pt>
                <c:pt idx="4725">
                  <c:v>0</c:v>
                </c:pt>
                <c:pt idx="4726">
                  <c:v>0</c:v>
                </c:pt>
                <c:pt idx="4727">
                  <c:v>0</c:v>
                </c:pt>
                <c:pt idx="4728">
                  <c:v>0</c:v>
                </c:pt>
                <c:pt idx="4729">
                  <c:v>0</c:v>
                </c:pt>
                <c:pt idx="4730">
                  <c:v>0</c:v>
                </c:pt>
                <c:pt idx="4731">
                  <c:v>0</c:v>
                </c:pt>
                <c:pt idx="4732">
                  <c:v>0</c:v>
                </c:pt>
                <c:pt idx="4733">
                  <c:v>0</c:v>
                </c:pt>
                <c:pt idx="4734">
                  <c:v>0</c:v>
                </c:pt>
                <c:pt idx="4735">
                  <c:v>0</c:v>
                </c:pt>
                <c:pt idx="4736">
                  <c:v>0</c:v>
                </c:pt>
                <c:pt idx="4737">
                  <c:v>0</c:v>
                </c:pt>
                <c:pt idx="4738">
                  <c:v>0</c:v>
                </c:pt>
                <c:pt idx="4739">
                  <c:v>0</c:v>
                </c:pt>
                <c:pt idx="4740">
                  <c:v>0</c:v>
                </c:pt>
                <c:pt idx="4741">
                  <c:v>0</c:v>
                </c:pt>
                <c:pt idx="4742">
                  <c:v>0</c:v>
                </c:pt>
                <c:pt idx="4743">
                  <c:v>0</c:v>
                </c:pt>
                <c:pt idx="4744">
                  <c:v>0</c:v>
                </c:pt>
                <c:pt idx="4745">
                  <c:v>0</c:v>
                </c:pt>
                <c:pt idx="4746">
                  <c:v>0</c:v>
                </c:pt>
                <c:pt idx="4747">
                  <c:v>0</c:v>
                </c:pt>
                <c:pt idx="4748">
                  <c:v>0</c:v>
                </c:pt>
                <c:pt idx="4749">
                  <c:v>0</c:v>
                </c:pt>
                <c:pt idx="4750">
                  <c:v>0</c:v>
                </c:pt>
                <c:pt idx="4751">
                  <c:v>0</c:v>
                </c:pt>
                <c:pt idx="4752">
                  <c:v>0</c:v>
                </c:pt>
                <c:pt idx="4753">
                  <c:v>0</c:v>
                </c:pt>
                <c:pt idx="4754">
                  <c:v>0</c:v>
                </c:pt>
                <c:pt idx="4755">
                  <c:v>0</c:v>
                </c:pt>
                <c:pt idx="4756">
                  <c:v>0</c:v>
                </c:pt>
                <c:pt idx="4757">
                  <c:v>0</c:v>
                </c:pt>
                <c:pt idx="4758">
                  <c:v>0</c:v>
                </c:pt>
                <c:pt idx="4759">
                  <c:v>0</c:v>
                </c:pt>
                <c:pt idx="4760">
                  <c:v>0</c:v>
                </c:pt>
                <c:pt idx="4761">
                  <c:v>0</c:v>
                </c:pt>
                <c:pt idx="4762">
                  <c:v>0</c:v>
                </c:pt>
                <c:pt idx="4763">
                  <c:v>0</c:v>
                </c:pt>
                <c:pt idx="4764">
                  <c:v>0</c:v>
                </c:pt>
                <c:pt idx="4765">
                  <c:v>0</c:v>
                </c:pt>
                <c:pt idx="4766">
                  <c:v>0</c:v>
                </c:pt>
                <c:pt idx="4767">
                  <c:v>0</c:v>
                </c:pt>
                <c:pt idx="4768">
                  <c:v>0</c:v>
                </c:pt>
                <c:pt idx="4769">
                  <c:v>0</c:v>
                </c:pt>
                <c:pt idx="4770">
                  <c:v>0</c:v>
                </c:pt>
                <c:pt idx="4771">
                  <c:v>0</c:v>
                </c:pt>
                <c:pt idx="4772">
                  <c:v>0</c:v>
                </c:pt>
                <c:pt idx="4773">
                  <c:v>0</c:v>
                </c:pt>
                <c:pt idx="4774">
                  <c:v>0</c:v>
                </c:pt>
                <c:pt idx="4775">
                  <c:v>0</c:v>
                </c:pt>
                <c:pt idx="4776">
                  <c:v>0</c:v>
                </c:pt>
                <c:pt idx="4777">
                  <c:v>0</c:v>
                </c:pt>
                <c:pt idx="4778">
                  <c:v>0</c:v>
                </c:pt>
                <c:pt idx="4779">
                  <c:v>0</c:v>
                </c:pt>
                <c:pt idx="4780">
                  <c:v>0</c:v>
                </c:pt>
                <c:pt idx="4781">
                  <c:v>0</c:v>
                </c:pt>
                <c:pt idx="4782">
                  <c:v>0</c:v>
                </c:pt>
                <c:pt idx="4783">
                  <c:v>0</c:v>
                </c:pt>
                <c:pt idx="4784">
                  <c:v>0</c:v>
                </c:pt>
                <c:pt idx="4785">
                  <c:v>0</c:v>
                </c:pt>
                <c:pt idx="4786">
                  <c:v>0</c:v>
                </c:pt>
                <c:pt idx="4787">
                  <c:v>0</c:v>
                </c:pt>
                <c:pt idx="4788">
                  <c:v>0</c:v>
                </c:pt>
                <c:pt idx="4789">
                  <c:v>0</c:v>
                </c:pt>
                <c:pt idx="4790">
                  <c:v>0</c:v>
                </c:pt>
                <c:pt idx="4791">
                  <c:v>0</c:v>
                </c:pt>
                <c:pt idx="4792">
                  <c:v>0</c:v>
                </c:pt>
                <c:pt idx="4793">
                  <c:v>0</c:v>
                </c:pt>
                <c:pt idx="4794">
                  <c:v>0</c:v>
                </c:pt>
                <c:pt idx="4795">
                  <c:v>0</c:v>
                </c:pt>
                <c:pt idx="4796">
                  <c:v>0</c:v>
                </c:pt>
                <c:pt idx="4797">
                  <c:v>0</c:v>
                </c:pt>
                <c:pt idx="4798">
                  <c:v>0</c:v>
                </c:pt>
                <c:pt idx="4799">
                  <c:v>0</c:v>
                </c:pt>
                <c:pt idx="4800">
                  <c:v>0</c:v>
                </c:pt>
                <c:pt idx="4801">
                  <c:v>0</c:v>
                </c:pt>
                <c:pt idx="4802">
                  <c:v>0</c:v>
                </c:pt>
                <c:pt idx="4803">
                  <c:v>0</c:v>
                </c:pt>
                <c:pt idx="4804">
                  <c:v>0</c:v>
                </c:pt>
                <c:pt idx="4805">
                  <c:v>0</c:v>
                </c:pt>
                <c:pt idx="4806">
                  <c:v>0</c:v>
                </c:pt>
                <c:pt idx="4807">
                  <c:v>0</c:v>
                </c:pt>
                <c:pt idx="4808">
                  <c:v>0</c:v>
                </c:pt>
                <c:pt idx="4809">
                  <c:v>0</c:v>
                </c:pt>
                <c:pt idx="4810">
                  <c:v>0</c:v>
                </c:pt>
                <c:pt idx="4811">
                  <c:v>0</c:v>
                </c:pt>
                <c:pt idx="4812">
                  <c:v>0</c:v>
                </c:pt>
                <c:pt idx="4813">
                  <c:v>0</c:v>
                </c:pt>
                <c:pt idx="4814">
                  <c:v>0</c:v>
                </c:pt>
                <c:pt idx="4815">
                  <c:v>0</c:v>
                </c:pt>
                <c:pt idx="4816">
                  <c:v>0</c:v>
                </c:pt>
                <c:pt idx="4817">
                  <c:v>0</c:v>
                </c:pt>
                <c:pt idx="4818">
                  <c:v>0</c:v>
                </c:pt>
                <c:pt idx="4819">
                  <c:v>0</c:v>
                </c:pt>
                <c:pt idx="4820">
                  <c:v>0</c:v>
                </c:pt>
                <c:pt idx="4821">
                  <c:v>0</c:v>
                </c:pt>
                <c:pt idx="4822">
                  <c:v>0</c:v>
                </c:pt>
                <c:pt idx="4823">
                  <c:v>0</c:v>
                </c:pt>
                <c:pt idx="4824">
                  <c:v>0</c:v>
                </c:pt>
                <c:pt idx="4825">
                  <c:v>0</c:v>
                </c:pt>
                <c:pt idx="4826">
                  <c:v>0</c:v>
                </c:pt>
                <c:pt idx="4827">
                  <c:v>0</c:v>
                </c:pt>
                <c:pt idx="4828">
                  <c:v>0</c:v>
                </c:pt>
                <c:pt idx="4829">
                  <c:v>0</c:v>
                </c:pt>
                <c:pt idx="4830">
                  <c:v>0</c:v>
                </c:pt>
                <c:pt idx="4831">
                  <c:v>0</c:v>
                </c:pt>
                <c:pt idx="4832">
                  <c:v>0</c:v>
                </c:pt>
                <c:pt idx="4833">
                  <c:v>0</c:v>
                </c:pt>
                <c:pt idx="4834">
                  <c:v>0</c:v>
                </c:pt>
                <c:pt idx="4835">
                  <c:v>0</c:v>
                </c:pt>
                <c:pt idx="4836">
                  <c:v>0</c:v>
                </c:pt>
                <c:pt idx="4837">
                  <c:v>0</c:v>
                </c:pt>
                <c:pt idx="4838">
                  <c:v>0</c:v>
                </c:pt>
                <c:pt idx="4839">
                  <c:v>0</c:v>
                </c:pt>
                <c:pt idx="4840">
                  <c:v>0</c:v>
                </c:pt>
                <c:pt idx="4841">
                  <c:v>0</c:v>
                </c:pt>
                <c:pt idx="4842">
                  <c:v>0</c:v>
                </c:pt>
                <c:pt idx="4843">
                  <c:v>0</c:v>
                </c:pt>
                <c:pt idx="4844">
                  <c:v>0</c:v>
                </c:pt>
                <c:pt idx="4845">
                  <c:v>0</c:v>
                </c:pt>
                <c:pt idx="4846">
                  <c:v>0</c:v>
                </c:pt>
                <c:pt idx="4847">
                  <c:v>0</c:v>
                </c:pt>
                <c:pt idx="4848">
                  <c:v>0</c:v>
                </c:pt>
                <c:pt idx="4849">
                  <c:v>0</c:v>
                </c:pt>
                <c:pt idx="4850">
                  <c:v>0</c:v>
                </c:pt>
                <c:pt idx="4851">
                  <c:v>0</c:v>
                </c:pt>
                <c:pt idx="4852">
                  <c:v>0</c:v>
                </c:pt>
                <c:pt idx="4853">
                  <c:v>0</c:v>
                </c:pt>
                <c:pt idx="4854">
                  <c:v>0</c:v>
                </c:pt>
                <c:pt idx="4855">
                  <c:v>0</c:v>
                </c:pt>
                <c:pt idx="4856">
                  <c:v>0</c:v>
                </c:pt>
                <c:pt idx="4857">
                  <c:v>0</c:v>
                </c:pt>
                <c:pt idx="4858">
                  <c:v>0</c:v>
                </c:pt>
                <c:pt idx="4859">
                  <c:v>0</c:v>
                </c:pt>
                <c:pt idx="4860">
                  <c:v>0</c:v>
                </c:pt>
                <c:pt idx="4861">
                  <c:v>0</c:v>
                </c:pt>
                <c:pt idx="4862">
                  <c:v>0</c:v>
                </c:pt>
                <c:pt idx="4863">
                  <c:v>0</c:v>
                </c:pt>
                <c:pt idx="4864">
                  <c:v>0</c:v>
                </c:pt>
                <c:pt idx="4865">
                  <c:v>0</c:v>
                </c:pt>
                <c:pt idx="4866">
                  <c:v>0</c:v>
                </c:pt>
                <c:pt idx="4867">
                  <c:v>0</c:v>
                </c:pt>
                <c:pt idx="4868">
                  <c:v>0</c:v>
                </c:pt>
                <c:pt idx="4869">
                  <c:v>0</c:v>
                </c:pt>
                <c:pt idx="4870">
                  <c:v>0</c:v>
                </c:pt>
                <c:pt idx="4871">
                  <c:v>0</c:v>
                </c:pt>
                <c:pt idx="4872">
                  <c:v>0</c:v>
                </c:pt>
                <c:pt idx="4873">
                  <c:v>0</c:v>
                </c:pt>
                <c:pt idx="4874">
                  <c:v>0</c:v>
                </c:pt>
                <c:pt idx="4875">
                  <c:v>0</c:v>
                </c:pt>
                <c:pt idx="4876">
                  <c:v>0</c:v>
                </c:pt>
                <c:pt idx="4877">
                  <c:v>0</c:v>
                </c:pt>
                <c:pt idx="4878">
                  <c:v>0</c:v>
                </c:pt>
                <c:pt idx="4879">
                  <c:v>0</c:v>
                </c:pt>
                <c:pt idx="4880">
                  <c:v>0</c:v>
                </c:pt>
                <c:pt idx="4881">
                  <c:v>0</c:v>
                </c:pt>
                <c:pt idx="4882">
                  <c:v>0</c:v>
                </c:pt>
                <c:pt idx="4883">
                  <c:v>0</c:v>
                </c:pt>
                <c:pt idx="4884">
                  <c:v>0</c:v>
                </c:pt>
                <c:pt idx="4885">
                  <c:v>0</c:v>
                </c:pt>
                <c:pt idx="4886">
                  <c:v>0</c:v>
                </c:pt>
                <c:pt idx="4887">
                  <c:v>0</c:v>
                </c:pt>
                <c:pt idx="4888">
                  <c:v>0</c:v>
                </c:pt>
                <c:pt idx="4889">
                  <c:v>0</c:v>
                </c:pt>
                <c:pt idx="4890">
                  <c:v>0</c:v>
                </c:pt>
                <c:pt idx="4891">
                  <c:v>0</c:v>
                </c:pt>
                <c:pt idx="4892">
                  <c:v>0</c:v>
                </c:pt>
                <c:pt idx="4893">
                  <c:v>0</c:v>
                </c:pt>
                <c:pt idx="4894">
                  <c:v>0</c:v>
                </c:pt>
                <c:pt idx="4895">
                  <c:v>0</c:v>
                </c:pt>
                <c:pt idx="4896">
                  <c:v>0</c:v>
                </c:pt>
                <c:pt idx="4897">
                  <c:v>0</c:v>
                </c:pt>
                <c:pt idx="4898">
                  <c:v>0</c:v>
                </c:pt>
                <c:pt idx="4899">
                  <c:v>0</c:v>
                </c:pt>
                <c:pt idx="4900">
                  <c:v>0</c:v>
                </c:pt>
                <c:pt idx="4901">
                  <c:v>0</c:v>
                </c:pt>
                <c:pt idx="4902">
                  <c:v>0</c:v>
                </c:pt>
                <c:pt idx="4903">
                  <c:v>0</c:v>
                </c:pt>
                <c:pt idx="4904">
                  <c:v>0</c:v>
                </c:pt>
                <c:pt idx="4905">
                  <c:v>0</c:v>
                </c:pt>
                <c:pt idx="4906">
                  <c:v>0</c:v>
                </c:pt>
                <c:pt idx="4907">
                  <c:v>0</c:v>
                </c:pt>
                <c:pt idx="4908">
                  <c:v>0</c:v>
                </c:pt>
                <c:pt idx="4909">
                  <c:v>0</c:v>
                </c:pt>
                <c:pt idx="4910">
                  <c:v>0</c:v>
                </c:pt>
                <c:pt idx="4911">
                  <c:v>0</c:v>
                </c:pt>
                <c:pt idx="4912">
                  <c:v>0</c:v>
                </c:pt>
                <c:pt idx="4913">
                  <c:v>0</c:v>
                </c:pt>
                <c:pt idx="4914">
                  <c:v>0</c:v>
                </c:pt>
                <c:pt idx="4915">
                  <c:v>0</c:v>
                </c:pt>
                <c:pt idx="4916">
                  <c:v>0</c:v>
                </c:pt>
                <c:pt idx="4917">
                  <c:v>0</c:v>
                </c:pt>
                <c:pt idx="4918">
                  <c:v>0</c:v>
                </c:pt>
                <c:pt idx="4919">
                  <c:v>0</c:v>
                </c:pt>
                <c:pt idx="4920">
                  <c:v>0</c:v>
                </c:pt>
                <c:pt idx="4921">
                  <c:v>0</c:v>
                </c:pt>
                <c:pt idx="4922">
                  <c:v>0</c:v>
                </c:pt>
                <c:pt idx="4923">
                  <c:v>0</c:v>
                </c:pt>
                <c:pt idx="4924">
                  <c:v>0</c:v>
                </c:pt>
                <c:pt idx="4925">
                  <c:v>0</c:v>
                </c:pt>
                <c:pt idx="4926">
                  <c:v>0</c:v>
                </c:pt>
                <c:pt idx="4927">
                  <c:v>0</c:v>
                </c:pt>
                <c:pt idx="4928">
                  <c:v>0</c:v>
                </c:pt>
                <c:pt idx="4929">
                  <c:v>0</c:v>
                </c:pt>
                <c:pt idx="4930">
                  <c:v>0</c:v>
                </c:pt>
                <c:pt idx="4931">
                  <c:v>0</c:v>
                </c:pt>
                <c:pt idx="4932">
                  <c:v>0</c:v>
                </c:pt>
                <c:pt idx="4933">
                  <c:v>0</c:v>
                </c:pt>
                <c:pt idx="4934">
                  <c:v>0</c:v>
                </c:pt>
                <c:pt idx="4935">
                  <c:v>0</c:v>
                </c:pt>
                <c:pt idx="4936">
                  <c:v>0</c:v>
                </c:pt>
                <c:pt idx="4937">
                  <c:v>0</c:v>
                </c:pt>
                <c:pt idx="4938">
                  <c:v>0</c:v>
                </c:pt>
                <c:pt idx="4939">
                  <c:v>0</c:v>
                </c:pt>
                <c:pt idx="4940">
                  <c:v>0</c:v>
                </c:pt>
                <c:pt idx="4941">
                  <c:v>0</c:v>
                </c:pt>
                <c:pt idx="4942">
                  <c:v>0</c:v>
                </c:pt>
                <c:pt idx="4943">
                  <c:v>0</c:v>
                </c:pt>
                <c:pt idx="4944">
                  <c:v>0</c:v>
                </c:pt>
                <c:pt idx="4945">
                  <c:v>0</c:v>
                </c:pt>
                <c:pt idx="4946">
                  <c:v>0</c:v>
                </c:pt>
                <c:pt idx="4947">
                  <c:v>0</c:v>
                </c:pt>
                <c:pt idx="4948">
                  <c:v>0</c:v>
                </c:pt>
                <c:pt idx="4949">
                  <c:v>0</c:v>
                </c:pt>
                <c:pt idx="4950">
                  <c:v>0</c:v>
                </c:pt>
                <c:pt idx="4951">
                  <c:v>0</c:v>
                </c:pt>
                <c:pt idx="4952">
                  <c:v>0</c:v>
                </c:pt>
                <c:pt idx="4953">
                  <c:v>0</c:v>
                </c:pt>
                <c:pt idx="4954">
                  <c:v>0</c:v>
                </c:pt>
                <c:pt idx="4955">
                  <c:v>0</c:v>
                </c:pt>
                <c:pt idx="4956">
                  <c:v>0</c:v>
                </c:pt>
                <c:pt idx="4957">
                  <c:v>0</c:v>
                </c:pt>
                <c:pt idx="4958">
                  <c:v>0</c:v>
                </c:pt>
                <c:pt idx="4959">
                  <c:v>0</c:v>
                </c:pt>
                <c:pt idx="4960">
                  <c:v>0</c:v>
                </c:pt>
                <c:pt idx="4961">
                  <c:v>0</c:v>
                </c:pt>
                <c:pt idx="4962">
                  <c:v>0</c:v>
                </c:pt>
                <c:pt idx="4963">
                  <c:v>0</c:v>
                </c:pt>
                <c:pt idx="4964">
                  <c:v>0</c:v>
                </c:pt>
                <c:pt idx="4965">
                  <c:v>0</c:v>
                </c:pt>
                <c:pt idx="4966">
                  <c:v>0</c:v>
                </c:pt>
                <c:pt idx="4967">
                  <c:v>0</c:v>
                </c:pt>
                <c:pt idx="4968">
                  <c:v>0</c:v>
                </c:pt>
                <c:pt idx="4969">
                  <c:v>0</c:v>
                </c:pt>
                <c:pt idx="4970">
                  <c:v>0</c:v>
                </c:pt>
                <c:pt idx="4971">
                  <c:v>0</c:v>
                </c:pt>
                <c:pt idx="4972">
                  <c:v>0</c:v>
                </c:pt>
                <c:pt idx="4973">
                  <c:v>0</c:v>
                </c:pt>
                <c:pt idx="4974">
                  <c:v>0</c:v>
                </c:pt>
                <c:pt idx="4975">
                  <c:v>0</c:v>
                </c:pt>
                <c:pt idx="4976">
                  <c:v>0</c:v>
                </c:pt>
                <c:pt idx="4977">
                  <c:v>0</c:v>
                </c:pt>
                <c:pt idx="4978">
                  <c:v>0</c:v>
                </c:pt>
                <c:pt idx="4979">
                  <c:v>0</c:v>
                </c:pt>
                <c:pt idx="4980">
                  <c:v>0</c:v>
                </c:pt>
                <c:pt idx="4981">
                  <c:v>0</c:v>
                </c:pt>
                <c:pt idx="4982">
                  <c:v>0</c:v>
                </c:pt>
                <c:pt idx="4983">
                  <c:v>0</c:v>
                </c:pt>
                <c:pt idx="4984">
                  <c:v>0</c:v>
                </c:pt>
                <c:pt idx="4985">
                  <c:v>0</c:v>
                </c:pt>
                <c:pt idx="4986">
                  <c:v>0</c:v>
                </c:pt>
                <c:pt idx="4987">
                  <c:v>0</c:v>
                </c:pt>
                <c:pt idx="4988">
                  <c:v>0</c:v>
                </c:pt>
                <c:pt idx="4989">
                  <c:v>0</c:v>
                </c:pt>
                <c:pt idx="4990">
                  <c:v>0</c:v>
                </c:pt>
                <c:pt idx="4991">
                  <c:v>0</c:v>
                </c:pt>
                <c:pt idx="4992">
                  <c:v>0</c:v>
                </c:pt>
                <c:pt idx="4993">
                  <c:v>0</c:v>
                </c:pt>
                <c:pt idx="4994">
                  <c:v>0</c:v>
                </c:pt>
                <c:pt idx="4995">
                  <c:v>0</c:v>
                </c:pt>
                <c:pt idx="4996">
                  <c:v>0</c:v>
                </c:pt>
                <c:pt idx="4997">
                  <c:v>0</c:v>
                </c:pt>
                <c:pt idx="4998">
                  <c:v>0</c:v>
                </c:pt>
                <c:pt idx="4999">
                  <c:v>0</c:v>
                </c:pt>
                <c:pt idx="5000">
                  <c:v>0</c:v>
                </c:pt>
                <c:pt idx="5001">
                  <c:v>0</c:v>
                </c:pt>
                <c:pt idx="5002">
                  <c:v>0</c:v>
                </c:pt>
                <c:pt idx="5003">
                  <c:v>0</c:v>
                </c:pt>
                <c:pt idx="5004">
                  <c:v>0</c:v>
                </c:pt>
                <c:pt idx="5005">
                  <c:v>0</c:v>
                </c:pt>
                <c:pt idx="5006">
                  <c:v>0</c:v>
                </c:pt>
                <c:pt idx="5007">
                  <c:v>0</c:v>
                </c:pt>
                <c:pt idx="5008">
                  <c:v>0</c:v>
                </c:pt>
                <c:pt idx="5009">
                  <c:v>0</c:v>
                </c:pt>
                <c:pt idx="5010">
                  <c:v>0</c:v>
                </c:pt>
                <c:pt idx="5011">
                  <c:v>0</c:v>
                </c:pt>
                <c:pt idx="5012">
                  <c:v>0</c:v>
                </c:pt>
                <c:pt idx="5013">
                  <c:v>0</c:v>
                </c:pt>
                <c:pt idx="5014">
                  <c:v>0</c:v>
                </c:pt>
                <c:pt idx="5015">
                  <c:v>0</c:v>
                </c:pt>
                <c:pt idx="5016">
                  <c:v>0</c:v>
                </c:pt>
                <c:pt idx="5017">
                  <c:v>0</c:v>
                </c:pt>
                <c:pt idx="5018">
                  <c:v>0</c:v>
                </c:pt>
                <c:pt idx="5019">
                  <c:v>0</c:v>
                </c:pt>
                <c:pt idx="5020">
                  <c:v>0</c:v>
                </c:pt>
                <c:pt idx="5021">
                  <c:v>0</c:v>
                </c:pt>
                <c:pt idx="5022">
                  <c:v>0</c:v>
                </c:pt>
                <c:pt idx="5023">
                  <c:v>0</c:v>
                </c:pt>
                <c:pt idx="5024">
                  <c:v>0</c:v>
                </c:pt>
                <c:pt idx="5025">
                  <c:v>0</c:v>
                </c:pt>
                <c:pt idx="5026">
                  <c:v>0</c:v>
                </c:pt>
                <c:pt idx="5027">
                  <c:v>0</c:v>
                </c:pt>
                <c:pt idx="5028">
                  <c:v>0</c:v>
                </c:pt>
                <c:pt idx="5029">
                  <c:v>0</c:v>
                </c:pt>
                <c:pt idx="5030">
                  <c:v>0</c:v>
                </c:pt>
                <c:pt idx="5031">
                  <c:v>0</c:v>
                </c:pt>
                <c:pt idx="5032">
                  <c:v>0</c:v>
                </c:pt>
                <c:pt idx="5033">
                  <c:v>0</c:v>
                </c:pt>
                <c:pt idx="5034">
                  <c:v>0</c:v>
                </c:pt>
                <c:pt idx="5035">
                  <c:v>0</c:v>
                </c:pt>
                <c:pt idx="5036">
                  <c:v>0</c:v>
                </c:pt>
                <c:pt idx="5037">
                  <c:v>0</c:v>
                </c:pt>
                <c:pt idx="5038">
                  <c:v>0</c:v>
                </c:pt>
                <c:pt idx="5039">
                  <c:v>0</c:v>
                </c:pt>
                <c:pt idx="5040">
                  <c:v>0</c:v>
                </c:pt>
                <c:pt idx="5041">
                  <c:v>0</c:v>
                </c:pt>
                <c:pt idx="5042">
                  <c:v>0</c:v>
                </c:pt>
                <c:pt idx="5043">
                  <c:v>0</c:v>
                </c:pt>
                <c:pt idx="5044">
                  <c:v>0</c:v>
                </c:pt>
                <c:pt idx="5045">
                  <c:v>0</c:v>
                </c:pt>
                <c:pt idx="5046">
                  <c:v>0</c:v>
                </c:pt>
                <c:pt idx="5047">
                  <c:v>0</c:v>
                </c:pt>
                <c:pt idx="5048">
                  <c:v>0</c:v>
                </c:pt>
                <c:pt idx="5049">
                  <c:v>0</c:v>
                </c:pt>
                <c:pt idx="5050">
                  <c:v>0</c:v>
                </c:pt>
                <c:pt idx="5051">
                  <c:v>0</c:v>
                </c:pt>
                <c:pt idx="5052">
                  <c:v>0</c:v>
                </c:pt>
                <c:pt idx="5053">
                  <c:v>0</c:v>
                </c:pt>
                <c:pt idx="5054">
                  <c:v>0</c:v>
                </c:pt>
                <c:pt idx="5055">
                  <c:v>0</c:v>
                </c:pt>
                <c:pt idx="5056">
                  <c:v>0</c:v>
                </c:pt>
                <c:pt idx="5057">
                  <c:v>0</c:v>
                </c:pt>
                <c:pt idx="5058">
                  <c:v>0</c:v>
                </c:pt>
                <c:pt idx="5059">
                  <c:v>0</c:v>
                </c:pt>
                <c:pt idx="5060">
                  <c:v>0</c:v>
                </c:pt>
                <c:pt idx="5061">
                  <c:v>0</c:v>
                </c:pt>
                <c:pt idx="5062">
                  <c:v>0</c:v>
                </c:pt>
                <c:pt idx="5063">
                  <c:v>0</c:v>
                </c:pt>
                <c:pt idx="5064">
                  <c:v>0</c:v>
                </c:pt>
                <c:pt idx="5065">
                  <c:v>0</c:v>
                </c:pt>
                <c:pt idx="5066">
                  <c:v>0</c:v>
                </c:pt>
                <c:pt idx="5067">
                  <c:v>0</c:v>
                </c:pt>
                <c:pt idx="5068">
                  <c:v>0</c:v>
                </c:pt>
                <c:pt idx="5069">
                  <c:v>0</c:v>
                </c:pt>
                <c:pt idx="5070">
                  <c:v>0</c:v>
                </c:pt>
                <c:pt idx="5071">
                  <c:v>0</c:v>
                </c:pt>
                <c:pt idx="5072">
                  <c:v>0</c:v>
                </c:pt>
                <c:pt idx="5073">
                  <c:v>0</c:v>
                </c:pt>
                <c:pt idx="5074">
                  <c:v>0</c:v>
                </c:pt>
                <c:pt idx="5075">
                  <c:v>0</c:v>
                </c:pt>
                <c:pt idx="5076">
                  <c:v>0</c:v>
                </c:pt>
                <c:pt idx="5077">
                  <c:v>0</c:v>
                </c:pt>
                <c:pt idx="5078">
                  <c:v>0</c:v>
                </c:pt>
                <c:pt idx="5079">
                  <c:v>0</c:v>
                </c:pt>
                <c:pt idx="5080">
                  <c:v>0</c:v>
                </c:pt>
                <c:pt idx="5081">
                  <c:v>0</c:v>
                </c:pt>
                <c:pt idx="5082">
                  <c:v>0</c:v>
                </c:pt>
                <c:pt idx="5083">
                  <c:v>0</c:v>
                </c:pt>
                <c:pt idx="5084">
                  <c:v>0</c:v>
                </c:pt>
                <c:pt idx="5085">
                  <c:v>0</c:v>
                </c:pt>
                <c:pt idx="5086">
                  <c:v>0</c:v>
                </c:pt>
                <c:pt idx="5087">
                  <c:v>0</c:v>
                </c:pt>
                <c:pt idx="5088">
                  <c:v>0</c:v>
                </c:pt>
                <c:pt idx="5089">
                  <c:v>0</c:v>
                </c:pt>
                <c:pt idx="5090">
                  <c:v>0</c:v>
                </c:pt>
                <c:pt idx="5091">
                  <c:v>0</c:v>
                </c:pt>
                <c:pt idx="5092">
                  <c:v>0</c:v>
                </c:pt>
                <c:pt idx="5093">
                  <c:v>0</c:v>
                </c:pt>
                <c:pt idx="5094">
                  <c:v>0</c:v>
                </c:pt>
                <c:pt idx="5095">
                  <c:v>0</c:v>
                </c:pt>
                <c:pt idx="5096">
                  <c:v>0</c:v>
                </c:pt>
                <c:pt idx="5097">
                  <c:v>0</c:v>
                </c:pt>
                <c:pt idx="5098">
                  <c:v>0</c:v>
                </c:pt>
                <c:pt idx="5099">
                  <c:v>0</c:v>
                </c:pt>
                <c:pt idx="5100">
                  <c:v>0</c:v>
                </c:pt>
                <c:pt idx="5101">
                  <c:v>0</c:v>
                </c:pt>
                <c:pt idx="5102">
                  <c:v>0</c:v>
                </c:pt>
                <c:pt idx="5103">
                  <c:v>0</c:v>
                </c:pt>
                <c:pt idx="5104">
                  <c:v>0</c:v>
                </c:pt>
                <c:pt idx="5105">
                  <c:v>0</c:v>
                </c:pt>
                <c:pt idx="5106">
                  <c:v>0</c:v>
                </c:pt>
                <c:pt idx="5107">
                  <c:v>0</c:v>
                </c:pt>
                <c:pt idx="5108">
                  <c:v>0</c:v>
                </c:pt>
                <c:pt idx="5109">
                  <c:v>0</c:v>
                </c:pt>
                <c:pt idx="5110">
                  <c:v>0</c:v>
                </c:pt>
                <c:pt idx="5111">
                  <c:v>0</c:v>
                </c:pt>
                <c:pt idx="5112">
                  <c:v>0</c:v>
                </c:pt>
                <c:pt idx="5113">
                  <c:v>0</c:v>
                </c:pt>
                <c:pt idx="5114">
                  <c:v>0</c:v>
                </c:pt>
                <c:pt idx="5115">
                  <c:v>0</c:v>
                </c:pt>
                <c:pt idx="5116">
                  <c:v>0</c:v>
                </c:pt>
                <c:pt idx="5117">
                  <c:v>0</c:v>
                </c:pt>
                <c:pt idx="5118">
                  <c:v>0</c:v>
                </c:pt>
                <c:pt idx="5119">
                  <c:v>0</c:v>
                </c:pt>
                <c:pt idx="5120">
                  <c:v>0</c:v>
                </c:pt>
                <c:pt idx="5121">
                  <c:v>0</c:v>
                </c:pt>
                <c:pt idx="5122">
                  <c:v>0</c:v>
                </c:pt>
                <c:pt idx="5123">
                  <c:v>0</c:v>
                </c:pt>
                <c:pt idx="5124">
                  <c:v>0</c:v>
                </c:pt>
                <c:pt idx="5125">
                  <c:v>0</c:v>
                </c:pt>
                <c:pt idx="5126">
                  <c:v>0</c:v>
                </c:pt>
                <c:pt idx="5127">
                  <c:v>0</c:v>
                </c:pt>
                <c:pt idx="5128">
                  <c:v>0</c:v>
                </c:pt>
                <c:pt idx="5129">
                  <c:v>0</c:v>
                </c:pt>
                <c:pt idx="5130">
                  <c:v>0</c:v>
                </c:pt>
                <c:pt idx="5131">
                  <c:v>0</c:v>
                </c:pt>
                <c:pt idx="5132">
                  <c:v>0</c:v>
                </c:pt>
                <c:pt idx="5133">
                  <c:v>0</c:v>
                </c:pt>
                <c:pt idx="5134">
                  <c:v>0</c:v>
                </c:pt>
                <c:pt idx="5135">
                  <c:v>0</c:v>
                </c:pt>
                <c:pt idx="5136">
                  <c:v>0</c:v>
                </c:pt>
                <c:pt idx="5137">
                  <c:v>0</c:v>
                </c:pt>
                <c:pt idx="5138">
                  <c:v>0</c:v>
                </c:pt>
                <c:pt idx="5139">
                  <c:v>0</c:v>
                </c:pt>
                <c:pt idx="5140">
                  <c:v>0</c:v>
                </c:pt>
                <c:pt idx="5141">
                  <c:v>0</c:v>
                </c:pt>
                <c:pt idx="5142">
                  <c:v>0</c:v>
                </c:pt>
                <c:pt idx="5143">
                  <c:v>0</c:v>
                </c:pt>
                <c:pt idx="5144">
                  <c:v>0</c:v>
                </c:pt>
                <c:pt idx="5145">
                  <c:v>0</c:v>
                </c:pt>
                <c:pt idx="5146">
                  <c:v>0</c:v>
                </c:pt>
                <c:pt idx="5147">
                  <c:v>0</c:v>
                </c:pt>
                <c:pt idx="5148">
                  <c:v>0</c:v>
                </c:pt>
                <c:pt idx="5149">
                  <c:v>0</c:v>
                </c:pt>
                <c:pt idx="5150">
                  <c:v>0</c:v>
                </c:pt>
                <c:pt idx="5151">
                  <c:v>0</c:v>
                </c:pt>
                <c:pt idx="5152">
                  <c:v>0</c:v>
                </c:pt>
                <c:pt idx="5153">
                  <c:v>0</c:v>
                </c:pt>
                <c:pt idx="5154">
                  <c:v>0</c:v>
                </c:pt>
                <c:pt idx="5155">
                  <c:v>0</c:v>
                </c:pt>
                <c:pt idx="5156">
                  <c:v>0</c:v>
                </c:pt>
                <c:pt idx="5157">
                  <c:v>0</c:v>
                </c:pt>
                <c:pt idx="5158">
                  <c:v>0</c:v>
                </c:pt>
                <c:pt idx="5159">
                  <c:v>0</c:v>
                </c:pt>
                <c:pt idx="5160">
                  <c:v>0</c:v>
                </c:pt>
                <c:pt idx="5161">
                  <c:v>0</c:v>
                </c:pt>
                <c:pt idx="5162">
                  <c:v>0</c:v>
                </c:pt>
                <c:pt idx="5163">
                  <c:v>0</c:v>
                </c:pt>
                <c:pt idx="5164">
                  <c:v>0</c:v>
                </c:pt>
                <c:pt idx="5165">
                  <c:v>0</c:v>
                </c:pt>
                <c:pt idx="5166">
                  <c:v>0</c:v>
                </c:pt>
                <c:pt idx="5167">
                  <c:v>0</c:v>
                </c:pt>
                <c:pt idx="5168">
                  <c:v>0</c:v>
                </c:pt>
                <c:pt idx="5169">
                  <c:v>0</c:v>
                </c:pt>
                <c:pt idx="5170">
                  <c:v>0</c:v>
                </c:pt>
                <c:pt idx="5171">
                  <c:v>0</c:v>
                </c:pt>
                <c:pt idx="5172">
                  <c:v>0</c:v>
                </c:pt>
                <c:pt idx="5173">
                  <c:v>0</c:v>
                </c:pt>
                <c:pt idx="5174">
                  <c:v>0</c:v>
                </c:pt>
                <c:pt idx="5175">
                  <c:v>0</c:v>
                </c:pt>
                <c:pt idx="5176">
                  <c:v>0</c:v>
                </c:pt>
                <c:pt idx="5177">
                  <c:v>0</c:v>
                </c:pt>
                <c:pt idx="5178">
                  <c:v>0</c:v>
                </c:pt>
                <c:pt idx="5179">
                  <c:v>0</c:v>
                </c:pt>
                <c:pt idx="5180">
                  <c:v>0</c:v>
                </c:pt>
                <c:pt idx="5181">
                  <c:v>0</c:v>
                </c:pt>
                <c:pt idx="5182">
                  <c:v>0</c:v>
                </c:pt>
                <c:pt idx="5183">
                  <c:v>0</c:v>
                </c:pt>
                <c:pt idx="5184">
                  <c:v>0</c:v>
                </c:pt>
                <c:pt idx="5185">
                  <c:v>0</c:v>
                </c:pt>
                <c:pt idx="5186">
                  <c:v>0</c:v>
                </c:pt>
                <c:pt idx="5187">
                  <c:v>0</c:v>
                </c:pt>
                <c:pt idx="5188">
                  <c:v>0</c:v>
                </c:pt>
                <c:pt idx="5189">
                  <c:v>0</c:v>
                </c:pt>
                <c:pt idx="5190">
                  <c:v>0</c:v>
                </c:pt>
                <c:pt idx="5191">
                  <c:v>0</c:v>
                </c:pt>
                <c:pt idx="5192">
                  <c:v>0</c:v>
                </c:pt>
                <c:pt idx="5193">
                  <c:v>0</c:v>
                </c:pt>
                <c:pt idx="5194">
                  <c:v>0</c:v>
                </c:pt>
                <c:pt idx="5195">
                  <c:v>0</c:v>
                </c:pt>
                <c:pt idx="5196">
                  <c:v>0</c:v>
                </c:pt>
                <c:pt idx="5197">
                  <c:v>0</c:v>
                </c:pt>
                <c:pt idx="5198">
                  <c:v>0</c:v>
                </c:pt>
                <c:pt idx="5199">
                  <c:v>0</c:v>
                </c:pt>
                <c:pt idx="5200">
                  <c:v>0</c:v>
                </c:pt>
                <c:pt idx="5201">
                  <c:v>0</c:v>
                </c:pt>
                <c:pt idx="5202">
                  <c:v>0</c:v>
                </c:pt>
                <c:pt idx="5203">
                  <c:v>0</c:v>
                </c:pt>
                <c:pt idx="5204">
                  <c:v>0</c:v>
                </c:pt>
                <c:pt idx="5205">
                  <c:v>0</c:v>
                </c:pt>
                <c:pt idx="5206">
                  <c:v>0</c:v>
                </c:pt>
                <c:pt idx="5207">
                  <c:v>0</c:v>
                </c:pt>
                <c:pt idx="5208">
                  <c:v>0</c:v>
                </c:pt>
                <c:pt idx="5209">
                  <c:v>0</c:v>
                </c:pt>
                <c:pt idx="5210">
                  <c:v>0</c:v>
                </c:pt>
                <c:pt idx="5211">
                  <c:v>0</c:v>
                </c:pt>
                <c:pt idx="5212">
                  <c:v>0</c:v>
                </c:pt>
                <c:pt idx="5213">
                  <c:v>0</c:v>
                </c:pt>
                <c:pt idx="5214">
                  <c:v>0</c:v>
                </c:pt>
                <c:pt idx="5215">
                  <c:v>0</c:v>
                </c:pt>
                <c:pt idx="5216">
                  <c:v>0</c:v>
                </c:pt>
                <c:pt idx="5217">
                  <c:v>0</c:v>
                </c:pt>
                <c:pt idx="5218">
                  <c:v>0</c:v>
                </c:pt>
                <c:pt idx="5219">
                  <c:v>0</c:v>
                </c:pt>
                <c:pt idx="5220">
                  <c:v>0</c:v>
                </c:pt>
                <c:pt idx="5221">
                  <c:v>0</c:v>
                </c:pt>
                <c:pt idx="5222">
                  <c:v>0</c:v>
                </c:pt>
                <c:pt idx="5223">
                  <c:v>0</c:v>
                </c:pt>
                <c:pt idx="5224">
                  <c:v>0</c:v>
                </c:pt>
                <c:pt idx="5225">
                  <c:v>0</c:v>
                </c:pt>
                <c:pt idx="5226">
                  <c:v>0</c:v>
                </c:pt>
                <c:pt idx="5227">
                  <c:v>0</c:v>
                </c:pt>
                <c:pt idx="5228">
                  <c:v>0</c:v>
                </c:pt>
                <c:pt idx="5229">
                  <c:v>0</c:v>
                </c:pt>
                <c:pt idx="5230">
                  <c:v>0</c:v>
                </c:pt>
                <c:pt idx="5231">
                  <c:v>0</c:v>
                </c:pt>
                <c:pt idx="5232">
                  <c:v>0</c:v>
                </c:pt>
                <c:pt idx="5233">
                  <c:v>0</c:v>
                </c:pt>
                <c:pt idx="5234">
                  <c:v>0</c:v>
                </c:pt>
                <c:pt idx="5235">
                  <c:v>0</c:v>
                </c:pt>
                <c:pt idx="5236">
                  <c:v>0</c:v>
                </c:pt>
                <c:pt idx="5237">
                  <c:v>0</c:v>
                </c:pt>
                <c:pt idx="5238">
                  <c:v>0</c:v>
                </c:pt>
                <c:pt idx="5239">
                  <c:v>0</c:v>
                </c:pt>
                <c:pt idx="5240">
                  <c:v>0</c:v>
                </c:pt>
                <c:pt idx="5241">
                  <c:v>0</c:v>
                </c:pt>
                <c:pt idx="5242">
                  <c:v>0</c:v>
                </c:pt>
                <c:pt idx="5243">
                  <c:v>0</c:v>
                </c:pt>
                <c:pt idx="5244">
                  <c:v>0</c:v>
                </c:pt>
                <c:pt idx="5245">
                  <c:v>0</c:v>
                </c:pt>
                <c:pt idx="5246">
                  <c:v>0</c:v>
                </c:pt>
                <c:pt idx="5247">
                  <c:v>0</c:v>
                </c:pt>
                <c:pt idx="5248">
                  <c:v>0</c:v>
                </c:pt>
                <c:pt idx="5249">
                  <c:v>0</c:v>
                </c:pt>
                <c:pt idx="5250">
                  <c:v>0</c:v>
                </c:pt>
                <c:pt idx="5251">
                  <c:v>0</c:v>
                </c:pt>
                <c:pt idx="5252">
                  <c:v>0</c:v>
                </c:pt>
                <c:pt idx="5253">
                  <c:v>0</c:v>
                </c:pt>
                <c:pt idx="5254">
                  <c:v>0</c:v>
                </c:pt>
                <c:pt idx="5255">
                  <c:v>0</c:v>
                </c:pt>
                <c:pt idx="5256">
                  <c:v>0</c:v>
                </c:pt>
                <c:pt idx="5257">
                  <c:v>0</c:v>
                </c:pt>
                <c:pt idx="5258">
                  <c:v>0</c:v>
                </c:pt>
                <c:pt idx="5259">
                  <c:v>0</c:v>
                </c:pt>
                <c:pt idx="5260">
                  <c:v>0</c:v>
                </c:pt>
                <c:pt idx="5261">
                  <c:v>0</c:v>
                </c:pt>
                <c:pt idx="5262">
                  <c:v>0</c:v>
                </c:pt>
                <c:pt idx="5263">
                  <c:v>0</c:v>
                </c:pt>
                <c:pt idx="5264">
                  <c:v>0</c:v>
                </c:pt>
                <c:pt idx="5265">
                  <c:v>0</c:v>
                </c:pt>
                <c:pt idx="5266">
                  <c:v>0</c:v>
                </c:pt>
                <c:pt idx="5267">
                  <c:v>0</c:v>
                </c:pt>
                <c:pt idx="5268">
                  <c:v>0</c:v>
                </c:pt>
                <c:pt idx="5269">
                  <c:v>0</c:v>
                </c:pt>
                <c:pt idx="5270">
                  <c:v>0</c:v>
                </c:pt>
                <c:pt idx="5271">
                  <c:v>0</c:v>
                </c:pt>
                <c:pt idx="5272">
                  <c:v>0</c:v>
                </c:pt>
                <c:pt idx="5273">
                  <c:v>0</c:v>
                </c:pt>
                <c:pt idx="5274">
                  <c:v>0</c:v>
                </c:pt>
                <c:pt idx="5275">
                  <c:v>0</c:v>
                </c:pt>
                <c:pt idx="5276">
                  <c:v>0</c:v>
                </c:pt>
                <c:pt idx="5277">
                  <c:v>0</c:v>
                </c:pt>
                <c:pt idx="5278">
                  <c:v>0</c:v>
                </c:pt>
                <c:pt idx="5279">
                  <c:v>0</c:v>
                </c:pt>
                <c:pt idx="5280">
                  <c:v>0</c:v>
                </c:pt>
                <c:pt idx="5281">
                  <c:v>0</c:v>
                </c:pt>
                <c:pt idx="5282">
                  <c:v>0</c:v>
                </c:pt>
                <c:pt idx="5283">
                  <c:v>0</c:v>
                </c:pt>
                <c:pt idx="5284">
                  <c:v>0</c:v>
                </c:pt>
                <c:pt idx="5285">
                  <c:v>0</c:v>
                </c:pt>
                <c:pt idx="5286">
                  <c:v>0</c:v>
                </c:pt>
                <c:pt idx="5287">
                  <c:v>0</c:v>
                </c:pt>
                <c:pt idx="5288">
                  <c:v>0</c:v>
                </c:pt>
                <c:pt idx="5289">
                  <c:v>0</c:v>
                </c:pt>
                <c:pt idx="5290">
                  <c:v>0</c:v>
                </c:pt>
                <c:pt idx="5291">
                  <c:v>0</c:v>
                </c:pt>
                <c:pt idx="5292">
                  <c:v>0</c:v>
                </c:pt>
                <c:pt idx="5293">
                  <c:v>0</c:v>
                </c:pt>
                <c:pt idx="5294">
                  <c:v>0</c:v>
                </c:pt>
                <c:pt idx="5295">
                  <c:v>0</c:v>
                </c:pt>
                <c:pt idx="5296">
                  <c:v>0</c:v>
                </c:pt>
                <c:pt idx="5297">
                  <c:v>0</c:v>
                </c:pt>
                <c:pt idx="5298">
                  <c:v>0</c:v>
                </c:pt>
                <c:pt idx="5299">
                  <c:v>0</c:v>
                </c:pt>
                <c:pt idx="5300">
                  <c:v>0</c:v>
                </c:pt>
                <c:pt idx="5301">
                  <c:v>0</c:v>
                </c:pt>
                <c:pt idx="5302">
                  <c:v>0</c:v>
                </c:pt>
                <c:pt idx="5303">
                  <c:v>0</c:v>
                </c:pt>
                <c:pt idx="5304">
                  <c:v>0</c:v>
                </c:pt>
                <c:pt idx="5305">
                  <c:v>0</c:v>
                </c:pt>
                <c:pt idx="5306">
                  <c:v>0</c:v>
                </c:pt>
                <c:pt idx="5307">
                  <c:v>0</c:v>
                </c:pt>
                <c:pt idx="5308">
                  <c:v>0</c:v>
                </c:pt>
                <c:pt idx="5309">
                  <c:v>0</c:v>
                </c:pt>
                <c:pt idx="5310">
                  <c:v>0</c:v>
                </c:pt>
                <c:pt idx="5311">
                  <c:v>0</c:v>
                </c:pt>
                <c:pt idx="5312">
                  <c:v>0</c:v>
                </c:pt>
                <c:pt idx="5313">
                  <c:v>0</c:v>
                </c:pt>
                <c:pt idx="5314">
                  <c:v>0</c:v>
                </c:pt>
                <c:pt idx="5315">
                  <c:v>0</c:v>
                </c:pt>
                <c:pt idx="5316">
                  <c:v>0</c:v>
                </c:pt>
                <c:pt idx="5317">
                  <c:v>0</c:v>
                </c:pt>
                <c:pt idx="5318">
                  <c:v>0</c:v>
                </c:pt>
                <c:pt idx="5319">
                  <c:v>0</c:v>
                </c:pt>
                <c:pt idx="5320">
                  <c:v>0</c:v>
                </c:pt>
                <c:pt idx="5321">
                  <c:v>0</c:v>
                </c:pt>
                <c:pt idx="5322">
                  <c:v>0</c:v>
                </c:pt>
                <c:pt idx="5323">
                  <c:v>0</c:v>
                </c:pt>
                <c:pt idx="5324">
                  <c:v>0</c:v>
                </c:pt>
                <c:pt idx="5325">
                  <c:v>0</c:v>
                </c:pt>
                <c:pt idx="5326">
                  <c:v>0</c:v>
                </c:pt>
                <c:pt idx="5327">
                  <c:v>0</c:v>
                </c:pt>
                <c:pt idx="5328">
                  <c:v>0</c:v>
                </c:pt>
                <c:pt idx="5329">
                  <c:v>0</c:v>
                </c:pt>
                <c:pt idx="5330">
                  <c:v>0</c:v>
                </c:pt>
                <c:pt idx="5331">
                  <c:v>0</c:v>
                </c:pt>
                <c:pt idx="5332">
                  <c:v>0</c:v>
                </c:pt>
                <c:pt idx="5333">
                  <c:v>0</c:v>
                </c:pt>
                <c:pt idx="5334">
                  <c:v>0</c:v>
                </c:pt>
                <c:pt idx="5335">
                  <c:v>0</c:v>
                </c:pt>
                <c:pt idx="5336">
                  <c:v>0</c:v>
                </c:pt>
                <c:pt idx="5337">
                  <c:v>0</c:v>
                </c:pt>
                <c:pt idx="5338">
                  <c:v>0</c:v>
                </c:pt>
                <c:pt idx="5339">
                  <c:v>0</c:v>
                </c:pt>
                <c:pt idx="5340">
                  <c:v>0</c:v>
                </c:pt>
                <c:pt idx="5341">
                  <c:v>0</c:v>
                </c:pt>
                <c:pt idx="5342">
                  <c:v>0</c:v>
                </c:pt>
                <c:pt idx="5343">
                  <c:v>0</c:v>
                </c:pt>
                <c:pt idx="5344">
                  <c:v>0</c:v>
                </c:pt>
                <c:pt idx="5345">
                  <c:v>0</c:v>
                </c:pt>
                <c:pt idx="5346">
                  <c:v>0</c:v>
                </c:pt>
                <c:pt idx="5347">
                  <c:v>0</c:v>
                </c:pt>
                <c:pt idx="5348">
                  <c:v>0</c:v>
                </c:pt>
                <c:pt idx="5349">
                  <c:v>0</c:v>
                </c:pt>
                <c:pt idx="5350">
                  <c:v>0</c:v>
                </c:pt>
                <c:pt idx="5351">
                  <c:v>0</c:v>
                </c:pt>
                <c:pt idx="5352">
                  <c:v>0</c:v>
                </c:pt>
                <c:pt idx="5353">
                  <c:v>0</c:v>
                </c:pt>
                <c:pt idx="5354">
                  <c:v>0</c:v>
                </c:pt>
                <c:pt idx="5355">
                  <c:v>0</c:v>
                </c:pt>
                <c:pt idx="5356">
                  <c:v>0</c:v>
                </c:pt>
                <c:pt idx="5357">
                  <c:v>0</c:v>
                </c:pt>
                <c:pt idx="5358">
                  <c:v>0</c:v>
                </c:pt>
                <c:pt idx="5359">
                  <c:v>0</c:v>
                </c:pt>
                <c:pt idx="5360">
                  <c:v>0</c:v>
                </c:pt>
                <c:pt idx="5361">
                  <c:v>0</c:v>
                </c:pt>
                <c:pt idx="5362">
                  <c:v>0</c:v>
                </c:pt>
                <c:pt idx="5363">
                  <c:v>0</c:v>
                </c:pt>
                <c:pt idx="5364">
                  <c:v>0</c:v>
                </c:pt>
                <c:pt idx="5365">
                  <c:v>0</c:v>
                </c:pt>
                <c:pt idx="5366">
                  <c:v>0</c:v>
                </c:pt>
                <c:pt idx="5367">
                  <c:v>0</c:v>
                </c:pt>
                <c:pt idx="5368">
                  <c:v>0</c:v>
                </c:pt>
                <c:pt idx="5369">
                  <c:v>0</c:v>
                </c:pt>
                <c:pt idx="5370">
                  <c:v>0</c:v>
                </c:pt>
                <c:pt idx="5371">
                  <c:v>0</c:v>
                </c:pt>
                <c:pt idx="5372">
                  <c:v>0</c:v>
                </c:pt>
                <c:pt idx="5373">
                  <c:v>0</c:v>
                </c:pt>
                <c:pt idx="5374">
                  <c:v>0</c:v>
                </c:pt>
                <c:pt idx="5375">
                  <c:v>0</c:v>
                </c:pt>
                <c:pt idx="5376">
                  <c:v>0</c:v>
                </c:pt>
                <c:pt idx="5377">
                  <c:v>0</c:v>
                </c:pt>
                <c:pt idx="5378">
                  <c:v>0</c:v>
                </c:pt>
                <c:pt idx="5379">
                  <c:v>0</c:v>
                </c:pt>
                <c:pt idx="5380">
                  <c:v>0</c:v>
                </c:pt>
                <c:pt idx="5381">
                  <c:v>0</c:v>
                </c:pt>
                <c:pt idx="5382">
                  <c:v>0</c:v>
                </c:pt>
                <c:pt idx="5383">
                  <c:v>0</c:v>
                </c:pt>
                <c:pt idx="5384">
                  <c:v>0.18257418583505536</c:v>
                </c:pt>
                <c:pt idx="5385">
                  <c:v>0.25370813170246242</c:v>
                </c:pt>
                <c:pt idx="5386">
                  <c:v>0.30512857662936466</c:v>
                </c:pt>
                <c:pt idx="5387">
                  <c:v>0.34574590364176039</c:v>
                </c:pt>
                <c:pt idx="5388">
                  <c:v>0.37904902178945171</c:v>
                </c:pt>
                <c:pt idx="5389">
                  <c:v>0.40683810217248623</c:v>
                </c:pt>
                <c:pt idx="5390">
                  <c:v>0.43018306715207638</c:v>
                </c:pt>
                <c:pt idx="5391">
                  <c:v>0.44977644510880366</c:v>
                </c:pt>
                <c:pt idx="5392">
                  <c:v>0.46609159969939901</c:v>
                </c:pt>
                <c:pt idx="5393">
                  <c:v>0.47946330148538413</c:v>
                </c:pt>
                <c:pt idx="5394">
                  <c:v>0.49013251785356099</c:v>
                </c:pt>
                <c:pt idx="5395">
                  <c:v>0.49827287912243978</c:v>
                </c:pt>
                <c:pt idx="5396">
                  <c:v>0.50400693299373089</c:v>
                </c:pt>
                <c:pt idx="5397">
                  <c:v>0.50741626340492485</c:v>
                </c:pt>
                <c:pt idx="5398">
                  <c:v>0.5085476277156078</c:v>
                </c:pt>
                <c:pt idx="5399">
                  <c:v>0.50741626340492485</c:v>
                </c:pt>
                <c:pt idx="5400">
                  <c:v>0.50400693299373089</c:v>
                </c:pt>
                <c:pt idx="5401">
                  <c:v>0.49827287912243978</c:v>
                </c:pt>
                <c:pt idx="5402">
                  <c:v>0.49013251785356099</c:v>
                </c:pt>
                <c:pt idx="5403">
                  <c:v>0.47946330148538413</c:v>
                </c:pt>
                <c:pt idx="5404">
                  <c:v>0.46609159969939906</c:v>
                </c:pt>
                <c:pt idx="5405">
                  <c:v>0.44977644510880366</c:v>
                </c:pt>
                <c:pt idx="5406">
                  <c:v>0.43018306715207638</c:v>
                </c:pt>
                <c:pt idx="5407">
                  <c:v>0.40683810217248628</c:v>
                </c:pt>
                <c:pt idx="5408">
                  <c:v>0.37904902178945177</c:v>
                </c:pt>
                <c:pt idx="5409">
                  <c:v>0.34574590364176033</c:v>
                </c:pt>
                <c:pt idx="5410">
                  <c:v>0.30512857662936466</c:v>
                </c:pt>
                <c:pt idx="5411">
                  <c:v>0.25370813170246248</c:v>
                </c:pt>
                <c:pt idx="5412">
                  <c:v>0.18257418583505522</c:v>
                </c:pt>
                <c:pt idx="5413">
                  <c:v>0</c:v>
                </c:pt>
                <c:pt idx="5414">
                  <c:v>0</c:v>
                </c:pt>
                <c:pt idx="5415">
                  <c:v>0</c:v>
                </c:pt>
                <c:pt idx="5416">
                  <c:v>0</c:v>
                </c:pt>
                <c:pt idx="5417">
                  <c:v>0</c:v>
                </c:pt>
                <c:pt idx="5418">
                  <c:v>0</c:v>
                </c:pt>
                <c:pt idx="5419">
                  <c:v>0</c:v>
                </c:pt>
                <c:pt idx="5420">
                  <c:v>0</c:v>
                </c:pt>
                <c:pt idx="5421">
                  <c:v>0</c:v>
                </c:pt>
                <c:pt idx="5422">
                  <c:v>0</c:v>
                </c:pt>
                <c:pt idx="5423">
                  <c:v>0</c:v>
                </c:pt>
                <c:pt idx="5424">
                  <c:v>0</c:v>
                </c:pt>
                <c:pt idx="5425">
                  <c:v>0</c:v>
                </c:pt>
                <c:pt idx="5426">
                  <c:v>0</c:v>
                </c:pt>
                <c:pt idx="5427">
                  <c:v>0</c:v>
                </c:pt>
                <c:pt idx="5428">
                  <c:v>0</c:v>
                </c:pt>
                <c:pt idx="5429">
                  <c:v>0</c:v>
                </c:pt>
                <c:pt idx="5430">
                  <c:v>0</c:v>
                </c:pt>
                <c:pt idx="5431">
                  <c:v>0</c:v>
                </c:pt>
                <c:pt idx="5432">
                  <c:v>0</c:v>
                </c:pt>
                <c:pt idx="5433">
                  <c:v>0</c:v>
                </c:pt>
                <c:pt idx="5434">
                  <c:v>0</c:v>
                </c:pt>
                <c:pt idx="5435">
                  <c:v>0</c:v>
                </c:pt>
                <c:pt idx="5436">
                  <c:v>0</c:v>
                </c:pt>
                <c:pt idx="5437">
                  <c:v>0</c:v>
                </c:pt>
                <c:pt idx="5438">
                  <c:v>0</c:v>
                </c:pt>
                <c:pt idx="5439">
                  <c:v>0</c:v>
                </c:pt>
                <c:pt idx="5440">
                  <c:v>0</c:v>
                </c:pt>
                <c:pt idx="5441">
                  <c:v>0</c:v>
                </c:pt>
                <c:pt idx="5442">
                  <c:v>0</c:v>
                </c:pt>
                <c:pt idx="5443">
                  <c:v>0</c:v>
                </c:pt>
                <c:pt idx="5444">
                  <c:v>0</c:v>
                </c:pt>
                <c:pt idx="5445">
                  <c:v>0</c:v>
                </c:pt>
                <c:pt idx="5446">
                  <c:v>0</c:v>
                </c:pt>
                <c:pt idx="5447">
                  <c:v>0</c:v>
                </c:pt>
                <c:pt idx="5448">
                  <c:v>0</c:v>
                </c:pt>
                <c:pt idx="5449">
                  <c:v>0.18257418583505522</c:v>
                </c:pt>
                <c:pt idx="5450">
                  <c:v>0.25370813170246248</c:v>
                </c:pt>
                <c:pt idx="5451">
                  <c:v>0.30512857662936466</c:v>
                </c:pt>
                <c:pt idx="5452">
                  <c:v>0.34574590364176033</c:v>
                </c:pt>
                <c:pt idx="5453">
                  <c:v>0.37904902178945177</c:v>
                </c:pt>
                <c:pt idx="5454">
                  <c:v>0.40683810217248628</c:v>
                </c:pt>
                <c:pt idx="5455">
                  <c:v>0.43018306715207638</c:v>
                </c:pt>
                <c:pt idx="5456">
                  <c:v>0.44977644510880366</c:v>
                </c:pt>
                <c:pt idx="5457">
                  <c:v>0.46609159969939906</c:v>
                </c:pt>
                <c:pt idx="5458">
                  <c:v>0.47946330148538413</c:v>
                </c:pt>
                <c:pt idx="5459">
                  <c:v>0.49013251785356099</c:v>
                </c:pt>
                <c:pt idx="5460">
                  <c:v>0.49827287912243978</c:v>
                </c:pt>
                <c:pt idx="5461">
                  <c:v>0.50400693299373089</c:v>
                </c:pt>
                <c:pt idx="5462">
                  <c:v>0.50741626340492485</c:v>
                </c:pt>
                <c:pt idx="5463">
                  <c:v>0.5085476277156078</c:v>
                </c:pt>
                <c:pt idx="5464">
                  <c:v>0.50741626340492485</c:v>
                </c:pt>
                <c:pt idx="5465">
                  <c:v>0.50400693299373089</c:v>
                </c:pt>
                <c:pt idx="5466">
                  <c:v>0.49827287912243978</c:v>
                </c:pt>
                <c:pt idx="5467">
                  <c:v>0.49013251785356099</c:v>
                </c:pt>
                <c:pt idx="5468">
                  <c:v>0.47946330148538413</c:v>
                </c:pt>
                <c:pt idx="5469">
                  <c:v>0.46609159969939901</c:v>
                </c:pt>
                <c:pt idx="5470">
                  <c:v>0.44977644510880366</c:v>
                </c:pt>
                <c:pt idx="5471">
                  <c:v>0.43018306715207638</c:v>
                </c:pt>
                <c:pt idx="5472">
                  <c:v>0.40683810217248623</c:v>
                </c:pt>
                <c:pt idx="5473">
                  <c:v>0.37904902178945171</c:v>
                </c:pt>
                <c:pt idx="5474">
                  <c:v>0.34574590364176039</c:v>
                </c:pt>
                <c:pt idx="5475">
                  <c:v>0.30512857662936466</c:v>
                </c:pt>
                <c:pt idx="5476">
                  <c:v>0.25370813170246242</c:v>
                </c:pt>
                <c:pt idx="5477">
                  <c:v>0.18257418583505536</c:v>
                </c:pt>
                <c:pt idx="5478">
                  <c:v>0</c:v>
                </c:pt>
                <c:pt idx="5479">
                  <c:v>0</c:v>
                </c:pt>
                <c:pt idx="5480">
                  <c:v>0</c:v>
                </c:pt>
                <c:pt idx="5481">
                  <c:v>0</c:v>
                </c:pt>
                <c:pt idx="5482">
                  <c:v>0</c:v>
                </c:pt>
                <c:pt idx="5483">
                  <c:v>0</c:v>
                </c:pt>
                <c:pt idx="5484">
                  <c:v>0</c:v>
                </c:pt>
                <c:pt idx="5485">
                  <c:v>0</c:v>
                </c:pt>
                <c:pt idx="5486">
                  <c:v>0</c:v>
                </c:pt>
                <c:pt idx="5487">
                  <c:v>0</c:v>
                </c:pt>
                <c:pt idx="5488">
                  <c:v>0</c:v>
                </c:pt>
                <c:pt idx="5489">
                  <c:v>0</c:v>
                </c:pt>
                <c:pt idx="5490">
                  <c:v>0</c:v>
                </c:pt>
                <c:pt idx="5491">
                  <c:v>0</c:v>
                </c:pt>
                <c:pt idx="5492">
                  <c:v>0</c:v>
                </c:pt>
                <c:pt idx="5493">
                  <c:v>0</c:v>
                </c:pt>
                <c:pt idx="5494">
                  <c:v>0</c:v>
                </c:pt>
                <c:pt idx="5495">
                  <c:v>0</c:v>
                </c:pt>
                <c:pt idx="5496">
                  <c:v>0</c:v>
                </c:pt>
                <c:pt idx="5497">
                  <c:v>0</c:v>
                </c:pt>
                <c:pt idx="5498">
                  <c:v>0</c:v>
                </c:pt>
                <c:pt idx="5499">
                  <c:v>0</c:v>
                </c:pt>
                <c:pt idx="5500">
                  <c:v>0</c:v>
                </c:pt>
                <c:pt idx="5501">
                  <c:v>0</c:v>
                </c:pt>
                <c:pt idx="5502">
                  <c:v>0</c:v>
                </c:pt>
                <c:pt idx="5503">
                  <c:v>0</c:v>
                </c:pt>
                <c:pt idx="5504">
                  <c:v>0</c:v>
                </c:pt>
                <c:pt idx="5505">
                  <c:v>0</c:v>
                </c:pt>
                <c:pt idx="5506">
                  <c:v>0</c:v>
                </c:pt>
                <c:pt idx="5507">
                  <c:v>0</c:v>
                </c:pt>
                <c:pt idx="5508">
                  <c:v>0</c:v>
                </c:pt>
                <c:pt idx="5509">
                  <c:v>0</c:v>
                </c:pt>
                <c:pt idx="5510">
                  <c:v>0</c:v>
                </c:pt>
                <c:pt idx="5511">
                  <c:v>0</c:v>
                </c:pt>
                <c:pt idx="5512">
                  <c:v>0</c:v>
                </c:pt>
                <c:pt idx="5513">
                  <c:v>0</c:v>
                </c:pt>
                <c:pt idx="5514">
                  <c:v>0</c:v>
                </c:pt>
                <c:pt idx="5515">
                  <c:v>0</c:v>
                </c:pt>
                <c:pt idx="5516">
                  <c:v>0</c:v>
                </c:pt>
                <c:pt idx="5517">
                  <c:v>0</c:v>
                </c:pt>
                <c:pt idx="5518">
                  <c:v>0</c:v>
                </c:pt>
                <c:pt idx="5519">
                  <c:v>0</c:v>
                </c:pt>
                <c:pt idx="5520">
                  <c:v>0</c:v>
                </c:pt>
                <c:pt idx="5521">
                  <c:v>0</c:v>
                </c:pt>
                <c:pt idx="5522">
                  <c:v>0</c:v>
                </c:pt>
                <c:pt idx="5523">
                  <c:v>0</c:v>
                </c:pt>
                <c:pt idx="5524">
                  <c:v>0</c:v>
                </c:pt>
                <c:pt idx="5525">
                  <c:v>0</c:v>
                </c:pt>
                <c:pt idx="5526">
                  <c:v>0</c:v>
                </c:pt>
                <c:pt idx="5527">
                  <c:v>0</c:v>
                </c:pt>
                <c:pt idx="5528">
                  <c:v>0</c:v>
                </c:pt>
                <c:pt idx="5529">
                  <c:v>0</c:v>
                </c:pt>
                <c:pt idx="5530">
                  <c:v>0</c:v>
                </c:pt>
                <c:pt idx="5531">
                  <c:v>0</c:v>
                </c:pt>
                <c:pt idx="5532">
                  <c:v>0</c:v>
                </c:pt>
                <c:pt idx="5533">
                  <c:v>0</c:v>
                </c:pt>
                <c:pt idx="5534">
                  <c:v>0</c:v>
                </c:pt>
                <c:pt idx="5535">
                  <c:v>0</c:v>
                </c:pt>
                <c:pt idx="5536">
                  <c:v>0</c:v>
                </c:pt>
                <c:pt idx="5537">
                  <c:v>0</c:v>
                </c:pt>
                <c:pt idx="5538">
                  <c:v>0</c:v>
                </c:pt>
                <c:pt idx="5539">
                  <c:v>0</c:v>
                </c:pt>
                <c:pt idx="5540">
                  <c:v>0</c:v>
                </c:pt>
                <c:pt idx="5541">
                  <c:v>0</c:v>
                </c:pt>
                <c:pt idx="5542">
                  <c:v>0</c:v>
                </c:pt>
                <c:pt idx="5543">
                  <c:v>0</c:v>
                </c:pt>
                <c:pt idx="5544">
                  <c:v>0</c:v>
                </c:pt>
                <c:pt idx="5545">
                  <c:v>0</c:v>
                </c:pt>
                <c:pt idx="5546">
                  <c:v>0</c:v>
                </c:pt>
                <c:pt idx="5547">
                  <c:v>0</c:v>
                </c:pt>
                <c:pt idx="5548">
                  <c:v>0</c:v>
                </c:pt>
                <c:pt idx="5549">
                  <c:v>0</c:v>
                </c:pt>
                <c:pt idx="5550">
                  <c:v>0</c:v>
                </c:pt>
                <c:pt idx="5551">
                  <c:v>0</c:v>
                </c:pt>
                <c:pt idx="5552">
                  <c:v>0</c:v>
                </c:pt>
                <c:pt idx="5553">
                  <c:v>0</c:v>
                </c:pt>
                <c:pt idx="5554">
                  <c:v>0</c:v>
                </c:pt>
                <c:pt idx="5555">
                  <c:v>0</c:v>
                </c:pt>
                <c:pt idx="5556">
                  <c:v>0</c:v>
                </c:pt>
                <c:pt idx="5557">
                  <c:v>0</c:v>
                </c:pt>
                <c:pt idx="5558">
                  <c:v>0</c:v>
                </c:pt>
                <c:pt idx="5559">
                  <c:v>0</c:v>
                </c:pt>
                <c:pt idx="5560">
                  <c:v>0</c:v>
                </c:pt>
                <c:pt idx="5561">
                  <c:v>0</c:v>
                </c:pt>
                <c:pt idx="5562">
                  <c:v>0</c:v>
                </c:pt>
                <c:pt idx="5563">
                  <c:v>0</c:v>
                </c:pt>
                <c:pt idx="5564">
                  <c:v>0</c:v>
                </c:pt>
                <c:pt idx="5565">
                  <c:v>0</c:v>
                </c:pt>
                <c:pt idx="5566">
                  <c:v>0</c:v>
                </c:pt>
                <c:pt idx="5567">
                  <c:v>0</c:v>
                </c:pt>
                <c:pt idx="5568">
                  <c:v>0</c:v>
                </c:pt>
                <c:pt idx="5569">
                  <c:v>0</c:v>
                </c:pt>
                <c:pt idx="5570">
                  <c:v>0</c:v>
                </c:pt>
                <c:pt idx="5571">
                  <c:v>0</c:v>
                </c:pt>
                <c:pt idx="5572">
                  <c:v>0</c:v>
                </c:pt>
                <c:pt idx="5573">
                  <c:v>0</c:v>
                </c:pt>
                <c:pt idx="5574">
                  <c:v>0</c:v>
                </c:pt>
                <c:pt idx="5575">
                  <c:v>0</c:v>
                </c:pt>
                <c:pt idx="5576">
                  <c:v>0</c:v>
                </c:pt>
                <c:pt idx="5577">
                  <c:v>0</c:v>
                </c:pt>
                <c:pt idx="5578">
                  <c:v>0</c:v>
                </c:pt>
                <c:pt idx="5579">
                  <c:v>0</c:v>
                </c:pt>
                <c:pt idx="5580">
                  <c:v>0</c:v>
                </c:pt>
                <c:pt idx="5581">
                  <c:v>0</c:v>
                </c:pt>
                <c:pt idx="5582">
                  <c:v>0</c:v>
                </c:pt>
                <c:pt idx="5583">
                  <c:v>0</c:v>
                </c:pt>
                <c:pt idx="5584">
                  <c:v>0</c:v>
                </c:pt>
                <c:pt idx="5585">
                  <c:v>0</c:v>
                </c:pt>
                <c:pt idx="5586">
                  <c:v>0</c:v>
                </c:pt>
                <c:pt idx="5587">
                  <c:v>0</c:v>
                </c:pt>
                <c:pt idx="5588">
                  <c:v>0</c:v>
                </c:pt>
                <c:pt idx="5589">
                  <c:v>0</c:v>
                </c:pt>
                <c:pt idx="5590">
                  <c:v>0</c:v>
                </c:pt>
                <c:pt idx="5591">
                  <c:v>0</c:v>
                </c:pt>
                <c:pt idx="5592">
                  <c:v>0</c:v>
                </c:pt>
                <c:pt idx="5593">
                  <c:v>0</c:v>
                </c:pt>
                <c:pt idx="5594">
                  <c:v>0</c:v>
                </c:pt>
                <c:pt idx="5595">
                  <c:v>0</c:v>
                </c:pt>
                <c:pt idx="5596">
                  <c:v>0</c:v>
                </c:pt>
                <c:pt idx="5597">
                  <c:v>0</c:v>
                </c:pt>
                <c:pt idx="5598">
                  <c:v>0</c:v>
                </c:pt>
                <c:pt idx="5599">
                  <c:v>0</c:v>
                </c:pt>
                <c:pt idx="5600">
                  <c:v>0</c:v>
                </c:pt>
                <c:pt idx="5601">
                  <c:v>0</c:v>
                </c:pt>
                <c:pt idx="5602">
                  <c:v>0</c:v>
                </c:pt>
                <c:pt idx="5603">
                  <c:v>0</c:v>
                </c:pt>
                <c:pt idx="5604">
                  <c:v>0</c:v>
                </c:pt>
                <c:pt idx="5605">
                  <c:v>0</c:v>
                </c:pt>
                <c:pt idx="5606">
                  <c:v>0</c:v>
                </c:pt>
                <c:pt idx="5607">
                  <c:v>0</c:v>
                </c:pt>
                <c:pt idx="5608">
                  <c:v>0</c:v>
                </c:pt>
                <c:pt idx="5609">
                  <c:v>0</c:v>
                </c:pt>
                <c:pt idx="5610">
                  <c:v>0</c:v>
                </c:pt>
                <c:pt idx="5611">
                  <c:v>0</c:v>
                </c:pt>
                <c:pt idx="5612">
                  <c:v>0</c:v>
                </c:pt>
                <c:pt idx="5613">
                  <c:v>0</c:v>
                </c:pt>
                <c:pt idx="5614">
                  <c:v>0</c:v>
                </c:pt>
                <c:pt idx="5615">
                  <c:v>0</c:v>
                </c:pt>
                <c:pt idx="5616">
                  <c:v>0</c:v>
                </c:pt>
                <c:pt idx="5617">
                  <c:v>0</c:v>
                </c:pt>
                <c:pt idx="5618">
                  <c:v>0</c:v>
                </c:pt>
                <c:pt idx="5619">
                  <c:v>0</c:v>
                </c:pt>
                <c:pt idx="5620">
                  <c:v>0</c:v>
                </c:pt>
                <c:pt idx="5621">
                  <c:v>0</c:v>
                </c:pt>
                <c:pt idx="5622">
                  <c:v>0</c:v>
                </c:pt>
                <c:pt idx="5623">
                  <c:v>0</c:v>
                </c:pt>
                <c:pt idx="5624">
                  <c:v>0</c:v>
                </c:pt>
                <c:pt idx="5625">
                  <c:v>0</c:v>
                </c:pt>
                <c:pt idx="5626">
                  <c:v>0</c:v>
                </c:pt>
                <c:pt idx="5627">
                  <c:v>0</c:v>
                </c:pt>
                <c:pt idx="5628">
                  <c:v>0</c:v>
                </c:pt>
                <c:pt idx="5629">
                  <c:v>0</c:v>
                </c:pt>
                <c:pt idx="5630">
                  <c:v>0</c:v>
                </c:pt>
                <c:pt idx="5631">
                  <c:v>0</c:v>
                </c:pt>
                <c:pt idx="5632">
                  <c:v>0</c:v>
                </c:pt>
                <c:pt idx="5633">
                  <c:v>0</c:v>
                </c:pt>
                <c:pt idx="5634">
                  <c:v>0</c:v>
                </c:pt>
                <c:pt idx="5635">
                  <c:v>0</c:v>
                </c:pt>
                <c:pt idx="5636">
                  <c:v>0</c:v>
                </c:pt>
                <c:pt idx="5637">
                  <c:v>0</c:v>
                </c:pt>
                <c:pt idx="5638">
                  <c:v>0</c:v>
                </c:pt>
                <c:pt idx="5639">
                  <c:v>0</c:v>
                </c:pt>
                <c:pt idx="5640">
                  <c:v>0</c:v>
                </c:pt>
                <c:pt idx="5641">
                  <c:v>0</c:v>
                </c:pt>
                <c:pt idx="5642">
                  <c:v>0</c:v>
                </c:pt>
                <c:pt idx="5643">
                  <c:v>0</c:v>
                </c:pt>
                <c:pt idx="5644">
                  <c:v>0</c:v>
                </c:pt>
                <c:pt idx="5645">
                  <c:v>0</c:v>
                </c:pt>
                <c:pt idx="5646">
                  <c:v>0</c:v>
                </c:pt>
                <c:pt idx="5647">
                  <c:v>0</c:v>
                </c:pt>
                <c:pt idx="5648">
                  <c:v>0</c:v>
                </c:pt>
                <c:pt idx="5649">
                  <c:v>0</c:v>
                </c:pt>
                <c:pt idx="5650">
                  <c:v>0</c:v>
                </c:pt>
                <c:pt idx="5651">
                  <c:v>0</c:v>
                </c:pt>
                <c:pt idx="5652">
                  <c:v>0</c:v>
                </c:pt>
                <c:pt idx="5653">
                  <c:v>0</c:v>
                </c:pt>
                <c:pt idx="5654">
                  <c:v>0</c:v>
                </c:pt>
                <c:pt idx="5655">
                  <c:v>0</c:v>
                </c:pt>
                <c:pt idx="5656">
                  <c:v>0</c:v>
                </c:pt>
                <c:pt idx="5657">
                  <c:v>0</c:v>
                </c:pt>
                <c:pt idx="5658">
                  <c:v>0</c:v>
                </c:pt>
                <c:pt idx="5659">
                  <c:v>0</c:v>
                </c:pt>
                <c:pt idx="5660">
                  <c:v>0</c:v>
                </c:pt>
                <c:pt idx="5661">
                  <c:v>0</c:v>
                </c:pt>
                <c:pt idx="5662">
                  <c:v>0</c:v>
                </c:pt>
                <c:pt idx="5663">
                  <c:v>0</c:v>
                </c:pt>
                <c:pt idx="5664">
                  <c:v>0</c:v>
                </c:pt>
                <c:pt idx="5665">
                  <c:v>0</c:v>
                </c:pt>
                <c:pt idx="5666">
                  <c:v>0</c:v>
                </c:pt>
                <c:pt idx="5667">
                  <c:v>0</c:v>
                </c:pt>
                <c:pt idx="5668">
                  <c:v>0</c:v>
                </c:pt>
                <c:pt idx="5669">
                  <c:v>0</c:v>
                </c:pt>
                <c:pt idx="5670">
                  <c:v>0</c:v>
                </c:pt>
                <c:pt idx="5671">
                  <c:v>0</c:v>
                </c:pt>
                <c:pt idx="5672">
                  <c:v>0</c:v>
                </c:pt>
                <c:pt idx="5673">
                  <c:v>0</c:v>
                </c:pt>
                <c:pt idx="5674">
                  <c:v>0</c:v>
                </c:pt>
                <c:pt idx="5675">
                  <c:v>0</c:v>
                </c:pt>
                <c:pt idx="5676">
                  <c:v>0</c:v>
                </c:pt>
                <c:pt idx="5677">
                  <c:v>0</c:v>
                </c:pt>
                <c:pt idx="5678">
                  <c:v>0</c:v>
                </c:pt>
                <c:pt idx="5679">
                  <c:v>0</c:v>
                </c:pt>
                <c:pt idx="5680">
                  <c:v>0</c:v>
                </c:pt>
                <c:pt idx="5681">
                  <c:v>0</c:v>
                </c:pt>
                <c:pt idx="5682">
                  <c:v>0</c:v>
                </c:pt>
                <c:pt idx="5683">
                  <c:v>0</c:v>
                </c:pt>
                <c:pt idx="5684">
                  <c:v>0</c:v>
                </c:pt>
                <c:pt idx="5685">
                  <c:v>0</c:v>
                </c:pt>
                <c:pt idx="5686">
                  <c:v>0</c:v>
                </c:pt>
                <c:pt idx="5687">
                  <c:v>0</c:v>
                </c:pt>
                <c:pt idx="5688">
                  <c:v>0</c:v>
                </c:pt>
                <c:pt idx="5689">
                  <c:v>0</c:v>
                </c:pt>
                <c:pt idx="5690">
                  <c:v>0</c:v>
                </c:pt>
                <c:pt idx="5691">
                  <c:v>0</c:v>
                </c:pt>
                <c:pt idx="5692">
                  <c:v>0</c:v>
                </c:pt>
                <c:pt idx="5693">
                  <c:v>0</c:v>
                </c:pt>
                <c:pt idx="5694">
                  <c:v>0</c:v>
                </c:pt>
                <c:pt idx="5695">
                  <c:v>0</c:v>
                </c:pt>
                <c:pt idx="5696">
                  <c:v>0</c:v>
                </c:pt>
                <c:pt idx="5697">
                  <c:v>0</c:v>
                </c:pt>
                <c:pt idx="5698">
                  <c:v>0</c:v>
                </c:pt>
                <c:pt idx="5699">
                  <c:v>0</c:v>
                </c:pt>
                <c:pt idx="5700">
                  <c:v>0</c:v>
                </c:pt>
                <c:pt idx="5701">
                  <c:v>0</c:v>
                </c:pt>
                <c:pt idx="5702">
                  <c:v>0</c:v>
                </c:pt>
                <c:pt idx="5703">
                  <c:v>0</c:v>
                </c:pt>
                <c:pt idx="5704">
                  <c:v>0</c:v>
                </c:pt>
                <c:pt idx="5705">
                  <c:v>0</c:v>
                </c:pt>
                <c:pt idx="5706">
                  <c:v>0</c:v>
                </c:pt>
                <c:pt idx="5707">
                  <c:v>0</c:v>
                </c:pt>
                <c:pt idx="5708">
                  <c:v>0</c:v>
                </c:pt>
                <c:pt idx="5709">
                  <c:v>0</c:v>
                </c:pt>
                <c:pt idx="5710">
                  <c:v>0</c:v>
                </c:pt>
                <c:pt idx="5711">
                  <c:v>0</c:v>
                </c:pt>
                <c:pt idx="5712">
                  <c:v>0</c:v>
                </c:pt>
                <c:pt idx="5713">
                  <c:v>0</c:v>
                </c:pt>
                <c:pt idx="5714">
                  <c:v>0</c:v>
                </c:pt>
                <c:pt idx="5715">
                  <c:v>0</c:v>
                </c:pt>
                <c:pt idx="5716">
                  <c:v>0</c:v>
                </c:pt>
                <c:pt idx="5717">
                  <c:v>0</c:v>
                </c:pt>
                <c:pt idx="5718">
                  <c:v>0</c:v>
                </c:pt>
                <c:pt idx="5719">
                  <c:v>0</c:v>
                </c:pt>
                <c:pt idx="5720">
                  <c:v>0</c:v>
                </c:pt>
                <c:pt idx="5721">
                  <c:v>0</c:v>
                </c:pt>
                <c:pt idx="5722">
                  <c:v>0</c:v>
                </c:pt>
                <c:pt idx="5723">
                  <c:v>0</c:v>
                </c:pt>
                <c:pt idx="5724">
                  <c:v>0</c:v>
                </c:pt>
                <c:pt idx="5725">
                  <c:v>0</c:v>
                </c:pt>
                <c:pt idx="5726">
                  <c:v>0</c:v>
                </c:pt>
                <c:pt idx="5727">
                  <c:v>0</c:v>
                </c:pt>
                <c:pt idx="5728">
                  <c:v>0</c:v>
                </c:pt>
                <c:pt idx="5729">
                  <c:v>0</c:v>
                </c:pt>
                <c:pt idx="5730">
                  <c:v>0</c:v>
                </c:pt>
                <c:pt idx="5731">
                  <c:v>0</c:v>
                </c:pt>
                <c:pt idx="5732">
                  <c:v>0</c:v>
                </c:pt>
                <c:pt idx="5733">
                  <c:v>0</c:v>
                </c:pt>
                <c:pt idx="5734">
                  <c:v>0</c:v>
                </c:pt>
                <c:pt idx="5735">
                  <c:v>0</c:v>
                </c:pt>
                <c:pt idx="5736">
                  <c:v>0</c:v>
                </c:pt>
                <c:pt idx="5737">
                  <c:v>0</c:v>
                </c:pt>
                <c:pt idx="5738">
                  <c:v>0</c:v>
                </c:pt>
                <c:pt idx="5739">
                  <c:v>0</c:v>
                </c:pt>
                <c:pt idx="5740">
                  <c:v>0</c:v>
                </c:pt>
                <c:pt idx="5741">
                  <c:v>0</c:v>
                </c:pt>
                <c:pt idx="5742">
                  <c:v>0</c:v>
                </c:pt>
                <c:pt idx="5743">
                  <c:v>0</c:v>
                </c:pt>
                <c:pt idx="5744">
                  <c:v>0</c:v>
                </c:pt>
                <c:pt idx="5745">
                  <c:v>0</c:v>
                </c:pt>
                <c:pt idx="5746">
                  <c:v>0</c:v>
                </c:pt>
                <c:pt idx="5747">
                  <c:v>0</c:v>
                </c:pt>
                <c:pt idx="5748">
                  <c:v>0</c:v>
                </c:pt>
                <c:pt idx="5749">
                  <c:v>0</c:v>
                </c:pt>
                <c:pt idx="5750">
                  <c:v>0</c:v>
                </c:pt>
                <c:pt idx="5751">
                  <c:v>0</c:v>
                </c:pt>
                <c:pt idx="5752">
                  <c:v>0</c:v>
                </c:pt>
                <c:pt idx="5753">
                  <c:v>0</c:v>
                </c:pt>
                <c:pt idx="5754">
                  <c:v>0</c:v>
                </c:pt>
                <c:pt idx="5755">
                  <c:v>0</c:v>
                </c:pt>
                <c:pt idx="5756">
                  <c:v>0</c:v>
                </c:pt>
                <c:pt idx="5757">
                  <c:v>0</c:v>
                </c:pt>
                <c:pt idx="5758">
                  <c:v>0</c:v>
                </c:pt>
                <c:pt idx="5759">
                  <c:v>0</c:v>
                </c:pt>
                <c:pt idx="5760">
                  <c:v>0</c:v>
                </c:pt>
                <c:pt idx="5761">
                  <c:v>0</c:v>
                </c:pt>
                <c:pt idx="5762">
                  <c:v>0</c:v>
                </c:pt>
                <c:pt idx="5763">
                  <c:v>0</c:v>
                </c:pt>
                <c:pt idx="5764">
                  <c:v>0</c:v>
                </c:pt>
                <c:pt idx="5765">
                  <c:v>0</c:v>
                </c:pt>
                <c:pt idx="5766">
                  <c:v>0</c:v>
                </c:pt>
                <c:pt idx="5767">
                  <c:v>0</c:v>
                </c:pt>
                <c:pt idx="5768">
                  <c:v>0</c:v>
                </c:pt>
                <c:pt idx="5769">
                  <c:v>0</c:v>
                </c:pt>
                <c:pt idx="5770">
                  <c:v>0</c:v>
                </c:pt>
                <c:pt idx="5771">
                  <c:v>0</c:v>
                </c:pt>
                <c:pt idx="5772">
                  <c:v>0</c:v>
                </c:pt>
                <c:pt idx="5773">
                  <c:v>0</c:v>
                </c:pt>
                <c:pt idx="5774">
                  <c:v>0</c:v>
                </c:pt>
                <c:pt idx="5775">
                  <c:v>0</c:v>
                </c:pt>
                <c:pt idx="5776">
                  <c:v>0</c:v>
                </c:pt>
                <c:pt idx="5777">
                  <c:v>0</c:v>
                </c:pt>
                <c:pt idx="5778">
                  <c:v>0</c:v>
                </c:pt>
                <c:pt idx="5779">
                  <c:v>0</c:v>
                </c:pt>
                <c:pt idx="5780">
                  <c:v>0</c:v>
                </c:pt>
                <c:pt idx="5781">
                  <c:v>0</c:v>
                </c:pt>
                <c:pt idx="5782">
                  <c:v>0</c:v>
                </c:pt>
                <c:pt idx="5783">
                  <c:v>0</c:v>
                </c:pt>
                <c:pt idx="5784">
                  <c:v>0</c:v>
                </c:pt>
                <c:pt idx="5785">
                  <c:v>0</c:v>
                </c:pt>
                <c:pt idx="5786">
                  <c:v>0</c:v>
                </c:pt>
                <c:pt idx="5787">
                  <c:v>0</c:v>
                </c:pt>
                <c:pt idx="5788">
                  <c:v>0</c:v>
                </c:pt>
                <c:pt idx="5789">
                  <c:v>0</c:v>
                </c:pt>
                <c:pt idx="5790">
                  <c:v>0</c:v>
                </c:pt>
                <c:pt idx="5791">
                  <c:v>0</c:v>
                </c:pt>
                <c:pt idx="5792">
                  <c:v>0</c:v>
                </c:pt>
                <c:pt idx="5793">
                  <c:v>0</c:v>
                </c:pt>
                <c:pt idx="5794">
                  <c:v>0</c:v>
                </c:pt>
                <c:pt idx="5795">
                  <c:v>0</c:v>
                </c:pt>
                <c:pt idx="5796">
                  <c:v>0</c:v>
                </c:pt>
                <c:pt idx="5797">
                  <c:v>0</c:v>
                </c:pt>
                <c:pt idx="5798">
                  <c:v>0</c:v>
                </c:pt>
                <c:pt idx="5799">
                  <c:v>0</c:v>
                </c:pt>
                <c:pt idx="5800">
                  <c:v>0</c:v>
                </c:pt>
                <c:pt idx="5801">
                  <c:v>0</c:v>
                </c:pt>
                <c:pt idx="5802">
                  <c:v>0</c:v>
                </c:pt>
                <c:pt idx="5803">
                  <c:v>0</c:v>
                </c:pt>
                <c:pt idx="5804">
                  <c:v>0</c:v>
                </c:pt>
                <c:pt idx="5805">
                  <c:v>0</c:v>
                </c:pt>
                <c:pt idx="5806">
                  <c:v>0</c:v>
                </c:pt>
                <c:pt idx="5807">
                  <c:v>0</c:v>
                </c:pt>
                <c:pt idx="5808">
                  <c:v>0</c:v>
                </c:pt>
                <c:pt idx="5809">
                  <c:v>0</c:v>
                </c:pt>
                <c:pt idx="5810">
                  <c:v>0</c:v>
                </c:pt>
                <c:pt idx="5811">
                  <c:v>0</c:v>
                </c:pt>
                <c:pt idx="5812">
                  <c:v>0</c:v>
                </c:pt>
                <c:pt idx="5813">
                  <c:v>0</c:v>
                </c:pt>
                <c:pt idx="5814">
                  <c:v>0</c:v>
                </c:pt>
                <c:pt idx="5815">
                  <c:v>0</c:v>
                </c:pt>
                <c:pt idx="5816">
                  <c:v>0</c:v>
                </c:pt>
                <c:pt idx="5817">
                  <c:v>0</c:v>
                </c:pt>
                <c:pt idx="5818">
                  <c:v>0</c:v>
                </c:pt>
                <c:pt idx="5819">
                  <c:v>0</c:v>
                </c:pt>
                <c:pt idx="5820">
                  <c:v>0</c:v>
                </c:pt>
                <c:pt idx="5821">
                  <c:v>0</c:v>
                </c:pt>
                <c:pt idx="5822">
                  <c:v>0</c:v>
                </c:pt>
                <c:pt idx="5823">
                  <c:v>0</c:v>
                </c:pt>
                <c:pt idx="5824">
                  <c:v>0</c:v>
                </c:pt>
                <c:pt idx="5825">
                  <c:v>0</c:v>
                </c:pt>
                <c:pt idx="5826">
                  <c:v>0</c:v>
                </c:pt>
                <c:pt idx="5827">
                  <c:v>0</c:v>
                </c:pt>
                <c:pt idx="5828">
                  <c:v>0</c:v>
                </c:pt>
                <c:pt idx="5829">
                  <c:v>0</c:v>
                </c:pt>
                <c:pt idx="5830">
                  <c:v>0</c:v>
                </c:pt>
                <c:pt idx="5831">
                  <c:v>0</c:v>
                </c:pt>
                <c:pt idx="5832">
                  <c:v>0</c:v>
                </c:pt>
                <c:pt idx="5833">
                  <c:v>0</c:v>
                </c:pt>
                <c:pt idx="5834">
                  <c:v>0</c:v>
                </c:pt>
                <c:pt idx="5835">
                  <c:v>0</c:v>
                </c:pt>
                <c:pt idx="5836">
                  <c:v>0</c:v>
                </c:pt>
                <c:pt idx="5837">
                  <c:v>0</c:v>
                </c:pt>
                <c:pt idx="5838">
                  <c:v>0</c:v>
                </c:pt>
                <c:pt idx="5839">
                  <c:v>0</c:v>
                </c:pt>
                <c:pt idx="5840">
                  <c:v>0</c:v>
                </c:pt>
                <c:pt idx="5841">
                  <c:v>0</c:v>
                </c:pt>
                <c:pt idx="5842">
                  <c:v>0</c:v>
                </c:pt>
                <c:pt idx="5843">
                  <c:v>0</c:v>
                </c:pt>
                <c:pt idx="5844">
                  <c:v>0</c:v>
                </c:pt>
                <c:pt idx="5845">
                  <c:v>0</c:v>
                </c:pt>
                <c:pt idx="5846">
                  <c:v>0</c:v>
                </c:pt>
                <c:pt idx="5847">
                  <c:v>0</c:v>
                </c:pt>
                <c:pt idx="5848">
                  <c:v>0</c:v>
                </c:pt>
                <c:pt idx="5849">
                  <c:v>0</c:v>
                </c:pt>
                <c:pt idx="5850">
                  <c:v>0</c:v>
                </c:pt>
                <c:pt idx="5851">
                  <c:v>0</c:v>
                </c:pt>
                <c:pt idx="5852">
                  <c:v>0</c:v>
                </c:pt>
                <c:pt idx="5853">
                  <c:v>0</c:v>
                </c:pt>
                <c:pt idx="5854">
                  <c:v>0</c:v>
                </c:pt>
                <c:pt idx="5855">
                  <c:v>0</c:v>
                </c:pt>
                <c:pt idx="5856">
                  <c:v>0</c:v>
                </c:pt>
                <c:pt idx="5857">
                  <c:v>0</c:v>
                </c:pt>
                <c:pt idx="5858">
                  <c:v>0</c:v>
                </c:pt>
                <c:pt idx="5859">
                  <c:v>0</c:v>
                </c:pt>
                <c:pt idx="5860">
                  <c:v>0</c:v>
                </c:pt>
                <c:pt idx="5861">
                  <c:v>0</c:v>
                </c:pt>
                <c:pt idx="5862">
                  <c:v>0</c:v>
                </c:pt>
                <c:pt idx="5863">
                  <c:v>0</c:v>
                </c:pt>
                <c:pt idx="5864">
                  <c:v>0</c:v>
                </c:pt>
                <c:pt idx="5865">
                  <c:v>0</c:v>
                </c:pt>
                <c:pt idx="5866">
                  <c:v>0</c:v>
                </c:pt>
                <c:pt idx="5867">
                  <c:v>0</c:v>
                </c:pt>
                <c:pt idx="5868">
                  <c:v>0</c:v>
                </c:pt>
                <c:pt idx="5869">
                  <c:v>0</c:v>
                </c:pt>
                <c:pt idx="5870">
                  <c:v>0</c:v>
                </c:pt>
                <c:pt idx="5871">
                  <c:v>0</c:v>
                </c:pt>
                <c:pt idx="5872">
                  <c:v>0</c:v>
                </c:pt>
                <c:pt idx="5873">
                  <c:v>0</c:v>
                </c:pt>
                <c:pt idx="5874">
                  <c:v>0</c:v>
                </c:pt>
                <c:pt idx="5875">
                  <c:v>0</c:v>
                </c:pt>
                <c:pt idx="5876">
                  <c:v>0</c:v>
                </c:pt>
                <c:pt idx="5877">
                  <c:v>0</c:v>
                </c:pt>
                <c:pt idx="5878">
                  <c:v>0</c:v>
                </c:pt>
                <c:pt idx="5879">
                  <c:v>0</c:v>
                </c:pt>
                <c:pt idx="5880">
                  <c:v>0</c:v>
                </c:pt>
                <c:pt idx="5881">
                  <c:v>0</c:v>
                </c:pt>
                <c:pt idx="5882">
                  <c:v>0</c:v>
                </c:pt>
                <c:pt idx="5883">
                  <c:v>0</c:v>
                </c:pt>
                <c:pt idx="5884">
                  <c:v>0</c:v>
                </c:pt>
                <c:pt idx="5885">
                  <c:v>0</c:v>
                </c:pt>
                <c:pt idx="5886">
                  <c:v>0</c:v>
                </c:pt>
                <c:pt idx="5887">
                  <c:v>0</c:v>
                </c:pt>
                <c:pt idx="5888">
                  <c:v>0</c:v>
                </c:pt>
                <c:pt idx="5889">
                  <c:v>0</c:v>
                </c:pt>
                <c:pt idx="5890">
                  <c:v>0</c:v>
                </c:pt>
                <c:pt idx="5891">
                  <c:v>0</c:v>
                </c:pt>
                <c:pt idx="5892">
                  <c:v>0</c:v>
                </c:pt>
                <c:pt idx="5893">
                  <c:v>0</c:v>
                </c:pt>
                <c:pt idx="5894">
                  <c:v>0</c:v>
                </c:pt>
                <c:pt idx="5895">
                  <c:v>0</c:v>
                </c:pt>
                <c:pt idx="5896">
                  <c:v>0</c:v>
                </c:pt>
                <c:pt idx="5897">
                  <c:v>0</c:v>
                </c:pt>
                <c:pt idx="5898">
                  <c:v>0</c:v>
                </c:pt>
                <c:pt idx="5899">
                  <c:v>0</c:v>
                </c:pt>
                <c:pt idx="5900">
                  <c:v>0</c:v>
                </c:pt>
                <c:pt idx="5901">
                  <c:v>0</c:v>
                </c:pt>
                <c:pt idx="5902">
                  <c:v>0</c:v>
                </c:pt>
                <c:pt idx="5903">
                  <c:v>0</c:v>
                </c:pt>
                <c:pt idx="5904">
                  <c:v>0</c:v>
                </c:pt>
                <c:pt idx="5905">
                  <c:v>0</c:v>
                </c:pt>
                <c:pt idx="5906">
                  <c:v>0</c:v>
                </c:pt>
                <c:pt idx="5907">
                  <c:v>0</c:v>
                </c:pt>
                <c:pt idx="5908">
                  <c:v>0</c:v>
                </c:pt>
                <c:pt idx="5909">
                  <c:v>0</c:v>
                </c:pt>
                <c:pt idx="5910">
                  <c:v>0</c:v>
                </c:pt>
                <c:pt idx="5911">
                  <c:v>0</c:v>
                </c:pt>
                <c:pt idx="5912">
                  <c:v>0</c:v>
                </c:pt>
                <c:pt idx="5913">
                  <c:v>0</c:v>
                </c:pt>
                <c:pt idx="5914">
                  <c:v>0</c:v>
                </c:pt>
                <c:pt idx="5915">
                  <c:v>0</c:v>
                </c:pt>
                <c:pt idx="5916">
                  <c:v>0</c:v>
                </c:pt>
                <c:pt idx="5917">
                  <c:v>0</c:v>
                </c:pt>
                <c:pt idx="5918">
                  <c:v>0</c:v>
                </c:pt>
                <c:pt idx="5919">
                  <c:v>0</c:v>
                </c:pt>
                <c:pt idx="5920">
                  <c:v>0</c:v>
                </c:pt>
                <c:pt idx="5921">
                  <c:v>0</c:v>
                </c:pt>
                <c:pt idx="5922">
                  <c:v>0</c:v>
                </c:pt>
                <c:pt idx="5923">
                  <c:v>0</c:v>
                </c:pt>
                <c:pt idx="5924">
                  <c:v>0</c:v>
                </c:pt>
                <c:pt idx="5925">
                  <c:v>0</c:v>
                </c:pt>
                <c:pt idx="5926">
                  <c:v>0</c:v>
                </c:pt>
                <c:pt idx="5927">
                  <c:v>0</c:v>
                </c:pt>
                <c:pt idx="5928">
                  <c:v>0</c:v>
                </c:pt>
                <c:pt idx="5929">
                  <c:v>0</c:v>
                </c:pt>
                <c:pt idx="5930">
                  <c:v>0</c:v>
                </c:pt>
                <c:pt idx="5931">
                  <c:v>0</c:v>
                </c:pt>
                <c:pt idx="5932">
                  <c:v>0</c:v>
                </c:pt>
                <c:pt idx="5933">
                  <c:v>0</c:v>
                </c:pt>
                <c:pt idx="5934">
                  <c:v>0</c:v>
                </c:pt>
                <c:pt idx="5935">
                  <c:v>0</c:v>
                </c:pt>
                <c:pt idx="5936">
                  <c:v>0</c:v>
                </c:pt>
                <c:pt idx="5937">
                  <c:v>0</c:v>
                </c:pt>
                <c:pt idx="5938">
                  <c:v>0</c:v>
                </c:pt>
                <c:pt idx="5939">
                  <c:v>0</c:v>
                </c:pt>
                <c:pt idx="5940">
                  <c:v>0</c:v>
                </c:pt>
                <c:pt idx="5941">
                  <c:v>0</c:v>
                </c:pt>
                <c:pt idx="5942">
                  <c:v>0</c:v>
                </c:pt>
                <c:pt idx="5943">
                  <c:v>0</c:v>
                </c:pt>
                <c:pt idx="5944">
                  <c:v>0</c:v>
                </c:pt>
                <c:pt idx="5945">
                  <c:v>0</c:v>
                </c:pt>
                <c:pt idx="5946">
                  <c:v>0</c:v>
                </c:pt>
                <c:pt idx="5947">
                  <c:v>0</c:v>
                </c:pt>
                <c:pt idx="5948">
                  <c:v>0</c:v>
                </c:pt>
                <c:pt idx="5949">
                  <c:v>0</c:v>
                </c:pt>
                <c:pt idx="5950">
                  <c:v>0</c:v>
                </c:pt>
                <c:pt idx="5951">
                  <c:v>0</c:v>
                </c:pt>
                <c:pt idx="5952">
                  <c:v>0</c:v>
                </c:pt>
                <c:pt idx="5953">
                  <c:v>0</c:v>
                </c:pt>
                <c:pt idx="5954">
                  <c:v>0</c:v>
                </c:pt>
                <c:pt idx="5955">
                  <c:v>0</c:v>
                </c:pt>
                <c:pt idx="5956">
                  <c:v>0</c:v>
                </c:pt>
                <c:pt idx="5957">
                  <c:v>0</c:v>
                </c:pt>
                <c:pt idx="5958">
                  <c:v>0</c:v>
                </c:pt>
                <c:pt idx="5959">
                  <c:v>0</c:v>
                </c:pt>
                <c:pt idx="5960">
                  <c:v>0</c:v>
                </c:pt>
                <c:pt idx="5961">
                  <c:v>0</c:v>
                </c:pt>
                <c:pt idx="5962">
                  <c:v>0</c:v>
                </c:pt>
                <c:pt idx="5963">
                  <c:v>0</c:v>
                </c:pt>
                <c:pt idx="5964">
                  <c:v>0</c:v>
                </c:pt>
                <c:pt idx="5965">
                  <c:v>0</c:v>
                </c:pt>
                <c:pt idx="5966">
                  <c:v>0</c:v>
                </c:pt>
                <c:pt idx="5967">
                  <c:v>0</c:v>
                </c:pt>
                <c:pt idx="5968">
                  <c:v>0</c:v>
                </c:pt>
                <c:pt idx="5969">
                  <c:v>0</c:v>
                </c:pt>
                <c:pt idx="5970">
                  <c:v>0</c:v>
                </c:pt>
                <c:pt idx="5971">
                  <c:v>0</c:v>
                </c:pt>
                <c:pt idx="5972">
                  <c:v>0</c:v>
                </c:pt>
                <c:pt idx="5973">
                  <c:v>0</c:v>
                </c:pt>
                <c:pt idx="5974">
                  <c:v>0</c:v>
                </c:pt>
                <c:pt idx="5975">
                  <c:v>0</c:v>
                </c:pt>
                <c:pt idx="5976">
                  <c:v>0</c:v>
                </c:pt>
                <c:pt idx="5977">
                  <c:v>0</c:v>
                </c:pt>
                <c:pt idx="5978">
                  <c:v>0</c:v>
                </c:pt>
                <c:pt idx="5979">
                  <c:v>0</c:v>
                </c:pt>
                <c:pt idx="5980">
                  <c:v>0</c:v>
                </c:pt>
                <c:pt idx="5981">
                  <c:v>0</c:v>
                </c:pt>
                <c:pt idx="5982">
                  <c:v>0</c:v>
                </c:pt>
                <c:pt idx="5983">
                  <c:v>0</c:v>
                </c:pt>
                <c:pt idx="5984">
                  <c:v>0</c:v>
                </c:pt>
                <c:pt idx="5985">
                  <c:v>0</c:v>
                </c:pt>
                <c:pt idx="5986">
                  <c:v>0</c:v>
                </c:pt>
                <c:pt idx="5987">
                  <c:v>0</c:v>
                </c:pt>
                <c:pt idx="5988">
                  <c:v>0</c:v>
                </c:pt>
                <c:pt idx="5989">
                  <c:v>0</c:v>
                </c:pt>
                <c:pt idx="5990">
                  <c:v>0</c:v>
                </c:pt>
                <c:pt idx="5991">
                  <c:v>0</c:v>
                </c:pt>
                <c:pt idx="5992">
                  <c:v>0</c:v>
                </c:pt>
                <c:pt idx="5993">
                  <c:v>0</c:v>
                </c:pt>
                <c:pt idx="5994">
                  <c:v>0</c:v>
                </c:pt>
                <c:pt idx="5995">
                  <c:v>0</c:v>
                </c:pt>
                <c:pt idx="5996">
                  <c:v>0</c:v>
                </c:pt>
                <c:pt idx="5997">
                  <c:v>0</c:v>
                </c:pt>
                <c:pt idx="5998">
                  <c:v>0</c:v>
                </c:pt>
                <c:pt idx="5999">
                  <c:v>0</c:v>
                </c:pt>
                <c:pt idx="6000">
                  <c:v>0</c:v>
                </c:pt>
                <c:pt idx="6001">
                  <c:v>0</c:v>
                </c:pt>
                <c:pt idx="6002">
                  <c:v>0</c:v>
                </c:pt>
                <c:pt idx="6003">
                  <c:v>0</c:v>
                </c:pt>
                <c:pt idx="6004">
                  <c:v>0</c:v>
                </c:pt>
                <c:pt idx="6005">
                  <c:v>0</c:v>
                </c:pt>
                <c:pt idx="6006">
                  <c:v>0</c:v>
                </c:pt>
                <c:pt idx="6007">
                  <c:v>0</c:v>
                </c:pt>
                <c:pt idx="6008">
                  <c:v>0</c:v>
                </c:pt>
                <c:pt idx="6009">
                  <c:v>0</c:v>
                </c:pt>
                <c:pt idx="6010">
                  <c:v>0</c:v>
                </c:pt>
                <c:pt idx="6011">
                  <c:v>0</c:v>
                </c:pt>
                <c:pt idx="6012">
                  <c:v>0</c:v>
                </c:pt>
                <c:pt idx="6013">
                  <c:v>0</c:v>
                </c:pt>
                <c:pt idx="6014">
                  <c:v>0</c:v>
                </c:pt>
                <c:pt idx="6015">
                  <c:v>0</c:v>
                </c:pt>
                <c:pt idx="6016">
                  <c:v>0</c:v>
                </c:pt>
                <c:pt idx="6017">
                  <c:v>0</c:v>
                </c:pt>
                <c:pt idx="6018">
                  <c:v>0</c:v>
                </c:pt>
                <c:pt idx="6019">
                  <c:v>0</c:v>
                </c:pt>
                <c:pt idx="6020">
                  <c:v>0</c:v>
                </c:pt>
                <c:pt idx="6021">
                  <c:v>0</c:v>
                </c:pt>
                <c:pt idx="6022">
                  <c:v>0</c:v>
                </c:pt>
                <c:pt idx="6023">
                  <c:v>0</c:v>
                </c:pt>
                <c:pt idx="6024">
                  <c:v>0</c:v>
                </c:pt>
                <c:pt idx="6025">
                  <c:v>0</c:v>
                </c:pt>
                <c:pt idx="6026">
                  <c:v>0</c:v>
                </c:pt>
                <c:pt idx="6027">
                  <c:v>0</c:v>
                </c:pt>
                <c:pt idx="6028">
                  <c:v>0</c:v>
                </c:pt>
                <c:pt idx="6029">
                  <c:v>0</c:v>
                </c:pt>
                <c:pt idx="6030">
                  <c:v>0</c:v>
                </c:pt>
                <c:pt idx="6031">
                  <c:v>0</c:v>
                </c:pt>
                <c:pt idx="6032">
                  <c:v>0</c:v>
                </c:pt>
                <c:pt idx="6033">
                  <c:v>0</c:v>
                </c:pt>
                <c:pt idx="6034">
                  <c:v>0</c:v>
                </c:pt>
                <c:pt idx="6035">
                  <c:v>0</c:v>
                </c:pt>
                <c:pt idx="6036">
                  <c:v>0</c:v>
                </c:pt>
                <c:pt idx="6037">
                  <c:v>0</c:v>
                </c:pt>
                <c:pt idx="6038">
                  <c:v>0</c:v>
                </c:pt>
                <c:pt idx="6039">
                  <c:v>0</c:v>
                </c:pt>
                <c:pt idx="6040">
                  <c:v>0</c:v>
                </c:pt>
                <c:pt idx="6041">
                  <c:v>0</c:v>
                </c:pt>
                <c:pt idx="6042">
                  <c:v>0</c:v>
                </c:pt>
                <c:pt idx="6043">
                  <c:v>0</c:v>
                </c:pt>
                <c:pt idx="6044">
                  <c:v>0</c:v>
                </c:pt>
                <c:pt idx="6045">
                  <c:v>0</c:v>
                </c:pt>
                <c:pt idx="6046">
                  <c:v>0</c:v>
                </c:pt>
                <c:pt idx="6047">
                  <c:v>0</c:v>
                </c:pt>
                <c:pt idx="6048">
                  <c:v>0</c:v>
                </c:pt>
                <c:pt idx="6049">
                  <c:v>0</c:v>
                </c:pt>
                <c:pt idx="6050">
                  <c:v>0</c:v>
                </c:pt>
                <c:pt idx="6051">
                  <c:v>0</c:v>
                </c:pt>
                <c:pt idx="6052">
                  <c:v>0</c:v>
                </c:pt>
                <c:pt idx="6053">
                  <c:v>0</c:v>
                </c:pt>
                <c:pt idx="6054">
                  <c:v>0</c:v>
                </c:pt>
                <c:pt idx="6055">
                  <c:v>0</c:v>
                </c:pt>
                <c:pt idx="6056">
                  <c:v>0</c:v>
                </c:pt>
                <c:pt idx="6057">
                  <c:v>0</c:v>
                </c:pt>
                <c:pt idx="6058">
                  <c:v>0</c:v>
                </c:pt>
                <c:pt idx="6059">
                  <c:v>0</c:v>
                </c:pt>
                <c:pt idx="6060">
                  <c:v>0</c:v>
                </c:pt>
                <c:pt idx="6061">
                  <c:v>0</c:v>
                </c:pt>
                <c:pt idx="6062">
                  <c:v>0</c:v>
                </c:pt>
                <c:pt idx="6063">
                  <c:v>0</c:v>
                </c:pt>
                <c:pt idx="6064">
                  <c:v>0</c:v>
                </c:pt>
                <c:pt idx="6065">
                  <c:v>0</c:v>
                </c:pt>
                <c:pt idx="6066">
                  <c:v>0</c:v>
                </c:pt>
                <c:pt idx="6067">
                  <c:v>0</c:v>
                </c:pt>
                <c:pt idx="6068">
                  <c:v>0</c:v>
                </c:pt>
                <c:pt idx="6069">
                  <c:v>0</c:v>
                </c:pt>
                <c:pt idx="6070">
                  <c:v>0</c:v>
                </c:pt>
                <c:pt idx="6071">
                  <c:v>0</c:v>
                </c:pt>
                <c:pt idx="6072">
                  <c:v>0</c:v>
                </c:pt>
                <c:pt idx="6073">
                  <c:v>0</c:v>
                </c:pt>
                <c:pt idx="6074">
                  <c:v>0</c:v>
                </c:pt>
                <c:pt idx="6075">
                  <c:v>0</c:v>
                </c:pt>
                <c:pt idx="6076">
                  <c:v>0</c:v>
                </c:pt>
                <c:pt idx="6077">
                  <c:v>0</c:v>
                </c:pt>
                <c:pt idx="6078">
                  <c:v>0</c:v>
                </c:pt>
                <c:pt idx="6079">
                  <c:v>0</c:v>
                </c:pt>
                <c:pt idx="6080">
                  <c:v>0</c:v>
                </c:pt>
                <c:pt idx="6081">
                  <c:v>0</c:v>
                </c:pt>
                <c:pt idx="6082">
                  <c:v>0</c:v>
                </c:pt>
                <c:pt idx="6083">
                  <c:v>0</c:v>
                </c:pt>
                <c:pt idx="6084">
                  <c:v>0</c:v>
                </c:pt>
                <c:pt idx="6085">
                  <c:v>0</c:v>
                </c:pt>
                <c:pt idx="6086">
                  <c:v>0</c:v>
                </c:pt>
                <c:pt idx="6087">
                  <c:v>0</c:v>
                </c:pt>
                <c:pt idx="6088">
                  <c:v>0</c:v>
                </c:pt>
                <c:pt idx="6089">
                  <c:v>0</c:v>
                </c:pt>
                <c:pt idx="6090">
                  <c:v>0</c:v>
                </c:pt>
                <c:pt idx="6091">
                  <c:v>0</c:v>
                </c:pt>
                <c:pt idx="6092">
                  <c:v>0</c:v>
                </c:pt>
                <c:pt idx="6093">
                  <c:v>0</c:v>
                </c:pt>
                <c:pt idx="6094">
                  <c:v>0</c:v>
                </c:pt>
                <c:pt idx="6095">
                  <c:v>0</c:v>
                </c:pt>
                <c:pt idx="6096">
                  <c:v>0</c:v>
                </c:pt>
                <c:pt idx="6097">
                  <c:v>0</c:v>
                </c:pt>
                <c:pt idx="6098">
                  <c:v>0</c:v>
                </c:pt>
                <c:pt idx="6099">
                  <c:v>0</c:v>
                </c:pt>
                <c:pt idx="6100">
                  <c:v>0</c:v>
                </c:pt>
                <c:pt idx="6101">
                  <c:v>0</c:v>
                </c:pt>
                <c:pt idx="6102">
                  <c:v>0</c:v>
                </c:pt>
                <c:pt idx="6103">
                  <c:v>0</c:v>
                </c:pt>
                <c:pt idx="6104">
                  <c:v>0</c:v>
                </c:pt>
                <c:pt idx="6105">
                  <c:v>0</c:v>
                </c:pt>
                <c:pt idx="6106">
                  <c:v>0</c:v>
                </c:pt>
                <c:pt idx="6107">
                  <c:v>0</c:v>
                </c:pt>
                <c:pt idx="6108">
                  <c:v>0</c:v>
                </c:pt>
                <c:pt idx="6109">
                  <c:v>0</c:v>
                </c:pt>
                <c:pt idx="6110">
                  <c:v>0</c:v>
                </c:pt>
                <c:pt idx="6111">
                  <c:v>0</c:v>
                </c:pt>
                <c:pt idx="6112">
                  <c:v>0</c:v>
                </c:pt>
                <c:pt idx="6113">
                  <c:v>0</c:v>
                </c:pt>
                <c:pt idx="6114">
                  <c:v>0</c:v>
                </c:pt>
                <c:pt idx="6115">
                  <c:v>0</c:v>
                </c:pt>
                <c:pt idx="6116">
                  <c:v>0</c:v>
                </c:pt>
                <c:pt idx="6117">
                  <c:v>0</c:v>
                </c:pt>
                <c:pt idx="6118">
                  <c:v>0</c:v>
                </c:pt>
                <c:pt idx="6119">
                  <c:v>0</c:v>
                </c:pt>
                <c:pt idx="6120">
                  <c:v>0</c:v>
                </c:pt>
                <c:pt idx="6121">
                  <c:v>0</c:v>
                </c:pt>
                <c:pt idx="6122">
                  <c:v>0</c:v>
                </c:pt>
                <c:pt idx="6123">
                  <c:v>0</c:v>
                </c:pt>
                <c:pt idx="6124">
                  <c:v>0</c:v>
                </c:pt>
                <c:pt idx="6125">
                  <c:v>0</c:v>
                </c:pt>
                <c:pt idx="6126">
                  <c:v>0</c:v>
                </c:pt>
                <c:pt idx="6127">
                  <c:v>0</c:v>
                </c:pt>
                <c:pt idx="6128">
                  <c:v>0</c:v>
                </c:pt>
                <c:pt idx="6129">
                  <c:v>0</c:v>
                </c:pt>
                <c:pt idx="6130">
                  <c:v>0</c:v>
                </c:pt>
                <c:pt idx="6131">
                  <c:v>0</c:v>
                </c:pt>
                <c:pt idx="6132">
                  <c:v>0</c:v>
                </c:pt>
                <c:pt idx="6133">
                  <c:v>0</c:v>
                </c:pt>
                <c:pt idx="6134">
                  <c:v>0</c:v>
                </c:pt>
                <c:pt idx="6135">
                  <c:v>0</c:v>
                </c:pt>
                <c:pt idx="6136">
                  <c:v>0</c:v>
                </c:pt>
                <c:pt idx="6137">
                  <c:v>0</c:v>
                </c:pt>
                <c:pt idx="6138">
                  <c:v>0</c:v>
                </c:pt>
                <c:pt idx="6139">
                  <c:v>0</c:v>
                </c:pt>
                <c:pt idx="6140">
                  <c:v>0</c:v>
                </c:pt>
                <c:pt idx="6141">
                  <c:v>0</c:v>
                </c:pt>
                <c:pt idx="6142">
                  <c:v>0</c:v>
                </c:pt>
                <c:pt idx="6143">
                  <c:v>0</c:v>
                </c:pt>
                <c:pt idx="6144">
                  <c:v>0</c:v>
                </c:pt>
                <c:pt idx="6145">
                  <c:v>0</c:v>
                </c:pt>
                <c:pt idx="6146">
                  <c:v>0</c:v>
                </c:pt>
                <c:pt idx="6147">
                  <c:v>0</c:v>
                </c:pt>
                <c:pt idx="6148">
                  <c:v>0</c:v>
                </c:pt>
                <c:pt idx="6149">
                  <c:v>0</c:v>
                </c:pt>
                <c:pt idx="6150">
                  <c:v>0</c:v>
                </c:pt>
                <c:pt idx="6151">
                  <c:v>0</c:v>
                </c:pt>
                <c:pt idx="6152">
                  <c:v>0</c:v>
                </c:pt>
                <c:pt idx="6153">
                  <c:v>0</c:v>
                </c:pt>
                <c:pt idx="6154">
                  <c:v>0</c:v>
                </c:pt>
                <c:pt idx="6155">
                  <c:v>0</c:v>
                </c:pt>
                <c:pt idx="6156">
                  <c:v>0</c:v>
                </c:pt>
                <c:pt idx="6157">
                  <c:v>0</c:v>
                </c:pt>
                <c:pt idx="6158">
                  <c:v>0</c:v>
                </c:pt>
                <c:pt idx="6159">
                  <c:v>0</c:v>
                </c:pt>
                <c:pt idx="6160">
                  <c:v>0</c:v>
                </c:pt>
                <c:pt idx="6161">
                  <c:v>0</c:v>
                </c:pt>
                <c:pt idx="6162">
                  <c:v>0</c:v>
                </c:pt>
                <c:pt idx="6163">
                  <c:v>0</c:v>
                </c:pt>
                <c:pt idx="6164">
                  <c:v>0</c:v>
                </c:pt>
                <c:pt idx="6165">
                  <c:v>0</c:v>
                </c:pt>
                <c:pt idx="6166">
                  <c:v>0</c:v>
                </c:pt>
                <c:pt idx="6167">
                  <c:v>0</c:v>
                </c:pt>
                <c:pt idx="6168">
                  <c:v>0</c:v>
                </c:pt>
                <c:pt idx="6169">
                  <c:v>0</c:v>
                </c:pt>
                <c:pt idx="6170">
                  <c:v>0</c:v>
                </c:pt>
                <c:pt idx="6171">
                  <c:v>0</c:v>
                </c:pt>
                <c:pt idx="6172">
                  <c:v>0</c:v>
                </c:pt>
                <c:pt idx="6173">
                  <c:v>0</c:v>
                </c:pt>
                <c:pt idx="6174">
                  <c:v>0</c:v>
                </c:pt>
                <c:pt idx="6175">
                  <c:v>0</c:v>
                </c:pt>
                <c:pt idx="6176">
                  <c:v>0</c:v>
                </c:pt>
                <c:pt idx="6177">
                  <c:v>0</c:v>
                </c:pt>
                <c:pt idx="6178">
                  <c:v>0</c:v>
                </c:pt>
                <c:pt idx="6179">
                  <c:v>0</c:v>
                </c:pt>
                <c:pt idx="6180">
                  <c:v>0</c:v>
                </c:pt>
                <c:pt idx="6181">
                  <c:v>0</c:v>
                </c:pt>
                <c:pt idx="6182">
                  <c:v>0</c:v>
                </c:pt>
                <c:pt idx="6183">
                  <c:v>0</c:v>
                </c:pt>
                <c:pt idx="6184">
                  <c:v>0</c:v>
                </c:pt>
                <c:pt idx="6185">
                  <c:v>0</c:v>
                </c:pt>
                <c:pt idx="6186">
                  <c:v>0</c:v>
                </c:pt>
                <c:pt idx="6187">
                  <c:v>0</c:v>
                </c:pt>
                <c:pt idx="6188">
                  <c:v>0</c:v>
                </c:pt>
                <c:pt idx="6189">
                  <c:v>0</c:v>
                </c:pt>
                <c:pt idx="6190">
                  <c:v>0</c:v>
                </c:pt>
                <c:pt idx="6191">
                  <c:v>0</c:v>
                </c:pt>
                <c:pt idx="6192">
                  <c:v>0</c:v>
                </c:pt>
                <c:pt idx="6193">
                  <c:v>0</c:v>
                </c:pt>
                <c:pt idx="6194">
                  <c:v>0</c:v>
                </c:pt>
                <c:pt idx="6195">
                  <c:v>0</c:v>
                </c:pt>
                <c:pt idx="6196">
                  <c:v>0</c:v>
                </c:pt>
                <c:pt idx="6197">
                  <c:v>0</c:v>
                </c:pt>
                <c:pt idx="6198">
                  <c:v>0</c:v>
                </c:pt>
                <c:pt idx="6199">
                  <c:v>0</c:v>
                </c:pt>
                <c:pt idx="6200">
                  <c:v>0</c:v>
                </c:pt>
                <c:pt idx="6201">
                  <c:v>0</c:v>
                </c:pt>
                <c:pt idx="6202">
                  <c:v>0</c:v>
                </c:pt>
                <c:pt idx="6203">
                  <c:v>0</c:v>
                </c:pt>
                <c:pt idx="6204">
                  <c:v>0</c:v>
                </c:pt>
                <c:pt idx="6205">
                  <c:v>0</c:v>
                </c:pt>
                <c:pt idx="6206">
                  <c:v>0</c:v>
                </c:pt>
                <c:pt idx="6207">
                  <c:v>0</c:v>
                </c:pt>
                <c:pt idx="6208">
                  <c:v>0</c:v>
                </c:pt>
                <c:pt idx="6209">
                  <c:v>0</c:v>
                </c:pt>
                <c:pt idx="6210">
                  <c:v>0</c:v>
                </c:pt>
                <c:pt idx="6211">
                  <c:v>0</c:v>
                </c:pt>
                <c:pt idx="6212">
                  <c:v>0</c:v>
                </c:pt>
                <c:pt idx="6213">
                  <c:v>0</c:v>
                </c:pt>
                <c:pt idx="6214">
                  <c:v>0</c:v>
                </c:pt>
                <c:pt idx="6215">
                  <c:v>0</c:v>
                </c:pt>
                <c:pt idx="6216">
                  <c:v>0</c:v>
                </c:pt>
                <c:pt idx="6217">
                  <c:v>0</c:v>
                </c:pt>
                <c:pt idx="6218">
                  <c:v>0</c:v>
                </c:pt>
                <c:pt idx="6219">
                  <c:v>0</c:v>
                </c:pt>
                <c:pt idx="6220">
                  <c:v>0</c:v>
                </c:pt>
                <c:pt idx="6221">
                  <c:v>0</c:v>
                </c:pt>
                <c:pt idx="6222">
                  <c:v>0</c:v>
                </c:pt>
                <c:pt idx="6223">
                  <c:v>0</c:v>
                </c:pt>
                <c:pt idx="6224">
                  <c:v>0</c:v>
                </c:pt>
                <c:pt idx="6225">
                  <c:v>0</c:v>
                </c:pt>
                <c:pt idx="6226">
                  <c:v>0</c:v>
                </c:pt>
                <c:pt idx="6227">
                  <c:v>0</c:v>
                </c:pt>
                <c:pt idx="6228">
                  <c:v>0</c:v>
                </c:pt>
                <c:pt idx="6229">
                  <c:v>0</c:v>
                </c:pt>
                <c:pt idx="6230">
                  <c:v>0</c:v>
                </c:pt>
                <c:pt idx="6231">
                  <c:v>0</c:v>
                </c:pt>
                <c:pt idx="6232">
                  <c:v>0</c:v>
                </c:pt>
                <c:pt idx="6233">
                  <c:v>0</c:v>
                </c:pt>
                <c:pt idx="6234">
                  <c:v>0</c:v>
                </c:pt>
                <c:pt idx="6235">
                  <c:v>0</c:v>
                </c:pt>
                <c:pt idx="6236">
                  <c:v>0</c:v>
                </c:pt>
                <c:pt idx="6237">
                  <c:v>0</c:v>
                </c:pt>
                <c:pt idx="6238">
                  <c:v>0</c:v>
                </c:pt>
                <c:pt idx="6239">
                  <c:v>0</c:v>
                </c:pt>
                <c:pt idx="6240">
                  <c:v>0</c:v>
                </c:pt>
                <c:pt idx="6241">
                  <c:v>0</c:v>
                </c:pt>
                <c:pt idx="6242">
                  <c:v>0</c:v>
                </c:pt>
                <c:pt idx="6243">
                  <c:v>0</c:v>
                </c:pt>
                <c:pt idx="6244">
                  <c:v>0</c:v>
                </c:pt>
                <c:pt idx="6245">
                  <c:v>0</c:v>
                </c:pt>
                <c:pt idx="6246">
                  <c:v>0</c:v>
                </c:pt>
                <c:pt idx="6247">
                  <c:v>0</c:v>
                </c:pt>
                <c:pt idx="6248">
                  <c:v>0</c:v>
                </c:pt>
                <c:pt idx="6249">
                  <c:v>0</c:v>
                </c:pt>
                <c:pt idx="6250">
                  <c:v>0</c:v>
                </c:pt>
                <c:pt idx="6251">
                  <c:v>0</c:v>
                </c:pt>
                <c:pt idx="6252">
                  <c:v>0</c:v>
                </c:pt>
                <c:pt idx="6253">
                  <c:v>0</c:v>
                </c:pt>
                <c:pt idx="6254">
                  <c:v>0</c:v>
                </c:pt>
                <c:pt idx="6255">
                  <c:v>0</c:v>
                </c:pt>
                <c:pt idx="6256">
                  <c:v>0</c:v>
                </c:pt>
                <c:pt idx="6257">
                  <c:v>0</c:v>
                </c:pt>
                <c:pt idx="6258">
                  <c:v>0</c:v>
                </c:pt>
                <c:pt idx="6259">
                  <c:v>0</c:v>
                </c:pt>
                <c:pt idx="6260">
                  <c:v>0</c:v>
                </c:pt>
                <c:pt idx="6261">
                  <c:v>0</c:v>
                </c:pt>
                <c:pt idx="6262">
                  <c:v>0</c:v>
                </c:pt>
                <c:pt idx="6263">
                  <c:v>0</c:v>
                </c:pt>
                <c:pt idx="6264">
                  <c:v>0</c:v>
                </c:pt>
                <c:pt idx="6265">
                  <c:v>0</c:v>
                </c:pt>
                <c:pt idx="6266">
                  <c:v>0</c:v>
                </c:pt>
                <c:pt idx="6267">
                  <c:v>0</c:v>
                </c:pt>
                <c:pt idx="6268">
                  <c:v>0</c:v>
                </c:pt>
                <c:pt idx="6269">
                  <c:v>0</c:v>
                </c:pt>
                <c:pt idx="6270">
                  <c:v>0</c:v>
                </c:pt>
                <c:pt idx="6271">
                  <c:v>0</c:v>
                </c:pt>
                <c:pt idx="6272">
                  <c:v>0</c:v>
                </c:pt>
                <c:pt idx="6273">
                  <c:v>0</c:v>
                </c:pt>
                <c:pt idx="6274">
                  <c:v>0</c:v>
                </c:pt>
                <c:pt idx="6275">
                  <c:v>0</c:v>
                </c:pt>
                <c:pt idx="6276">
                  <c:v>0</c:v>
                </c:pt>
                <c:pt idx="6277">
                  <c:v>0</c:v>
                </c:pt>
                <c:pt idx="6278">
                  <c:v>0</c:v>
                </c:pt>
                <c:pt idx="6279">
                  <c:v>0</c:v>
                </c:pt>
                <c:pt idx="6280">
                  <c:v>0</c:v>
                </c:pt>
                <c:pt idx="6281">
                  <c:v>0</c:v>
                </c:pt>
                <c:pt idx="6282">
                  <c:v>0</c:v>
                </c:pt>
                <c:pt idx="6283">
                  <c:v>0</c:v>
                </c:pt>
                <c:pt idx="6284">
                  <c:v>0</c:v>
                </c:pt>
                <c:pt idx="6285">
                  <c:v>0</c:v>
                </c:pt>
                <c:pt idx="6286">
                  <c:v>0</c:v>
                </c:pt>
                <c:pt idx="6287">
                  <c:v>0</c:v>
                </c:pt>
                <c:pt idx="6288">
                  <c:v>0</c:v>
                </c:pt>
                <c:pt idx="6289">
                  <c:v>0</c:v>
                </c:pt>
                <c:pt idx="6290">
                  <c:v>0</c:v>
                </c:pt>
                <c:pt idx="6291">
                  <c:v>0</c:v>
                </c:pt>
                <c:pt idx="6292">
                  <c:v>0</c:v>
                </c:pt>
                <c:pt idx="6293">
                  <c:v>0</c:v>
                </c:pt>
                <c:pt idx="6294">
                  <c:v>0</c:v>
                </c:pt>
                <c:pt idx="6295">
                  <c:v>0</c:v>
                </c:pt>
                <c:pt idx="6296">
                  <c:v>0</c:v>
                </c:pt>
                <c:pt idx="6297">
                  <c:v>0</c:v>
                </c:pt>
                <c:pt idx="6298">
                  <c:v>0</c:v>
                </c:pt>
                <c:pt idx="6299">
                  <c:v>0</c:v>
                </c:pt>
                <c:pt idx="6300">
                  <c:v>0</c:v>
                </c:pt>
                <c:pt idx="6301">
                  <c:v>0</c:v>
                </c:pt>
                <c:pt idx="6302">
                  <c:v>0</c:v>
                </c:pt>
                <c:pt idx="6303">
                  <c:v>0</c:v>
                </c:pt>
                <c:pt idx="6304">
                  <c:v>0</c:v>
                </c:pt>
                <c:pt idx="6305">
                  <c:v>0</c:v>
                </c:pt>
                <c:pt idx="6306">
                  <c:v>0</c:v>
                </c:pt>
                <c:pt idx="6307">
                  <c:v>0</c:v>
                </c:pt>
                <c:pt idx="6308">
                  <c:v>0</c:v>
                </c:pt>
                <c:pt idx="6309">
                  <c:v>0</c:v>
                </c:pt>
                <c:pt idx="6310">
                  <c:v>0</c:v>
                </c:pt>
                <c:pt idx="6311">
                  <c:v>0</c:v>
                </c:pt>
                <c:pt idx="6312">
                  <c:v>0</c:v>
                </c:pt>
                <c:pt idx="6313">
                  <c:v>0</c:v>
                </c:pt>
                <c:pt idx="6314">
                  <c:v>0</c:v>
                </c:pt>
                <c:pt idx="6315">
                  <c:v>0</c:v>
                </c:pt>
                <c:pt idx="6316">
                  <c:v>0</c:v>
                </c:pt>
                <c:pt idx="6317">
                  <c:v>0</c:v>
                </c:pt>
                <c:pt idx="6318">
                  <c:v>0</c:v>
                </c:pt>
                <c:pt idx="6319">
                  <c:v>0</c:v>
                </c:pt>
                <c:pt idx="6320">
                  <c:v>0</c:v>
                </c:pt>
                <c:pt idx="6321">
                  <c:v>0</c:v>
                </c:pt>
                <c:pt idx="6322">
                  <c:v>0</c:v>
                </c:pt>
                <c:pt idx="6323">
                  <c:v>0</c:v>
                </c:pt>
                <c:pt idx="6324">
                  <c:v>0</c:v>
                </c:pt>
                <c:pt idx="6325">
                  <c:v>0</c:v>
                </c:pt>
                <c:pt idx="6326">
                  <c:v>0</c:v>
                </c:pt>
                <c:pt idx="6327">
                  <c:v>0</c:v>
                </c:pt>
                <c:pt idx="6328">
                  <c:v>0</c:v>
                </c:pt>
                <c:pt idx="6329">
                  <c:v>0</c:v>
                </c:pt>
                <c:pt idx="6330">
                  <c:v>0</c:v>
                </c:pt>
                <c:pt idx="6331">
                  <c:v>0</c:v>
                </c:pt>
                <c:pt idx="6332">
                  <c:v>0</c:v>
                </c:pt>
                <c:pt idx="6333">
                  <c:v>0</c:v>
                </c:pt>
                <c:pt idx="6334">
                  <c:v>0</c:v>
                </c:pt>
                <c:pt idx="6335">
                  <c:v>0</c:v>
                </c:pt>
                <c:pt idx="6336">
                  <c:v>0</c:v>
                </c:pt>
                <c:pt idx="6337">
                  <c:v>0</c:v>
                </c:pt>
                <c:pt idx="6338">
                  <c:v>0</c:v>
                </c:pt>
                <c:pt idx="6339">
                  <c:v>0</c:v>
                </c:pt>
                <c:pt idx="6340">
                  <c:v>0</c:v>
                </c:pt>
                <c:pt idx="6341">
                  <c:v>0</c:v>
                </c:pt>
                <c:pt idx="6342">
                  <c:v>0</c:v>
                </c:pt>
                <c:pt idx="6343">
                  <c:v>0</c:v>
                </c:pt>
                <c:pt idx="6344">
                  <c:v>0</c:v>
                </c:pt>
                <c:pt idx="6345">
                  <c:v>0</c:v>
                </c:pt>
                <c:pt idx="6346">
                  <c:v>0</c:v>
                </c:pt>
                <c:pt idx="6347">
                  <c:v>0</c:v>
                </c:pt>
                <c:pt idx="6348">
                  <c:v>0</c:v>
                </c:pt>
                <c:pt idx="6349">
                  <c:v>0</c:v>
                </c:pt>
                <c:pt idx="6350">
                  <c:v>0</c:v>
                </c:pt>
                <c:pt idx="6351">
                  <c:v>0</c:v>
                </c:pt>
                <c:pt idx="6352">
                  <c:v>0</c:v>
                </c:pt>
                <c:pt idx="6353">
                  <c:v>0</c:v>
                </c:pt>
                <c:pt idx="6354">
                  <c:v>0</c:v>
                </c:pt>
                <c:pt idx="6355">
                  <c:v>0</c:v>
                </c:pt>
                <c:pt idx="6356">
                  <c:v>0</c:v>
                </c:pt>
                <c:pt idx="6357">
                  <c:v>0</c:v>
                </c:pt>
                <c:pt idx="6358">
                  <c:v>0</c:v>
                </c:pt>
                <c:pt idx="6359">
                  <c:v>0</c:v>
                </c:pt>
                <c:pt idx="6360">
                  <c:v>0</c:v>
                </c:pt>
                <c:pt idx="6361">
                  <c:v>0</c:v>
                </c:pt>
                <c:pt idx="6362">
                  <c:v>0</c:v>
                </c:pt>
                <c:pt idx="6363">
                  <c:v>0</c:v>
                </c:pt>
                <c:pt idx="6364">
                  <c:v>0</c:v>
                </c:pt>
                <c:pt idx="6365">
                  <c:v>0</c:v>
                </c:pt>
                <c:pt idx="6366">
                  <c:v>0</c:v>
                </c:pt>
                <c:pt idx="6367">
                  <c:v>0</c:v>
                </c:pt>
                <c:pt idx="6368">
                  <c:v>0</c:v>
                </c:pt>
                <c:pt idx="6369">
                  <c:v>0</c:v>
                </c:pt>
                <c:pt idx="6370">
                  <c:v>0</c:v>
                </c:pt>
                <c:pt idx="6371">
                  <c:v>0</c:v>
                </c:pt>
                <c:pt idx="6372">
                  <c:v>0</c:v>
                </c:pt>
                <c:pt idx="6373">
                  <c:v>0</c:v>
                </c:pt>
                <c:pt idx="6374">
                  <c:v>0</c:v>
                </c:pt>
                <c:pt idx="6375">
                  <c:v>0</c:v>
                </c:pt>
                <c:pt idx="6376">
                  <c:v>0</c:v>
                </c:pt>
                <c:pt idx="6377">
                  <c:v>0</c:v>
                </c:pt>
                <c:pt idx="6378">
                  <c:v>0</c:v>
                </c:pt>
                <c:pt idx="6379">
                  <c:v>0</c:v>
                </c:pt>
                <c:pt idx="6380">
                  <c:v>0</c:v>
                </c:pt>
                <c:pt idx="6381">
                  <c:v>0</c:v>
                </c:pt>
                <c:pt idx="6382">
                  <c:v>0</c:v>
                </c:pt>
                <c:pt idx="6383">
                  <c:v>0</c:v>
                </c:pt>
                <c:pt idx="6384">
                  <c:v>0</c:v>
                </c:pt>
                <c:pt idx="6385">
                  <c:v>0</c:v>
                </c:pt>
                <c:pt idx="6386">
                  <c:v>0</c:v>
                </c:pt>
                <c:pt idx="6387">
                  <c:v>0</c:v>
                </c:pt>
                <c:pt idx="6388">
                  <c:v>0</c:v>
                </c:pt>
                <c:pt idx="6389">
                  <c:v>0</c:v>
                </c:pt>
                <c:pt idx="6390">
                  <c:v>0</c:v>
                </c:pt>
                <c:pt idx="6391">
                  <c:v>0</c:v>
                </c:pt>
                <c:pt idx="6392">
                  <c:v>0</c:v>
                </c:pt>
                <c:pt idx="6393">
                  <c:v>0</c:v>
                </c:pt>
                <c:pt idx="6394">
                  <c:v>0</c:v>
                </c:pt>
                <c:pt idx="6395">
                  <c:v>0</c:v>
                </c:pt>
                <c:pt idx="6396">
                  <c:v>0</c:v>
                </c:pt>
                <c:pt idx="6397">
                  <c:v>0</c:v>
                </c:pt>
                <c:pt idx="6398">
                  <c:v>0</c:v>
                </c:pt>
                <c:pt idx="6399">
                  <c:v>0</c:v>
                </c:pt>
                <c:pt idx="6400">
                  <c:v>0</c:v>
                </c:pt>
                <c:pt idx="6401">
                  <c:v>0</c:v>
                </c:pt>
                <c:pt idx="6402">
                  <c:v>0</c:v>
                </c:pt>
                <c:pt idx="6403">
                  <c:v>0</c:v>
                </c:pt>
                <c:pt idx="6404">
                  <c:v>0</c:v>
                </c:pt>
                <c:pt idx="6405">
                  <c:v>0</c:v>
                </c:pt>
                <c:pt idx="6406">
                  <c:v>0</c:v>
                </c:pt>
                <c:pt idx="6407">
                  <c:v>0</c:v>
                </c:pt>
                <c:pt idx="6408">
                  <c:v>0</c:v>
                </c:pt>
                <c:pt idx="6409">
                  <c:v>0</c:v>
                </c:pt>
                <c:pt idx="6410">
                  <c:v>0</c:v>
                </c:pt>
                <c:pt idx="6411">
                  <c:v>0</c:v>
                </c:pt>
                <c:pt idx="6412">
                  <c:v>0</c:v>
                </c:pt>
                <c:pt idx="6413">
                  <c:v>0</c:v>
                </c:pt>
                <c:pt idx="6414">
                  <c:v>0</c:v>
                </c:pt>
                <c:pt idx="6415">
                  <c:v>0</c:v>
                </c:pt>
                <c:pt idx="6416">
                  <c:v>0</c:v>
                </c:pt>
                <c:pt idx="6417">
                  <c:v>0</c:v>
                </c:pt>
                <c:pt idx="6418">
                  <c:v>0</c:v>
                </c:pt>
                <c:pt idx="6419">
                  <c:v>0</c:v>
                </c:pt>
                <c:pt idx="6420">
                  <c:v>0</c:v>
                </c:pt>
                <c:pt idx="6421">
                  <c:v>0</c:v>
                </c:pt>
                <c:pt idx="6422">
                  <c:v>0</c:v>
                </c:pt>
                <c:pt idx="6423">
                  <c:v>0</c:v>
                </c:pt>
                <c:pt idx="6424">
                  <c:v>0</c:v>
                </c:pt>
                <c:pt idx="6425">
                  <c:v>0</c:v>
                </c:pt>
                <c:pt idx="6426">
                  <c:v>0</c:v>
                </c:pt>
                <c:pt idx="6427">
                  <c:v>0</c:v>
                </c:pt>
                <c:pt idx="6428">
                  <c:v>0</c:v>
                </c:pt>
                <c:pt idx="6429">
                  <c:v>0</c:v>
                </c:pt>
                <c:pt idx="6430">
                  <c:v>0</c:v>
                </c:pt>
                <c:pt idx="6431">
                  <c:v>0</c:v>
                </c:pt>
                <c:pt idx="6432">
                  <c:v>0</c:v>
                </c:pt>
                <c:pt idx="6433">
                  <c:v>0</c:v>
                </c:pt>
                <c:pt idx="6434">
                  <c:v>0</c:v>
                </c:pt>
                <c:pt idx="6435">
                  <c:v>0</c:v>
                </c:pt>
                <c:pt idx="6436">
                  <c:v>0</c:v>
                </c:pt>
                <c:pt idx="6437">
                  <c:v>0</c:v>
                </c:pt>
                <c:pt idx="6438">
                  <c:v>0</c:v>
                </c:pt>
                <c:pt idx="6439">
                  <c:v>0</c:v>
                </c:pt>
                <c:pt idx="6440">
                  <c:v>0</c:v>
                </c:pt>
                <c:pt idx="6441">
                  <c:v>0</c:v>
                </c:pt>
                <c:pt idx="6442">
                  <c:v>0</c:v>
                </c:pt>
                <c:pt idx="6443">
                  <c:v>0</c:v>
                </c:pt>
                <c:pt idx="6444">
                  <c:v>0</c:v>
                </c:pt>
                <c:pt idx="6445">
                  <c:v>0</c:v>
                </c:pt>
                <c:pt idx="6446">
                  <c:v>0</c:v>
                </c:pt>
                <c:pt idx="6447">
                  <c:v>0</c:v>
                </c:pt>
                <c:pt idx="6448">
                  <c:v>0</c:v>
                </c:pt>
                <c:pt idx="6449">
                  <c:v>0</c:v>
                </c:pt>
                <c:pt idx="6450">
                  <c:v>0</c:v>
                </c:pt>
                <c:pt idx="6451">
                  <c:v>0</c:v>
                </c:pt>
                <c:pt idx="6452">
                  <c:v>0</c:v>
                </c:pt>
                <c:pt idx="6453">
                  <c:v>0</c:v>
                </c:pt>
                <c:pt idx="6454">
                  <c:v>0</c:v>
                </c:pt>
                <c:pt idx="6455">
                  <c:v>0</c:v>
                </c:pt>
                <c:pt idx="6456">
                  <c:v>0</c:v>
                </c:pt>
                <c:pt idx="6457">
                  <c:v>0</c:v>
                </c:pt>
                <c:pt idx="6458">
                  <c:v>0</c:v>
                </c:pt>
                <c:pt idx="6459">
                  <c:v>0</c:v>
                </c:pt>
                <c:pt idx="6460">
                  <c:v>0</c:v>
                </c:pt>
                <c:pt idx="6461">
                  <c:v>0</c:v>
                </c:pt>
                <c:pt idx="6462">
                  <c:v>0</c:v>
                </c:pt>
                <c:pt idx="6463">
                  <c:v>0</c:v>
                </c:pt>
                <c:pt idx="6464">
                  <c:v>0</c:v>
                </c:pt>
                <c:pt idx="6465">
                  <c:v>0</c:v>
                </c:pt>
                <c:pt idx="6466">
                  <c:v>0</c:v>
                </c:pt>
                <c:pt idx="6467">
                  <c:v>0</c:v>
                </c:pt>
                <c:pt idx="6468">
                  <c:v>0</c:v>
                </c:pt>
                <c:pt idx="6469">
                  <c:v>0</c:v>
                </c:pt>
                <c:pt idx="6470">
                  <c:v>0</c:v>
                </c:pt>
                <c:pt idx="6471">
                  <c:v>0</c:v>
                </c:pt>
                <c:pt idx="6472">
                  <c:v>0</c:v>
                </c:pt>
                <c:pt idx="6473">
                  <c:v>0</c:v>
                </c:pt>
                <c:pt idx="6474">
                  <c:v>0</c:v>
                </c:pt>
                <c:pt idx="6475">
                  <c:v>0</c:v>
                </c:pt>
                <c:pt idx="6476">
                  <c:v>0</c:v>
                </c:pt>
                <c:pt idx="6477">
                  <c:v>0</c:v>
                </c:pt>
                <c:pt idx="6478">
                  <c:v>0</c:v>
                </c:pt>
                <c:pt idx="6479">
                  <c:v>0</c:v>
                </c:pt>
                <c:pt idx="6480">
                  <c:v>0</c:v>
                </c:pt>
                <c:pt idx="6481">
                  <c:v>0</c:v>
                </c:pt>
                <c:pt idx="6482">
                  <c:v>0</c:v>
                </c:pt>
                <c:pt idx="6483">
                  <c:v>0</c:v>
                </c:pt>
                <c:pt idx="6484">
                  <c:v>0</c:v>
                </c:pt>
                <c:pt idx="6485">
                  <c:v>0</c:v>
                </c:pt>
                <c:pt idx="6486">
                  <c:v>0</c:v>
                </c:pt>
                <c:pt idx="6487">
                  <c:v>0</c:v>
                </c:pt>
                <c:pt idx="6488">
                  <c:v>0</c:v>
                </c:pt>
                <c:pt idx="6489">
                  <c:v>0</c:v>
                </c:pt>
                <c:pt idx="6490">
                  <c:v>0</c:v>
                </c:pt>
                <c:pt idx="6491">
                  <c:v>0</c:v>
                </c:pt>
                <c:pt idx="6492">
                  <c:v>0</c:v>
                </c:pt>
                <c:pt idx="6493">
                  <c:v>0</c:v>
                </c:pt>
                <c:pt idx="6494">
                  <c:v>0</c:v>
                </c:pt>
                <c:pt idx="6495">
                  <c:v>0</c:v>
                </c:pt>
                <c:pt idx="6496">
                  <c:v>0</c:v>
                </c:pt>
                <c:pt idx="6497">
                  <c:v>0</c:v>
                </c:pt>
                <c:pt idx="6498">
                  <c:v>0</c:v>
                </c:pt>
                <c:pt idx="6499">
                  <c:v>0</c:v>
                </c:pt>
                <c:pt idx="6500">
                  <c:v>0</c:v>
                </c:pt>
                <c:pt idx="6501">
                  <c:v>0</c:v>
                </c:pt>
                <c:pt idx="6502">
                  <c:v>0</c:v>
                </c:pt>
                <c:pt idx="6503">
                  <c:v>0</c:v>
                </c:pt>
                <c:pt idx="6504">
                  <c:v>0</c:v>
                </c:pt>
                <c:pt idx="6505">
                  <c:v>0</c:v>
                </c:pt>
                <c:pt idx="6506">
                  <c:v>0</c:v>
                </c:pt>
                <c:pt idx="6507">
                  <c:v>0</c:v>
                </c:pt>
                <c:pt idx="6508">
                  <c:v>0</c:v>
                </c:pt>
                <c:pt idx="6509">
                  <c:v>0</c:v>
                </c:pt>
                <c:pt idx="6510">
                  <c:v>0</c:v>
                </c:pt>
                <c:pt idx="6511">
                  <c:v>0</c:v>
                </c:pt>
                <c:pt idx="6512">
                  <c:v>0</c:v>
                </c:pt>
                <c:pt idx="6513">
                  <c:v>0</c:v>
                </c:pt>
                <c:pt idx="6514">
                  <c:v>0</c:v>
                </c:pt>
                <c:pt idx="6515">
                  <c:v>0</c:v>
                </c:pt>
                <c:pt idx="6516">
                  <c:v>0</c:v>
                </c:pt>
                <c:pt idx="6517">
                  <c:v>0</c:v>
                </c:pt>
                <c:pt idx="6518">
                  <c:v>0</c:v>
                </c:pt>
                <c:pt idx="6519">
                  <c:v>0</c:v>
                </c:pt>
                <c:pt idx="6520">
                  <c:v>0</c:v>
                </c:pt>
                <c:pt idx="6521">
                  <c:v>0</c:v>
                </c:pt>
                <c:pt idx="6522">
                  <c:v>0</c:v>
                </c:pt>
                <c:pt idx="6523">
                  <c:v>0</c:v>
                </c:pt>
                <c:pt idx="6524">
                  <c:v>0</c:v>
                </c:pt>
                <c:pt idx="6525">
                  <c:v>0</c:v>
                </c:pt>
                <c:pt idx="6526">
                  <c:v>0</c:v>
                </c:pt>
                <c:pt idx="6527">
                  <c:v>0</c:v>
                </c:pt>
                <c:pt idx="6528">
                  <c:v>0</c:v>
                </c:pt>
                <c:pt idx="6529">
                  <c:v>0</c:v>
                </c:pt>
                <c:pt idx="6530">
                  <c:v>0</c:v>
                </c:pt>
                <c:pt idx="6531">
                  <c:v>0</c:v>
                </c:pt>
                <c:pt idx="6532">
                  <c:v>0</c:v>
                </c:pt>
                <c:pt idx="6533">
                  <c:v>0</c:v>
                </c:pt>
                <c:pt idx="6534">
                  <c:v>0</c:v>
                </c:pt>
                <c:pt idx="6535">
                  <c:v>0</c:v>
                </c:pt>
                <c:pt idx="6536">
                  <c:v>0</c:v>
                </c:pt>
                <c:pt idx="6537">
                  <c:v>0</c:v>
                </c:pt>
                <c:pt idx="6538">
                  <c:v>0</c:v>
                </c:pt>
                <c:pt idx="6539">
                  <c:v>0</c:v>
                </c:pt>
                <c:pt idx="6540">
                  <c:v>0</c:v>
                </c:pt>
                <c:pt idx="6541">
                  <c:v>0</c:v>
                </c:pt>
                <c:pt idx="6542">
                  <c:v>0</c:v>
                </c:pt>
                <c:pt idx="6543">
                  <c:v>0</c:v>
                </c:pt>
                <c:pt idx="6544">
                  <c:v>0</c:v>
                </c:pt>
                <c:pt idx="6545">
                  <c:v>0</c:v>
                </c:pt>
                <c:pt idx="6546">
                  <c:v>0</c:v>
                </c:pt>
                <c:pt idx="6547">
                  <c:v>0</c:v>
                </c:pt>
                <c:pt idx="6548">
                  <c:v>0</c:v>
                </c:pt>
                <c:pt idx="6549">
                  <c:v>0</c:v>
                </c:pt>
                <c:pt idx="6550">
                  <c:v>0</c:v>
                </c:pt>
                <c:pt idx="6551">
                  <c:v>0</c:v>
                </c:pt>
                <c:pt idx="6552">
                  <c:v>0</c:v>
                </c:pt>
                <c:pt idx="6553">
                  <c:v>0</c:v>
                </c:pt>
                <c:pt idx="6554">
                  <c:v>0</c:v>
                </c:pt>
                <c:pt idx="6555">
                  <c:v>0</c:v>
                </c:pt>
                <c:pt idx="6556">
                  <c:v>0</c:v>
                </c:pt>
                <c:pt idx="6557">
                  <c:v>0</c:v>
                </c:pt>
                <c:pt idx="6558">
                  <c:v>0</c:v>
                </c:pt>
                <c:pt idx="6559">
                  <c:v>0</c:v>
                </c:pt>
                <c:pt idx="6560">
                  <c:v>0</c:v>
                </c:pt>
                <c:pt idx="6561">
                  <c:v>0</c:v>
                </c:pt>
                <c:pt idx="6562">
                  <c:v>0</c:v>
                </c:pt>
                <c:pt idx="6563">
                  <c:v>0</c:v>
                </c:pt>
                <c:pt idx="6564">
                  <c:v>0</c:v>
                </c:pt>
                <c:pt idx="6565">
                  <c:v>0</c:v>
                </c:pt>
                <c:pt idx="6566">
                  <c:v>0</c:v>
                </c:pt>
                <c:pt idx="6567">
                  <c:v>0</c:v>
                </c:pt>
                <c:pt idx="6568">
                  <c:v>0</c:v>
                </c:pt>
                <c:pt idx="6569">
                  <c:v>0</c:v>
                </c:pt>
                <c:pt idx="6570">
                  <c:v>0</c:v>
                </c:pt>
                <c:pt idx="6571">
                  <c:v>0</c:v>
                </c:pt>
                <c:pt idx="6572">
                  <c:v>0</c:v>
                </c:pt>
                <c:pt idx="6573">
                  <c:v>0</c:v>
                </c:pt>
                <c:pt idx="6574">
                  <c:v>0</c:v>
                </c:pt>
                <c:pt idx="6575">
                  <c:v>0</c:v>
                </c:pt>
                <c:pt idx="6576">
                  <c:v>0</c:v>
                </c:pt>
                <c:pt idx="6577">
                  <c:v>0</c:v>
                </c:pt>
                <c:pt idx="6578">
                  <c:v>0</c:v>
                </c:pt>
                <c:pt idx="6579">
                  <c:v>0</c:v>
                </c:pt>
                <c:pt idx="6580">
                  <c:v>0</c:v>
                </c:pt>
                <c:pt idx="6581">
                  <c:v>0</c:v>
                </c:pt>
                <c:pt idx="6582">
                  <c:v>0</c:v>
                </c:pt>
                <c:pt idx="6583">
                  <c:v>0</c:v>
                </c:pt>
                <c:pt idx="6584">
                  <c:v>0</c:v>
                </c:pt>
                <c:pt idx="6585">
                  <c:v>0</c:v>
                </c:pt>
                <c:pt idx="6586">
                  <c:v>0</c:v>
                </c:pt>
                <c:pt idx="6587">
                  <c:v>0</c:v>
                </c:pt>
                <c:pt idx="6588">
                  <c:v>0</c:v>
                </c:pt>
                <c:pt idx="6589">
                  <c:v>0</c:v>
                </c:pt>
                <c:pt idx="6590">
                  <c:v>0</c:v>
                </c:pt>
                <c:pt idx="6591">
                  <c:v>0</c:v>
                </c:pt>
                <c:pt idx="6592">
                  <c:v>0</c:v>
                </c:pt>
                <c:pt idx="6593">
                  <c:v>0</c:v>
                </c:pt>
                <c:pt idx="6594">
                  <c:v>0</c:v>
                </c:pt>
                <c:pt idx="6595">
                  <c:v>0</c:v>
                </c:pt>
                <c:pt idx="6596">
                  <c:v>0</c:v>
                </c:pt>
                <c:pt idx="6597">
                  <c:v>0</c:v>
                </c:pt>
                <c:pt idx="6598">
                  <c:v>0</c:v>
                </c:pt>
                <c:pt idx="6599">
                  <c:v>0</c:v>
                </c:pt>
                <c:pt idx="6600">
                  <c:v>0</c:v>
                </c:pt>
                <c:pt idx="6601">
                  <c:v>0</c:v>
                </c:pt>
                <c:pt idx="6602">
                  <c:v>0</c:v>
                </c:pt>
                <c:pt idx="6603">
                  <c:v>0</c:v>
                </c:pt>
                <c:pt idx="6604">
                  <c:v>0</c:v>
                </c:pt>
                <c:pt idx="6605">
                  <c:v>0</c:v>
                </c:pt>
                <c:pt idx="6606">
                  <c:v>0</c:v>
                </c:pt>
                <c:pt idx="6607">
                  <c:v>0</c:v>
                </c:pt>
                <c:pt idx="6608">
                  <c:v>0</c:v>
                </c:pt>
                <c:pt idx="6609">
                  <c:v>0</c:v>
                </c:pt>
                <c:pt idx="6610">
                  <c:v>0</c:v>
                </c:pt>
                <c:pt idx="6611">
                  <c:v>0</c:v>
                </c:pt>
                <c:pt idx="6612">
                  <c:v>0</c:v>
                </c:pt>
                <c:pt idx="6613">
                  <c:v>0</c:v>
                </c:pt>
                <c:pt idx="6614">
                  <c:v>0</c:v>
                </c:pt>
                <c:pt idx="6615">
                  <c:v>0</c:v>
                </c:pt>
                <c:pt idx="6616">
                  <c:v>0</c:v>
                </c:pt>
                <c:pt idx="6617">
                  <c:v>0</c:v>
                </c:pt>
                <c:pt idx="6618">
                  <c:v>0</c:v>
                </c:pt>
                <c:pt idx="6619">
                  <c:v>0</c:v>
                </c:pt>
                <c:pt idx="6620">
                  <c:v>0</c:v>
                </c:pt>
                <c:pt idx="6621">
                  <c:v>0</c:v>
                </c:pt>
                <c:pt idx="6622">
                  <c:v>0</c:v>
                </c:pt>
                <c:pt idx="6623">
                  <c:v>0</c:v>
                </c:pt>
                <c:pt idx="6624">
                  <c:v>0</c:v>
                </c:pt>
                <c:pt idx="6625">
                  <c:v>0</c:v>
                </c:pt>
                <c:pt idx="6626">
                  <c:v>0</c:v>
                </c:pt>
                <c:pt idx="6627">
                  <c:v>0</c:v>
                </c:pt>
                <c:pt idx="6628">
                  <c:v>0</c:v>
                </c:pt>
                <c:pt idx="6629">
                  <c:v>0</c:v>
                </c:pt>
                <c:pt idx="6630">
                  <c:v>0</c:v>
                </c:pt>
                <c:pt idx="6631">
                  <c:v>0</c:v>
                </c:pt>
                <c:pt idx="6632">
                  <c:v>0</c:v>
                </c:pt>
                <c:pt idx="6633">
                  <c:v>0</c:v>
                </c:pt>
                <c:pt idx="6634">
                  <c:v>0</c:v>
                </c:pt>
                <c:pt idx="6635">
                  <c:v>0</c:v>
                </c:pt>
                <c:pt idx="6636">
                  <c:v>0</c:v>
                </c:pt>
                <c:pt idx="6637">
                  <c:v>0</c:v>
                </c:pt>
                <c:pt idx="6638">
                  <c:v>0</c:v>
                </c:pt>
                <c:pt idx="6639">
                  <c:v>0</c:v>
                </c:pt>
                <c:pt idx="6640">
                  <c:v>0</c:v>
                </c:pt>
                <c:pt idx="6641">
                  <c:v>0</c:v>
                </c:pt>
                <c:pt idx="6642">
                  <c:v>0</c:v>
                </c:pt>
                <c:pt idx="6643">
                  <c:v>0</c:v>
                </c:pt>
                <c:pt idx="6644">
                  <c:v>0</c:v>
                </c:pt>
                <c:pt idx="6645">
                  <c:v>0</c:v>
                </c:pt>
                <c:pt idx="6646">
                  <c:v>0</c:v>
                </c:pt>
                <c:pt idx="6647">
                  <c:v>0</c:v>
                </c:pt>
                <c:pt idx="6648">
                  <c:v>0</c:v>
                </c:pt>
                <c:pt idx="6649">
                  <c:v>0</c:v>
                </c:pt>
                <c:pt idx="6650">
                  <c:v>0</c:v>
                </c:pt>
                <c:pt idx="6651">
                  <c:v>0</c:v>
                </c:pt>
                <c:pt idx="6652">
                  <c:v>0</c:v>
                </c:pt>
                <c:pt idx="6653">
                  <c:v>0</c:v>
                </c:pt>
                <c:pt idx="6654">
                  <c:v>0</c:v>
                </c:pt>
                <c:pt idx="6655">
                  <c:v>0</c:v>
                </c:pt>
                <c:pt idx="6656">
                  <c:v>0</c:v>
                </c:pt>
                <c:pt idx="6657">
                  <c:v>0</c:v>
                </c:pt>
                <c:pt idx="6658">
                  <c:v>0</c:v>
                </c:pt>
                <c:pt idx="6659">
                  <c:v>0</c:v>
                </c:pt>
                <c:pt idx="6660">
                  <c:v>0</c:v>
                </c:pt>
                <c:pt idx="6661">
                  <c:v>0</c:v>
                </c:pt>
                <c:pt idx="6662">
                  <c:v>0</c:v>
                </c:pt>
                <c:pt idx="6663">
                  <c:v>0</c:v>
                </c:pt>
                <c:pt idx="6664">
                  <c:v>0</c:v>
                </c:pt>
                <c:pt idx="6665">
                  <c:v>0</c:v>
                </c:pt>
                <c:pt idx="6666">
                  <c:v>0</c:v>
                </c:pt>
                <c:pt idx="6667">
                  <c:v>0</c:v>
                </c:pt>
                <c:pt idx="6668">
                  <c:v>0</c:v>
                </c:pt>
                <c:pt idx="6669">
                  <c:v>0</c:v>
                </c:pt>
                <c:pt idx="6670">
                  <c:v>0</c:v>
                </c:pt>
                <c:pt idx="6671">
                  <c:v>0</c:v>
                </c:pt>
                <c:pt idx="6672">
                  <c:v>0</c:v>
                </c:pt>
                <c:pt idx="6673">
                  <c:v>0</c:v>
                </c:pt>
                <c:pt idx="6674">
                  <c:v>0</c:v>
                </c:pt>
                <c:pt idx="6675">
                  <c:v>0</c:v>
                </c:pt>
                <c:pt idx="6676">
                  <c:v>0</c:v>
                </c:pt>
                <c:pt idx="6677">
                  <c:v>0</c:v>
                </c:pt>
                <c:pt idx="6678">
                  <c:v>0</c:v>
                </c:pt>
                <c:pt idx="6679">
                  <c:v>0</c:v>
                </c:pt>
                <c:pt idx="6680">
                  <c:v>0</c:v>
                </c:pt>
                <c:pt idx="6681">
                  <c:v>0</c:v>
                </c:pt>
                <c:pt idx="6682">
                  <c:v>0</c:v>
                </c:pt>
                <c:pt idx="6683">
                  <c:v>0</c:v>
                </c:pt>
                <c:pt idx="6684">
                  <c:v>0</c:v>
                </c:pt>
                <c:pt idx="6685">
                  <c:v>0</c:v>
                </c:pt>
                <c:pt idx="6686">
                  <c:v>0</c:v>
                </c:pt>
                <c:pt idx="6687">
                  <c:v>0</c:v>
                </c:pt>
                <c:pt idx="6688">
                  <c:v>0</c:v>
                </c:pt>
                <c:pt idx="6689">
                  <c:v>0</c:v>
                </c:pt>
                <c:pt idx="6690">
                  <c:v>0</c:v>
                </c:pt>
                <c:pt idx="6691">
                  <c:v>0</c:v>
                </c:pt>
                <c:pt idx="6692">
                  <c:v>0</c:v>
                </c:pt>
                <c:pt idx="6693">
                  <c:v>0</c:v>
                </c:pt>
                <c:pt idx="6694">
                  <c:v>0</c:v>
                </c:pt>
                <c:pt idx="6695">
                  <c:v>0</c:v>
                </c:pt>
                <c:pt idx="6696">
                  <c:v>0</c:v>
                </c:pt>
                <c:pt idx="6697">
                  <c:v>0</c:v>
                </c:pt>
                <c:pt idx="6698">
                  <c:v>0</c:v>
                </c:pt>
                <c:pt idx="6699">
                  <c:v>0</c:v>
                </c:pt>
                <c:pt idx="6700">
                  <c:v>0</c:v>
                </c:pt>
                <c:pt idx="6701">
                  <c:v>0</c:v>
                </c:pt>
                <c:pt idx="6702">
                  <c:v>0</c:v>
                </c:pt>
                <c:pt idx="6703">
                  <c:v>0</c:v>
                </c:pt>
                <c:pt idx="6704">
                  <c:v>0</c:v>
                </c:pt>
                <c:pt idx="6705">
                  <c:v>0</c:v>
                </c:pt>
                <c:pt idx="6706">
                  <c:v>0</c:v>
                </c:pt>
                <c:pt idx="6707">
                  <c:v>0</c:v>
                </c:pt>
                <c:pt idx="6708">
                  <c:v>0</c:v>
                </c:pt>
                <c:pt idx="6709">
                  <c:v>0</c:v>
                </c:pt>
                <c:pt idx="6710">
                  <c:v>0</c:v>
                </c:pt>
                <c:pt idx="6711">
                  <c:v>0</c:v>
                </c:pt>
                <c:pt idx="6712">
                  <c:v>0</c:v>
                </c:pt>
                <c:pt idx="6713">
                  <c:v>0</c:v>
                </c:pt>
                <c:pt idx="6714">
                  <c:v>0</c:v>
                </c:pt>
                <c:pt idx="6715">
                  <c:v>0</c:v>
                </c:pt>
                <c:pt idx="6716">
                  <c:v>0</c:v>
                </c:pt>
                <c:pt idx="6717">
                  <c:v>0</c:v>
                </c:pt>
                <c:pt idx="6718">
                  <c:v>0</c:v>
                </c:pt>
                <c:pt idx="6719">
                  <c:v>0</c:v>
                </c:pt>
                <c:pt idx="6720">
                  <c:v>0</c:v>
                </c:pt>
                <c:pt idx="6721">
                  <c:v>0</c:v>
                </c:pt>
                <c:pt idx="6722">
                  <c:v>0</c:v>
                </c:pt>
                <c:pt idx="6723">
                  <c:v>0</c:v>
                </c:pt>
                <c:pt idx="6724">
                  <c:v>0</c:v>
                </c:pt>
                <c:pt idx="6725">
                  <c:v>0</c:v>
                </c:pt>
                <c:pt idx="6726">
                  <c:v>0</c:v>
                </c:pt>
                <c:pt idx="6727">
                  <c:v>0</c:v>
                </c:pt>
                <c:pt idx="6728">
                  <c:v>0</c:v>
                </c:pt>
                <c:pt idx="6729">
                  <c:v>0</c:v>
                </c:pt>
                <c:pt idx="6730">
                  <c:v>0</c:v>
                </c:pt>
                <c:pt idx="6731">
                  <c:v>0</c:v>
                </c:pt>
                <c:pt idx="6732">
                  <c:v>0</c:v>
                </c:pt>
                <c:pt idx="6733">
                  <c:v>0</c:v>
                </c:pt>
                <c:pt idx="6734">
                  <c:v>0</c:v>
                </c:pt>
                <c:pt idx="6735">
                  <c:v>0</c:v>
                </c:pt>
                <c:pt idx="6736">
                  <c:v>0</c:v>
                </c:pt>
                <c:pt idx="6737">
                  <c:v>0</c:v>
                </c:pt>
                <c:pt idx="6738">
                  <c:v>0</c:v>
                </c:pt>
                <c:pt idx="6739">
                  <c:v>0</c:v>
                </c:pt>
                <c:pt idx="6740">
                  <c:v>0</c:v>
                </c:pt>
                <c:pt idx="6741">
                  <c:v>0</c:v>
                </c:pt>
                <c:pt idx="6742">
                  <c:v>0</c:v>
                </c:pt>
                <c:pt idx="6743">
                  <c:v>0</c:v>
                </c:pt>
                <c:pt idx="6744">
                  <c:v>0</c:v>
                </c:pt>
                <c:pt idx="6745">
                  <c:v>0</c:v>
                </c:pt>
                <c:pt idx="6746">
                  <c:v>0</c:v>
                </c:pt>
                <c:pt idx="6747">
                  <c:v>0</c:v>
                </c:pt>
                <c:pt idx="6748">
                  <c:v>0</c:v>
                </c:pt>
                <c:pt idx="6749">
                  <c:v>0</c:v>
                </c:pt>
                <c:pt idx="6750">
                  <c:v>0</c:v>
                </c:pt>
                <c:pt idx="6751">
                  <c:v>0</c:v>
                </c:pt>
                <c:pt idx="6752">
                  <c:v>0</c:v>
                </c:pt>
                <c:pt idx="6753">
                  <c:v>0</c:v>
                </c:pt>
                <c:pt idx="6754">
                  <c:v>0</c:v>
                </c:pt>
                <c:pt idx="6755">
                  <c:v>0</c:v>
                </c:pt>
                <c:pt idx="6756">
                  <c:v>0</c:v>
                </c:pt>
                <c:pt idx="6757">
                  <c:v>0</c:v>
                </c:pt>
                <c:pt idx="6758">
                  <c:v>0</c:v>
                </c:pt>
                <c:pt idx="6759">
                  <c:v>0</c:v>
                </c:pt>
                <c:pt idx="6760">
                  <c:v>0</c:v>
                </c:pt>
                <c:pt idx="6761">
                  <c:v>0</c:v>
                </c:pt>
                <c:pt idx="6762">
                  <c:v>0</c:v>
                </c:pt>
                <c:pt idx="6763">
                  <c:v>0</c:v>
                </c:pt>
                <c:pt idx="6764">
                  <c:v>0</c:v>
                </c:pt>
                <c:pt idx="6765">
                  <c:v>0</c:v>
                </c:pt>
                <c:pt idx="6766">
                  <c:v>0</c:v>
                </c:pt>
                <c:pt idx="6767">
                  <c:v>0</c:v>
                </c:pt>
                <c:pt idx="6768">
                  <c:v>0</c:v>
                </c:pt>
                <c:pt idx="6769">
                  <c:v>0</c:v>
                </c:pt>
                <c:pt idx="6770">
                  <c:v>0</c:v>
                </c:pt>
                <c:pt idx="6771">
                  <c:v>0</c:v>
                </c:pt>
                <c:pt idx="6772">
                  <c:v>0</c:v>
                </c:pt>
                <c:pt idx="6773">
                  <c:v>0</c:v>
                </c:pt>
                <c:pt idx="6774">
                  <c:v>0</c:v>
                </c:pt>
                <c:pt idx="6775">
                  <c:v>0</c:v>
                </c:pt>
                <c:pt idx="6776">
                  <c:v>0</c:v>
                </c:pt>
                <c:pt idx="6777">
                  <c:v>0</c:v>
                </c:pt>
                <c:pt idx="6778">
                  <c:v>0</c:v>
                </c:pt>
                <c:pt idx="6779">
                  <c:v>0</c:v>
                </c:pt>
                <c:pt idx="6780">
                  <c:v>0</c:v>
                </c:pt>
                <c:pt idx="6781">
                  <c:v>0</c:v>
                </c:pt>
                <c:pt idx="6782">
                  <c:v>0</c:v>
                </c:pt>
                <c:pt idx="6783">
                  <c:v>0</c:v>
                </c:pt>
                <c:pt idx="6784">
                  <c:v>0</c:v>
                </c:pt>
                <c:pt idx="6785">
                  <c:v>0</c:v>
                </c:pt>
                <c:pt idx="6786">
                  <c:v>0</c:v>
                </c:pt>
                <c:pt idx="6787">
                  <c:v>0</c:v>
                </c:pt>
                <c:pt idx="6788">
                  <c:v>0</c:v>
                </c:pt>
                <c:pt idx="6789">
                  <c:v>0</c:v>
                </c:pt>
                <c:pt idx="6790">
                  <c:v>0</c:v>
                </c:pt>
                <c:pt idx="6791">
                  <c:v>0</c:v>
                </c:pt>
                <c:pt idx="6792">
                  <c:v>0</c:v>
                </c:pt>
                <c:pt idx="6793">
                  <c:v>0</c:v>
                </c:pt>
                <c:pt idx="6794">
                  <c:v>0</c:v>
                </c:pt>
                <c:pt idx="6795">
                  <c:v>0</c:v>
                </c:pt>
                <c:pt idx="6796">
                  <c:v>0</c:v>
                </c:pt>
                <c:pt idx="6797">
                  <c:v>0</c:v>
                </c:pt>
                <c:pt idx="6798">
                  <c:v>0</c:v>
                </c:pt>
                <c:pt idx="6799">
                  <c:v>0</c:v>
                </c:pt>
                <c:pt idx="6800">
                  <c:v>0</c:v>
                </c:pt>
                <c:pt idx="6801">
                  <c:v>0</c:v>
                </c:pt>
                <c:pt idx="6802">
                  <c:v>0</c:v>
                </c:pt>
                <c:pt idx="6803">
                  <c:v>0</c:v>
                </c:pt>
                <c:pt idx="6804">
                  <c:v>0</c:v>
                </c:pt>
                <c:pt idx="6805">
                  <c:v>0</c:v>
                </c:pt>
                <c:pt idx="6806">
                  <c:v>0</c:v>
                </c:pt>
                <c:pt idx="6807">
                  <c:v>0</c:v>
                </c:pt>
                <c:pt idx="6808">
                  <c:v>0</c:v>
                </c:pt>
                <c:pt idx="6809">
                  <c:v>0</c:v>
                </c:pt>
                <c:pt idx="6810">
                  <c:v>0</c:v>
                </c:pt>
                <c:pt idx="6811">
                  <c:v>0</c:v>
                </c:pt>
                <c:pt idx="6812">
                  <c:v>0</c:v>
                </c:pt>
                <c:pt idx="6813">
                  <c:v>0</c:v>
                </c:pt>
                <c:pt idx="6814">
                  <c:v>0</c:v>
                </c:pt>
                <c:pt idx="6815">
                  <c:v>0</c:v>
                </c:pt>
                <c:pt idx="6816">
                  <c:v>0</c:v>
                </c:pt>
                <c:pt idx="6817">
                  <c:v>0</c:v>
                </c:pt>
                <c:pt idx="6818">
                  <c:v>0</c:v>
                </c:pt>
                <c:pt idx="6819">
                  <c:v>0</c:v>
                </c:pt>
                <c:pt idx="6820">
                  <c:v>0</c:v>
                </c:pt>
                <c:pt idx="6821">
                  <c:v>0</c:v>
                </c:pt>
                <c:pt idx="6822">
                  <c:v>0</c:v>
                </c:pt>
                <c:pt idx="6823">
                  <c:v>0</c:v>
                </c:pt>
                <c:pt idx="6824">
                  <c:v>0</c:v>
                </c:pt>
                <c:pt idx="6825">
                  <c:v>0</c:v>
                </c:pt>
                <c:pt idx="6826">
                  <c:v>0</c:v>
                </c:pt>
                <c:pt idx="6827">
                  <c:v>0</c:v>
                </c:pt>
                <c:pt idx="6828">
                  <c:v>0</c:v>
                </c:pt>
                <c:pt idx="6829">
                  <c:v>0</c:v>
                </c:pt>
                <c:pt idx="6830">
                  <c:v>0</c:v>
                </c:pt>
                <c:pt idx="6831">
                  <c:v>0</c:v>
                </c:pt>
                <c:pt idx="6832">
                  <c:v>0</c:v>
                </c:pt>
                <c:pt idx="6833">
                  <c:v>0</c:v>
                </c:pt>
                <c:pt idx="6834">
                  <c:v>0</c:v>
                </c:pt>
                <c:pt idx="6835">
                  <c:v>0</c:v>
                </c:pt>
                <c:pt idx="6836">
                  <c:v>0</c:v>
                </c:pt>
                <c:pt idx="6837">
                  <c:v>0</c:v>
                </c:pt>
                <c:pt idx="6838">
                  <c:v>0</c:v>
                </c:pt>
                <c:pt idx="6839">
                  <c:v>0</c:v>
                </c:pt>
                <c:pt idx="6840">
                  <c:v>0</c:v>
                </c:pt>
                <c:pt idx="6841">
                  <c:v>0</c:v>
                </c:pt>
                <c:pt idx="6842">
                  <c:v>0</c:v>
                </c:pt>
                <c:pt idx="6843">
                  <c:v>0</c:v>
                </c:pt>
                <c:pt idx="6844">
                  <c:v>0</c:v>
                </c:pt>
                <c:pt idx="6845">
                  <c:v>0</c:v>
                </c:pt>
                <c:pt idx="6846">
                  <c:v>0</c:v>
                </c:pt>
                <c:pt idx="6847">
                  <c:v>0</c:v>
                </c:pt>
                <c:pt idx="6848">
                  <c:v>0</c:v>
                </c:pt>
                <c:pt idx="6849">
                  <c:v>0</c:v>
                </c:pt>
                <c:pt idx="6850">
                  <c:v>0</c:v>
                </c:pt>
                <c:pt idx="6851">
                  <c:v>0</c:v>
                </c:pt>
                <c:pt idx="6852">
                  <c:v>0</c:v>
                </c:pt>
                <c:pt idx="6853">
                  <c:v>0</c:v>
                </c:pt>
                <c:pt idx="6854">
                  <c:v>0</c:v>
                </c:pt>
                <c:pt idx="6855">
                  <c:v>0</c:v>
                </c:pt>
                <c:pt idx="6856">
                  <c:v>0</c:v>
                </c:pt>
                <c:pt idx="6857">
                  <c:v>0</c:v>
                </c:pt>
                <c:pt idx="6858">
                  <c:v>0</c:v>
                </c:pt>
                <c:pt idx="6859">
                  <c:v>0</c:v>
                </c:pt>
                <c:pt idx="6860">
                  <c:v>0</c:v>
                </c:pt>
                <c:pt idx="6861">
                  <c:v>0</c:v>
                </c:pt>
                <c:pt idx="6862">
                  <c:v>0</c:v>
                </c:pt>
                <c:pt idx="6863">
                  <c:v>0</c:v>
                </c:pt>
                <c:pt idx="6864">
                  <c:v>0</c:v>
                </c:pt>
                <c:pt idx="6865">
                  <c:v>0</c:v>
                </c:pt>
                <c:pt idx="6866">
                  <c:v>0</c:v>
                </c:pt>
                <c:pt idx="6867">
                  <c:v>0</c:v>
                </c:pt>
                <c:pt idx="6868">
                  <c:v>0</c:v>
                </c:pt>
                <c:pt idx="6869">
                  <c:v>0</c:v>
                </c:pt>
                <c:pt idx="6870">
                  <c:v>0</c:v>
                </c:pt>
                <c:pt idx="6871">
                  <c:v>0</c:v>
                </c:pt>
                <c:pt idx="6872">
                  <c:v>0</c:v>
                </c:pt>
                <c:pt idx="6873">
                  <c:v>0</c:v>
                </c:pt>
                <c:pt idx="6874">
                  <c:v>0</c:v>
                </c:pt>
                <c:pt idx="6875">
                  <c:v>0</c:v>
                </c:pt>
                <c:pt idx="6876">
                  <c:v>0</c:v>
                </c:pt>
                <c:pt idx="6877">
                  <c:v>0</c:v>
                </c:pt>
                <c:pt idx="6878">
                  <c:v>0</c:v>
                </c:pt>
                <c:pt idx="6879">
                  <c:v>0</c:v>
                </c:pt>
                <c:pt idx="6880">
                  <c:v>0</c:v>
                </c:pt>
                <c:pt idx="6881">
                  <c:v>0</c:v>
                </c:pt>
                <c:pt idx="6882">
                  <c:v>0</c:v>
                </c:pt>
                <c:pt idx="6883">
                  <c:v>0</c:v>
                </c:pt>
                <c:pt idx="6884">
                  <c:v>0</c:v>
                </c:pt>
                <c:pt idx="6885">
                  <c:v>0</c:v>
                </c:pt>
                <c:pt idx="6886">
                  <c:v>0</c:v>
                </c:pt>
                <c:pt idx="6887">
                  <c:v>0</c:v>
                </c:pt>
                <c:pt idx="6888">
                  <c:v>0</c:v>
                </c:pt>
                <c:pt idx="6889">
                  <c:v>0</c:v>
                </c:pt>
                <c:pt idx="6890">
                  <c:v>0</c:v>
                </c:pt>
                <c:pt idx="6891">
                  <c:v>0</c:v>
                </c:pt>
                <c:pt idx="6892">
                  <c:v>0</c:v>
                </c:pt>
                <c:pt idx="6893">
                  <c:v>0</c:v>
                </c:pt>
                <c:pt idx="6894">
                  <c:v>0</c:v>
                </c:pt>
                <c:pt idx="6895">
                  <c:v>0</c:v>
                </c:pt>
                <c:pt idx="6896">
                  <c:v>0</c:v>
                </c:pt>
                <c:pt idx="6897">
                  <c:v>0</c:v>
                </c:pt>
                <c:pt idx="6898">
                  <c:v>0</c:v>
                </c:pt>
                <c:pt idx="6899">
                  <c:v>0</c:v>
                </c:pt>
                <c:pt idx="6900">
                  <c:v>0</c:v>
                </c:pt>
                <c:pt idx="6901">
                  <c:v>0</c:v>
                </c:pt>
                <c:pt idx="6902">
                  <c:v>0</c:v>
                </c:pt>
                <c:pt idx="6903">
                  <c:v>0</c:v>
                </c:pt>
                <c:pt idx="6904">
                  <c:v>0</c:v>
                </c:pt>
                <c:pt idx="6905">
                  <c:v>0</c:v>
                </c:pt>
                <c:pt idx="6906">
                  <c:v>0</c:v>
                </c:pt>
                <c:pt idx="6907">
                  <c:v>0</c:v>
                </c:pt>
                <c:pt idx="6908">
                  <c:v>0</c:v>
                </c:pt>
                <c:pt idx="6909">
                  <c:v>0</c:v>
                </c:pt>
                <c:pt idx="6910">
                  <c:v>0</c:v>
                </c:pt>
                <c:pt idx="6911">
                  <c:v>0</c:v>
                </c:pt>
                <c:pt idx="6912">
                  <c:v>0</c:v>
                </c:pt>
                <c:pt idx="6913">
                  <c:v>0</c:v>
                </c:pt>
                <c:pt idx="6914">
                  <c:v>0</c:v>
                </c:pt>
                <c:pt idx="6915">
                  <c:v>0</c:v>
                </c:pt>
                <c:pt idx="6916">
                  <c:v>0</c:v>
                </c:pt>
                <c:pt idx="6917">
                  <c:v>0</c:v>
                </c:pt>
                <c:pt idx="6918">
                  <c:v>0</c:v>
                </c:pt>
                <c:pt idx="6919">
                  <c:v>0</c:v>
                </c:pt>
                <c:pt idx="6920">
                  <c:v>0</c:v>
                </c:pt>
                <c:pt idx="6921">
                  <c:v>0</c:v>
                </c:pt>
                <c:pt idx="6922">
                  <c:v>0</c:v>
                </c:pt>
                <c:pt idx="6923">
                  <c:v>0</c:v>
                </c:pt>
                <c:pt idx="6924">
                  <c:v>0</c:v>
                </c:pt>
                <c:pt idx="6925">
                  <c:v>0</c:v>
                </c:pt>
                <c:pt idx="6926">
                  <c:v>0</c:v>
                </c:pt>
                <c:pt idx="6927">
                  <c:v>0</c:v>
                </c:pt>
                <c:pt idx="6928">
                  <c:v>0</c:v>
                </c:pt>
                <c:pt idx="6929">
                  <c:v>0</c:v>
                </c:pt>
                <c:pt idx="6930">
                  <c:v>0</c:v>
                </c:pt>
                <c:pt idx="6931">
                  <c:v>0</c:v>
                </c:pt>
                <c:pt idx="6932">
                  <c:v>0</c:v>
                </c:pt>
                <c:pt idx="6933">
                  <c:v>0</c:v>
                </c:pt>
                <c:pt idx="6934">
                  <c:v>0</c:v>
                </c:pt>
                <c:pt idx="6935">
                  <c:v>0</c:v>
                </c:pt>
                <c:pt idx="6936">
                  <c:v>0</c:v>
                </c:pt>
                <c:pt idx="6937">
                  <c:v>0</c:v>
                </c:pt>
                <c:pt idx="6938">
                  <c:v>0</c:v>
                </c:pt>
                <c:pt idx="6939">
                  <c:v>0</c:v>
                </c:pt>
                <c:pt idx="6940">
                  <c:v>0</c:v>
                </c:pt>
                <c:pt idx="6941">
                  <c:v>0</c:v>
                </c:pt>
                <c:pt idx="6942">
                  <c:v>0</c:v>
                </c:pt>
                <c:pt idx="6943">
                  <c:v>0</c:v>
                </c:pt>
                <c:pt idx="6944">
                  <c:v>0</c:v>
                </c:pt>
                <c:pt idx="6945">
                  <c:v>0</c:v>
                </c:pt>
                <c:pt idx="6946">
                  <c:v>0</c:v>
                </c:pt>
                <c:pt idx="6947">
                  <c:v>0</c:v>
                </c:pt>
                <c:pt idx="6948">
                  <c:v>0</c:v>
                </c:pt>
                <c:pt idx="6949">
                  <c:v>0</c:v>
                </c:pt>
                <c:pt idx="6950">
                  <c:v>0</c:v>
                </c:pt>
                <c:pt idx="6951">
                  <c:v>0</c:v>
                </c:pt>
                <c:pt idx="6952">
                  <c:v>0</c:v>
                </c:pt>
                <c:pt idx="6953">
                  <c:v>0</c:v>
                </c:pt>
                <c:pt idx="6954">
                  <c:v>0</c:v>
                </c:pt>
                <c:pt idx="6955">
                  <c:v>0</c:v>
                </c:pt>
                <c:pt idx="6956">
                  <c:v>0</c:v>
                </c:pt>
                <c:pt idx="6957">
                  <c:v>0</c:v>
                </c:pt>
                <c:pt idx="6958">
                  <c:v>0</c:v>
                </c:pt>
                <c:pt idx="6959">
                  <c:v>0</c:v>
                </c:pt>
                <c:pt idx="6960">
                  <c:v>0</c:v>
                </c:pt>
                <c:pt idx="6961">
                  <c:v>0</c:v>
                </c:pt>
                <c:pt idx="6962">
                  <c:v>0</c:v>
                </c:pt>
                <c:pt idx="6963">
                  <c:v>0</c:v>
                </c:pt>
                <c:pt idx="6964">
                  <c:v>0</c:v>
                </c:pt>
                <c:pt idx="6965">
                  <c:v>0</c:v>
                </c:pt>
                <c:pt idx="6966">
                  <c:v>0</c:v>
                </c:pt>
                <c:pt idx="6967">
                  <c:v>0</c:v>
                </c:pt>
                <c:pt idx="6968">
                  <c:v>0</c:v>
                </c:pt>
                <c:pt idx="6969">
                  <c:v>0</c:v>
                </c:pt>
                <c:pt idx="6970">
                  <c:v>0</c:v>
                </c:pt>
                <c:pt idx="6971">
                  <c:v>0</c:v>
                </c:pt>
                <c:pt idx="6972">
                  <c:v>0</c:v>
                </c:pt>
                <c:pt idx="6973">
                  <c:v>0</c:v>
                </c:pt>
                <c:pt idx="6974">
                  <c:v>0</c:v>
                </c:pt>
                <c:pt idx="6975">
                  <c:v>0</c:v>
                </c:pt>
                <c:pt idx="6976">
                  <c:v>0</c:v>
                </c:pt>
                <c:pt idx="6977">
                  <c:v>0</c:v>
                </c:pt>
                <c:pt idx="6978">
                  <c:v>0</c:v>
                </c:pt>
                <c:pt idx="6979">
                  <c:v>0</c:v>
                </c:pt>
                <c:pt idx="6980">
                  <c:v>0</c:v>
                </c:pt>
                <c:pt idx="6981">
                  <c:v>0</c:v>
                </c:pt>
                <c:pt idx="6982">
                  <c:v>0</c:v>
                </c:pt>
                <c:pt idx="6983">
                  <c:v>0</c:v>
                </c:pt>
                <c:pt idx="6984">
                  <c:v>0</c:v>
                </c:pt>
                <c:pt idx="6985">
                  <c:v>0</c:v>
                </c:pt>
                <c:pt idx="6986">
                  <c:v>0</c:v>
                </c:pt>
                <c:pt idx="6987">
                  <c:v>0</c:v>
                </c:pt>
                <c:pt idx="6988">
                  <c:v>0</c:v>
                </c:pt>
                <c:pt idx="6989">
                  <c:v>0</c:v>
                </c:pt>
                <c:pt idx="6990">
                  <c:v>0</c:v>
                </c:pt>
                <c:pt idx="6991">
                  <c:v>0</c:v>
                </c:pt>
                <c:pt idx="6992">
                  <c:v>0</c:v>
                </c:pt>
                <c:pt idx="6993">
                  <c:v>0</c:v>
                </c:pt>
                <c:pt idx="6994">
                  <c:v>0</c:v>
                </c:pt>
                <c:pt idx="6995">
                  <c:v>0</c:v>
                </c:pt>
                <c:pt idx="6996">
                  <c:v>0</c:v>
                </c:pt>
              </c:numCache>
            </c:numRef>
          </c:val>
          <c:smooth val="0"/>
          <c:extLst>
            <c:ext xmlns:c16="http://schemas.microsoft.com/office/drawing/2014/chart" uri="{C3380CC4-5D6E-409C-BE32-E72D297353CC}">
              <c16:uniqueId val="{00000008-34E5-0744-AA2C-554353F9D891}"/>
            </c:ext>
          </c:extLst>
        </c:ser>
        <c:dLbls>
          <c:showLegendKey val="0"/>
          <c:showVal val="0"/>
          <c:showCatName val="0"/>
          <c:showSerName val="0"/>
          <c:showPercent val="0"/>
          <c:showBubbleSize val="0"/>
        </c:dLbls>
        <c:marker val="1"/>
        <c:smooth val="0"/>
        <c:axId val="752697023"/>
        <c:axId val="951437647"/>
      </c:lineChart>
      <c:lineChart>
        <c:grouping val="standard"/>
        <c:varyColors val="0"/>
        <c:ser>
          <c:idx val="9"/>
          <c:order val="9"/>
          <c:tx>
            <c:strRef>
              <c:f>'Rolling Stdev Data'!$J$1:$J$2</c:f>
              <c:strCache>
                <c:ptCount val="2"/>
                <c:pt idx="0">
                  <c:v>%</c:v>
                </c:pt>
                <c:pt idx="1">
                  <c:v>Raw-PUMP FAILURE (1 or 0)</c:v>
                </c:pt>
              </c:strCache>
            </c:strRef>
          </c:tx>
          <c:spPr>
            <a:ln w="28575" cap="rnd">
              <a:solidFill>
                <a:schemeClr val="accent4">
                  <a:lumMod val="60000"/>
                </a:schemeClr>
              </a:solidFill>
              <a:round/>
            </a:ln>
            <a:effectLst/>
          </c:spPr>
          <c:marker>
            <c:symbol val="none"/>
          </c:marker>
          <c:val>
            <c:numRef>
              <c:f>'Rolling Stdev Data'!$J$3:$J$7000</c:f>
              <c:numCache>
                <c:formatCode>General</c:formatCode>
                <c:ptCount val="699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0</c:v>
                </c:pt>
                <c:pt idx="2254">
                  <c:v>0</c:v>
                </c:pt>
                <c:pt idx="2255">
                  <c:v>0</c:v>
                </c:pt>
                <c:pt idx="2256">
                  <c:v>0</c:v>
                </c:pt>
                <c:pt idx="2257">
                  <c:v>0</c:v>
                </c:pt>
                <c:pt idx="2258">
                  <c:v>0</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pt idx="2452">
                  <c:v>0</c:v>
                </c:pt>
                <c:pt idx="2453">
                  <c:v>0</c:v>
                </c:pt>
                <c:pt idx="2454">
                  <c:v>0</c:v>
                </c:pt>
                <c:pt idx="2455">
                  <c:v>0</c:v>
                </c:pt>
                <c:pt idx="2456">
                  <c:v>0</c:v>
                </c:pt>
                <c:pt idx="2457">
                  <c:v>0</c:v>
                </c:pt>
                <c:pt idx="2458">
                  <c:v>0</c:v>
                </c:pt>
                <c:pt idx="2459">
                  <c:v>0</c:v>
                </c:pt>
                <c:pt idx="2460">
                  <c:v>0</c:v>
                </c:pt>
                <c:pt idx="2461">
                  <c:v>0</c:v>
                </c:pt>
                <c:pt idx="2462">
                  <c:v>0</c:v>
                </c:pt>
                <c:pt idx="2463">
                  <c:v>0</c:v>
                </c:pt>
                <c:pt idx="2464">
                  <c:v>0</c:v>
                </c:pt>
                <c:pt idx="2465">
                  <c:v>0</c:v>
                </c:pt>
                <c:pt idx="2466">
                  <c:v>0</c:v>
                </c:pt>
                <c:pt idx="2467">
                  <c:v>0</c:v>
                </c:pt>
                <c:pt idx="2468">
                  <c:v>0</c:v>
                </c:pt>
                <c:pt idx="2469">
                  <c:v>0</c:v>
                </c:pt>
                <c:pt idx="2470">
                  <c:v>0</c:v>
                </c:pt>
                <c:pt idx="2471">
                  <c:v>0</c:v>
                </c:pt>
                <c:pt idx="2472">
                  <c:v>0</c:v>
                </c:pt>
                <c:pt idx="2473">
                  <c:v>0</c:v>
                </c:pt>
                <c:pt idx="2474">
                  <c:v>0</c:v>
                </c:pt>
                <c:pt idx="2475">
                  <c:v>0</c:v>
                </c:pt>
                <c:pt idx="2476">
                  <c:v>0</c:v>
                </c:pt>
                <c:pt idx="2477">
                  <c:v>0</c:v>
                </c:pt>
                <c:pt idx="2478">
                  <c:v>0</c:v>
                </c:pt>
                <c:pt idx="2479">
                  <c:v>0</c:v>
                </c:pt>
                <c:pt idx="2480">
                  <c:v>0</c:v>
                </c:pt>
                <c:pt idx="2481">
                  <c:v>0</c:v>
                </c:pt>
                <c:pt idx="2482">
                  <c:v>0</c:v>
                </c:pt>
                <c:pt idx="2483">
                  <c:v>0</c:v>
                </c:pt>
                <c:pt idx="2484">
                  <c:v>0</c:v>
                </c:pt>
                <c:pt idx="2485">
                  <c:v>0</c:v>
                </c:pt>
                <c:pt idx="2486">
                  <c:v>0</c:v>
                </c:pt>
                <c:pt idx="2487">
                  <c:v>0</c:v>
                </c:pt>
                <c:pt idx="2488">
                  <c:v>0</c:v>
                </c:pt>
                <c:pt idx="2489">
                  <c:v>0</c:v>
                </c:pt>
                <c:pt idx="2490">
                  <c:v>0</c:v>
                </c:pt>
                <c:pt idx="2491">
                  <c:v>0</c:v>
                </c:pt>
                <c:pt idx="2492">
                  <c:v>0</c:v>
                </c:pt>
                <c:pt idx="2493">
                  <c:v>0</c:v>
                </c:pt>
                <c:pt idx="2494">
                  <c:v>0</c:v>
                </c:pt>
                <c:pt idx="2495">
                  <c:v>0</c:v>
                </c:pt>
                <c:pt idx="2496">
                  <c:v>0</c:v>
                </c:pt>
                <c:pt idx="2497">
                  <c:v>0</c:v>
                </c:pt>
                <c:pt idx="2498">
                  <c:v>0</c:v>
                </c:pt>
                <c:pt idx="2499">
                  <c:v>0</c:v>
                </c:pt>
                <c:pt idx="2500">
                  <c:v>0</c:v>
                </c:pt>
                <c:pt idx="2501">
                  <c:v>0</c:v>
                </c:pt>
                <c:pt idx="2502">
                  <c:v>0</c:v>
                </c:pt>
                <c:pt idx="2503">
                  <c:v>0</c:v>
                </c:pt>
                <c:pt idx="2504">
                  <c:v>0</c:v>
                </c:pt>
                <c:pt idx="2505">
                  <c:v>0</c:v>
                </c:pt>
                <c:pt idx="2506">
                  <c:v>0</c:v>
                </c:pt>
                <c:pt idx="2507">
                  <c:v>0</c:v>
                </c:pt>
                <c:pt idx="2508">
                  <c:v>0</c:v>
                </c:pt>
                <c:pt idx="2509">
                  <c:v>0</c:v>
                </c:pt>
                <c:pt idx="2510">
                  <c:v>0</c:v>
                </c:pt>
                <c:pt idx="2511">
                  <c:v>0</c:v>
                </c:pt>
                <c:pt idx="2512">
                  <c:v>0</c:v>
                </c:pt>
                <c:pt idx="2513">
                  <c:v>0</c:v>
                </c:pt>
                <c:pt idx="2514">
                  <c:v>0</c:v>
                </c:pt>
                <c:pt idx="2515">
                  <c:v>0</c:v>
                </c:pt>
                <c:pt idx="2516">
                  <c:v>0</c:v>
                </c:pt>
                <c:pt idx="2517">
                  <c:v>0</c:v>
                </c:pt>
                <c:pt idx="2518">
                  <c:v>0</c:v>
                </c:pt>
                <c:pt idx="2519">
                  <c:v>0</c:v>
                </c:pt>
                <c:pt idx="2520">
                  <c:v>0</c:v>
                </c:pt>
                <c:pt idx="2521">
                  <c:v>0</c:v>
                </c:pt>
                <c:pt idx="2522">
                  <c:v>0</c:v>
                </c:pt>
                <c:pt idx="2523">
                  <c:v>0</c:v>
                </c:pt>
                <c:pt idx="2524">
                  <c:v>0</c:v>
                </c:pt>
                <c:pt idx="2525">
                  <c:v>0</c:v>
                </c:pt>
                <c:pt idx="2526">
                  <c:v>0</c:v>
                </c:pt>
                <c:pt idx="2527">
                  <c:v>0</c:v>
                </c:pt>
                <c:pt idx="2528">
                  <c:v>0</c:v>
                </c:pt>
                <c:pt idx="2529">
                  <c:v>0</c:v>
                </c:pt>
                <c:pt idx="2530">
                  <c:v>0</c:v>
                </c:pt>
                <c:pt idx="2531">
                  <c:v>0</c:v>
                </c:pt>
                <c:pt idx="2532">
                  <c:v>0</c:v>
                </c:pt>
                <c:pt idx="2533">
                  <c:v>0</c:v>
                </c:pt>
                <c:pt idx="2534">
                  <c:v>0</c:v>
                </c:pt>
                <c:pt idx="2535">
                  <c:v>0</c:v>
                </c:pt>
                <c:pt idx="2536">
                  <c:v>0</c:v>
                </c:pt>
                <c:pt idx="2537">
                  <c:v>0</c:v>
                </c:pt>
                <c:pt idx="2538">
                  <c:v>0</c:v>
                </c:pt>
                <c:pt idx="2539">
                  <c:v>0</c:v>
                </c:pt>
                <c:pt idx="2540">
                  <c:v>0</c:v>
                </c:pt>
                <c:pt idx="2541">
                  <c:v>0</c:v>
                </c:pt>
                <c:pt idx="2542">
                  <c:v>0</c:v>
                </c:pt>
                <c:pt idx="2543">
                  <c:v>0</c:v>
                </c:pt>
                <c:pt idx="2544">
                  <c:v>0</c:v>
                </c:pt>
                <c:pt idx="2545">
                  <c:v>0</c:v>
                </c:pt>
                <c:pt idx="2546">
                  <c:v>0</c:v>
                </c:pt>
                <c:pt idx="2547">
                  <c:v>0</c:v>
                </c:pt>
                <c:pt idx="2548">
                  <c:v>0</c:v>
                </c:pt>
                <c:pt idx="2549">
                  <c:v>0</c:v>
                </c:pt>
                <c:pt idx="2550">
                  <c:v>0</c:v>
                </c:pt>
                <c:pt idx="2551">
                  <c:v>0</c:v>
                </c:pt>
                <c:pt idx="2552">
                  <c:v>0</c:v>
                </c:pt>
                <c:pt idx="2553">
                  <c:v>0</c:v>
                </c:pt>
                <c:pt idx="2554">
                  <c:v>0</c:v>
                </c:pt>
                <c:pt idx="2555">
                  <c:v>0</c:v>
                </c:pt>
                <c:pt idx="2556">
                  <c:v>0</c:v>
                </c:pt>
                <c:pt idx="2557">
                  <c:v>0</c:v>
                </c:pt>
                <c:pt idx="2558">
                  <c:v>0</c:v>
                </c:pt>
                <c:pt idx="2559">
                  <c:v>0</c:v>
                </c:pt>
                <c:pt idx="2560">
                  <c:v>0</c:v>
                </c:pt>
                <c:pt idx="2561">
                  <c:v>0</c:v>
                </c:pt>
                <c:pt idx="2562">
                  <c:v>0</c:v>
                </c:pt>
                <c:pt idx="2563">
                  <c:v>0</c:v>
                </c:pt>
                <c:pt idx="2564">
                  <c:v>0</c:v>
                </c:pt>
                <c:pt idx="2565">
                  <c:v>0</c:v>
                </c:pt>
                <c:pt idx="2566">
                  <c:v>0</c:v>
                </c:pt>
                <c:pt idx="2567">
                  <c:v>0</c:v>
                </c:pt>
                <c:pt idx="2568">
                  <c:v>0</c:v>
                </c:pt>
                <c:pt idx="2569">
                  <c:v>0</c:v>
                </c:pt>
                <c:pt idx="2570">
                  <c:v>0</c:v>
                </c:pt>
                <c:pt idx="2571">
                  <c:v>0</c:v>
                </c:pt>
                <c:pt idx="2572">
                  <c:v>0</c:v>
                </c:pt>
                <c:pt idx="2573">
                  <c:v>0</c:v>
                </c:pt>
                <c:pt idx="2574">
                  <c:v>0</c:v>
                </c:pt>
                <c:pt idx="2575">
                  <c:v>0</c:v>
                </c:pt>
                <c:pt idx="2576">
                  <c:v>0</c:v>
                </c:pt>
                <c:pt idx="2577">
                  <c:v>0</c:v>
                </c:pt>
                <c:pt idx="2578">
                  <c:v>0</c:v>
                </c:pt>
                <c:pt idx="2579">
                  <c:v>0</c:v>
                </c:pt>
                <c:pt idx="2580">
                  <c:v>0</c:v>
                </c:pt>
                <c:pt idx="2581">
                  <c:v>0</c:v>
                </c:pt>
                <c:pt idx="2582">
                  <c:v>0</c:v>
                </c:pt>
                <c:pt idx="2583">
                  <c:v>0</c:v>
                </c:pt>
                <c:pt idx="2584">
                  <c:v>0</c:v>
                </c:pt>
                <c:pt idx="2585">
                  <c:v>0</c:v>
                </c:pt>
                <c:pt idx="2586">
                  <c:v>0</c:v>
                </c:pt>
                <c:pt idx="2587">
                  <c:v>0</c:v>
                </c:pt>
                <c:pt idx="2588">
                  <c:v>0</c:v>
                </c:pt>
                <c:pt idx="2589">
                  <c:v>0</c:v>
                </c:pt>
                <c:pt idx="2590">
                  <c:v>0</c:v>
                </c:pt>
                <c:pt idx="2591">
                  <c:v>0</c:v>
                </c:pt>
                <c:pt idx="2592">
                  <c:v>0</c:v>
                </c:pt>
                <c:pt idx="2593">
                  <c:v>0</c:v>
                </c:pt>
                <c:pt idx="2594">
                  <c:v>0</c:v>
                </c:pt>
                <c:pt idx="2595">
                  <c:v>0</c:v>
                </c:pt>
                <c:pt idx="2596">
                  <c:v>0</c:v>
                </c:pt>
                <c:pt idx="2597">
                  <c:v>0</c:v>
                </c:pt>
                <c:pt idx="2598">
                  <c:v>0</c:v>
                </c:pt>
                <c:pt idx="2599">
                  <c:v>0</c:v>
                </c:pt>
                <c:pt idx="2600">
                  <c:v>0</c:v>
                </c:pt>
                <c:pt idx="2601">
                  <c:v>0</c:v>
                </c:pt>
                <c:pt idx="2602">
                  <c:v>0</c:v>
                </c:pt>
                <c:pt idx="2603">
                  <c:v>0</c:v>
                </c:pt>
                <c:pt idx="2604">
                  <c:v>0</c:v>
                </c:pt>
                <c:pt idx="2605">
                  <c:v>0</c:v>
                </c:pt>
                <c:pt idx="2606">
                  <c:v>0</c:v>
                </c:pt>
                <c:pt idx="2607">
                  <c:v>0</c:v>
                </c:pt>
                <c:pt idx="2608">
                  <c:v>0</c:v>
                </c:pt>
                <c:pt idx="2609">
                  <c:v>0</c:v>
                </c:pt>
                <c:pt idx="2610">
                  <c:v>0</c:v>
                </c:pt>
                <c:pt idx="2611">
                  <c:v>0</c:v>
                </c:pt>
                <c:pt idx="2612">
                  <c:v>0</c:v>
                </c:pt>
                <c:pt idx="2613">
                  <c:v>0</c:v>
                </c:pt>
                <c:pt idx="2614">
                  <c:v>0</c:v>
                </c:pt>
                <c:pt idx="2615">
                  <c:v>0</c:v>
                </c:pt>
                <c:pt idx="2616">
                  <c:v>0</c:v>
                </c:pt>
                <c:pt idx="2617">
                  <c:v>0</c:v>
                </c:pt>
                <c:pt idx="2618">
                  <c:v>0</c:v>
                </c:pt>
                <c:pt idx="2619">
                  <c:v>0</c:v>
                </c:pt>
                <c:pt idx="2620">
                  <c:v>0</c:v>
                </c:pt>
                <c:pt idx="2621">
                  <c:v>0</c:v>
                </c:pt>
                <c:pt idx="2622">
                  <c:v>0</c:v>
                </c:pt>
                <c:pt idx="2623">
                  <c:v>0</c:v>
                </c:pt>
                <c:pt idx="2624">
                  <c:v>0</c:v>
                </c:pt>
                <c:pt idx="2625">
                  <c:v>0</c:v>
                </c:pt>
                <c:pt idx="2626">
                  <c:v>0</c:v>
                </c:pt>
                <c:pt idx="2627">
                  <c:v>0</c:v>
                </c:pt>
                <c:pt idx="2628">
                  <c:v>0</c:v>
                </c:pt>
                <c:pt idx="2629">
                  <c:v>0</c:v>
                </c:pt>
                <c:pt idx="2630">
                  <c:v>0</c:v>
                </c:pt>
                <c:pt idx="2631">
                  <c:v>0</c:v>
                </c:pt>
                <c:pt idx="2632">
                  <c:v>0</c:v>
                </c:pt>
                <c:pt idx="2633">
                  <c:v>0</c:v>
                </c:pt>
                <c:pt idx="2634">
                  <c:v>0</c:v>
                </c:pt>
                <c:pt idx="2635">
                  <c:v>0</c:v>
                </c:pt>
                <c:pt idx="2636">
                  <c:v>0</c:v>
                </c:pt>
                <c:pt idx="2637">
                  <c:v>0</c:v>
                </c:pt>
                <c:pt idx="2638">
                  <c:v>0</c:v>
                </c:pt>
                <c:pt idx="2639">
                  <c:v>0</c:v>
                </c:pt>
                <c:pt idx="2640">
                  <c:v>0</c:v>
                </c:pt>
                <c:pt idx="2641">
                  <c:v>0</c:v>
                </c:pt>
                <c:pt idx="2642">
                  <c:v>0</c:v>
                </c:pt>
                <c:pt idx="2643">
                  <c:v>0</c:v>
                </c:pt>
                <c:pt idx="2644">
                  <c:v>0</c:v>
                </c:pt>
                <c:pt idx="2645">
                  <c:v>0</c:v>
                </c:pt>
                <c:pt idx="2646">
                  <c:v>0</c:v>
                </c:pt>
                <c:pt idx="2647">
                  <c:v>0</c:v>
                </c:pt>
                <c:pt idx="2648">
                  <c:v>0</c:v>
                </c:pt>
                <c:pt idx="2649">
                  <c:v>0</c:v>
                </c:pt>
                <c:pt idx="2650">
                  <c:v>0</c:v>
                </c:pt>
                <c:pt idx="2651">
                  <c:v>0</c:v>
                </c:pt>
                <c:pt idx="2652">
                  <c:v>0</c:v>
                </c:pt>
                <c:pt idx="2653">
                  <c:v>0</c:v>
                </c:pt>
                <c:pt idx="2654">
                  <c:v>0</c:v>
                </c:pt>
                <c:pt idx="2655">
                  <c:v>0</c:v>
                </c:pt>
                <c:pt idx="2656">
                  <c:v>0</c:v>
                </c:pt>
                <c:pt idx="2657">
                  <c:v>0</c:v>
                </c:pt>
                <c:pt idx="2658">
                  <c:v>0</c:v>
                </c:pt>
                <c:pt idx="2659">
                  <c:v>0</c:v>
                </c:pt>
                <c:pt idx="2660">
                  <c:v>0</c:v>
                </c:pt>
                <c:pt idx="2661">
                  <c:v>0</c:v>
                </c:pt>
                <c:pt idx="2662">
                  <c:v>0</c:v>
                </c:pt>
                <c:pt idx="2663">
                  <c:v>0</c:v>
                </c:pt>
                <c:pt idx="2664">
                  <c:v>0</c:v>
                </c:pt>
                <c:pt idx="2665">
                  <c:v>0</c:v>
                </c:pt>
                <c:pt idx="2666">
                  <c:v>0</c:v>
                </c:pt>
                <c:pt idx="2667">
                  <c:v>0</c:v>
                </c:pt>
                <c:pt idx="2668">
                  <c:v>0</c:v>
                </c:pt>
                <c:pt idx="2669">
                  <c:v>0</c:v>
                </c:pt>
                <c:pt idx="2670">
                  <c:v>0</c:v>
                </c:pt>
                <c:pt idx="2671">
                  <c:v>0</c:v>
                </c:pt>
                <c:pt idx="2672">
                  <c:v>0</c:v>
                </c:pt>
                <c:pt idx="2673">
                  <c:v>0</c:v>
                </c:pt>
                <c:pt idx="2674">
                  <c:v>0</c:v>
                </c:pt>
                <c:pt idx="2675">
                  <c:v>0</c:v>
                </c:pt>
                <c:pt idx="2676">
                  <c:v>0</c:v>
                </c:pt>
                <c:pt idx="2677">
                  <c:v>0</c:v>
                </c:pt>
                <c:pt idx="2678">
                  <c:v>0</c:v>
                </c:pt>
                <c:pt idx="2679">
                  <c:v>0</c:v>
                </c:pt>
                <c:pt idx="2680">
                  <c:v>0</c:v>
                </c:pt>
                <c:pt idx="2681">
                  <c:v>0</c:v>
                </c:pt>
                <c:pt idx="2682">
                  <c:v>0</c:v>
                </c:pt>
                <c:pt idx="2683">
                  <c:v>0</c:v>
                </c:pt>
                <c:pt idx="2684">
                  <c:v>0</c:v>
                </c:pt>
                <c:pt idx="2685">
                  <c:v>0</c:v>
                </c:pt>
                <c:pt idx="2686">
                  <c:v>0</c:v>
                </c:pt>
                <c:pt idx="2687">
                  <c:v>0</c:v>
                </c:pt>
                <c:pt idx="2688">
                  <c:v>0</c:v>
                </c:pt>
                <c:pt idx="2689">
                  <c:v>0</c:v>
                </c:pt>
                <c:pt idx="2690">
                  <c:v>0</c:v>
                </c:pt>
                <c:pt idx="2691">
                  <c:v>0</c:v>
                </c:pt>
                <c:pt idx="2692">
                  <c:v>0</c:v>
                </c:pt>
                <c:pt idx="2693">
                  <c:v>0</c:v>
                </c:pt>
                <c:pt idx="2694">
                  <c:v>0</c:v>
                </c:pt>
                <c:pt idx="2695">
                  <c:v>0</c:v>
                </c:pt>
                <c:pt idx="2696">
                  <c:v>0</c:v>
                </c:pt>
                <c:pt idx="2697">
                  <c:v>0</c:v>
                </c:pt>
                <c:pt idx="2698">
                  <c:v>0</c:v>
                </c:pt>
                <c:pt idx="2699">
                  <c:v>0</c:v>
                </c:pt>
                <c:pt idx="2700">
                  <c:v>0</c:v>
                </c:pt>
                <c:pt idx="2701">
                  <c:v>0</c:v>
                </c:pt>
                <c:pt idx="2702">
                  <c:v>0</c:v>
                </c:pt>
                <c:pt idx="2703">
                  <c:v>0</c:v>
                </c:pt>
                <c:pt idx="2704">
                  <c:v>0</c:v>
                </c:pt>
                <c:pt idx="2705">
                  <c:v>0</c:v>
                </c:pt>
                <c:pt idx="2706">
                  <c:v>0</c:v>
                </c:pt>
                <c:pt idx="2707">
                  <c:v>0</c:v>
                </c:pt>
                <c:pt idx="2708">
                  <c:v>0</c:v>
                </c:pt>
                <c:pt idx="2709">
                  <c:v>0</c:v>
                </c:pt>
                <c:pt idx="2710">
                  <c:v>0</c:v>
                </c:pt>
                <c:pt idx="2711">
                  <c:v>0</c:v>
                </c:pt>
                <c:pt idx="2712">
                  <c:v>0</c:v>
                </c:pt>
                <c:pt idx="2713">
                  <c:v>0</c:v>
                </c:pt>
                <c:pt idx="2714">
                  <c:v>0</c:v>
                </c:pt>
                <c:pt idx="2715">
                  <c:v>0</c:v>
                </c:pt>
                <c:pt idx="2716">
                  <c:v>0</c:v>
                </c:pt>
                <c:pt idx="2717">
                  <c:v>0</c:v>
                </c:pt>
                <c:pt idx="2718">
                  <c:v>0</c:v>
                </c:pt>
                <c:pt idx="2719">
                  <c:v>0</c:v>
                </c:pt>
                <c:pt idx="2720">
                  <c:v>0</c:v>
                </c:pt>
                <c:pt idx="2721">
                  <c:v>0</c:v>
                </c:pt>
                <c:pt idx="2722">
                  <c:v>0</c:v>
                </c:pt>
                <c:pt idx="2723">
                  <c:v>0</c:v>
                </c:pt>
                <c:pt idx="2724">
                  <c:v>0</c:v>
                </c:pt>
                <c:pt idx="2725">
                  <c:v>0</c:v>
                </c:pt>
                <c:pt idx="2726">
                  <c:v>0</c:v>
                </c:pt>
                <c:pt idx="2727">
                  <c:v>0</c:v>
                </c:pt>
                <c:pt idx="2728">
                  <c:v>0</c:v>
                </c:pt>
                <c:pt idx="2729">
                  <c:v>0</c:v>
                </c:pt>
                <c:pt idx="2730">
                  <c:v>0</c:v>
                </c:pt>
                <c:pt idx="2731">
                  <c:v>0</c:v>
                </c:pt>
                <c:pt idx="2732">
                  <c:v>0</c:v>
                </c:pt>
                <c:pt idx="2733">
                  <c:v>0</c:v>
                </c:pt>
                <c:pt idx="2734">
                  <c:v>0</c:v>
                </c:pt>
                <c:pt idx="2735">
                  <c:v>0</c:v>
                </c:pt>
                <c:pt idx="2736">
                  <c:v>0</c:v>
                </c:pt>
                <c:pt idx="2737">
                  <c:v>0</c:v>
                </c:pt>
                <c:pt idx="2738">
                  <c:v>0</c:v>
                </c:pt>
                <c:pt idx="2739">
                  <c:v>0</c:v>
                </c:pt>
                <c:pt idx="2740">
                  <c:v>0</c:v>
                </c:pt>
                <c:pt idx="2741">
                  <c:v>0</c:v>
                </c:pt>
                <c:pt idx="2742">
                  <c:v>0</c:v>
                </c:pt>
                <c:pt idx="2743">
                  <c:v>0</c:v>
                </c:pt>
                <c:pt idx="2744">
                  <c:v>0</c:v>
                </c:pt>
                <c:pt idx="2745">
                  <c:v>0</c:v>
                </c:pt>
                <c:pt idx="2746">
                  <c:v>0</c:v>
                </c:pt>
                <c:pt idx="2747">
                  <c:v>0</c:v>
                </c:pt>
                <c:pt idx="2748">
                  <c:v>0</c:v>
                </c:pt>
                <c:pt idx="2749">
                  <c:v>0</c:v>
                </c:pt>
                <c:pt idx="2750">
                  <c:v>0</c:v>
                </c:pt>
                <c:pt idx="2751">
                  <c:v>0</c:v>
                </c:pt>
                <c:pt idx="2752">
                  <c:v>0</c:v>
                </c:pt>
                <c:pt idx="2753">
                  <c:v>0</c:v>
                </c:pt>
                <c:pt idx="2754">
                  <c:v>0</c:v>
                </c:pt>
                <c:pt idx="2755">
                  <c:v>0</c:v>
                </c:pt>
                <c:pt idx="2756">
                  <c:v>0</c:v>
                </c:pt>
                <c:pt idx="2757">
                  <c:v>0</c:v>
                </c:pt>
                <c:pt idx="2758">
                  <c:v>0</c:v>
                </c:pt>
                <c:pt idx="2759">
                  <c:v>0</c:v>
                </c:pt>
                <c:pt idx="2760">
                  <c:v>0</c:v>
                </c:pt>
                <c:pt idx="2761">
                  <c:v>0</c:v>
                </c:pt>
                <c:pt idx="2762">
                  <c:v>0</c:v>
                </c:pt>
                <c:pt idx="2763">
                  <c:v>0</c:v>
                </c:pt>
                <c:pt idx="2764">
                  <c:v>0</c:v>
                </c:pt>
                <c:pt idx="2765">
                  <c:v>0</c:v>
                </c:pt>
                <c:pt idx="2766">
                  <c:v>0</c:v>
                </c:pt>
                <c:pt idx="2767">
                  <c:v>0</c:v>
                </c:pt>
                <c:pt idx="2768">
                  <c:v>0</c:v>
                </c:pt>
                <c:pt idx="2769">
                  <c:v>0</c:v>
                </c:pt>
                <c:pt idx="2770">
                  <c:v>0</c:v>
                </c:pt>
                <c:pt idx="2771">
                  <c:v>0</c:v>
                </c:pt>
                <c:pt idx="2772">
                  <c:v>0</c:v>
                </c:pt>
                <c:pt idx="2773">
                  <c:v>0</c:v>
                </c:pt>
                <c:pt idx="2774">
                  <c:v>0</c:v>
                </c:pt>
                <c:pt idx="2775">
                  <c:v>0</c:v>
                </c:pt>
                <c:pt idx="2776">
                  <c:v>0</c:v>
                </c:pt>
                <c:pt idx="2777">
                  <c:v>0</c:v>
                </c:pt>
                <c:pt idx="2778">
                  <c:v>0</c:v>
                </c:pt>
                <c:pt idx="2779">
                  <c:v>0</c:v>
                </c:pt>
                <c:pt idx="2780">
                  <c:v>0</c:v>
                </c:pt>
                <c:pt idx="2781">
                  <c:v>0</c:v>
                </c:pt>
                <c:pt idx="2782">
                  <c:v>0</c:v>
                </c:pt>
                <c:pt idx="2783">
                  <c:v>0</c:v>
                </c:pt>
                <c:pt idx="2784">
                  <c:v>0</c:v>
                </c:pt>
                <c:pt idx="2785">
                  <c:v>0</c:v>
                </c:pt>
                <c:pt idx="2786">
                  <c:v>0</c:v>
                </c:pt>
                <c:pt idx="2787">
                  <c:v>0</c:v>
                </c:pt>
                <c:pt idx="2788">
                  <c:v>0</c:v>
                </c:pt>
                <c:pt idx="2789">
                  <c:v>0</c:v>
                </c:pt>
                <c:pt idx="2790">
                  <c:v>0</c:v>
                </c:pt>
                <c:pt idx="2791">
                  <c:v>0</c:v>
                </c:pt>
                <c:pt idx="2792">
                  <c:v>0</c:v>
                </c:pt>
                <c:pt idx="2793">
                  <c:v>0</c:v>
                </c:pt>
                <c:pt idx="2794">
                  <c:v>0</c:v>
                </c:pt>
                <c:pt idx="2795">
                  <c:v>0</c:v>
                </c:pt>
                <c:pt idx="2796">
                  <c:v>0</c:v>
                </c:pt>
                <c:pt idx="2797">
                  <c:v>0</c:v>
                </c:pt>
                <c:pt idx="2798">
                  <c:v>0</c:v>
                </c:pt>
                <c:pt idx="2799">
                  <c:v>0</c:v>
                </c:pt>
                <c:pt idx="2800">
                  <c:v>0</c:v>
                </c:pt>
                <c:pt idx="2801">
                  <c:v>0</c:v>
                </c:pt>
                <c:pt idx="2802">
                  <c:v>0</c:v>
                </c:pt>
                <c:pt idx="2803">
                  <c:v>0</c:v>
                </c:pt>
                <c:pt idx="2804">
                  <c:v>0</c:v>
                </c:pt>
                <c:pt idx="2805">
                  <c:v>0</c:v>
                </c:pt>
                <c:pt idx="2806">
                  <c:v>0</c:v>
                </c:pt>
                <c:pt idx="2807">
                  <c:v>0</c:v>
                </c:pt>
                <c:pt idx="2808">
                  <c:v>0</c:v>
                </c:pt>
                <c:pt idx="2809">
                  <c:v>0</c:v>
                </c:pt>
                <c:pt idx="2810">
                  <c:v>0</c:v>
                </c:pt>
                <c:pt idx="2811">
                  <c:v>0</c:v>
                </c:pt>
                <c:pt idx="2812">
                  <c:v>0</c:v>
                </c:pt>
                <c:pt idx="2813">
                  <c:v>0</c:v>
                </c:pt>
                <c:pt idx="2814">
                  <c:v>0</c:v>
                </c:pt>
                <c:pt idx="2815">
                  <c:v>0</c:v>
                </c:pt>
                <c:pt idx="2816">
                  <c:v>0</c:v>
                </c:pt>
                <c:pt idx="2817">
                  <c:v>0</c:v>
                </c:pt>
                <c:pt idx="2818">
                  <c:v>0</c:v>
                </c:pt>
                <c:pt idx="2819">
                  <c:v>0</c:v>
                </c:pt>
                <c:pt idx="2820">
                  <c:v>0</c:v>
                </c:pt>
                <c:pt idx="2821">
                  <c:v>0</c:v>
                </c:pt>
                <c:pt idx="2822">
                  <c:v>0</c:v>
                </c:pt>
                <c:pt idx="2823">
                  <c:v>0</c:v>
                </c:pt>
                <c:pt idx="2824">
                  <c:v>0</c:v>
                </c:pt>
                <c:pt idx="2825">
                  <c:v>0</c:v>
                </c:pt>
                <c:pt idx="2826">
                  <c:v>0</c:v>
                </c:pt>
                <c:pt idx="2827">
                  <c:v>0</c:v>
                </c:pt>
                <c:pt idx="2828">
                  <c:v>0</c:v>
                </c:pt>
                <c:pt idx="2829">
                  <c:v>0</c:v>
                </c:pt>
                <c:pt idx="2830">
                  <c:v>0</c:v>
                </c:pt>
                <c:pt idx="2831">
                  <c:v>0</c:v>
                </c:pt>
                <c:pt idx="2832">
                  <c:v>0</c:v>
                </c:pt>
                <c:pt idx="2833">
                  <c:v>0</c:v>
                </c:pt>
                <c:pt idx="2834">
                  <c:v>0</c:v>
                </c:pt>
                <c:pt idx="2835">
                  <c:v>0</c:v>
                </c:pt>
                <c:pt idx="2836">
                  <c:v>0</c:v>
                </c:pt>
                <c:pt idx="2837">
                  <c:v>0</c:v>
                </c:pt>
                <c:pt idx="2838">
                  <c:v>0</c:v>
                </c:pt>
                <c:pt idx="2839">
                  <c:v>0</c:v>
                </c:pt>
                <c:pt idx="2840">
                  <c:v>0</c:v>
                </c:pt>
                <c:pt idx="2841">
                  <c:v>0</c:v>
                </c:pt>
                <c:pt idx="2842">
                  <c:v>0</c:v>
                </c:pt>
                <c:pt idx="2843">
                  <c:v>0</c:v>
                </c:pt>
                <c:pt idx="2844">
                  <c:v>0</c:v>
                </c:pt>
                <c:pt idx="2845">
                  <c:v>0</c:v>
                </c:pt>
                <c:pt idx="2846">
                  <c:v>0</c:v>
                </c:pt>
                <c:pt idx="2847">
                  <c:v>0</c:v>
                </c:pt>
                <c:pt idx="2848">
                  <c:v>0</c:v>
                </c:pt>
                <c:pt idx="2849">
                  <c:v>0</c:v>
                </c:pt>
                <c:pt idx="2850">
                  <c:v>0</c:v>
                </c:pt>
                <c:pt idx="2851">
                  <c:v>0</c:v>
                </c:pt>
                <c:pt idx="2852">
                  <c:v>0</c:v>
                </c:pt>
                <c:pt idx="2853">
                  <c:v>0</c:v>
                </c:pt>
                <c:pt idx="2854">
                  <c:v>0</c:v>
                </c:pt>
                <c:pt idx="2855">
                  <c:v>0</c:v>
                </c:pt>
                <c:pt idx="2856">
                  <c:v>0</c:v>
                </c:pt>
                <c:pt idx="2857">
                  <c:v>0</c:v>
                </c:pt>
                <c:pt idx="2858">
                  <c:v>0</c:v>
                </c:pt>
                <c:pt idx="2859">
                  <c:v>0</c:v>
                </c:pt>
                <c:pt idx="2860">
                  <c:v>0</c:v>
                </c:pt>
                <c:pt idx="2861">
                  <c:v>0</c:v>
                </c:pt>
                <c:pt idx="2862">
                  <c:v>0</c:v>
                </c:pt>
                <c:pt idx="2863">
                  <c:v>0</c:v>
                </c:pt>
                <c:pt idx="2864">
                  <c:v>0</c:v>
                </c:pt>
                <c:pt idx="2865">
                  <c:v>0</c:v>
                </c:pt>
                <c:pt idx="2866">
                  <c:v>0</c:v>
                </c:pt>
                <c:pt idx="2867">
                  <c:v>0</c:v>
                </c:pt>
                <c:pt idx="2868">
                  <c:v>0</c:v>
                </c:pt>
                <c:pt idx="2869">
                  <c:v>0</c:v>
                </c:pt>
                <c:pt idx="2870">
                  <c:v>0</c:v>
                </c:pt>
                <c:pt idx="2871">
                  <c:v>0</c:v>
                </c:pt>
                <c:pt idx="2872">
                  <c:v>0</c:v>
                </c:pt>
                <c:pt idx="2873">
                  <c:v>0</c:v>
                </c:pt>
                <c:pt idx="2874">
                  <c:v>0</c:v>
                </c:pt>
                <c:pt idx="2875">
                  <c:v>0</c:v>
                </c:pt>
                <c:pt idx="2876">
                  <c:v>0</c:v>
                </c:pt>
                <c:pt idx="2877">
                  <c:v>0</c:v>
                </c:pt>
                <c:pt idx="2878">
                  <c:v>0</c:v>
                </c:pt>
                <c:pt idx="2879">
                  <c:v>0</c:v>
                </c:pt>
                <c:pt idx="2880">
                  <c:v>0</c:v>
                </c:pt>
                <c:pt idx="2881">
                  <c:v>0</c:v>
                </c:pt>
                <c:pt idx="2882">
                  <c:v>0</c:v>
                </c:pt>
                <c:pt idx="2883">
                  <c:v>0</c:v>
                </c:pt>
                <c:pt idx="2884">
                  <c:v>0</c:v>
                </c:pt>
                <c:pt idx="2885">
                  <c:v>0</c:v>
                </c:pt>
                <c:pt idx="2886">
                  <c:v>0</c:v>
                </c:pt>
                <c:pt idx="2887">
                  <c:v>0</c:v>
                </c:pt>
                <c:pt idx="2888">
                  <c:v>0</c:v>
                </c:pt>
                <c:pt idx="2889">
                  <c:v>0</c:v>
                </c:pt>
                <c:pt idx="2890">
                  <c:v>0</c:v>
                </c:pt>
                <c:pt idx="2891">
                  <c:v>0</c:v>
                </c:pt>
                <c:pt idx="2892">
                  <c:v>0</c:v>
                </c:pt>
                <c:pt idx="2893">
                  <c:v>0</c:v>
                </c:pt>
                <c:pt idx="2894">
                  <c:v>0</c:v>
                </c:pt>
                <c:pt idx="2895">
                  <c:v>0</c:v>
                </c:pt>
                <c:pt idx="2896">
                  <c:v>0</c:v>
                </c:pt>
                <c:pt idx="2897">
                  <c:v>0</c:v>
                </c:pt>
                <c:pt idx="2898">
                  <c:v>0</c:v>
                </c:pt>
                <c:pt idx="2899">
                  <c:v>0</c:v>
                </c:pt>
                <c:pt idx="2900">
                  <c:v>0</c:v>
                </c:pt>
                <c:pt idx="2901">
                  <c:v>0</c:v>
                </c:pt>
                <c:pt idx="2902">
                  <c:v>0</c:v>
                </c:pt>
                <c:pt idx="2903">
                  <c:v>0</c:v>
                </c:pt>
                <c:pt idx="2904">
                  <c:v>0</c:v>
                </c:pt>
                <c:pt idx="2905">
                  <c:v>0</c:v>
                </c:pt>
                <c:pt idx="2906">
                  <c:v>0</c:v>
                </c:pt>
                <c:pt idx="2907">
                  <c:v>0</c:v>
                </c:pt>
                <c:pt idx="2908">
                  <c:v>0</c:v>
                </c:pt>
                <c:pt idx="2909">
                  <c:v>0</c:v>
                </c:pt>
                <c:pt idx="2910">
                  <c:v>0</c:v>
                </c:pt>
                <c:pt idx="2911">
                  <c:v>0</c:v>
                </c:pt>
                <c:pt idx="2912">
                  <c:v>0</c:v>
                </c:pt>
                <c:pt idx="2913">
                  <c:v>0</c:v>
                </c:pt>
                <c:pt idx="2914">
                  <c:v>0</c:v>
                </c:pt>
                <c:pt idx="2915">
                  <c:v>0</c:v>
                </c:pt>
                <c:pt idx="2916">
                  <c:v>0</c:v>
                </c:pt>
                <c:pt idx="2917">
                  <c:v>0</c:v>
                </c:pt>
                <c:pt idx="2918">
                  <c:v>0</c:v>
                </c:pt>
                <c:pt idx="2919">
                  <c:v>0</c:v>
                </c:pt>
                <c:pt idx="2920">
                  <c:v>0</c:v>
                </c:pt>
                <c:pt idx="2921">
                  <c:v>0</c:v>
                </c:pt>
                <c:pt idx="2922">
                  <c:v>0</c:v>
                </c:pt>
                <c:pt idx="2923">
                  <c:v>0</c:v>
                </c:pt>
                <c:pt idx="2924">
                  <c:v>0</c:v>
                </c:pt>
                <c:pt idx="2925">
                  <c:v>0</c:v>
                </c:pt>
                <c:pt idx="2926">
                  <c:v>0</c:v>
                </c:pt>
                <c:pt idx="2927">
                  <c:v>0</c:v>
                </c:pt>
                <c:pt idx="2928">
                  <c:v>0</c:v>
                </c:pt>
                <c:pt idx="2929">
                  <c:v>0</c:v>
                </c:pt>
                <c:pt idx="2930">
                  <c:v>0</c:v>
                </c:pt>
                <c:pt idx="2931">
                  <c:v>0</c:v>
                </c:pt>
                <c:pt idx="2932">
                  <c:v>0</c:v>
                </c:pt>
                <c:pt idx="2933">
                  <c:v>0</c:v>
                </c:pt>
                <c:pt idx="2934">
                  <c:v>0</c:v>
                </c:pt>
                <c:pt idx="2935">
                  <c:v>0</c:v>
                </c:pt>
                <c:pt idx="2936">
                  <c:v>0</c:v>
                </c:pt>
                <c:pt idx="2937">
                  <c:v>0</c:v>
                </c:pt>
                <c:pt idx="2938">
                  <c:v>0</c:v>
                </c:pt>
                <c:pt idx="2939">
                  <c:v>0</c:v>
                </c:pt>
                <c:pt idx="2940">
                  <c:v>0</c:v>
                </c:pt>
                <c:pt idx="2941">
                  <c:v>0</c:v>
                </c:pt>
                <c:pt idx="2942">
                  <c:v>0</c:v>
                </c:pt>
                <c:pt idx="2943">
                  <c:v>0</c:v>
                </c:pt>
                <c:pt idx="2944">
                  <c:v>0</c:v>
                </c:pt>
                <c:pt idx="2945">
                  <c:v>0</c:v>
                </c:pt>
                <c:pt idx="2946">
                  <c:v>0</c:v>
                </c:pt>
                <c:pt idx="2947">
                  <c:v>0</c:v>
                </c:pt>
                <c:pt idx="2948">
                  <c:v>0</c:v>
                </c:pt>
                <c:pt idx="2949">
                  <c:v>0</c:v>
                </c:pt>
                <c:pt idx="2950">
                  <c:v>0</c:v>
                </c:pt>
                <c:pt idx="2951">
                  <c:v>0</c:v>
                </c:pt>
                <c:pt idx="2952">
                  <c:v>0</c:v>
                </c:pt>
                <c:pt idx="2953">
                  <c:v>0</c:v>
                </c:pt>
                <c:pt idx="2954">
                  <c:v>0</c:v>
                </c:pt>
                <c:pt idx="2955">
                  <c:v>0</c:v>
                </c:pt>
                <c:pt idx="2956">
                  <c:v>0</c:v>
                </c:pt>
                <c:pt idx="2957">
                  <c:v>0</c:v>
                </c:pt>
                <c:pt idx="2958">
                  <c:v>0</c:v>
                </c:pt>
                <c:pt idx="2959">
                  <c:v>0</c:v>
                </c:pt>
                <c:pt idx="2960">
                  <c:v>0</c:v>
                </c:pt>
                <c:pt idx="2961">
                  <c:v>0</c:v>
                </c:pt>
                <c:pt idx="2962">
                  <c:v>0</c:v>
                </c:pt>
                <c:pt idx="2963">
                  <c:v>0</c:v>
                </c:pt>
                <c:pt idx="2964">
                  <c:v>0</c:v>
                </c:pt>
                <c:pt idx="2965">
                  <c:v>0</c:v>
                </c:pt>
                <c:pt idx="2966">
                  <c:v>0</c:v>
                </c:pt>
                <c:pt idx="2967">
                  <c:v>0</c:v>
                </c:pt>
                <c:pt idx="2968">
                  <c:v>0</c:v>
                </c:pt>
                <c:pt idx="2969">
                  <c:v>0</c:v>
                </c:pt>
                <c:pt idx="2970">
                  <c:v>0</c:v>
                </c:pt>
                <c:pt idx="2971">
                  <c:v>0</c:v>
                </c:pt>
                <c:pt idx="2972">
                  <c:v>0</c:v>
                </c:pt>
                <c:pt idx="2973">
                  <c:v>0</c:v>
                </c:pt>
                <c:pt idx="2974">
                  <c:v>0</c:v>
                </c:pt>
                <c:pt idx="2975">
                  <c:v>0</c:v>
                </c:pt>
                <c:pt idx="2976">
                  <c:v>0</c:v>
                </c:pt>
                <c:pt idx="2977">
                  <c:v>0</c:v>
                </c:pt>
                <c:pt idx="2978">
                  <c:v>0</c:v>
                </c:pt>
                <c:pt idx="2979">
                  <c:v>0</c:v>
                </c:pt>
                <c:pt idx="2980">
                  <c:v>0</c:v>
                </c:pt>
                <c:pt idx="2981">
                  <c:v>0</c:v>
                </c:pt>
                <c:pt idx="2982">
                  <c:v>0</c:v>
                </c:pt>
                <c:pt idx="2983">
                  <c:v>0</c:v>
                </c:pt>
                <c:pt idx="2984">
                  <c:v>0</c:v>
                </c:pt>
                <c:pt idx="2985">
                  <c:v>0</c:v>
                </c:pt>
                <c:pt idx="2986">
                  <c:v>0</c:v>
                </c:pt>
                <c:pt idx="2987">
                  <c:v>0</c:v>
                </c:pt>
                <c:pt idx="2988">
                  <c:v>0</c:v>
                </c:pt>
                <c:pt idx="2989">
                  <c:v>0</c:v>
                </c:pt>
                <c:pt idx="2990">
                  <c:v>0</c:v>
                </c:pt>
                <c:pt idx="2991">
                  <c:v>0</c:v>
                </c:pt>
                <c:pt idx="2992">
                  <c:v>0</c:v>
                </c:pt>
                <c:pt idx="2993">
                  <c:v>0</c:v>
                </c:pt>
                <c:pt idx="2994">
                  <c:v>0</c:v>
                </c:pt>
                <c:pt idx="2995">
                  <c:v>0</c:v>
                </c:pt>
                <c:pt idx="2996">
                  <c:v>0</c:v>
                </c:pt>
                <c:pt idx="2997">
                  <c:v>0</c:v>
                </c:pt>
                <c:pt idx="2998">
                  <c:v>0</c:v>
                </c:pt>
                <c:pt idx="2999">
                  <c:v>0</c:v>
                </c:pt>
                <c:pt idx="3000">
                  <c:v>0</c:v>
                </c:pt>
                <c:pt idx="3001">
                  <c:v>0</c:v>
                </c:pt>
                <c:pt idx="3002">
                  <c:v>0</c:v>
                </c:pt>
                <c:pt idx="3003">
                  <c:v>0</c:v>
                </c:pt>
                <c:pt idx="3004">
                  <c:v>0</c:v>
                </c:pt>
                <c:pt idx="3005">
                  <c:v>0</c:v>
                </c:pt>
                <c:pt idx="3006">
                  <c:v>0</c:v>
                </c:pt>
                <c:pt idx="3007">
                  <c:v>0</c:v>
                </c:pt>
                <c:pt idx="3008">
                  <c:v>0</c:v>
                </c:pt>
                <c:pt idx="3009">
                  <c:v>0</c:v>
                </c:pt>
                <c:pt idx="3010">
                  <c:v>0</c:v>
                </c:pt>
                <c:pt idx="3011">
                  <c:v>0</c:v>
                </c:pt>
                <c:pt idx="3012">
                  <c:v>0</c:v>
                </c:pt>
                <c:pt idx="3013">
                  <c:v>0</c:v>
                </c:pt>
                <c:pt idx="3014">
                  <c:v>0</c:v>
                </c:pt>
                <c:pt idx="3015">
                  <c:v>0</c:v>
                </c:pt>
                <c:pt idx="3016">
                  <c:v>0</c:v>
                </c:pt>
                <c:pt idx="3017">
                  <c:v>0</c:v>
                </c:pt>
                <c:pt idx="3018">
                  <c:v>0</c:v>
                </c:pt>
                <c:pt idx="3019">
                  <c:v>0</c:v>
                </c:pt>
                <c:pt idx="3020">
                  <c:v>0</c:v>
                </c:pt>
                <c:pt idx="3021">
                  <c:v>0</c:v>
                </c:pt>
                <c:pt idx="3022">
                  <c:v>0</c:v>
                </c:pt>
                <c:pt idx="3023">
                  <c:v>0</c:v>
                </c:pt>
                <c:pt idx="3024">
                  <c:v>0</c:v>
                </c:pt>
                <c:pt idx="3025">
                  <c:v>0</c:v>
                </c:pt>
                <c:pt idx="3026">
                  <c:v>0</c:v>
                </c:pt>
                <c:pt idx="3027">
                  <c:v>0</c:v>
                </c:pt>
                <c:pt idx="3028">
                  <c:v>0</c:v>
                </c:pt>
                <c:pt idx="3029">
                  <c:v>0</c:v>
                </c:pt>
                <c:pt idx="3030">
                  <c:v>0</c:v>
                </c:pt>
                <c:pt idx="3031">
                  <c:v>0</c:v>
                </c:pt>
                <c:pt idx="3032">
                  <c:v>0</c:v>
                </c:pt>
                <c:pt idx="3033">
                  <c:v>0</c:v>
                </c:pt>
                <c:pt idx="3034">
                  <c:v>0</c:v>
                </c:pt>
                <c:pt idx="3035">
                  <c:v>0</c:v>
                </c:pt>
                <c:pt idx="3036">
                  <c:v>0</c:v>
                </c:pt>
                <c:pt idx="3037">
                  <c:v>0</c:v>
                </c:pt>
                <c:pt idx="3038">
                  <c:v>0</c:v>
                </c:pt>
                <c:pt idx="3039">
                  <c:v>0</c:v>
                </c:pt>
                <c:pt idx="3040">
                  <c:v>0</c:v>
                </c:pt>
                <c:pt idx="3041">
                  <c:v>0</c:v>
                </c:pt>
                <c:pt idx="3042">
                  <c:v>0</c:v>
                </c:pt>
                <c:pt idx="3043">
                  <c:v>0</c:v>
                </c:pt>
                <c:pt idx="3044">
                  <c:v>0</c:v>
                </c:pt>
                <c:pt idx="3045">
                  <c:v>0</c:v>
                </c:pt>
                <c:pt idx="3046">
                  <c:v>0</c:v>
                </c:pt>
                <c:pt idx="3047">
                  <c:v>0</c:v>
                </c:pt>
                <c:pt idx="3048">
                  <c:v>0</c:v>
                </c:pt>
                <c:pt idx="3049">
                  <c:v>0</c:v>
                </c:pt>
                <c:pt idx="3050">
                  <c:v>0</c:v>
                </c:pt>
                <c:pt idx="3051">
                  <c:v>0</c:v>
                </c:pt>
                <c:pt idx="3052">
                  <c:v>0</c:v>
                </c:pt>
                <c:pt idx="3053">
                  <c:v>0</c:v>
                </c:pt>
                <c:pt idx="3054">
                  <c:v>0</c:v>
                </c:pt>
                <c:pt idx="3055">
                  <c:v>0</c:v>
                </c:pt>
                <c:pt idx="3056">
                  <c:v>0</c:v>
                </c:pt>
                <c:pt idx="3057">
                  <c:v>0</c:v>
                </c:pt>
                <c:pt idx="3058">
                  <c:v>0</c:v>
                </c:pt>
                <c:pt idx="3059">
                  <c:v>0</c:v>
                </c:pt>
                <c:pt idx="3060">
                  <c:v>0</c:v>
                </c:pt>
                <c:pt idx="3061">
                  <c:v>0</c:v>
                </c:pt>
                <c:pt idx="3062">
                  <c:v>0</c:v>
                </c:pt>
                <c:pt idx="3063">
                  <c:v>0</c:v>
                </c:pt>
                <c:pt idx="3064">
                  <c:v>0</c:v>
                </c:pt>
                <c:pt idx="3065">
                  <c:v>0</c:v>
                </c:pt>
                <c:pt idx="3066">
                  <c:v>0</c:v>
                </c:pt>
                <c:pt idx="3067">
                  <c:v>0</c:v>
                </c:pt>
                <c:pt idx="3068">
                  <c:v>0</c:v>
                </c:pt>
                <c:pt idx="3069">
                  <c:v>0</c:v>
                </c:pt>
                <c:pt idx="3070">
                  <c:v>0</c:v>
                </c:pt>
                <c:pt idx="3071">
                  <c:v>0</c:v>
                </c:pt>
                <c:pt idx="3072">
                  <c:v>0</c:v>
                </c:pt>
                <c:pt idx="3073">
                  <c:v>0</c:v>
                </c:pt>
                <c:pt idx="3074">
                  <c:v>0</c:v>
                </c:pt>
                <c:pt idx="3075">
                  <c:v>0</c:v>
                </c:pt>
                <c:pt idx="3076">
                  <c:v>0</c:v>
                </c:pt>
                <c:pt idx="3077">
                  <c:v>0</c:v>
                </c:pt>
                <c:pt idx="3078">
                  <c:v>0</c:v>
                </c:pt>
                <c:pt idx="3079">
                  <c:v>0</c:v>
                </c:pt>
                <c:pt idx="3080">
                  <c:v>0</c:v>
                </c:pt>
                <c:pt idx="3081">
                  <c:v>0</c:v>
                </c:pt>
                <c:pt idx="3082">
                  <c:v>0</c:v>
                </c:pt>
                <c:pt idx="3083">
                  <c:v>0</c:v>
                </c:pt>
                <c:pt idx="3084">
                  <c:v>0</c:v>
                </c:pt>
                <c:pt idx="3085">
                  <c:v>0</c:v>
                </c:pt>
                <c:pt idx="3086">
                  <c:v>0</c:v>
                </c:pt>
                <c:pt idx="3087">
                  <c:v>0</c:v>
                </c:pt>
                <c:pt idx="3088">
                  <c:v>0</c:v>
                </c:pt>
                <c:pt idx="3089">
                  <c:v>0</c:v>
                </c:pt>
                <c:pt idx="3090">
                  <c:v>0</c:v>
                </c:pt>
                <c:pt idx="3091">
                  <c:v>0</c:v>
                </c:pt>
                <c:pt idx="3092">
                  <c:v>0</c:v>
                </c:pt>
                <c:pt idx="3093">
                  <c:v>0</c:v>
                </c:pt>
                <c:pt idx="3094">
                  <c:v>0</c:v>
                </c:pt>
                <c:pt idx="3095">
                  <c:v>0</c:v>
                </c:pt>
                <c:pt idx="3096">
                  <c:v>0</c:v>
                </c:pt>
                <c:pt idx="3097">
                  <c:v>0</c:v>
                </c:pt>
                <c:pt idx="3098">
                  <c:v>0</c:v>
                </c:pt>
                <c:pt idx="3099">
                  <c:v>0</c:v>
                </c:pt>
                <c:pt idx="3100">
                  <c:v>0</c:v>
                </c:pt>
                <c:pt idx="3101">
                  <c:v>0</c:v>
                </c:pt>
                <c:pt idx="3102">
                  <c:v>0</c:v>
                </c:pt>
                <c:pt idx="3103">
                  <c:v>0</c:v>
                </c:pt>
                <c:pt idx="3104">
                  <c:v>0</c:v>
                </c:pt>
                <c:pt idx="3105">
                  <c:v>0</c:v>
                </c:pt>
                <c:pt idx="3106">
                  <c:v>0</c:v>
                </c:pt>
                <c:pt idx="3107">
                  <c:v>0</c:v>
                </c:pt>
                <c:pt idx="3108">
                  <c:v>0</c:v>
                </c:pt>
                <c:pt idx="3109">
                  <c:v>0</c:v>
                </c:pt>
                <c:pt idx="3110">
                  <c:v>0</c:v>
                </c:pt>
                <c:pt idx="3111">
                  <c:v>0</c:v>
                </c:pt>
                <c:pt idx="3112">
                  <c:v>0</c:v>
                </c:pt>
                <c:pt idx="3113">
                  <c:v>0</c:v>
                </c:pt>
                <c:pt idx="3114">
                  <c:v>0</c:v>
                </c:pt>
                <c:pt idx="3115">
                  <c:v>0</c:v>
                </c:pt>
                <c:pt idx="3116">
                  <c:v>0</c:v>
                </c:pt>
                <c:pt idx="3117">
                  <c:v>0</c:v>
                </c:pt>
                <c:pt idx="3118">
                  <c:v>0</c:v>
                </c:pt>
                <c:pt idx="3119">
                  <c:v>0</c:v>
                </c:pt>
                <c:pt idx="3120">
                  <c:v>0</c:v>
                </c:pt>
                <c:pt idx="3121">
                  <c:v>0</c:v>
                </c:pt>
                <c:pt idx="3122">
                  <c:v>0</c:v>
                </c:pt>
                <c:pt idx="3123">
                  <c:v>0</c:v>
                </c:pt>
                <c:pt idx="3124">
                  <c:v>0</c:v>
                </c:pt>
                <c:pt idx="3125">
                  <c:v>0</c:v>
                </c:pt>
                <c:pt idx="3126">
                  <c:v>0</c:v>
                </c:pt>
                <c:pt idx="3127">
                  <c:v>0</c:v>
                </c:pt>
                <c:pt idx="3128">
                  <c:v>0</c:v>
                </c:pt>
                <c:pt idx="3129">
                  <c:v>0</c:v>
                </c:pt>
                <c:pt idx="3130">
                  <c:v>0</c:v>
                </c:pt>
                <c:pt idx="3131">
                  <c:v>0</c:v>
                </c:pt>
                <c:pt idx="3132">
                  <c:v>0</c:v>
                </c:pt>
                <c:pt idx="3133">
                  <c:v>0</c:v>
                </c:pt>
                <c:pt idx="3134">
                  <c:v>0</c:v>
                </c:pt>
                <c:pt idx="3135">
                  <c:v>0</c:v>
                </c:pt>
                <c:pt idx="3136">
                  <c:v>0</c:v>
                </c:pt>
                <c:pt idx="3137">
                  <c:v>0</c:v>
                </c:pt>
                <c:pt idx="3138">
                  <c:v>0</c:v>
                </c:pt>
                <c:pt idx="3139">
                  <c:v>0</c:v>
                </c:pt>
                <c:pt idx="3140">
                  <c:v>0</c:v>
                </c:pt>
                <c:pt idx="3141">
                  <c:v>0</c:v>
                </c:pt>
                <c:pt idx="3142">
                  <c:v>0</c:v>
                </c:pt>
                <c:pt idx="3143">
                  <c:v>0</c:v>
                </c:pt>
                <c:pt idx="3144">
                  <c:v>0</c:v>
                </c:pt>
                <c:pt idx="3145">
                  <c:v>0</c:v>
                </c:pt>
                <c:pt idx="3146">
                  <c:v>0</c:v>
                </c:pt>
                <c:pt idx="3147">
                  <c:v>0</c:v>
                </c:pt>
                <c:pt idx="3148">
                  <c:v>0</c:v>
                </c:pt>
                <c:pt idx="3149">
                  <c:v>0</c:v>
                </c:pt>
                <c:pt idx="3150">
                  <c:v>0</c:v>
                </c:pt>
                <c:pt idx="3151">
                  <c:v>0</c:v>
                </c:pt>
                <c:pt idx="3152">
                  <c:v>0</c:v>
                </c:pt>
                <c:pt idx="3153">
                  <c:v>0</c:v>
                </c:pt>
                <c:pt idx="3154">
                  <c:v>0</c:v>
                </c:pt>
                <c:pt idx="3155">
                  <c:v>0</c:v>
                </c:pt>
                <c:pt idx="3156">
                  <c:v>0</c:v>
                </c:pt>
                <c:pt idx="3157">
                  <c:v>0</c:v>
                </c:pt>
                <c:pt idx="3158">
                  <c:v>0</c:v>
                </c:pt>
                <c:pt idx="3159">
                  <c:v>0</c:v>
                </c:pt>
                <c:pt idx="3160">
                  <c:v>0</c:v>
                </c:pt>
                <c:pt idx="3161">
                  <c:v>0</c:v>
                </c:pt>
                <c:pt idx="3162">
                  <c:v>0</c:v>
                </c:pt>
                <c:pt idx="3163">
                  <c:v>0</c:v>
                </c:pt>
                <c:pt idx="3164">
                  <c:v>0</c:v>
                </c:pt>
                <c:pt idx="3165">
                  <c:v>0</c:v>
                </c:pt>
                <c:pt idx="3166">
                  <c:v>0</c:v>
                </c:pt>
                <c:pt idx="3167">
                  <c:v>0</c:v>
                </c:pt>
                <c:pt idx="3168">
                  <c:v>0</c:v>
                </c:pt>
                <c:pt idx="3169">
                  <c:v>0</c:v>
                </c:pt>
                <c:pt idx="3170">
                  <c:v>0</c:v>
                </c:pt>
                <c:pt idx="3171">
                  <c:v>0</c:v>
                </c:pt>
                <c:pt idx="3172">
                  <c:v>0</c:v>
                </c:pt>
                <c:pt idx="3173">
                  <c:v>0</c:v>
                </c:pt>
                <c:pt idx="3174">
                  <c:v>0</c:v>
                </c:pt>
                <c:pt idx="3175">
                  <c:v>0</c:v>
                </c:pt>
                <c:pt idx="3176">
                  <c:v>0</c:v>
                </c:pt>
                <c:pt idx="3177">
                  <c:v>0</c:v>
                </c:pt>
                <c:pt idx="3178">
                  <c:v>0</c:v>
                </c:pt>
                <c:pt idx="3179">
                  <c:v>0</c:v>
                </c:pt>
                <c:pt idx="3180">
                  <c:v>0</c:v>
                </c:pt>
                <c:pt idx="3181">
                  <c:v>0</c:v>
                </c:pt>
                <c:pt idx="3182">
                  <c:v>0</c:v>
                </c:pt>
                <c:pt idx="3183">
                  <c:v>0</c:v>
                </c:pt>
                <c:pt idx="3184">
                  <c:v>0</c:v>
                </c:pt>
                <c:pt idx="3185">
                  <c:v>0</c:v>
                </c:pt>
                <c:pt idx="3186">
                  <c:v>0</c:v>
                </c:pt>
                <c:pt idx="3187">
                  <c:v>0</c:v>
                </c:pt>
                <c:pt idx="3188">
                  <c:v>0</c:v>
                </c:pt>
                <c:pt idx="3189">
                  <c:v>0</c:v>
                </c:pt>
                <c:pt idx="3190">
                  <c:v>0</c:v>
                </c:pt>
                <c:pt idx="3191">
                  <c:v>0</c:v>
                </c:pt>
                <c:pt idx="3192">
                  <c:v>0</c:v>
                </c:pt>
                <c:pt idx="3193">
                  <c:v>0</c:v>
                </c:pt>
                <c:pt idx="3194">
                  <c:v>0</c:v>
                </c:pt>
                <c:pt idx="3195">
                  <c:v>0</c:v>
                </c:pt>
                <c:pt idx="3196">
                  <c:v>0</c:v>
                </c:pt>
                <c:pt idx="3197">
                  <c:v>0</c:v>
                </c:pt>
                <c:pt idx="3198">
                  <c:v>0</c:v>
                </c:pt>
                <c:pt idx="3199">
                  <c:v>0</c:v>
                </c:pt>
                <c:pt idx="3200">
                  <c:v>0</c:v>
                </c:pt>
                <c:pt idx="3201">
                  <c:v>0</c:v>
                </c:pt>
                <c:pt idx="3202">
                  <c:v>0</c:v>
                </c:pt>
                <c:pt idx="3203">
                  <c:v>0</c:v>
                </c:pt>
                <c:pt idx="3204">
                  <c:v>0</c:v>
                </c:pt>
                <c:pt idx="3205">
                  <c:v>0</c:v>
                </c:pt>
                <c:pt idx="3206">
                  <c:v>0</c:v>
                </c:pt>
                <c:pt idx="3207">
                  <c:v>0</c:v>
                </c:pt>
                <c:pt idx="3208">
                  <c:v>0</c:v>
                </c:pt>
                <c:pt idx="3209">
                  <c:v>0</c:v>
                </c:pt>
                <c:pt idx="3210">
                  <c:v>0</c:v>
                </c:pt>
                <c:pt idx="3211">
                  <c:v>0</c:v>
                </c:pt>
                <c:pt idx="3212">
                  <c:v>0</c:v>
                </c:pt>
                <c:pt idx="3213">
                  <c:v>0</c:v>
                </c:pt>
                <c:pt idx="3214">
                  <c:v>0</c:v>
                </c:pt>
                <c:pt idx="3215">
                  <c:v>0</c:v>
                </c:pt>
                <c:pt idx="3216">
                  <c:v>0</c:v>
                </c:pt>
                <c:pt idx="3217">
                  <c:v>0</c:v>
                </c:pt>
                <c:pt idx="3218">
                  <c:v>0</c:v>
                </c:pt>
                <c:pt idx="3219">
                  <c:v>0</c:v>
                </c:pt>
                <c:pt idx="3220">
                  <c:v>0</c:v>
                </c:pt>
                <c:pt idx="3221">
                  <c:v>0</c:v>
                </c:pt>
                <c:pt idx="3222">
                  <c:v>0</c:v>
                </c:pt>
                <c:pt idx="3223">
                  <c:v>0</c:v>
                </c:pt>
                <c:pt idx="3224">
                  <c:v>0</c:v>
                </c:pt>
                <c:pt idx="3225">
                  <c:v>0</c:v>
                </c:pt>
                <c:pt idx="3226">
                  <c:v>0</c:v>
                </c:pt>
                <c:pt idx="3227">
                  <c:v>0</c:v>
                </c:pt>
                <c:pt idx="3228">
                  <c:v>0</c:v>
                </c:pt>
                <c:pt idx="3229">
                  <c:v>0</c:v>
                </c:pt>
                <c:pt idx="3230">
                  <c:v>0</c:v>
                </c:pt>
                <c:pt idx="3231">
                  <c:v>0</c:v>
                </c:pt>
                <c:pt idx="3232">
                  <c:v>0</c:v>
                </c:pt>
                <c:pt idx="3233">
                  <c:v>0</c:v>
                </c:pt>
                <c:pt idx="3234">
                  <c:v>0</c:v>
                </c:pt>
                <c:pt idx="3235">
                  <c:v>0</c:v>
                </c:pt>
                <c:pt idx="3236">
                  <c:v>0</c:v>
                </c:pt>
                <c:pt idx="3237">
                  <c:v>0</c:v>
                </c:pt>
                <c:pt idx="3238">
                  <c:v>0</c:v>
                </c:pt>
                <c:pt idx="3239">
                  <c:v>0</c:v>
                </c:pt>
                <c:pt idx="3240">
                  <c:v>0</c:v>
                </c:pt>
                <c:pt idx="3241">
                  <c:v>0</c:v>
                </c:pt>
                <c:pt idx="3242">
                  <c:v>0</c:v>
                </c:pt>
                <c:pt idx="3243">
                  <c:v>0</c:v>
                </c:pt>
                <c:pt idx="3244">
                  <c:v>0</c:v>
                </c:pt>
                <c:pt idx="3245">
                  <c:v>0</c:v>
                </c:pt>
                <c:pt idx="3246">
                  <c:v>0</c:v>
                </c:pt>
                <c:pt idx="3247">
                  <c:v>0</c:v>
                </c:pt>
                <c:pt idx="3248">
                  <c:v>0</c:v>
                </c:pt>
                <c:pt idx="3249">
                  <c:v>0</c:v>
                </c:pt>
                <c:pt idx="3250">
                  <c:v>0</c:v>
                </c:pt>
                <c:pt idx="3251">
                  <c:v>0</c:v>
                </c:pt>
                <c:pt idx="3252">
                  <c:v>0</c:v>
                </c:pt>
                <c:pt idx="3253">
                  <c:v>0</c:v>
                </c:pt>
                <c:pt idx="3254">
                  <c:v>0</c:v>
                </c:pt>
                <c:pt idx="3255">
                  <c:v>0</c:v>
                </c:pt>
                <c:pt idx="3256">
                  <c:v>0</c:v>
                </c:pt>
                <c:pt idx="3257">
                  <c:v>0</c:v>
                </c:pt>
                <c:pt idx="3258">
                  <c:v>0</c:v>
                </c:pt>
                <c:pt idx="3259">
                  <c:v>0</c:v>
                </c:pt>
                <c:pt idx="3260">
                  <c:v>0</c:v>
                </c:pt>
                <c:pt idx="3261">
                  <c:v>0</c:v>
                </c:pt>
                <c:pt idx="3262">
                  <c:v>0</c:v>
                </c:pt>
                <c:pt idx="3263">
                  <c:v>0</c:v>
                </c:pt>
                <c:pt idx="3264">
                  <c:v>0</c:v>
                </c:pt>
                <c:pt idx="3265">
                  <c:v>0</c:v>
                </c:pt>
                <c:pt idx="3266">
                  <c:v>0</c:v>
                </c:pt>
                <c:pt idx="3267">
                  <c:v>0</c:v>
                </c:pt>
                <c:pt idx="3268">
                  <c:v>0</c:v>
                </c:pt>
                <c:pt idx="3269">
                  <c:v>0</c:v>
                </c:pt>
                <c:pt idx="3270">
                  <c:v>0</c:v>
                </c:pt>
                <c:pt idx="3271">
                  <c:v>0</c:v>
                </c:pt>
                <c:pt idx="3272">
                  <c:v>0</c:v>
                </c:pt>
                <c:pt idx="3273">
                  <c:v>0</c:v>
                </c:pt>
                <c:pt idx="3274">
                  <c:v>0</c:v>
                </c:pt>
                <c:pt idx="3275">
                  <c:v>0</c:v>
                </c:pt>
                <c:pt idx="3276">
                  <c:v>0</c:v>
                </c:pt>
                <c:pt idx="3277">
                  <c:v>0</c:v>
                </c:pt>
                <c:pt idx="3278">
                  <c:v>0</c:v>
                </c:pt>
                <c:pt idx="3279">
                  <c:v>0</c:v>
                </c:pt>
                <c:pt idx="3280">
                  <c:v>0</c:v>
                </c:pt>
                <c:pt idx="3281">
                  <c:v>0</c:v>
                </c:pt>
                <c:pt idx="3282">
                  <c:v>0</c:v>
                </c:pt>
                <c:pt idx="3283">
                  <c:v>0</c:v>
                </c:pt>
                <c:pt idx="3284">
                  <c:v>0</c:v>
                </c:pt>
                <c:pt idx="3285">
                  <c:v>0</c:v>
                </c:pt>
                <c:pt idx="3286">
                  <c:v>0</c:v>
                </c:pt>
                <c:pt idx="3287">
                  <c:v>0</c:v>
                </c:pt>
                <c:pt idx="3288">
                  <c:v>0</c:v>
                </c:pt>
                <c:pt idx="3289">
                  <c:v>0</c:v>
                </c:pt>
                <c:pt idx="3290">
                  <c:v>0</c:v>
                </c:pt>
                <c:pt idx="3291">
                  <c:v>0</c:v>
                </c:pt>
                <c:pt idx="3292">
                  <c:v>0</c:v>
                </c:pt>
                <c:pt idx="3293">
                  <c:v>0</c:v>
                </c:pt>
                <c:pt idx="3294">
                  <c:v>0</c:v>
                </c:pt>
                <c:pt idx="3295">
                  <c:v>0</c:v>
                </c:pt>
                <c:pt idx="3296">
                  <c:v>0</c:v>
                </c:pt>
                <c:pt idx="3297">
                  <c:v>0</c:v>
                </c:pt>
                <c:pt idx="3298">
                  <c:v>0</c:v>
                </c:pt>
                <c:pt idx="3299">
                  <c:v>0</c:v>
                </c:pt>
                <c:pt idx="3300">
                  <c:v>0</c:v>
                </c:pt>
                <c:pt idx="3301">
                  <c:v>0</c:v>
                </c:pt>
                <c:pt idx="3302">
                  <c:v>0</c:v>
                </c:pt>
                <c:pt idx="3303">
                  <c:v>0</c:v>
                </c:pt>
                <c:pt idx="3304">
                  <c:v>0</c:v>
                </c:pt>
                <c:pt idx="3305">
                  <c:v>0</c:v>
                </c:pt>
                <c:pt idx="3306">
                  <c:v>0</c:v>
                </c:pt>
                <c:pt idx="3307">
                  <c:v>0</c:v>
                </c:pt>
                <c:pt idx="3308">
                  <c:v>0</c:v>
                </c:pt>
                <c:pt idx="3309">
                  <c:v>0</c:v>
                </c:pt>
                <c:pt idx="3310">
                  <c:v>0</c:v>
                </c:pt>
                <c:pt idx="3311">
                  <c:v>0</c:v>
                </c:pt>
                <c:pt idx="3312">
                  <c:v>0</c:v>
                </c:pt>
                <c:pt idx="3313">
                  <c:v>0</c:v>
                </c:pt>
                <c:pt idx="3314">
                  <c:v>0</c:v>
                </c:pt>
                <c:pt idx="3315">
                  <c:v>0</c:v>
                </c:pt>
                <c:pt idx="3316">
                  <c:v>0</c:v>
                </c:pt>
                <c:pt idx="3317">
                  <c:v>0</c:v>
                </c:pt>
                <c:pt idx="3318">
                  <c:v>0</c:v>
                </c:pt>
                <c:pt idx="3319">
                  <c:v>0</c:v>
                </c:pt>
                <c:pt idx="3320">
                  <c:v>0</c:v>
                </c:pt>
                <c:pt idx="3321">
                  <c:v>0</c:v>
                </c:pt>
                <c:pt idx="3322">
                  <c:v>0</c:v>
                </c:pt>
                <c:pt idx="3323">
                  <c:v>0</c:v>
                </c:pt>
                <c:pt idx="3324">
                  <c:v>0</c:v>
                </c:pt>
                <c:pt idx="3325">
                  <c:v>0</c:v>
                </c:pt>
                <c:pt idx="3326">
                  <c:v>0</c:v>
                </c:pt>
                <c:pt idx="3327">
                  <c:v>0</c:v>
                </c:pt>
                <c:pt idx="3328">
                  <c:v>0</c:v>
                </c:pt>
                <c:pt idx="3329">
                  <c:v>0</c:v>
                </c:pt>
                <c:pt idx="3330">
                  <c:v>0</c:v>
                </c:pt>
                <c:pt idx="3331">
                  <c:v>0</c:v>
                </c:pt>
                <c:pt idx="3332">
                  <c:v>0</c:v>
                </c:pt>
                <c:pt idx="3333">
                  <c:v>0</c:v>
                </c:pt>
                <c:pt idx="3334">
                  <c:v>0</c:v>
                </c:pt>
                <c:pt idx="3335">
                  <c:v>0</c:v>
                </c:pt>
                <c:pt idx="3336">
                  <c:v>0</c:v>
                </c:pt>
                <c:pt idx="3337">
                  <c:v>0</c:v>
                </c:pt>
                <c:pt idx="3338">
                  <c:v>0</c:v>
                </c:pt>
                <c:pt idx="3339">
                  <c:v>0</c:v>
                </c:pt>
                <c:pt idx="3340">
                  <c:v>0</c:v>
                </c:pt>
                <c:pt idx="3341">
                  <c:v>0</c:v>
                </c:pt>
                <c:pt idx="3342">
                  <c:v>0</c:v>
                </c:pt>
                <c:pt idx="3343">
                  <c:v>0</c:v>
                </c:pt>
                <c:pt idx="3344">
                  <c:v>0</c:v>
                </c:pt>
                <c:pt idx="3345">
                  <c:v>0</c:v>
                </c:pt>
                <c:pt idx="3346">
                  <c:v>0</c:v>
                </c:pt>
                <c:pt idx="3347">
                  <c:v>0</c:v>
                </c:pt>
                <c:pt idx="3348">
                  <c:v>0</c:v>
                </c:pt>
                <c:pt idx="3349">
                  <c:v>0</c:v>
                </c:pt>
                <c:pt idx="3350">
                  <c:v>0</c:v>
                </c:pt>
                <c:pt idx="3351">
                  <c:v>0</c:v>
                </c:pt>
                <c:pt idx="3352">
                  <c:v>0</c:v>
                </c:pt>
                <c:pt idx="3353">
                  <c:v>0</c:v>
                </c:pt>
                <c:pt idx="3354">
                  <c:v>0</c:v>
                </c:pt>
                <c:pt idx="3355">
                  <c:v>0</c:v>
                </c:pt>
                <c:pt idx="3356">
                  <c:v>0</c:v>
                </c:pt>
                <c:pt idx="3357">
                  <c:v>0</c:v>
                </c:pt>
                <c:pt idx="3358">
                  <c:v>0</c:v>
                </c:pt>
                <c:pt idx="3359">
                  <c:v>0</c:v>
                </c:pt>
                <c:pt idx="3360">
                  <c:v>0</c:v>
                </c:pt>
                <c:pt idx="3361">
                  <c:v>0</c:v>
                </c:pt>
                <c:pt idx="3362">
                  <c:v>0</c:v>
                </c:pt>
                <c:pt idx="3363">
                  <c:v>0</c:v>
                </c:pt>
                <c:pt idx="3364">
                  <c:v>0</c:v>
                </c:pt>
                <c:pt idx="3365">
                  <c:v>0</c:v>
                </c:pt>
                <c:pt idx="3366">
                  <c:v>0</c:v>
                </c:pt>
                <c:pt idx="3367">
                  <c:v>0</c:v>
                </c:pt>
                <c:pt idx="3368">
                  <c:v>0</c:v>
                </c:pt>
                <c:pt idx="3369">
                  <c:v>0</c:v>
                </c:pt>
                <c:pt idx="3370">
                  <c:v>0</c:v>
                </c:pt>
                <c:pt idx="3371">
                  <c:v>0</c:v>
                </c:pt>
                <c:pt idx="3372">
                  <c:v>0</c:v>
                </c:pt>
                <c:pt idx="3373">
                  <c:v>0</c:v>
                </c:pt>
                <c:pt idx="3374">
                  <c:v>0</c:v>
                </c:pt>
                <c:pt idx="3375">
                  <c:v>0</c:v>
                </c:pt>
                <c:pt idx="3376">
                  <c:v>0</c:v>
                </c:pt>
                <c:pt idx="3377">
                  <c:v>0</c:v>
                </c:pt>
                <c:pt idx="3378">
                  <c:v>0</c:v>
                </c:pt>
                <c:pt idx="3379">
                  <c:v>0</c:v>
                </c:pt>
                <c:pt idx="3380">
                  <c:v>0</c:v>
                </c:pt>
                <c:pt idx="3381">
                  <c:v>0</c:v>
                </c:pt>
                <c:pt idx="3382">
                  <c:v>0</c:v>
                </c:pt>
                <c:pt idx="3383">
                  <c:v>0</c:v>
                </c:pt>
                <c:pt idx="3384">
                  <c:v>0</c:v>
                </c:pt>
                <c:pt idx="3385">
                  <c:v>0</c:v>
                </c:pt>
                <c:pt idx="3386">
                  <c:v>0</c:v>
                </c:pt>
                <c:pt idx="3387">
                  <c:v>0</c:v>
                </c:pt>
                <c:pt idx="3388">
                  <c:v>0</c:v>
                </c:pt>
                <c:pt idx="3389">
                  <c:v>0</c:v>
                </c:pt>
                <c:pt idx="3390">
                  <c:v>0</c:v>
                </c:pt>
                <c:pt idx="3391">
                  <c:v>0</c:v>
                </c:pt>
                <c:pt idx="3392">
                  <c:v>0</c:v>
                </c:pt>
                <c:pt idx="3393">
                  <c:v>0</c:v>
                </c:pt>
                <c:pt idx="3394">
                  <c:v>0</c:v>
                </c:pt>
                <c:pt idx="3395">
                  <c:v>0</c:v>
                </c:pt>
                <c:pt idx="3396">
                  <c:v>0</c:v>
                </c:pt>
                <c:pt idx="3397">
                  <c:v>0</c:v>
                </c:pt>
                <c:pt idx="3398">
                  <c:v>0</c:v>
                </c:pt>
                <c:pt idx="3399">
                  <c:v>0</c:v>
                </c:pt>
                <c:pt idx="3400">
                  <c:v>0</c:v>
                </c:pt>
                <c:pt idx="3401">
                  <c:v>0</c:v>
                </c:pt>
                <c:pt idx="3402">
                  <c:v>0</c:v>
                </c:pt>
                <c:pt idx="3403">
                  <c:v>0</c:v>
                </c:pt>
                <c:pt idx="3404">
                  <c:v>0</c:v>
                </c:pt>
                <c:pt idx="3405">
                  <c:v>0</c:v>
                </c:pt>
                <c:pt idx="3406">
                  <c:v>0</c:v>
                </c:pt>
                <c:pt idx="3407">
                  <c:v>0</c:v>
                </c:pt>
                <c:pt idx="3408">
                  <c:v>0</c:v>
                </c:pt>
                <c:pt idx="3409">
                  <c:v>0</c:v>
                </c:pt>
                <c:pt idx="3410">
                  <c:v>0</c:v>
                </c:pt>
                <c:pt idx="3411">
                  <c:v>0</c:v>
                </c:pt>
                <c:pt idx="3412">
                  <c:v>0</c:v>
                </c:pt>
                <c:pt idx="3413">
                  <c:v>0</c:v>
                </c:pt>
                <c:pt idx="3414">
                  <c:v>0</c:v>
                </c:pt>
                <c:pt idx="3415">
                  <c:v>0</c:v>
                </c:pt>
                <c:pt idx="3416">
                  <c:v>0</c:v>
                </c:pt>
                <c:pt idx="3417">
                  <c:v>0</c:v>
                </c:pt>
                <c:pt idx="3418">
                  <c:v>0</c:v>
                </c:pt>
                <c:pt idx="3419">
                  <c:v>0</c:v>
                </c:pt>
                <c:pt idx="3420">
                  <c:v>0</c:v>
                </c:pt>
                <c:pt idx="3421">
                  <c:v>0</c:v>
                </c:pt>
                <c:pt idx="3422">
                  <c:v>0</c:v>
                </c:pt>
                <c:pt idx="3423">
                  <c:v>0</c:v>
                </c:pt>
                <c:pt idx="3424">
                  <c:v>0</c:v>
                </c:pt>
                <c:pt idx="3425">
                  <c:v>0</c:v>
                </c:pt>
                <c:pt idx="3426">
                  <c:v>0</c:v>
                </c:pt>
                <c:pt idx="3427">
                  <c:v>0</c:v>
                </c:pt>
                <c:pt idx="3428">
                  <c:v>0</c:v>
                </c:pt>
                <c:pt idx="3429">
                  <c:v>0</c:v>
                </c:pt>
                <c:pt idx="3430">
                  <c:v>0</c:v>
                </c:pt>
                <c:pt idx="3431">
                  <c:v>0</c:v>
                </c:pt>
                <c:pt idx="3432">
                  <c:v>0</c:v>
                </c:pt>
                <c:pt idx="3433">
                  <c:v>0</c:v>
                </c:pt>
                <c:pt idx="3434">
                  <c:v>0</c:v>
                </c:pt>
                <c:pt idx="3435">
                  <c:v>0</c:v>
                </c:pt>
                <c:pt idx="3436">
                  <c:v>0</c:v>
                </c:pt>
                <c:pt idx="3437">
                  <c:v>0</c:v>
                </c:pt>
                <c:pt idx="3438">
                  <c:v>0</c:v>
                </c:pt>
                <c:pt idx="3439">
                  <c:v>0</c:v>
                </c:pt>
                <c:pt idx="3440">
                  <c:v>0</c:v>
                </c:pt>
                <c:pt idx="3441">
                  <c:v>0</c:v>
                </c:pt>
                <c:pt idx="3442">
                  <c:v>0</c:v>
                </c:pt>
                <c:pt idx="3443">
                  <c:v>0</c:v>
                </c:pt>
                <c:pt idx="3444">
                  <c:v>0</c:v>
                </c:pt>
                <c:pt idx="3445">
                  <c:v>0</c:v>
                </c:pt>
                <c:pt idx="3446">
                  <c:v>0</c:v>
                </c:pt>
                <c:pt idx="3447">
                  <c:v>0</c:v>
                </c:pt>
                <c:pt idx="3448">
                  <c:v>0</c:v>
                </c:pt>
                <c:pt idx="3449">
                  <c:v>0</c:v>
                </c:pt>
                <c:pt idx="3450">
                  <c:v>0</c:v>
                </c:pt>
                <c:pt idx="3451">
                  <c:v>0</c:v>
                </c:pt>
                <c:pt idx="3452">
                  <c:v>0</c:v>
                </c:pt>
                <c:pt idx="3453">
                  <c:v>0</c:v>
                </c:pt>
                <c:pt idx="3454">
                  <c:v>0</c:v>
                </c:pt>
                <c:pt idx="3455">
                  <c:v>0</c:v>
                </c:pt>
                <c:pt idx="3456">
                  <c:v>0</c:v>
                </c:pt>
                <c:pt idx="3457">
                  <c:v>0</c:v>
                </c:pt>
                <c:pt idx="3458">
                  <c:v>0</c:v>
                </c:pt>
                <c:pt idx="3459">
                  <c:v>0</c:v>
                </c:pt>
                <c:pt idx="3460">
                  <c:v>0</c:v>
                </c:pt>
                <c:pt idx="3461">
                  <c:v>0</c:v>
                </c:pt>
                <c:pt idx="3462">
                  <c:v>0</c:v>
                </c:pt>
                <c:pt idx="3463">
                  <c:v>0</c:v>
                </c:pt>
                <c:pt idx="3464">
                  <c:v>0</c:v>
                </c:pt>
                <c:pt idx="3465">
                  <c:v>0</c:v>
                </c:pt>
                <c:pt idx="3466">
                  <c:v>0</c:v>
                </c:pt>
                <c:pt idx="3467">
                  <c:v>0</c:v>
                </c:pt>
                <c:pt idx="3468">
                  <c:v>0</c:v>
                </c:pt>
                <c:pt idx="3469">
                  <c:v>0</c:v>
                </c:pt>
                <c:pt idx="3470">
                  <c:v>0</c:v>
                </c:pt>
                <c:pt idx="3471">
                  <c:v>0</c:v>
                </c:pt>
                <c:pt idx="3472">
                  <c:v>0</c:v>
                </c:pt>
                <c:pt idx="3473">
                  <c:v>0</c:v>
                </c:pt>
                <c:pt idx="3474">
                  <c:v>0</c:v>
                </c:pt>
                <c:pt idx="3475">
                  <c:v>0</c:v>
                </c:pt>
                <c:pt idx="3476">
                  <c:v>0</c:v>
                </c:pt>
                <c:pt idx="3477">
                  <c:v>0</c:v>
                </c:pt>
                <c:pt idx="3478">
                  <c:v>0</c:v>
                </c:pt>
                <c:pt idx="3479">
                  <c:v>0</c:v>
                </c:pt>
                <c:pt idx="3480">
                  <c:v>0</c:v>
                </c:pt>
                <c:pt idx="3481">
                  <c:v>0</c:v>
                </c:pt>
                <c:pt idx="3482">
                  <c:v>0</c:v>
                </c:pt>
                <c:pt idx="3483">
                  <c:v>0</c:v>
                </c:pt>
                <c:pt idx="3484">
                  <c:v>0</c:v>
                </c:pt>
                <c:pt idx="3485">
                  <c:v>0</c:v>
                </c:pt>
                <c:pt idx="3486">
                  <c:v>0</c:v>
                </c:pt>
                <c:pt idx="3487">
                  <c:v>0</c:v>
                </c:pt>
                <c:pt idx="3488">
                  <c:v>0</c:v>
                </c:pt>
                <c:pt idx="3489">
                  <c:v>0</c:v>
                </c:pt>
                <c:pt idx="3490">
                  <c:v>0</c:v>
                </c:pt>
                <c:pt idx="3491">
                  <c:v>0</c:v>
                </c:pt>
                <c:pt idx="3492">
                  <c:v>0</c:v>
                </c:pt>
                <c:pt idx="3493">
                  <c:v>0</c:v>
                </c:pt>
                <c:pt idx="3494">
                  <c:v>0</c:v>
                </c:pt>
                <c:pt idx="3495">
                  <c:v>0</c:v>
                </c:pt>
                <c:pt idx="3496">
                  <c:v>0</c:v>
                </c:pt>
                <c:pt idx="3497">
                  <c:v>0</c:v>
                </c:pt>
                <c:pt idx="3498">
                  <c:v>0</c:v>
                </c:pt>
                <c:pt idx="3499">
                  <c:v>0</c:v>
                </c:pt>
                <c:pt idx="3500">
                  <c:v>0</c:v>
                </c:pt>
                <c:pt idx="3501">
                  <c:v>0</c:v>
                </c:pt>
                <c:pt idx="3502">
                  <c:v>0</c:v>
                </c:pt>
                <c:pt idx="3503">
                  <c:v>0</c:v>
                </c:pt>
                <c:pt idx="3504">
                  <c:v>0</c:v>
                </c:pt>
                <c:pt idx="3505">
                  <c:v>0</c:v>
                </c:pt>
                <c:pt idx="3506">
                  <c:v>0</c:v>
                </c:pt>
                <c:pt idx="3507">
                  <c:v>0</c:v>
                </c:pt>
                <c:pt idx="3508">
                  <c:v>0</c:v>
                </c:pt>
                <c:pt idx="3509">
                  <c:v>0</c:v>
                </c:pt>
                <c:pt idx="3510">
                  <c:v>0</c:v>
                </c:pt>
                <c:pt idx="3511">
                  <c:v>0</c:v>
                </c:pt>
                <c:pt idx="3512">
                  <c:v>0</c:v>
                </c:pt>
                <c:pt idx="3513">
                  <c:v>0</c:v>
                </c:pt>
                <c:pt idx="3514">
                  <c:v>0</c:v>
                </c:pt>
                <c:pt idx="3515">
                  <c:v>0</c:v>
                </c:pt>
                <c:pt idx="3516">
                  <c:v>0</c:v>
                </c:pt>
                <c:pt idx="3517">
                  <c:v>0</c:v>
                </c:pt>
                <c:pt idx="3518">
                  <c:v>0</c:v>
                </c:pt>
                <c:pt idx="3519">
                  <c:v>0</c:v>
                </c:pt>
                <c:pt idx="3520">
                  <c:v>0</c:v>
                </c:pt>
                <c:pt idx="3521">
                  <c:v>0</c:v>
                </c:pt>
                <c:pt idx="3522">
                  <c:v>0</c:v>
                </c:pt>
                <c:pt idx="3523">
                  <c:v>0</c:v>
                </c:pt>
                <c:pt idx="3524">
                  <c:v>0</c:v>
                </c:pt>
                <c:pt idx="3525">
                  <c:v>0</c:v>
                </c:pt>
                <c:pt idx="3526">
                  <c:v>0</c:v>
                </c:pt>
                <c:pt idx="3527">
                  <c:v>0</c:v>
                </c:pt>
                <c:pt idx="3528">
                  <c:v>0</c:v>
                </c:pt>
                <c:pt idx="3529">
                  <c:v>0</c:v>
                </c:pt>
                <c:pt idx="3530">
                  <c:v>0</c:v>
                </c:pt>
                <c:pt idx="3531">
                  <c:v>0</c:v>
                </c:pt>
                <c:pt idx="3532">
                  <c:v>0</c:v>
                </c:pt>
                <c:pt idx="3533">
                  <c:v>0</c:v>
                </c:pt>
                <c:pt idx="3534">
                  <c:v>0</c:v>
                </c:pt>
                <c:pt idx="3535">
                  <c:v>0</c:v>
                </c:pt>
                <c:pt idx="3536">
                  <c:v>0</c:v>
                </c:pt>
                <c:pt idx="3537">
                  <c:v>0</c:v>
                </c:pt>
                <c:pt idx="3538">
                  <c:v>0</c:v>
                </c:pt>
                <c:pt idx="3539">
                  <c:v>0</c:v>
                </c:pt>
                <c:pt idx="3540">
                  <c:v>0</c:v>
                </c:pt>
                <c:pt idx="3541">
                  <c:v>0</c:v>
                </c:pt>
                <c:pt idx="3542">
                  <c:v>0</c:v>
                </c:pt>
                <c:pt idx="3543">
                  <c:v>0</c:v>
                </c:pt>
                <c:pt idx="3544">
                  <c:v>0</c:v>
                </c:pt>
                <c:pt idx="3545">
                  <c:v>0</c:v>
                </c:pt>
                <c:pt idx="3546">
                  <c:v>0</c:v>
                </c:pt>
                <c:pt idx="3547">
                  <c:v>0</c:v>
                </c:pt>
                <c:pt idx="3548">
                  <c:v>0</c:v>
                </c:pt>
                <c:pt idx="3549">
                  <c:v>0</c:v>
                </c:pt>
                <c:pt idx="3550">
                  <c:v>0</c:v>
                </c:pt>
                <c:pt idx="3551">
                  <c:v>0</c:v>
                </c:pt>
                <c:pt idx="3552">
                  <c:v>0</c:v>
                </c:pt>
                <c:pt idx="3553">
                  <c:v>0</c:v>
                </c:pt>
                <c:pt idx="3554">
                  <c:v>0</c:v>
                </c:pt>
                <c:pt idx="3555">
                  <c:v>0</c:v>
                </c:pt>
                <c:pt idx="3556">
                  <c:v>0</c:v>
                </c:pt>
                <c:pt idx="3557">
                  <c:v>0</c:v>
                </c:pt>
                <c:pt idx="3558">
                  <c:v>0</c:v>
                </c:pt>
                <c:pt idx="3559">
                  <c:v>0</c:v>
                </c:pt>
                <c:pt idx="3560">
                  <c:v>0</c:v>
                </c:pt>
                <c:pt idx="3561">
                  <c:v>0</c:v>
                </c:pt>
                <c:pt idx="3562">
                  <c:v>0</c:v>
                </c:pt>
                <c:pt idx="3563">
                  <c:v>0</c:v>
                </c:pt>
                <c:pt idx="3564">
                  <c:v>0</c:v>
                </c:pt>
                <c:pt idx="3565">
                  <c:v>0</c:v>
                </c:pt>
                <c:pt idx="3566">
                  <c:v>0</c:v>
                </c:pt>
                <c:pt idx="3567">
                  <c:v>0</c:v>
                </c:pt>
                <c:pt idx="3568">
                  <c:v>0</c:v>
                </c:pt>
                <c:pt idx="3569">
                  <c:v>0</c:v>
                </c:pt>
                <c:pt idx="3570">
                  <c:v>0</c:v>
                </c:pt>
                <c:pt idx="3571">
                  <c:v>0</c:v>
                </c:pt>
                <c:pt idx="3572">
                  <c:v>0</c:v>
                </c:pt>
                <c:pt idx="3573">
                  <c:v>0</c:v>
                </c:pt>
                <c:pt idx="3574">
                  <c:v>0</c:v>
                </c:pt>
                <c:pt idx="3575">
                  <c:v>0</c:v>
                </c:pt>
                <c:pt idx="3576">
                  <c:v>0</c:v>
                </c:pt>
                <c:pt idx="3577">
                  <c:v>0</c:v>
                </c:pt>
                <c:pt idx="3578">
                  <c:v>0</c:v>
                </c:pt>
                <c:pt idx="3579">
                  <c:v>0</c:v>
                </c:pt>
                <c:pt idx="3580">
                  <c:v>0</c:v>
                </c:pt>
                <c:pt idx="3581">
                  <c:v>0</c:v>
                </c:pt>
                <c:pt idx="3582">
                  <c:v>0</c:v>
                </c:pt>
                <c:pt idx="3583">
                  <c:v>0</c:v>
                </c:pt>
                <c:pt idx="3584">
                  <c:v>0</c:v>
                </c:pt>
                <c:pt idx="3585">
                  <c:v>0</c:v>
                </c:pt>
                <c:pt idx="3586">
                  <c:v>0</c:v>
                </c:pt>
                <c:pt idx="3587">
                  <c:v>0</c:v>
                </c:pt>
                <c:pt idx="3588">
                  <c:v>0</c:v>
                </c:pt>
                <c:pt idx="3589">
                  <c:v>0</c:v>
                </c:pt>
                <c:pt idx="3590">
                  <c:v>0</c:v>
                </c:pt>
                <c:pt idx="3591">
                  <c:v>0</c:v>
                </c:pt>
                <c:pt idx="3592">
                  <c:v>0</c:v>
                </c:pt>
                <c:pt idx="3593">
                  <c:v>0</c:v>
                </c:pt>
                <c:pt idx="3594">
                  <c:v>0</c:v>
                </c:pt>
                <c:pt idx="3595">
                  <c:v>0</c:v>
                </c:pt>
                <c:pt idx="3596">
                  <c:v>0</c:v>
                </c:pt>
                <c:pt idx="3597">
                  <c:v>0</c:v>
                </c:pt>
                <c:pt idx="3598">
                  <c:v>0</c:v>
                </c:pt>
                <c:pt idx="3599">
                  <c:v>0</c:v>
                </c:pt>
                <c:pt idx="3600">
                  <c:v>0</c:v>
                </c:pt>
                <c:pt idx="3601">
                  <c:v>0</c:v>
                </c:pt>
                <c:pt idx="3602">
                  <c:v>0</c:v>
                </c:pt>
                <c:pt idx="3603">
                  <c:v>0</c:v>
                </c:pt>
                <c:pt idx="3604">
                  <c:v>0</c:v>
                </c:pt>
                <c:pt idx="3605">
                  <c:v>0</c:v>
                </c:pt>
                <c:pt idx="3606">
                  <c:v>0</c:v>
                </c:pt>
                <c:pt idx="3607">
                  <c:v>0</c:v>
                </c:pt>
                <c:pt idx="3608">
                  <c:v>0</c:v>
                </c:pt>
                <c:pt idx="3609">
                  <c:v>0</c:v>
                </c:pt>
                <c:pt idx="3610">
                  <c:v>0</c:v>
                </c:pt>
                <c:pt idx="3611">
                  <c:v>0</c:v>
                </c:pt>
                <c:pt idx="3612">
                  <c:v>0</c:v>
                </c:pt>
                <c:pt idx="3613">
                  <c:v>0</c:v>
                </c:pt>
                <c:pt idx="3614">
                  <c:v>0</c:v>
                </c:pt>
                <c:pt idx="3615">
                  <c:v>0</c:v>
                </c:pt>
                <c:pt idx="3616">
                  <c:v>0</c:v>
                </c:pt>
                <c:pt idx="3617">
                  <c:v>0</c:v>
                </c:pt>
                <c:pt idx="3618">
                  <c:v>0</c:v>
                </c:pt>
                <c:pt idx="3619">
                  <c:v>0</c:v>
                </c:pt>
                <c:pt idx="3620">
                  <c:v>0</c:v>
                </c:pt>
                <c:pt idx="3621">
                  <c:v>0</c:v>
                </c:pt>
                <c:pt idx="3622">
                  <c:v>0</c:v>
                </c:pt>
                <c:pt idx="3623">
                  <c:v>0</c:v>
                </c:pt>
                <c:pt idx="3624">
                  <c:v>0</c:v>
                </c:pt>
                <c:pt idx="3625">
                  <c:v>0</c:v>
                </c:pt>
                <c:pt idx="3626">
                  <c:v>0</c:v>
                </c:pt>
                <c:pt idx="3627">
                  <c:v>0</c:v>
                </c:pt>
                <c:pt idx="3628">
                  <c:v>0</c:v>
                </c:pt>
                <c:pt idx="3629">
                  <c:v>0</c:v>
                </c:pt>
                <c:pt idx="3630">
                  <c:v>0</c:v>
                </c:pt>
                <c:pt idx="3631">
                  <c:v>0</c:v>
                </c:pt>
                <c:pt idx="3632">
                  <c:v>0</c:v>
                </c:pt>
                <c:pt idx="3633">
                  <c:v>0</c:v>
                </c:pt>
                <c:pt idx="3634">
                  <c:v>0</c:v>
                </c:pt>
                <c:pt idx="3635">
                  <c:v>0</c:v>
                </c:pt>
                <c:pt idx="3636">
                  <c:v>0</c:v>
                </c:pt>
                <c:pt idx="3637">
                  <c:v>0</c:v>
                </c:pt>
                <c:pt idx="3638">
                  <c:v>0</c:v>
                </c:pt>
                <c:pt idx="3639">
                  <c:v>0</c:v>
                </c:pt>
                <c:pt idx="3640">
                  <c:v>0</c:v>
                </c:pt>
                <c:pt idx="3641">
                  <c:v>0</c:v>
                </c:pt>
                <c:pt idx="3642">
                  <c:v>0</c:v>
                </c:pt>
                <c:pt idx="3643">
                  <c:v>0</c:v>
                </c:pt>
                <c:pt idx="3644">
                  <c:v>0</c:v>
                </c:pt>
                <c:pt idx="3645">
                  <c:v>0</c:v>
                </c:pt>
                <c:pt idx="3646">
                  <c:v>0</c:v>
                </c:pt>
                <c:pt idx="3647">
                  <c:v>0</c:v>
                </c:pt>
                <c:pt idx="3648">
                  <c:v>0</c:v>
                </c:pt>
                <c:pt idx="3649">
                  <c:v>0</c:v>
                </c:pt>
                <c:pt idx="3650">
                  <c:v>0</c:v>
                </c:pt>
                <c:pt idx="3651">
                  <c:v>0</c:v>
                </c:pt>
                <c:pt idx="3652">
                  <c:v>0</c:v>
                </c:pt>
                <c:pt idx="3653">
                  <c:v>0</c:v>
                </c:pt>
                <c:pt idx="3654">
                  <c:v>0</c:v>
                </c:pt>
                <c:pt idx="3655">
                  <c:v>0</c:v>
                </c:pt>
                <c:pt idx="3656">
                  <c:v>0</c:v>
                </c:pt>
                <c:pt idx="3657">
                  <c:v>0</c:v>
                </c:pt>
                <c:pt idx="3658">
                  <c:v>0</c:v>
                </c:pt>
                <c:pt idx="3659">
                  <c:v>0</c:v>
                </c:pt>
                <c:pt idx="3660">
                  <c:v>0</c:v>
                </c:pt>
                <c:pt idx="3661">
                  <c:v>0</c:v>
                </c:pt>
                <c:pt idx="3662">
                  <c:v>0</c:v>
                </c:pt>
                <c:pt idx="3663">
                  <c:v>0</c:v>
                </c:pt>
                <c:pt idx="3664">
                  <c:v>0</c:v>
                </c:pt>
                <c:pt idx="3665">
                  <c:v>0</c:v>
                </c:pt>
                <c:pt idx="3666">
                  <c:v>0</c:v>
                </c:pt>
                <c:pt idx="3667">
                  <c:v>0</c:v>
                </c:pt>
                <c:pt idx="3668">
                  <c:v>0</c:v>
                </c:pt>
                <c:pt idx="3669">
                  <c:v>0</c:v>
                </c:pt>
                <c:pt idx="3670">
                  <c:v>0</c:v>
                </c:pt>
                <c:pt idx="3671">
                  <c:v>0</c:v>
                </c:pt>
                <c:pt idx="3672">
                  <c:v>0</c:v>
                </c:pt>
                <c:pt idx="3673">
                  <c:v>0</c:v>
                </c:pt>
                <c:pt idx="3674">
                  <c:v>0</c:v>
                </c:pt>
                <c:pt idx="3675">
                  <c:v>0</c:v>
                </c:pt>
                <c:pt idx="3676">
                  <c:v>0</c:v>
                </c:pt>
                <c:pt idx="3677">
                  <c:v>0</c:v>
                </c:pt>
                <c:pt idx="3678">
                  <c:v>0</c:v>
                </c:pt>
                <c:pt idx="3679">
                  <c:v>0</c:v>
                </c:pt>
                <c:pt idx="3680">
                  <c:v>0</c:v>
                </c:pt>
                <c:pt idx="3681">
                  <c:v>0</c:v>
                </c:pt>
                <c:pt idx="3682">
                  <c:v>0</c:v>
                </c:pt>
                <c:pt idx="3683">
                  <c:v>0</c:v>
                </c:pt>
                <c:pt idx="3684">
                  <c:v>0</c:v>
                </c:pt>
                <c:pt idx="3685">
                  <c:v>0</c:v>
                </c:pt>
                <c:pt idx="3686">
                  <c:v>0</c:v>
                </c:pt>
                <c:pt idx="3687">
                  <c:v>0</c:v>
                </c:pt>
                <c:pt idx="3688">
                  <c:v>0</c:v>
                </c:pt>
                <c:pt idx="3689">
                  <c:v>0</c:v>
                </c:pt>
                <c:pt idx="3690">
                  <c:v>0</c:v>
                </c:pt>
                <c:pt idx="3691">
                  <c:v>0</c:v>
                </c:pt>
                <c:pt idx="3692">
                  <c:v>0</c:v>
                </c:pt>
                <c:pt idx="3693">
                  <c:v>0</c:v>
                </c:pt>
                <c:pt idx="3694">
                  <c:v>0</c:v>
                </c:pt>
                <c:pt idx="3695">
                  <c:v>0</c:v>
                </c:pt>
                <c:pt idx="3696">
                  <c:v>0</c:v>
                </c:pt>
                <c:pt idx="3697">
                  <c:v>0</c:v>
                </c:pt>
                <c:pt idx="3698">
                  <c:v>0</c:v>
                </c:pt>
                <c:pt idx="3699">
                  <c:v>0</c:v>
                </c:pt>
                <c:pt idx="3700">
                  <c:v>0</c:v>
                </c:pt>
                <c:pt idx="3701">
                  <c:v>0</c:v>
                </c:pt>
                <c:pt idx="3702">
                  <c:v>0</c:v>
                </c:pt>
                <c:pt idx="3703">
                  <c:v>0</c:v>
                </c:pt>
                <c:pt idx="3704">
                  <c:v>0</c:v>
                </c:pt>
                <c:pt idx="3705">
                  <c:v>0</c:v>
                </c:pt>
                <c:pt idx="3706">
                  <c:v>0</c:v>
                </c:pt>
                <c:pt idx="3707">
                  <c:v>0</c:v>
                </c:pt>
                <c:pt idx="3708">
                  <c:v>0</c:v>
                </c:pt>
                <c:pt idx="3709">
                  <c:v>0</c:v>
                </c:pt>
                <c:pt idx="3710">
                  <c:v>0</c:v>
                </c:pt>
                <c:pt idx="3711">
                  <c:v>0</c:v>
                </c:pt>
                <c:pt idx="3712">
                  <c:v>0</c:v>
                </c:pt>
                <c:pt idx="3713">
                  <c:v>0</c:v>
                </c:pt>
                <c:pt idx="3714">
                  <c:v>0</c:v>
                </c:pt>
                <c:pt idx="3715">
                  <c:v>0</c:v>
                </c:pt>
                <c:pt idx="3716">
                  <c:v>0</c:v>
                </c:pt>
                <c:pt idx="3717">
                  <c:v>0</c:v>
                </c:pt>
                <c:pt idx="3718">
                  <c:v>0</c:v>
                </c:pt>
                <c:pt idx="3719">
                  <c:v>0</c:v>
                </c:pt>
                <c:pt idx="3720">
                  <c:v>0</c:v>
                </c:pt>
                <c:pt idx="3721">
                  <c:v>0</c:v>
                </c:pt>
                <c:pt idx="3722">
                  <c:v>0</c:v>
                </c:pt>
                <c:pt idx="3723">
                  <c:v>0</c:v>
                </c:pt>
                <c:pt idx="3724">
                  <c:v>0</c:v>
                </c:pt>
                <c:pt idx="3725">
                  <c:v>0</c:v>
                </c:pt>
                <c:pt idx="3726">
                  <c:v>0</c:v>
                </c:pt>
                <c:pt idx="3727">
                  <c:v>0</c:v>
                </c:pt>
                <c:pt idx="3728">
                  <c:v>0</c:v>
                </c:pt>
                <c:pt idx="3729">
                  <c:v>0</c:v>
                </c:pt>
                <c:pt idx="3730">
                  <c:v>0</c:v>
                </c:pt>
                <c:pt idx="3731">
                  <c:v>0</c:v>
                </c:pt>
                <c:pt idx="3732">
                  <c:v>0</c:v>
                </c:pt>
                <c:pt idx="3733">
                  <c:v>0</c:v>
                </c:pt>
                <c:pt idx="3734">
                  <c:v>0</c:v>
                </c:pt>
                <c:pt idx="3735">
                  <c:v>0</c:v>
                </c:pt>
                <c:pt idx="3736">
                  <c:v>0</c:v>
                </c:pt>
                <c:pt idx="3737">
                  <c:v>0</c:v>
                </c:pt>
                <c:pt idx="3738">
                  <c:v>0</c:v>
                </c:pt>
                <c:pt idx="3739">
                  <c:v>0</c:v>
                </c:pt>
                <c:pt idx="3740">
                  <c:v>0</c:v>
                </c:pt>
                <c:pt idx="3741">
                  <c:v>0</c:v>
                </c:pt>
                <c:pt idx="3742">
                  <c:v>0</c:v>
                </c:pt>
                <c:pt idx="3743">
                  <c:v>0</c:v>
                </c:pt>
                <c:pt idx="3744">
                  <c:v>0</c:v>
                </c:pt>
                <c:pt idx="3745">
                  <c:v>0</c:v>
                </c:pt>
                <c:pt idx="3746">
                  <c:v>0</c:v>
                </c:pt>
                <c:pt idx="3747">
                  <c:v>0</c:v>
                </c:pt>
                <c:pt idx="3748">
                  <c:v>0</c:v>
                </c:pt>
                <c:pt idx="3749">
                  <c:v>0</c:v>
                </c:pt>
                <c:pt idx="3750">
                  <c:v>0</c:v>
                </c:pt>
                <c:pt idx="3751">
                  <c:v>0</c:v>
                </c:pt>
                <c:pt idx="3752">
                  <c:v>0</c:v>
                </c:pt>
                <c:pt idx="3753">
                  <c:v>0</c:v>
                </c:pt>
                <c:pt idx="3754">
                  <c:v>0</c:v>
                </c:pt>
                <c:pt idx="3755">
                  <c:v>0</c:v>
                </c:pt>
                <c:pt idx="3756">
                  <c:v>0</c:v>
                </c:pt>
                <c:pt idx="3757">
                  <c:v>0</c:v>
                </c:pt>
                <c:pt idx="3758">
                  <c:v>0</c:v>
                </c:pt>
                <c:pt idx="3759">
                  <c:v>0</c:v>
                </c:pt>
                <c:pt idx="3760">
                  <c:v>0</c:v>
                </c:pt>
                <c:pt idx="3761">
                  <c:v>0</c:v>
                </c:pt>
                <c:pt idx="3762">
                  <c:v>0</c:v>
                </c:pt>
                <c:pt idx="3763">
                  <c:v>0</c:v>
                </c:pt>
                <c:pt idx="3764">
                  <c:v>0</c:v>
                </c:pt>
                <c:pt idx="3765">
                  <c:v>0</c:v>
                </c:pt>
                <c:pt idx="3766">
                  <c:v>0</c:v>
                </c:pt>
                <c:pt idx="3767">
                  <c:v>0</c:v>
                </c:pt>
                <c:pt idx="3768">
                  <c:v>0</c:v>
                </c:pt>
                <c:pt idx="3769">
                  <c:v>0</c:v>
                </c:pt>
                <c:pt idx="3770">
                  <c:v>0</c:v>
                </c:pt>
                <c:pt idx="3771">
                  <c:v>0</c:v>
                </c:pt>
                <c:pt idx="3772">
                  <c:v>0</c:v>
                </c:pt>
                <c:pt idx="3773">
                  <c:v>0</c:v>
                </c:pt>
                <c:pt idx="3774">
                  <c:v>0</c:v>
                </c:pt>
                <c:pt idx="3775">
                  <c:v>0</c:v>
                </c:pt>
                <c:pt idx="3776">
                  <c:v>0</c:v>
                </c:pt>
                <c:pt idx="3777">
                  <c:v>0</c:v>
                </c:pt>
                <c:pt idx="3778">
                  <c:v>0</c:v>
                </c:pt>
                <c:pt idx="3779">
                  <c:v>0</c:v>
                </c:pt>
                <c:pt idx="3780">
                  <c:v>0</c:v>
                </c:pt>
                <c:pt idx="3781">
                  <c:v>0</c:v>
                </c:pt>
                <c:pt idx="3782">
                  <c:v>0</c:v>
                </c:pt>
                <c:pt idx="3783">
                  <c:v>0</c:v>
                </c:pt>
                <c:pt idx="3784">
                  <c:v>0</c:v>
                </c:pt>
                <c:pt idx="3785">
                  <c:v>0</c:v>
                </c:pt>
                <c:pt idx="3786">
                  <c:v>0</c:v>
                </c:pt>
                <c:pt idx="3787">
                  <c:v>0</c:v>
                </c:pt>
                <c:pt idx="3788">
                  <c:v>0</c:v>
                </c:pt>
                <c:pt idx="3789">
                  <c:v>0</c:v>
                </c:pt>
                <c:pt idx="3790">
                  <c:v>0</c:v>
                </c:pt>
                <c:pt idx="3791">
                  <c:v>0</c:v>
                </c:pt>
                <c:pt idx="3792">
                  <c:v>0</c:v>
                </c:pt>
                <c:pt idx="3793">
                  <c:v>0</c:v>
                </c:pt>
                <c:pt idx="3794">
                  <c:v>0</c:v>
                </c:pt>
                <c:pt idx="3795">
                  <c:v>0</c:v>
                </c:pt>
                <c:pt idx="3796">
                  <c:v>0</c:v>
                </c:pt>
                <c:pt idx="3797">
                  <c:v>0</c:v>
                </c:pt>
                <c:pt idx="3798">
                  <c:v>0</c:v>
                </c:pt>
                <c:pt idx="3799">
                  <c:v>0</c:v>
                </c:pt>
                <c:pt idx="3800">
                  <c:v>0</c:v>
                </c:pt>
                <c:pt idx="3801">
                  <c:v>0</c:v>
                </c:pt>
                <c:pt idx="3802">
                  <c:v>0</c:v>
                </c:pt>
                <c:pt idx="3803">
                  <c:v>0</c:v>
                </c:pt>
                <c:pt idx="3804">
                  <c:v>0</c:v>
                </c:pt>
                <c:pt idx="3805">
                  <c:v>0</c:v>
                </c:pt>
                <c:pt idx="3806">
                  <c:v>0</c:v>
                </c:pt>
                <c:pt idx="3807">
                  <c:v>0</c:v>
                </c:pt>
                <c:pt idx="3808">
                  <c:v>0</c:v>
                </c:pt>
                <c:pt idx="3809">
                  <c:v>0</c:v>
                </c:pt>
                <c:pt idx="3810">
                  <c:v>0</c:v>
                </c:pt>
                <c:pt idx="3811">
                  <c:v>0</c:v>
                </c:pt>
                <c:pt idx="3812">
                  <c:v>0</c:v>
                </c:pt>
                <c:pt idx="3813">
                  <c:v>0</c:v>
                </c:pt>
                <c:pt idx="3814">
                  <c:v>0</c:v>
                </c:pt>
                <c:pt idx="3815">
                  <c:v>0</c:v>
                </c:pt>
                <c:pt idx="3816">
                  <c:v>0</c:v>
                </c:pt>
                <c:pt idx="3817">
                  <c:v>0</c:v>
                </c:pt>
                <c:pt idx="3818">
                  <c:v>0</c:v>
                </c:pt>
                <c:pt idx="3819">
                  <c:v>0</c:v>
                </c:pt>
                <c:pt idx="3820">
                  <c:v>0</c:v>
                </c:pt>
                <c:pt idx="3821">
                  <c:v>0</c:v>
                </c:pt>
                <c:pt idx="3822">
                  <c:v>0</c:v>
                </c:pt>
                <c:pt idx="3823">
                  <c:v>0</c:v>
                </c:pt>
                <c:pt idx="3824">
                  <c:v>0</c:v>
                </c:pt>
                <c:pt idx="3825">
                  <c:v>0</c:v>
                </c:pt>
                <c:pt idx="3826">
                  <c:v>0</c:v>
                </c:pt>
                <c:pt idx="3827">
                  <c:v>0</c:v>
                </c:pt>
                <c:pt idx="3828">
                  <c:v>0</c:v>
                </c:pt>
                <c:pt idx="3829">
                  <c:v>0</c:v>
                </c:pt>
                <c:pt idx="3830">
                  <c:v>0</c:v>
                </c:pt>
                <c:pt idx="3831">
                  <c:v>0</c:v>
                </c:pt>
                <c:pt idx="3832">
                  <c:v>0</c:v>
                </c:pt>
                <c:pt idx="3833">
                  <c:v>0</c:v>
                </c:pt>
                <c:pt idx="3834">
                  <c:v>0</c:v>
                </c:pt>
                <c:pt idx="3835">
                  <c:v>0</c:v>
                </c:pt>
                <c:pt idx="3836">
                  <c:v>0</c:v>
                </c:pt>
                <c:pt idx="3837">
                  <c:v>0</c:v>
                </c:pt>
                <c:pt idx="3838">
                  <c:v>0</c:v>
                </c:pt>
                <c:pt idx="3839">
                  <c:v>0</c:v>
                </c:pt>
                <c:pt idx="3840">
                  <c:v>0</c:v>
                </c:pt>
                <c:pt idx="3841">
                  <c:v>0</c:v>
                </c:pt>
                <c:pt idx="3842">
                  <c:v>0</c:v>
                </c:pt>
                <c:pt idx="3843">
                  <c:v>0</c:v>
                </c:pt>
                <c:pt idx="3844">
                  <c:v>0</c:v>
                </c:pt>
                <c:pt idx="3845">
                  <c:v>0</c:v>
                </c:pt>
                <c:pt idx="3846">
                  <c:v>0</c:v>
                </c:pt>
                <c:pt idx="3847">
                  <c:v>0</c:v>
                </c:pt>
                <c:pt idx="3848">
                  <c:v>0</c:v>
                </c:pt>
                <c:pt idx="3849">
                  <c:v>0</c:v>
                </c:pt>
                <c:pt idx="3850">
                  <c:v>0</c:v>
                </c:pt>
                <c:pt idx="3851">
                  <c:v>0</c:v>
                </c:pt>
                <c:pt idx="3852">
                  <c:v>0</c:v>
                </c:pt>
                <c:pt idx="3853">
                  <c:v>0</c:v>
                </c:pt>
                <c:pt idx="3854">
                  <c:v>0</c:v>
                </c:pt>
                <c:pt idx="3855">
                  <c:v>0</c:v>
                </c:pt>
                <c:pt idx="3856">
                  <c:v>0</c:v>
                </c:pt>
                <c:pt idx="3857">
                  <c:v>0</c:v>
                </c:pt>
                <c:pt idx="3858">
                  <c:v>0</c:v>
                </c:pt>
                <c:pt idx="3859">
                  <c:v>0</c:v>
                </c:pt>
                <c:pt idx="3860">
                  <c:v>0</c:v>
                </c:pt>
                <c:pt idx="3861">
                  <c:v>0</c:v>
                </c:pt>
                <c:pt idx="3862">
                  <c:v>0</c:v>
                </c:pt>
                <c:pt idx="3863">
                  <c:v>0</c:v>
                </c:pt>
                <c:pt idx="3864">
                  <c:v>0</c:v>
                </c:pt>
                <c:pt idx="3865">
                  <c:v>0</c:v>
                </c:pt>
                <c:pt idx="3866">
                  <c:v>0</c:v>
                </c:pt>
                <c:pt idx="3867">
                  <c:v>0</c:v>
                </c:pt>
                <c:pt idx="3868">
                  <c:v>0</c:v>
                </c:pt>
                <c:pt idx="3869">
                  <c:v>0</c:v>
                </c:pt>
                <c:pt idx="3870">
                  <c:v>0</c:v>
                </c:pt>
                <c:pt idx="3871">
                  <c:v>0</c:v>
                </c:pt>
                <c:pt idx="3872">
                  <c:v>0</c:v>
                </c:pt>
                <c:pt idx="3873">
                  <c:v>0</c:v>
                </c:pt>
                <c:pt idx="3874">
                  <c:v>0</c:v>
                </c:pt>
                <c:pt idx="3875">
                  <c:v>0</c:v>
                </c:pt>
                <c:pt idx="3876">
                  <c:v>0</c:v>
                </c:pt>
                <c:pt idx="3877">
                  <c:v>0</c:v>
                </c:pt>
                <c:pt idx="3878">
                  <c:v>0</c:v>
                </c:pt>
                <c:pt idx="3879">
                  <c:v>0</c:v>
                </c:pt>
                <c:pt idx="3880">
                  <c:v>0</c:v>
                </c:pt>
                <c:pt idx="3881">
                  <c:v>0</c:v>
                </c:pt>
                <c:pt idx="3882">
                  <c:v>0</c:v>
                </c:pt>
                <c:pt idx="3883">
                  <c:v>0</c:v>
                </c:pt>
                <c:pt idx="3884">
                  <c:v>0</c:v>
                </c:pt>
                <c:pt idx="3885">
                  <c:v>0</c:v>
                </c:pt>
                <c:pt idx="3886">
                  <c:v>0</c:v>
                </c:pt>
                <c:pt idx="3887">
                  <c:v>0</c:v>
                </c:pt>
                <c:pt idx="3888">
                  <c:v>0</c:v>
                </c:pt>
                <c:pt idx="3889">
                  <c:v>0</c:v>
                </c:pt>
                <c:pt idx="3890">
                  <c:v>0</c:v>
                </c:pt>
                <c:pt idx="3891">
                  <c:v>0</c:v>
                </c:pt>
                <c:pt idx="3892">
                  <c:v>0</c:v>
                </c:pt>
                <c:pt idx="3893">
                  <c:v>0</c:v>
                </c:pt>
                <c:pt idx="3894">
                  <c:v>0</c:v>
                </c:pt>
                <c:pt idx="3895">
                  <c:v>0</c:v>
                </c:pt>
                <c:pt idx="3896">
                  <c:v>0</c:v>
                </c:pt>
                <c:pt idx="3897">
                  <c:v>0</c:v>
                </c:pt>
                <c:pt idx="3898">
                  <c:v>0</c:v>
                </c:pt>
                <c:pt idx="3899">
                  <c:v>0</c:v>
                </c:pt>
                <c:pt idx="3900">
                  <c:v>0</c:v>
                </c:pt>
                <c:pt idx="3901">
                  <c:v>0</c:v>
                </c:pt>
                <c:pt idx="3902">
                  <c:v>0</c:v>
                </c:pt>
                <c:pt idx="3903">
                  <c:v>0</c:v>
                </c:pt>
                <c:pt idx="3904">
                  <c:v>0</c:v>
                </c:pt>
                <c:pt idx="3905">
                  <c:v>0</c:v>
                </c:pt>
                <c:pt idx="3906">
                  <c:v>0</c:v>
                </c:pt>
                <c:pt idx="3907">
                  <c:v>0</c:v>
                </c:pt>
                <c:pt idx="3908">
                  <c:v>0</c:v>
                </c:pt>
                <c:pt idx="3909">
                  <c:v>0</c:v>
                </c:pt>
                <c:pt idx="3910">
                  <c:v>0</c:v>
                </c:pt>
                <c:pt idx="3911">
                  <c:v>0</c:v>
                </c:pt>
                <c:pt idx="3912">
                  <c:v>0</c:v>
                </c:pt>
                <c:pt idx="3913">
                  <c:v>0</c:v>
                </c:pt>
                <c:pt idx="3914">
                  <c:v>0</c:v>
                </c:pt>
                <c:pt idx="3915">
                  <c:v>0</c:v>
                </c:pt>
                <c:pt idx="3916">
                  <c:v>0</c:v>
                </c:pt>
                <c:pt idx="3917">
                  <c:v>0</c:v>
                </c:pt>
                <c:pt idx="3918">
                  <c:v>0</c:v>
                </c:pt>
                <c:pt idx="3919">
                  <c:v>0</c:v>
                </c:pt>
                <c:pt idx="3920">
                  <c:v>0</c:v>
                </c:pt>
                <c:pt idx="3921">
                  <c:v>0</c:v>
                </c:pt>
                <c:pt idx="3922">
                  <c:v>0</c:v>
                </c:pt>
                <c:pt idx="3923">
                  <c:v>0</c:v>
                </c:pt>
                <c:pt idx="3924">
                  <c:v>0</c:v>
                </c:pt>
                <c:pt idx="3925">
                  <c:v>0</c:v>
                </c:pt>
                <c:pt idx="3926">
                  <c:v>0</c:v>
                </c:pt>
                <c:pt idx="3927">
                  <c:v>0</c:v>
                </c:pt>
                <c:pt idx="3928">
                  <c:v>0</c:v>
                </c:pt>
                <c:pt idx="3929">
                  <c:v>0</c:v>
                </c:pt>
                <c:pt idx="3930">
                  <c:v>0</c:v>
                </c:pt>
                <c:pt idx="3931">
                  <c:v>0</c:v>
                </c:pt>
                <c:pt idx="3932">
                  <c:v>0</c:v>
                </c:pt>
                <c:pt idx="3933">
                  <c:v>0</c:v>
                </c:pt>
                <c:pt idx="3934">
                  <c:v>0</c:v>
                </c:pt>
                <c:pt idx="3935">
                  <c:v>0</c:v>
                </c:pt>
                <c:pt idx="3936">
                  <c:v>0</c:v>
                </c:pt>
                <c:pt idx="3937">
                  <c:v>0</c:v>
                </c:pt>
                <c:pt idx="3938">
                  <c:v>0</c:v>
                </c:pt>
                <c:pt idx="3939">
                  <c:v>0</c:v>
                </c:pt>
                <c:pt idx="3940">
                  <c:v>0</c:v>
                </c:pt>
                <c:pt idx="3941">
                  <c:v>0</c:v>
                </c:pt>
                <c:pt idx="3942">
                  <c:v>0</c:v>
                </c:pt>
                <c:pt idx="3943">
                  <c:v>0</c:v>
                </c:pt>
                <c:pt idx="3944">
                  <c:v>0</c:v>
                </c:pt>
                <c:pt idx="3945">
                  <c:v>0</c:v>
                </c:pt>
                <c:pt idx="3946">
                  <c:v>0</c:v>
                </c:pt>
                <c:pt idx="3947">
                  <c:v>0</c:v>
                </c:pt>
                <c:pt idx="3948">
                  <c:v>0</c:v>
                </c:pt>
                <c:pt idx="3949">
                  <c:v>0</c:v>
                </c:pt>
                <c:pt idx="3950">
                  <c:v>0</c:v>
                </c:pt>
                <c:pt idx="3951">
                  <c:v>0</c:v>
                </c:pt>
                <c:pt idx="3952">
                  <c:v>0</c:v>
                </c:pt>
                <c:pt idx="3953">
                  <c:v>0</c:v>
                </c:pt>
                <c:pt idx="3954">
                  <c:v>0</c:v>
                </c:pt>
                <c:pt idx="3955">
                  <c:v>0</c:v>
                </c:pt>
                <c:pt idx="3956">
                  <c:v>0</c:v>
                </c:pt>
                <c:pt idx="3957">
                  <c:v>0</c:v>
                </c:pt>
                <c:pt idx="3958">
                  <c:v>0</c:v>
                </c:pt>
                <c:pt idx="3959">
                  <c:v>0</c:v>
                </c:pt>
                <c:pt idx="3960">
                  <c:v>0</c:v>
                </c:pt>
                <c:pt idx="3961">
                  <c:v>0</c:v>
                </c:pt>
                <c:pt idx="3962">
                  <c:v>0</c:v>
                </c:pt>
                <c:pt idx="3963">
                  <c:v>0</c:v>
                </c:pt>
                <c:pt idx="3964">
                  <c:v>0</c:v>
                </c:pt>
                <c:pt idx="3965">
                  <c:v>0</c:v>
                </c:pt>
                <c:pt idx="3966">
                  <c:v>0</c:v>
                </c:pt>
                <c:pt idx="3967">
                  <c:v>0</c:v>
                </c:pt>
                <c:pt idx="3968">
                  <c:v>0</c:v>
                </c:pt>
                <c:pt idx="3969">
                  <c:v>0</c:v>
                </c:pt>
                <c:pt idx="3970">
                  <c:v>0</c:v>
                </c:pt>
                <c:pt idx="3971">
                  <c:v>0</c:v>
                </c:pt>
                <c:pt idx="3972">
                  <c:v>0</c:v>
                </c:pt>
                <c:pt idx="3973">
                  <c:v>0</c:v>
                </c:pt>
                <c:pt idx="3974">
                  <c:v>0</c:v>
                </c:pt>
                <c:pt idx="3975">
                  <c:v>0</c:v>
                </c:pt>
                <c:pt idx="3976">
                  <c:v>0</c:v>
                </c:pt>
                <c:pt idx="3977">
                  <c:v>0</c:v>
                </c:pt>
                <c:pt idx="3978">
                  <c:v>0</c:v>
                </c:pt>
                <c:pt idx="3979">
                  <c:v>0</c:v>
                </c:pt>
                <c:pt idx="3980">
                  <c:v>0</c:v>
                </c:pt>
                <c:pt idx="3981">
                  <c:v>0</c:v>
                </c:pt>
                <c:pt idx="3982">
                  <c:v>0</c:v>
                </c:pt>
                <c:pt idx="3983">
                  <c:v>0</c:v>
                </c:pt>
                <c:pt idx="3984">
                  <c:v>0</c:v>
                </c:pt>
                <c:pt idx="3985">
                  <c:v>0</c:v>
                </c:pt>
                <c:pt idx="3986">
                  <c:v>0</c:v>
                </c:pt>
                <c:pt idx="3987">
                  <c:v>0</c:v>
                </c:pt>
                <c:pt idx="3988">
                  <c:v>0</c:v>
                </c:pt>
                <c:pt idx="3989">
                  <c:v>0</c:v>
                </c:pt>
                <c:pt idx="3990">
                  <c:v>0</c:v>
                </c:pt>
                <c:pt idx="3991">
                  <c:v>0</c:v>
                </c:pt>
                <c:pt idx="3992">
                  <c:v>0</c:v>
                </c:pt>
                <c:pt idx="3993">
                  <c:v>0</c:v>
                </c:pt>
                <c:pt idx="3994">
                  <c:v>0</c:v>
                </c:pt>
                <c:pt idx="3995">
                  <c:v>0</c:v>
                </c:pt>
                <c:pt idx="3996">
                  <c:v>0</c:v>
                </c:pt>
                <c:pt idx="3997">
                  <c:v>0</c:v>
                </c:pt>
                <c:pt idx="3998">
                  <c:v>0</c:v>
                </c:pt>
                <c:pt idx="3999">
                  <c:v>0</c:v>
                </c:pt>
                <c:pt idx="4000">
                  <c:v>0</c:v>
                </c:pt>
                <c:pt idx="4001">
                  <c:v>0</c:v>
                </c:pt>
                <c:pt idx="4002">
                  <c:v>0</c:v>
                </c:pt>
                <c:pt idx="4003">
                  <c:v>0</c:v>
                </c:pt>
                <c:pt idx="4004">
                  <c:v>0</c:v>
                </c:pt>
                <c:pt idx="4005">
                  <c:v>0</c:v>
                </c:pt>
                <c:pt idx="4006">
                  <c:v>0</c:v>
                </c:pt>
                <c:pt idx="4007">
                  <c:v>0</c:v>
                </c:pt>
                <c:pt idx="4008">
                  <c:v>0</c:v>
                </c:pt>
                <c:pt idx="4009">
                  <c:v>0</c:v>
                </c:pt>
                <c:pt idx="4010">
                  <c:v>0</c:v>
                </c:pt>
                <c:pt idx="4011">
                  <c:v>0</c:v>
                </c:pt>
                <c:pt idx="4012">
                  <c:v>0</c:v>
                </c:pt>
                <c:pt idx="4013">
                  <c:v>0</c:v>
                </c:pt>
                <c:pt idx="4014">
                  <c:v>0</c:v>
                </c:pt>
                <c:pt idx="4015">
                  <c:v>0</c:v>
                </c:pt>
                <c:pt idx="4016">
                  <c:v>0</c:v>
                </c:pt>
                <c:pt idx="4017">
                  <c:v>0</c:v>
                </c:pt>
                <c:pt idx="4018">
                  <c:v>0</c:v>
                </c:pt>
                <c:pt idx="4019">
                  <c:v>0</c:v>
                </c:pt>
                <c:pt idx="4020">
                  <c:v>0</c:v>
                </c:pt>
                <c:pt idx="4021">
                  <c:v>0</c:v>
                </c:pt>
                <c:pt idx="4022">
                  <c:v>0</c:v>
                </c:pt>
                <c:pt idx="4023">
                  <c:v>0</c:v>
                </c:pt>
                <c:pt idx="4024">
                  <c:v>0</c:v>
                </c:pt>
                <c:pt idx="4025">
                  <c:v>0</c:v>
                </c:pt>
                <c:pt idx="4026">
                  <c:v>0</c:v>
                </c:pt>
                <c:pt idx="4027">
                  <c:v>0</c:v>
                </c:pt>
                <c:pt idx="4028">
                  <c:v>0</c:v>
                </c:pt>
                <c:pt idx="4029">
                  <c:v>0</c:v>
                </c:pt>
                <c:pt idx="4030">
                  <c:v>0</c:v>
                </c:pt>
                <c:pt idx="4031">
                  <c:v>0</c:v>
                </c:pt>
                <c:pt idx="4032">
                  <c:v>0</c:v>
                </c:pt>
                <c:pt idx="4033">
                  <c:v>0</c:v>
                </c:pt>
                <c:pt idx="4034">
                  <c:v>0</c:v>
                </c:pt>
                <c:pt idx="4035">
                  <c:v>0</c:v>
                </c:pt>
                <c:pt idx="4036">
                  <c:v>0</c:v>
                </c:pt>
                <c:pt idx="4037">
                  <c:v>0</c:v>
                </c:pt>
                <c:pt idx="4038">
                  <c:v>0</c:v>
                </c:pt>
                <c:pt idx="4039">
                  <c:v>0</c:v>
                </c:pt>
                <c:pt idx="4040">
                  <c:v>0</c:v>
                </c:pt>
                <c:pt idx="4041">
                  <c:v>0</c:v>
                </c:pt>
                <c:pt idx="4042">
                  <c:v>0</c:v>
                </c:pt>
                <c:pt idx="4043">
                  <c:v>0</c:v>
                </c:pt>
                <c:pt idx="4044">
                  <c:v>0</c:v>
                </c:pt>
                <c:pt idx="4045">
                  <c:v>0</c:v>
                </c:pt>
                <c:pt idx="4046">
                  <c:v>0</c:v>
                </c:pt>
                <c:pt idx="4047">
                  <c:v>0</c:v>
                </c:pt>
                <c:pt idx="4048">
                  <c:v>0</c:v>
                </c:pt>
                <c:pt idx="4049">
                  <c:v>0</c:v>
                </c:pt>
                <c:pt idx="4050">
                  <c:v>0</c:v>
                </c:pt>
                <c:pt idx="4051">
                  <c:v>0</c:v>
                </c:pt>
                <c:pt idx="4052">
                  <c:v>0</c:v>
                </c:pt>
                <c:pt idx="4053">
                  <c:v>0</c:v>
                </c:pt>
                <c:pt idx="4054">
                  <c:v>0</c:v>
                </c:pt>
                <c:pt idx="4055">
                  <c:v>0</c:v>
                </c:pt>
                <c:pt idx="4056">
                  <c:v>0</c:v>
                </c:pt>
                <c:pt idx="4057">
                  <c:v>0</c:v>
                </c:pt>
                <c:pt idx="4058">
                  <c:v>0</c:v>
                </c:pt>
                <c:pt idx="4059">
                  <c:v>0</c:v>
                </c:pt>
                <c:pt idx="4060">
                  <c:v>0</c:v>
                </c:pt>
                <c:pt idx="4061">
                  <c:v>0</c:v>
                </c:pt>
                <c:pt idx="4062">
                  <c:v>0</c:v>
                </c:pt>
                <c:pt idx="4063">
                  <c:v>0</c:v>
                </c:pt>
                <c:pt idx="4064">
                  <c:v>0</c:v>
                </c:pt>
                <c:pt idx="4065">
                  <c:v>0</c:v>
                </c:pt>
                <c:pt idx="4066">
                  <c:v>0</c:v>
                </c:pt>
                <c:pt idx="4067">
                  <c:v>0</c:v>
                </c:pt>
                <c:pt idx="4068">
                  <c:v>0</c:v>
                </c:pt>
                <c:pt idx="4069">
                  <c:v>0</c:v>
                </c:pt>
                <c:pt idx="4070">
                  <c:v>0</c:v>
                </c:pt>
                <c:pt idx="4071">
                  <c:v>0</c:v>
                </c:pt>
                <c:pt idx="4072">
                  <c:v>0</c:v>
                </c:pt>
                <c:pt idx="4073">
                  <c:v>0</c:v>
                </c:pt>
                <c:pt idx="4074">
                  <c:v>0</c:v>
                </c:pt>
                <c:pt idx="4075">
                  <c:v>0</c:v>
                </c:pt>
                <c:pt idx="4076">
                  <c:v>0</c:v>
                </c:pt>
                <c:pt idx="4077">
                  <c:v>0</c:v>
                </c:pt>
                <c:pt idx="4078">
                  <c:v>0</c:v>
                </c:pt>
                <c:pt idx="4079">
                  <c:v>0</c:v>
                </c:pt>
                <c:pt idx="4080">
                  <c:v>0</c:v>
                </c:pt>
                <c:pt idx="4081">
                  <c:v>0</c:v>
                </c:pt>
                <c:pt idx="4082">
                  <c:v>0</c:v>
                </c:pt>
                <c:pt idx="4083">
                  <c:v>0</c:v>
                </c:pt>
                <c:pt idx="4084">
                  <c:v>0</c:v>
                </c:pt>
                <c:pt idx="4085">
                  <c:v>0</c:v>
                </c:pt>
                <c:pt idx="4086">
                  <c:v>0</c:v>
                </c:pt>
                <c:pt idx="4087">
                  <c:v>0</c:v>
                </c:pt>
                <c:pt idx="4088">
                  <c:v>0</c:v>
                </c:pt>
                <c:pt idx="4089">
                  <c:v>0</c:v>
                </c:pt>
                <c:pt idx="4090">
                  <c:v>0</c:v>
                </c:pt>
                <c:pt idx="4091">
                  <c:v>0</c:v>
                </c:pt>
                <c:pt idx="4092">
                  <c:v>0</c:v>
                </c:pt>
                <c:pt idx="4093">
                  <c:v>0</c:v>
                </c:pt>
                <c:pt idx="4094">
                  <c:v>0</c:v>
                </c:pt>
                <c:pt idx="4095">
                  <c:v>0</c:v>
                </c:pt>
                <c:pt idx="4096">
                  <c:v>0</c:v>
                </c:pt>
                <c:pt idx="4097">
                  <c:v>0</c:v>
                </c:pt>
                <c:pt idx="4098">
                  <c:v>0</c:v>
                </c:pt>
                <c:pt idx="4099">
                  <c:v>0</c:v>
                </c:pt>
                <c:pt idx="4100">
                  <c:v>0</c:v>
                </c:pt>
                <c:pt idx="4101">
                  <c:v>0</c:v>
                </c:pt>
                <c:pt idx="4102">
                  <c:v>0</c:v>
                </c:pt>
                <c:pt idx="4103">
                  <c:v>0</c:v>
                </c:pt>
                <c:pt idx="4104">
                  <c:v>0</c:v>
                </c:pt>
                <c:pt idx="4105">
                  <c:v>0</c:v>
                </c:pt>
                <c:pt idx="4106">
                  <c:v>0</c:v>
                </c:pt>
                <c:pt idx="4107">
                  <c:v>0</c:v>
                </c:pt>
                <c:pt idx="4108">
                  <c:v>0</c:v>
                </c:pt>
                <c:pt idx="4109">
                  <c:v>0</c:v>
                </c:pt>
                <c:pt idx="4110">
                  <c:v>0</c:v>
                </c:pt>
                <c:pt idx="4111">
                  <c:v>0</c:v>
                </c:pt>
                <c:pt idx="4112">
                  <c:v>0</c:v>
                </c:pt>
                <c:pt idx="4113">
                  <c:v>0</c:v>
                </c:pt>
                <c:pt idx="4114">
                  <c:v>0</c:v>
                </c:pt>
                <c:pt idx="4115">
                  <c:v>0</c:v>
                </c:pt>
                <c:pt idx="4116">
                  <c:v>0</c:v>
                </c:pt>
                <c:pt idx="4117">
                  <c:v>0</c:v>
                </c:pt>
                <c:pt idx="4118">
                  <c:v>0</c:v>
                </c:pt>
                <c:pt idx="4119">
                  <c:v>0</c:v>
                </c:pt>
                <c:pt idx="4120">
                  <c:v>0</c:v>
                </c:pt>
                <c:pt idx="4121">
                  <c:v>0</c:v>
                </c:pt>
                <c:pt idx="4122">
                  <c:v>0</c:v>
                </c:pt>
                <c:pt idx="4123">
                  <c:v>0</c:v>
                </c:pt>
                <c:pt idx="4124">
                  <c:v>0</c:v>
                </c:pt>
                <c:pt idx="4125">
                  <c:v>0</c:v>
                </c:pt>
                <c:pt idx="4126">
                  <c:v>0</c:v>
                </c:pt>
                <c:pt idx="4127">
                  <c:v>0</c:v>
                </c:pt>
                <c:pt idx="4128">
                  <c:v>0</c:v>
                </c:pt>
                <c:pt idx="4129">
                  <c:v>0</c:v>
                </c:pt>
                <c:pt idx="4130">
                  <c:v>0</c:v>
                </c:pt>
                <c:pt idx="4131">
                  <c:v>0</c:v>
                </c:pt>
                <c:pt idx="4132">
                  <c:v>0</c:v>
                </c:pt>
                <c:pt idx="4133">
                  <c:v>0</c:v>
                </c:pt>
                <c:pt idx="4134">
                  <c:v>0</c:v>
                </c:pt>
                <c:pt idx="4135">
                  <c:v>0</c:v>
                </c:pt>
                <c:pt idx="4136">
                  <c:v>0</c:v>
                </c:pt>
                <c:pt idx="4137">
                  <c:v>0</c:v>
                </c:pt>
                <c:pt idx="4138">
                  <c:v>0</c:v>
                </c:pt>
                <c:pt idx="4139">
                  <c:v>0</c:v>
                </c:pt>
                <c:pt idx="4140">
                  <c:v>0</c:v>
                </c:pt>
                <c:pt idx="4141">
                  <c:v>0</c:v>
                </c:pt>
                <c:pt idx="4142">
                  <c:v>0</c:v>
                </c:pt>
                <c:pt idx="4143">
                  <c:v>0</c:v>
                </c:pt>
                <c:pt idx="4144">
                  <c:v>0</c:v>
                </c:pt>
                <c:pt idx="4145">
                  <c:v>0</c:v>
                </c:pt>
                <c:pt idx="4146">
                  <c:v>0</c:v>
                </c:pt>
                <c:pt idx="4147">
                  <c:v>0</c:v>
                </c:pt>
                <c:pt idx="4148">
                  <c:v>0</c:v>
                </c:pt>
                <c:pt idx="4149">
                  <c:v>0</c:v>
                </c:pt>
                <c:pt idx="4150">
                  <c:v>0</c:v>
                </c:pt>
                <c:pt idx="4151">
                  <c:v>0</c:v>
                </c:pt>
                <c:pt idx="4152">
                  <c:v>0</c:v>
                </c:pt>
                <c:pt idx="4153">
                  <c:v>0</c:v>
                </c:pt>
                <c:pt idx="4154">
                  <c:v>0</c:v>
                </c:pt>
                <c:pt idx="4155">
                  <c:v>0</c:v>
                </c:pt>
                <c:pt idx="4156">
                  <c:v>0</c:v>
                </c:pt>
                <c:pt idx="4157">
                  <c:v>0</c:v>
                </c:pt>
                <c:pt idx="4158">
                  <c:v>0</c:v>
                </c:pt>
                <c:pt idx="4159">
                  <c:v>0</c:v>
                </c:pt>
                <c:pt idx="4160">
                  <c:v>0</c:v>
                </c:pt>
                <c:pt idx="4161">
                  <c:v>0</c:v>
                </c:pt>
                <c:pt idx="4162">
                  <c:v>0</c:v>
                </c:pt>
                <c:pt idx="4163">
                  <c:v>0</c:v>
                </c:pt>
                <c:pt idx="4164">
                  <c:v>0</c:v>
                </c:pt>
                <c:pt idx="4165">
                  <c:v>0</c:v>
                </c:pt>
                <c:pt idx="4166">
                  <c:v>0</c:v>
                </c:pt>
                <c:pt idx="4167">
                  <c:v>0</c:v>
                </c:pt>
                <c:pt idx="4168">
                  <c:v>0</c:v>
                </c:pt>
                <c:pt idx="4169">
                  <c:v>0</c:v>
                </c:pt>
                <c:pt idx="4170">
                  <c:v>0</c:v>
                </c:pt>
                <c:pt idx="4171">
                  <c:v>0</c:v>
                </c:pt>
                <c:pt idx="4172">
                  <c:v>0</c:v>
                </c:pt>
                <c:pt idx="4173">
                  <c:v>0</c:v>
                </c:pt>
                <c:pt idx="4174">
                  <c:v>0</c:v>
                </c:pt>
                <c:pt idx="4175">
                  <c:v>0</c:v>
                </c:pt>
                <c:pt idx="4176">
                  <c:v>0</c:v>
                </c:pt>
                <c:pt idx="4177">
                  <c:v>0</c:v>
                </c:pt>
                <c:pt idx="4178">
                  <c:v>0</c:v>
                </c:pt>
                <c:pt idx="4179">
                  <c:v>0</c:v>
                </c:pt>
                <c:pt idx="4180">
                  <c:v>0</c:v>
                </c:pt>
                <c:pt idx="4181">
                  <c:v>0</c:v>
                </c:pt>
                <c:pt idx="4182">
                  <c:v>0</c:v>
                </c:pt>
                <c:pt idx="4183">
                  <c:v>0</c:v>
                </c:pt>
                <c:pt idx="4184">
                  <c:v>0</c:v>
                </c:pt>
                <c:pt idx="4185">
                  <c:v>0</c:v>
                </c:pt>
                <c:pt idx="4186">
                  <c:v>0</c:v>
                </c:pt>
                <c:pt idx="4187">
                  <c:v>0</c:v>
                </c:pt>
                <c:pt idx="4188">
                  <c:v>0</c:v>
                </c:pt>
                <c:pt idx="4189">
                  <c:v>0</c:v>
                </c:pt>
                <c:pt idx="4190">
                  <c:v>0</c:v>
                </c:pt>
                <c:pt idx="4191">
                  <c:v>0</c:v>
                </c:pt>
                <c:pt idx="4192">
                  <c:v>0</c:v>
                </c:pt>
                <c:pt idx="4193">
                  <c:v>0</c:v>
                </c:pt>
                <c:pt idx="4194">
                  <c:v>0</c:v>
                </c:pt>
                <c:pt idx="4195">
                  <c:v>0</c:v>
                </c:pt>
                <c:pt idx="4196">
                  <c:v>0</c:v>
                </c:pt>
                <c:pt idx="4197">
                  <c:v>0</c:v>
                </c:pt>
                <c:pt idx="4198">
                  <c:v>0</c:v>
                </c:pt>
                <c:pt idx="4199">
                  <c:v>0</c:v>
                </c:pt>
                <c:pt idx="4200">
                  <c:v>0</c:v>
                </c:pt>
                <c:pt idx="4201">
                  <c:v>0</c:v>
                </c:pt>
                <c:pt idx="4202">
                  <c:v>0</c:v>
                </c:pt>
                <c:pt idx="4203">
                  <c:v>0</c:v>
                </c:pt>
                <c:pt idx="4204">
                  <c:v>0</c:v>
                </c:pt>
                <c:pt idx="4205">
                  <c:v>0</c:v>
                </c:pt>
                <c:pt idx="4206">
                  <c:v>0</c:v>
                </c:pt>
                <c:pt idx="4207">
                  <c:v>0</c:v>
                </c:pt>
                <c:pt idx="4208">
                  <c:v>0</c:v>
                </c:pt>
                <c:pt idx="4209">
                  <c:v>0</c:v>
                </c:pt>
                <c:pt idx="4210">
                  <c:v>0</c:v>
                </c:pt>
                <c:pt idx="4211">
                  <c:v>0</c:v>
                </c:pt>
                <c:pt idx="4212">
                  <c:v>0</c:v>
                </c:pt>
                <c:pt idx="4213">
                  <c:v>0</c:v>
                </c:pt>
                <c:pt idx="4214">
                  <c:v>0</c:v>
                </c:pt>
                <c:pt idx="4215">
                  <c:v>0</c:v>
                </c:pt>
                <c:pt idx="4216">
                  <c:v>0</c:v>
                </c:pt>
                <c:pt idx="4217">
                  <c:v>0</c:v>
                </c:pt>
                <c:pt idx="4218">
                  <c:v>0</c:v>
                </c:pt>
                <c:pt idx="4219">
                  <c:v>0</c:v>
                </c:pt>
                <c:pt idx="4220">
                  <c:v>0</c:v>
                </c:pt>
                <c:pt idx="4221">
                  <c:v>0</c:v>
                </c:pt>
                <c:pt idx="4222">
                  <c:v>0</c:v>
                </c:pt>
                <c:pt idx="4223">
                  <c:v>0</c:v>
                </c:pt>
                <c:pt idx="4224">
                  <c:v>0</c:v>
                </c:pt>
                <c:pt idx="4225">
                  <c:v>0</c:v>
                </c:pt>
                <c:pt idx="4226">
                  <c:v>0</c:v>
                </c:pt>
                <c:pt idx="4227">
                  <c:v>0</c:v>
                </c:pt>
                <c:pt idx="4228">
                  <c:v>0</c:v>
                </c:pt>
                <c:pt idx="4229">
                  <c:v>0</c:v>
                </c:pt>
                <c:pt idx="4230">
                  <c:v>0</c:v>
                </c:pt>
                <c:pt idx="4231">
                  <c:v>0</c:v>
                </c:pt>
                <c:pt idx="4232">
                  <c:v>0</c:v>
                </c:pt>
                <c:pt idx="4233">
                  <c:v>0</c:v>
                </c:pt>
                <c:pt idx="4234">
                  <c:v>0</c:v>
                </c:pt>
                <c:pt idx="4235">
                  <c:v>0</c:v>
                </c:pt>
                <c:pt idx="4236">
                  <c:v>0</c:v>
                </c:pt>
                <c:pt idx="4237">
                  <c:v>0</c:v>
                </c:pt>
                <c:pt idx="4238">
                  <c:v>0</c:v>
                </c:pt>
                <c:pt idx="4239">
                  <c:v>0</c:v>
                </c:pt>
                <c:pt idx="4240">
                  <c:v>0</c:v>
                </c:pt>
                <c:pt idx="4241">
                  <c:v>0</c:v>
                </c:pt>
                <c:pt idx="4242">
                  <c:v>0</c:v>
                </c:pt>
                <c:pt idx="4243">
                  <c:v>0</c:v>
                </c:pt>
                <c:pt idx="4244">
                  <c:v>0</c:v>
                </c:pt>
                <c:pt idx="4245">
                  <c:v>0</c:v>
                </c:pt>
                <c:pt idx="4246">
                  <c:v>0</c:v>
                </c:pt>
                <c:pt idx="4247">
                  <c:v>0</c:v>
                </c:pt>
                <c:pt idx="4248">
                  <c:v>0</c:v>
                </c:pt>
                <c:pt idx="4249">
                  <c:v>0</c:v>
                </c:pt>
                <c:pt idx="4250">
                  <c:v>0</c:v>
                </c:pt>
                <c:pt idx="4251">
                  <c:v>0</c:v>
                </c:pt>
                <c:pt idx="4252">
                  <c:v>0</c:v>
                </c:pt>
                <c:pt idx="4253">
                  <c:v>0</c:v>
                </c:pt>
                <c:pt idx="4254">
                  <c:v>0</c:v>
                </c:pt>
                <c:pt idx="4255">
                  <c:v>0</c:v>
                </c:pt>
                <c:pt idx="4256">
                  <c:v>0</c:v>
                </c:pt>
                <c:pt idx="4257">
                  <c:v>0</c:v>
                </c:pt>
                <c:pt idx="4258">
                  <c:v>0</c:v>
                </c:pt>
                <c:pt idx="4259">
                  <c:v>0</c:v>
                </c:pt>
                <c:pt idx="4260">
                  <c:v>0</c:v>
                </c:pt>
                <c:pt idx="4261">
                  <c:v>0</c:v>
                </c:pt>
                <c:pt idx="4262">
                  <c:v>0</c:v>
                </c:pt>
                <c:pt idx="4263">
                  <c:v>0</c:v>
                </c:pt>
                <c:pt idx="4264">
                  <c:v>0</c:v>
                </c:pt>
                <c:pt idx="4265">
                  <c:v>0</c:v>
                </c:pt>
                <c:pt idx="4266">
                  <c:v>0</c:v>
                </c:pt>
                <c:pt idx="4267">
                  <c:v>0</c:v>
                </c:pt>
                <c:pt idx="4268">
                  <c:v>0</c:v>
                </c:pt>
                <c:pt idx="4269">
                  <c:v>0</c:v>
                </c:pt>
                <c:pt idx="4270">
                  <c:v>0</c:v>
                </c:pt>
                <c:pt idx="4271">
                  <c:v>0</c:v>
                </c:pt>
                <c:pt idx="4272">
                  <c:v>0</c:v>
                </c:pt>
                <c:pt idx="4273">
                  <c:v>0</c:v>
                </c:pt>
                <c:pt idx="4274">
                  <c:v>0</c:v>
                </c:pt>
                <c:pt idx="4275">
                  <c:v>0</c:v>
                </c:pt>
                <c:pt idx="4276">
                  <c:v>0</c:v>
                </c:pt>
                <c:pt idx="4277">
                  <c:v>0</c:v>
                </c:pt>
                <c:pt idx="4278">
                  <c:v>0</c:v>
                </c:pt>
                <c:pt idx="4279">
                  <c:v>0</c:v>
                </c:pt>
                <c:pt idx="4280">
                  <c:v>0</c:v>
                </c:pt>
                <c:pt idx="4281">
                  <c:v>0</c:v>
                </c:pt>
                <c:pt idx="4282">
                  <c:v>0</c:v>
                </c:pt>
                <c:pt idx="4283">
                  <c:v>0</c:v>
                </c:pt>
                <c:pt idx="4284">
                  <c:v>0</c:v>
                </c:pt>
                <c:pt idx="4285">
                  <c:v>0</c:v>
                </c:pt>
                <c:pt idx="4286">
                  <c:v>0</c:v>
                </c:pt>
                <c:pt idx="4287">
                  <c:v>0</c:v>
                </c:pt>
                <c:pt idx="4288">
                  <c:v>0</c:v>
                </c:pt>
                <c:pt idx="4289">
                  <c:v>0</c:v>
                </c:pt>
                <c:pt idx="4290">
                  <c:v>0</c:v>
                </c:pt>
                <c:pt idx="4291">
                  <c:v>0</c:v>
                </c:pt>
                <c:pt idx="4292">
                  <c:v>0</c:v>
                </c:pt>
                <c:pt idx="4293">
                  <c:v>0</c:v>
                </c:pt>
                <c:pt idx="4294">
                  <c:v>0</c:v>
                </c:pt>
                <c:pt idx="4295">
                  <c:v>0</c:v>
                </c:pt>
                <c:pt idx="4296">
                  <c:v>0</c:v>
                </c:pt>
                <c:pt idx="4297">
                  <c:v>0</c:v>
                </c:pt>
                <c:pt idx="4298">
                  <c:v>0</c:v>
                </c:pt>
                <c:pt idx="4299">
                  <c:v>0</c:v>
                </c:pt>
                <c:pt idx="4300">
                  <c:v>0</c:v>
                </c:pt>
                <c:pt idx="4301">
                  <c:v>0</c:v>
                </c:pt>
                <c:pt idx="4302">
                  <c:v>0</c:v>
                </c:pt>
                <c:pt idx="4303">
                  <c:v>0</c:v>
                </c:pt>
                <c:pt idx="4304">
                  <c:v>0</c:v>
                </c:pt>
                <c:pt idx="4305">
                  <c:v>0</c:v>
                </c:pt>
                <c:pt idx="4306">
                  <c:v>0</c:v>
                </c:pt>
                <c:pt idx="4307">
                  <c:v>0</c:v>
                </c:pt>
                <c:pt idx="4308">
                  <c:v>0</c:v>
                </c:pt>
                <c:pt idx="4309">
                  <c:v>0</c:v>
                </c:pt>
                <c:pt idx="4310">
                  <c:v>0</c:v>
                </c:pt>
                <c:pt idx="4311">
                  <c:v>0</c:v>
                </c:pt>
                <c:pt idx="4312">
                  <c:v>0</c:v>
                </c:pt>
                <c:pt idx="4313">
                  <c:v>0</c:v>
                </c:pt>
                <c:pt idx="4314">
                  <c:v>0</c:v>
                </c:pt>
                <c:pt idx="4315">
                  <c:v>0</c:v>
                </c:pt>
                <c:pt idx="4316">
                  <c:v>0</c:v>
                </c:pt>
                <c:pt idx="4317">
                  <c:v>0</c:v>
                </c:pt>
                <c:pt idx="4318">
                  <c:v>0</c:v>
                </c:pt>
                <c:pt idx="4319">
                  <c:v>0</c:v>
                </c:pt>
                <c:pt idx="4320">
                  <c:v>0</c:v>
                </c:pt>
                <c:pt idx="4321">
                  <c:v>0</c:v>
                </c:pt>
                <c:pt idx="4322">
                  <c:v>0</c:v>
                </c:pt>
                <c:pt idx="4323">
                  <c:v>0</c:v>
                </c:pt>
                <c:pt idx="4324">
                  <c:v>0</c:v>
                </c:pt>
                <c:pt idx="4325">
                  <c:v>0</c:v>
                </c:pt>
                <c:pt idx="4326">
                  <c:v>0</c:v>
                </c:pt>
                <c:pt idx="4327">
                  <c:v>0</c:v>
                </c:pt>
                <c:pt idx="4328">
                  <c:v>0</c:v>
                </c:pt>
                <c:pt idx="4329">
                  <c:v>0</c:v>
                </c:pt>
                <c:pt idx="4330">
                  <c:v>0</c:v>
                </c:pt>
                <c:pt idx="4331">
                  <c:v>0</c:v>
                </c:pt>
                <c:pt idx="4332">
                  <c:v>0</c:v>
                </c:pt>
                <c:pt idx="4333">
                  <c:v>0</c:v>
                </c:pt>
                <c:pt idx="4334">
                  <c:v>0</c:v>
                </c:pt>
                <c:pt idx="4335">
                  <c:v>0</c:v>
                </c:pt>
                <c:pt idx="4336">
                  <c:v>0</c:v>
                </c:pt>
                <c:pt idx="4337">
                  <c:v>0</c:v>
                </c:pt>
                <c:pt idx="4338">
                  <c:v>0</c:v>
                </c:pt>
                <c:pt idx="4339">
                  <c:v>0</c:v>
                </c:pt>
                <c:pt idx="4340">
                  <c:v>0</c:v>
                </c:pt>
                <c:pt idx="4341">
                  <c:v>0</c:v>
                </c:pt>
                <c:pt idx="4342">
                  <c:v>0</c:v>
                </c:pt>
                <c:pt idx="4343">
                  <c:v>0</c:v>
                </c:pt>
                <c:pt idx="4344">
                  <c:v>0</c:v>
                </c:pt>
                <c:pt idx="4345">
                  <c:v>0</c:v>
                </c:pt>
                <c:pt idx="4346">
                  <c:v>0</c:v>
                </c:pt>
                <c:pt idx="4347">
                  <c:v>0</c:v>
                </c:pt>
                <c:pt idx="4348">
                  <c:v>0</c:v>
                </c:pt>
                <c:pt idx="4349">
                  <c:v>0</c:v>
                </c:pt>
                <c:pt idx="4350">
                  <c:v>0</c:v>
                </c:pt>
                <c:pt idx="4351">
                  <c:v>0</c:v>
                </c:pt>
                <c:pt idx="4352">
                  <c:v>0</c:v>
                </c:pt>
                <c:pt idx="4353">
                  <c:v>0</c:v>
                </c:pt>
                <c:pt idx="4354">
                  <c:v>0</c:v>
                </c:pt>
                <c:pt idx="4355">
                  <c:v>0</c:v>
                </c:pt>
                <c:pt idx="4356">
                  <c:v>0</c:v>
                </c:pt>
                <c:pt idx="4357">
                  <c:v>0</c:v>
                </c:pt>
                <c:pt idx="4358">
                  <c:v>0</c:v>
                </c:pt>
                <c:pt idx="4359">
                  <c:v>0</c:v>
                </c:pt>
                <c:pt idx="4360">
                  <c:v>0</c:v>
                </c:pt>
                <c:pt idx="4361">
                  <c:v>0</c:v>
                </c:pt>
                <c:pt idx="4362">
                  <c:v>0</c:v>
                </c:pt>
                <c:pt idx="4363">
                  <c:v>0</c:v>
                </c:pt>
                <c:pt idx="4364">
                  <c:v>0</c:v>
                </c:pt>
                <c:pt idx="4365">
                  <c:v>0</c:v>
                </c:pt>
                <c:pt idx="4366">
                  <c:v>0</c:v>
                </c:pt>
                <c:pt idx="4367">
                  <c:v>0</c:v>
                </c:pt>
                <c:pt idx="4368">
                  <c:v>0</c:v>
                </c:pt>
                <c:pt idx="4369">
                  <c:v>0</c:v>
                </c:pt>
                <c:pt idx="4370">
                  <c:v>0</c:v>
                </c:pt>
                <c:pt idx="4371">
                  <c:v>0</c:v>
                </c:pt>
                <c:pt idx="4372">
                  <c:v>0</c:v>
                </c:pt>
                <c:pt idx="4373">
                  <c:v>0</c:v>
                </c:pt>
                <c:pt idx="4374">
                  <c:v>0</c:v>
                </c:pt>
                <c:pt idx="4375">
                  <c:v>0</c:v>
                </c:pt>
                <c:pt idx="4376">
                  <c:v>0</c:v>
                </c:pt>
                <c:pt idx="4377">
                  <c:v>0</c:v>
                </c:pt>
                <c:pt idx="4378">
                  <c:v>0</c:v>
                </c:pt>
                <c:pt idx="4379">
                  <c:v>0</c:v>
                </c:pt>
                <c:pt idx="4380">
                  <c:v>0</c:v>
                </c:pt>
                <c:pt idx="4381">
                  <c:v>0</c:v>
                </c:pt>
                <c:pt idx="4382">
                  <c:v>0</c:v>
                </c:pt>
                <c:pt idx="4383">
                  <c:v>0</c:v>
                </c:pt>
                <c:pt idx="4384">
                  <c:v>0</c:v>
                </c:pt>
                <c:pt idx="4385">
                  <c:v>0</c:v>
                </c:pt>
                <c:pt idx="4386">
                  <c:v>0</c:v>
                </c:pt>
                <c:pt idx="4387">
                  <c:v>0</c:v>
                </c:pt>
                <c:pt idx="4388">
                  <c:v>0</c:v>
                </c:pt>
                <c:pt idx="4389">
                  <c:v>0</c:v>
                </c:pt>
                <c:pt idx="4390">
                  <c:v>0</c:v>
                </c:pt>
                <c:pt idx="4391">
                  <c:v>0</c:v>
                </c:pt>
                <c:pt idx="4392">
                  <c:v>0</c:v>
                </c:pt>
                <c:pt idx="4393">
                  <c:v>0</c:v>
                </c:pt>
                <c:pt idx="4394">
                  <c:v>0</c:v>
                </c:pt>
                <c:pt idx="4395">
                  <c:v>0</c:v>
                </c:pt>
                <c:pt idx="4396">
                  <c:v>0</c:v>
                </c:pt>
                <c:pt idx="4397">
                  <c:v>0</c:v>
                </c:pt>
                <c:pt idx="4398">
                  <c:v>0</c:v>
                </c:pt>
                <c:pt idx="4399">
                  <c:v>0</c:v>
                </c:pt>
                <c:pt idx="4400">
                  <c:v>0</c:v>
                </c:pt>
                <c:pt idx="4401">
                  <c:v>0</c:v>
                </c:pt>
                <c:pt idx="4402">
                  <c:v>0</c:v>
                </c:pt>
                <c:pt idx="4403">
                  <c:v>0</c:v>
                </c:pt>
                <c:pt idx="4404">
                  <c:v>0</c:v>
                </c:pt>
                <c:pt idx="4405">
                  <c:v>0</c:v>
                </c:pt>
                <c:pt idx="4406">
                  <c:v>0</c:v>
                </c:pt>
                <c:pt idx="4407">
                  <c:v>0</c:v>
                </c:pt>
                <c:pt idx="4408">
                  <c:v>0</c:v>
                </c:pt>
                <c:pt idx="4409">
                  <c:v>0</c:v>
                </c:pt>
                <c:pt idx="4410">
                  <c:v>0</c:v>
                </c:pt>
                <c:pt idx="4411">
                  <c:v>0</c:v>
                </c:pt>
                <c:pt idx="4412">
                  <c:v>0</c:v>
                </c:pt>
                <c:pt idx="4413">
                  <c:v>0</c:v>
                </c:pt>
                <c:pt idx="4414">
                  <c:v>0</c:v>
                </c:pt>
                <c:pt idx="4415">
                  <c:v>0</c:v>
                </c:pt>
                <c:pt idx="4416">
                  <c:v>0</c:v>
                </c:pt>
                <c:pt idx="4417">
                  <c:v>0</c:v>
                </c:pt>
                <c:pt idx="4418">
                  <c:v>0</c:v>
                </c:pt>
                <c:pt idx="4419">
                  <c:v>0</c:v>
                </c:pt>
                <c:pt idx="4420">
                  <c:v>0</c:v>
                </c:pt>
                <c:pt idx="4421">
                  <c:v>0</c:v>
                </c:pt>
                <c:pt idx="4422">
                  <c:v>0</c:v>
                </c:pt>
                <c:pt idx="4423">
                  <c:v>0</c:v>
                </c:pt>
                <c:pt idx="4424">
                  <c:v>0</c:v>
                </c:pt>
                <c:pt idx="4425">
                  <c:v>0</c:v>
                </c:pt>
                <c:pt idx="4426">
                  <c:v>0</c:v>
                </c:pt>
                <c:pt idx="4427">
                  <c:v>0</c:v>
                </c:pt>
                <c:pt idx="4428">
                  <c:v>0</c:v>
                </c:pt>
                <c:pt idx="4429">
                  <c:v>0</c:v>
                </c:pt>
                <c:pt idx="4430">
                  <c:v>0</c:v>
                </c:pt>
                <c:pt idx="4431">
                  <c:v>0</c:v>
                </c:pt>
                <c:pt idx="4432">
                  <c:v>0</c:v>
                </c:pt>
                <c:pt idx="4433">
                  <c:v>0</c:v>
                </c:pt>
                <c:pt idx="4434">
                  <c:v>0</c:v>
                </c:pt>
                <c:pt idx="4435">
                  <c:v>0</c:v>
                </c:pt>
                <c:pt idx="4436">
                  <c:v>0</c:v>
                </c:pt>
                <c:pt idx="4437">
                  <c:v>0</c:v>
                </c:pt>
                <c:pt idx="4438">
                  <c:v>0</c:v>
                </c:pt>
                <c:pt idx="4439">
                  <c:v>0</c:v>
                </c:pt>
                <c:pt idx="4440">
                  <c:v>0</c:v>
                </c:pt>
                <c:pt idx="4441">
                  <c:v>0</c:v>
                </c:pt>
                <c:pt idx="4442">
                  <c:v>0</c:v>
                </c:pt>
                <c:pt idx="4443">
                  <c:v>0</c:v>
                </c:pt>
                <c:pt idx="4444">
                  <c:v>0</c:v>
                </c:pt>
                <c:pt idx="4445">
                  <c:v>0</c:v>
                </c:pt>
                <c:pt idx="4446">
                  <c:v>0</c:v>
                </c:pt>
                <c:pt idx="4447">
                  <c:v>0</c:v>
                </c:pt>
                <c:pt idx="4448">
                  <c:v>0</c:v>
                </c:pt>
                <c:pt idx="4449">
                  <c:v>0</c:v>
                </c:pt>
                <c:pt idx="4450">
                  <c:v>0</c:v>
                </c:pt>
                <c:pt idx="4451">
                  <c:v>0</c:v>
                </c:pt>
                <c:pt idx="4452">
                  <c:v>0</c:v>
                </c:pt>
                <c:pt idx="4453">
                  <c:v>0</c:v>
                </c:pt>
                <c:pt idx="4454">
                  <c:v>0</c:v>
                </c:pt>
                <c:pt idx="4455">
                  <c:v>0</c:v>
                </c:pt>
                <c:pt idx="4456">
                  <c:v>0</c:v>
                </c:pt>
                <c:pt idx="4457">
                  <c:v>0</c:v>
                </c:pt>
                <c:pt idx="4458">
                  <c:v>0</c:v>
                </c:pt>
                <c:pt idx="4459">
                  <c:v>0</c:v>
                </c:pt>
                <c:pt idx="4460">
                  <c:v>0</c:v>
                </c:pt>
                <c:pt idx="4461">
                  <c:v>0</c:v>
                </c:pt>
                <c:pt idx="4462">
                  <c:v>0</c:v>
                </c:pt>
                <c:pt idx="4463">
                  <c:v>0</c:v>
                </c:pt>
                <c:pt idx="4464">
                  <c:v>0</c:v>
                </c:pt>
                <c:pt idx="4465">
                  <c:v>0</c:v>
                </c:pt>
                <c:pt idx="4466">
                  <c:v>0</c:v>
                </c:pt>
                <c:pt idx="4467">
                  <c:v>0</c:v>
                </c:pt>
                <c:pt idx="4468">
                  <c:v>0</c:v>
                </c:pt>
                <c:pt idx="4469">
                  <c:v>0</c:v>
                </c:pt>
                <c:pt idx="4470">
                  <c:v>0</c:v>
                </c:pt>
                <c:pt idx="4471">
                  <c:v>0</c:v>
                </c:pt>
                <c:pt idx="4472">
                  <c:v>0</c:v>
                </c:pt>
                <c:pt idx="4473">
                  <c:v>0</c:v>
                </c:pt>
                <c:pt idx="4474">
                  <c:v>0</c:v>
                </c:pt>
                <c:pt idx="4475">
                  <c:v>0</c:v>
                </c:pt>
                <c:pt idx="4476">
                  <c:v>0</c:v>
                </c:pt>
                <c:pt idx="4477">
                  <c:v>0</c:v>
                </c:pt>
                <c:pt idx="4478">
                  <c:v>0</c:v>
                </c:pt>
                <c:pt idx="4479">
                  <c:v>0</c:v>
                </c:pt>
                <c:pt idx="4480">
                  <c:v>0</c:v>
                </c:pt>
                <c:pt idx="4481">
                  <c:v>0</c:v>
                </c:pt>
                <c:pt idx="4482">
                  <c:v>0</c:v>
                </c:pt>
                <c:pt idx="4483">
                  <c:v>0</c:v>
                </c:pt>
                <c:pt idx="4484">
                  <c:v>0</c:v>
                </c:pt>
                <c:pt idx="4485">
                  <c:v>0</c:v>
                </c:pt>
                <c:pt idx="4486">
                  <c:v>0</c:v>
                </c:pt>
                <c:pt idx="4487">
                  <c:v>0</c:v>
                </c:pt>
                <c:pt idx="4488">
                  <c:v>0</c:v>
                </c:pt>
                <c:pt idx="4489">
                  <c:v>0</c:v>
                </c:pt>
                <c:pt idx="4490">
                  <c:v>0</c:v>
                </c:pt>
                <c:pt idx="4491">
                  <c:v>0</c:v>
                </c:pt>
                <c:pt idx="4492">
                  <c:v>0</c:v>
                </c:pt>
                <c:pt idx="4493">
                  <c:v>0</c:v>
                </c:pt>
                <c:pt idx="4494">
                  <c:v>0</c:v>
                </c:pt>
                <c:pt idx="4495">
                  <c:v>0</c:v>
                </c:pt>
                <c:pt idx="4496">
                  <c:v>0</c:v>
                </c:pt>
                <c:pt idx="4497">
                  <c:v>0</c:v>
                </c:pt>
                <c:pt idx="4498">
                  <c:v>0</c:v>
                </c:pt>
                <c:pt idx="4499">
                  <c:v>0</c:v>
                </c:pt>
                <c:pt idx="4500">
                  <c:v>0</c:v>
                </c:pt>
                <c:pt idx="4501">
                  <c:v>0</c:v>
                </c:pt>
                <c:pt idx="4502">
                  <c:v>0</c:v>
                </c:pt>
                <c:pt idx="4503">
                  <c:v>0</c:v>
                </c:pt>
                <c:pt idx="4504">
                  <c:v>0</c:v>
                </c:pt>
                <c:pt idx="4505">
                  <c:v>0</c:v>
                </c:pt>
                <c:pt idx="4506">
                  <c:v>0</c:v>
                </c:pt>
                <c:pt idx="4507">
                  <c:v>0</c:v>
                </c:pt>
                <c:pt idx="4508">
                  <c:v>0</c:v>
                </c:pt>
                <c:pt idx="4509">
                  <c:v>0</c:v>
                </c:pt>
                <c:pt idx="4510">
                  <c:v>0</c:v>
                </c:pt>
                <c:pt idx="4511">
                  <c:v>0</c:v>
                </c:pt>
                <c:pt idx="4512">
                  <c:v>0</c:v>
                </c:pt>
                <c:pt idx="4513">
                  <c:v>0</c:v>
                </c:pt>
                <c:pt idx="4514">
                  <c:v>0</c:v>
                </c:pt>
                <c:pt idx="4515">
                  <c:v>0</c:v>
                </c:pt>
                <c:pt idx="4516">
                  <c:v>0</c:v>
                </c:pt>
                <c:pt idx="4517">
                  <c:v>0</c:v>
                </c:pt>
                <c:pt idx="4518">
                  <c:v>0</c:v>
                </c:pt>
                <c:pt idx="4519">
                  <c:v>0</c:v>
                </c:pt>
                <c:pt idx="4520">
                  <c:v>0</c:v>
                </c:pt>
                <c:pt idx="4521">
                  <c:v>0</c:v>
                </c:pt>
                <c:pt idx="4522">
                  <c:v>0</c:v>
                </c:pt>
                <c:pt idx="4523">
                  <c:v>0</c:v>
                </c:pt>
                <c:pt idx="4524">
                  <c:v>0</c:v>
                </c:pt>
                <c:pt idx="4525">
                  <c:v>0</c:v>
                </c:pt>
                <c:pt idx="4526">
                  <c:v>0</c:v>
                </c:pt>
                <c:pt idx="4527">
                  <c:v>0</c:v>
                </c:pt>
                <c:pt idx="4528">
                  <c:v>0</c:v>
                </c:pt>
                <c:pt idx="4529">
                  <c:v>0</c:v>
                </c:pt>
                <c:pt idx="4530">
                  <c:v>0</c:v>
                </c:pt>
                <c:pt idx="4531">
                  <c:v>0</c:v>
                </c:pt>
                <c:pt idx="4532">
                  <c:v>0</c:v>
                </c:pt>
                <c:pt idx="4533">
                  <c:v>0</c:v>
                </c:pt>
                <c:pt idx="4534">
                  <c:v>0</c:v>
                </c:pt>
                <c:pt idx="4535">
                  <c:v>0</c:v>
                </c:pt>
                <c:pt idx="4536">
                  <c:v>0</c:v>
                </c:pt>
                <c:pt idx="4537">
                  <c:v>0</c:v>
                </c:pt>
                <c:pt idx="4538">
                  <c:v>0</c:v>
                </c:pt>
                <c:pt idx="4539">
                  <c:v>0</c:v>
                </c:pt>
                <c:pt idx="4540">
                  <c:v>0</c:v>
                </c:pt>
                <c:pt idx="4541">
                  <c:v>0</c:v>
                </c:pt>
                <c:pt idx="4542">
                  <c:v>0</c:v>
                </c:pt>
                <c:pt idx="4543">
                  <c:v>0</c:v>
                </c:pt>
                <c:pt idx="4544">
                  <c:v>0</c:v>
                </c:pt>
                <c:pt idx="4545">
                  <c:v>0</c:v>
                </c:pt>
                <c:pt idx="4546">
                  <c:v>0</c:v>
                </c:pt>
                <c:pt idx="4547">
                  <c:v>0</c:v>
                </c:pt>
                <c:pt idx="4548">
                  <c:v>0</c:v>
                </c:pt>
                <c:pt idx="4549">
                  <c:v>0</c:v>
                </c:pt>
                <c:pt idx="4550">
                  <c:v>0</c:v>
                </c:pt>
                <c:pt idx="4551">
                  <c:v>0</c:v>
                </c:pt>
                <c:pt idx="4552">
                  <c:v>0</c:v>
                </c:pt>
                <c:pt idx="4553">
                  <c:v>0</c:v>
                </c:pt>
                <c:pt idx="4554">
                  <c:v>0</c:v>
                </c:pt>
                <c:pt idx="4555">
                  <c:v>0</c:v>
                </c:pt>
                <c:pt idx="4556">
                  <c:v>0</c:v>
                </c:pt>
                <c:pt idx="4557">
                  <c:v>0</c:v>
                </c:pt>
                <c:pt idx="4558">
                  <c:v>0</c:v>
                </c:pt>
                <c:pt idx="4559">
                  <c:v>0</c:v>
                </c:pt>
                <c:pt idx="4560">
                  <c:v>0</c:v>
                </c:pt>
                <c:pt idx="4561">
                  <c:v>0</c:v>
                </c:pt>
                <c:pt idx="4562">
                  <c:v>0</c:v>
                </c:pt>
                <c:pt idx="4563">
                  <c:v>0</c:v>
                </c:pt>
                <c:pt idx="4564">
                  <c:v>0</c:v>
                </c:pt>
                <c:pt idx="4565">
                  <c:v>0</c:v>
                </c:pt>
                <c:pt idx="4566">
                  <c:v>0</c:v>
                </c:pt>
                <c:pt idx="4567">
                  <c:v>0</c:v>
                </c:pt>
                <c:pt idx="4568">
                  <c:v>0</c:v>
                </c:pt>
                <c:pt idx="4569">
                  <c:v>0</c:v>
                </c:pt>
                <c:pt idx="4570">
                  <c:v>0</c:v>
                </c:pt>
                <c:pt idx="4571">
                  <c:v>0</c:v>
                </c:pt>
                <c:pt idx="4572">
                  <c:v>0</c:v>
                </c:pt>
                <c:pt idx="4573">
                  <c:v>0</c:v>
                </c:pt>
                <c:pt idx="4574">
                  <c:v>0</c:v>
                </c:pt>
                <c:pt idx="4575">
                  <c:v>0</c:v>
                </c:pt>
                <c:pt idx="4576">
                  <c:v>0</c:v>
                </c:pt>
                <c:pt idx="4577">
                  <c:v>0</c:v>
                </c:pt>
                <c:pt idx="4578">
                  <c:v>0</c:v>
                </c:pt>
                <c:pt idx="4579">
                  <c:v>0</c:v>
                </c:pt>
                <c:pt idx="4580">
                  <c:v>0</c:v>
                </c:pt>
                <c:pt idx="4581">
                  <c:v>0</c:v>
                </c:pt>
                <c:pt idx="4582">
                  <c:v>0</c:v>
                </c:pt>
                <c:pt idx="4583">
                  <c:v>0</c:v>
                </c:pt>
                <c:pt idx="4584">
                  <c:v>0</c:v>
                </c:pt>
                <c:pt idx="4585">
                  <c:v>0</c:v>
                </c:pt>
                <c:pt idx="4586">
                  <c:v>0</c:v>
                </c:pt>
                <c:pt idx="4587">
                  <c:v>0</c:v>
                </c:pt>
                <c:pt idx="4588">
                  <c:v>0</c:v>
                </c:pt>
                <c:pt idx="4589">
                  <c:v>0</c:v>
                </c:pt>
                <c:pt idx="4590">
                  <c:v>0</c:v>
                </c:pt>
                <c:pt idx="4591">
                  <c:v>0</c:v>
                </c:pt>
                <c:pt idx="4592">
                  <c:v>0</c:v>
                </c:pt>
                <c:pt idx="4593">
                  <c:v>0</c:v>
                </c:pt>
                <c:pt idx="4594">
                  <c:v>0</c:v>
                </c:pt>
                <c:pt idx="4595">
                  <c:v>0</c:v>
                </c:pt>
                <c:pt idx="4596">
                  <c:v>0</c:v>
                </c:pt>
                <c:pt idx="4597">
                  <c:v>0</c:v>
                </c:pt>
                <c:pt idx="4598">
                  <c:v>0</c:v>
                </c:pt>
                <c:pt idx="4599">
                  <c:v>0</c:v>
                </c:pt>
                <c:pt idx="4600">
                  <c:v>0</c:v>
                </c:pt>
                <c:pt idx="4601">
                  <c:v>0</c:v>
                </c:pt>
                <c:pt idx="4602">
                  <c:v>0</c:v>
                </c:pt>
                <c:pt idx="4603">
                  <c:v>0</c:v>
                </c:pt>
                <c:pt idx="4604">
                  <c:v>0</c:v>
                </c:pt>
                <c:pt idx="4605">
                  <c:v>0</c:v>
                </c:pt>
                <c:pt idx="4606">
                  <c:v>0</c:v>
                </c:pt>
                <c:pt idx="4607">
                  <c:v>0</c:v>
                </c:pt>
                <c:pt idx="4608">
                  <c:v>0</c:v>
                </c:pt>
                <c:pt idx="4609">
                  <c:v>0</c:v>
                </c:pt>
                <c:pt idx="4610">
                  <c:v>0</c:v>
                </c:pt>
                <c:pt idx="4611">
                  <c:v>0</c:v>
                </c:pt>
                <c:pt idx="4612">
                  <c:v>0</c:v>
                </c:pt>
                <c:pt idx="4613">
                  <c:v>0</c:v>
                </c:pt>
                <c:pt idx="4614">
                  <c:v>0</c:v>
                </c:pt>
                <c:pt idx="4615">
                  <c:v>0</c:v>
                </c:pt>
                <c:pt idx="4616">
                  <c:v>0</c:v>
                </c:pt>
                <c:pt idx="4617">
                  <c:v>0</c:v>
                </c:pt>
                <c:pt idx="4618">
                  <c:v>0</c:v>
                </c:pt>
                <c:pt idx="4619">
                  <c:v>0</c:v>
                </c:pt>
                <c:pt idx="4620">
                  <c:v>0</c:v>
                </c:pt>
                <c:pt idx="4621">
                  <c:v>0</c:v>
                </c:pt>
                <c:pt idx="4622">
                  <c:v>0</c:v>
                </c:pt>
                <c:pt idx="4623">
                  <c:v>0</c:v>
                </c:pt>
                <c:pt idx="4624">
                  <c:v>0</c:v>
                </c:pt>
                <c:pt idx="4625">
                  <c:v>0</c:v>
                </c:pt>
                <c:pt idx="4626">
                  <c:v>0</c:v>
                </c:pt>
                <c:pt idx="4627">
                  <c:v>0</c:v>
                </c:pt>
                <c:pt idx="4628">
                  <c:v>0</c:v>
                </c:pt>
                <c:pt idx="4629">
                  <c:v>0</c:v>
                </c:pt>
                <c:pt idx="4630">
                  <c:v>0</c:v>
                </c:pt>
                <c:pt idx="4631">
                  <c:v>0</c:v>
                </c:pt>
                <c:pt idx="4632">
                  <c:v>0</c:v>
                </c:pt>
                <c:pt idx="4633">
                  <c:v>0</c:v>
                </c:pt>
                <c:pt idx="4634">
                  <c:v>0</c:v>
                </c:pt>
                <c:pt idx="4635">
                  <c:v>0</c:v>
                </c:pt>
                <c:pt idx="4636">
                  <c:v>0</c:v>
                </c:pt>
                <c:pt idx="4637">
                  <c:v>0</c:v>
                </c:pt>
                <c:pt idx="4638">
                  <c:v>0</c:v>
                </c:pt>
                <c:pt idx="4639">
                  <c:v>0</c:v>
                </c:pt>
                <c:pt idx="4640">
                  <c:v>0</c:v>
                </c:pt>
                <c:pt idx="4641">
                  <c:v>0</c:v>
                </c:pt>
                <c:pt idx="4642">
                  <c:v>0</c:v>
                </c:pt>
                <c:pt idx="4643">
                  <c:v>0</c:v>
                </c:pt>
                <c:pt idx="4644">
                  <c:v>0</c:v>
                </c:pt>
                <c:pt idx="4645">
                  <c:v>0</c:v>
                </c:pt>
                <c:pt idx="4646">
                  <c:v>0</c:v>
                </c:pt>
                <c:pt idx="4647">
                  <c:v>0</c:v>
                </c:pt>
                <c:pt idx="4648">
                  <c:v>0</c:v>
                </c:pt>
                <c:pt idx="4649">
                  <c:v>0</c:v>
                </c:pt>
                <c:pt idx="4650">
                  <c:v>0</c:v>
                </c:pt>
                <c:pt idx="4651">
                  <c:v>0</c:v>
                </c:pt>
                <c:pt idx="4652">
                  <c:v>0</c:v>
                </c:pt>
                <c:pt idx="4653">
                  <c:v>0</c:v>
                </c:pt>
                <c:pt idx="4654">
                  <c:v>0</c:v>
                </c:pt>
                <c:pt idx="4655">
                  <c:v>0</c:v>
                </c:pt>
                <c:pt idx="4656">
                  <c:v>0</c:v>
                </c:pt>
                <c:pt idx="4657">
                  <c:v>0</c:v>
                </c:pt>
                <c:pt idx="4658">
                  <c:v>0</c:v>
                </c:pt>
                <c:pt idx="4659">
                  <c:v>0</c:v>
                </c:pt>
                <c:pt idx="4660">
                  <c:v>0</c:v>
                </c:pt>
                <c:pt idx="4661">
                  <c:v>0</c:v>
                </c:pt>
                <c:pt idx="4662">
                  <c:v>0</c:v>
                </c:pt>
                <c:pt idx="4663">
                  <c:v>0</c:v>
                </c:pt>
                <c:pt idx="4664">
                  <c:v>0</c:v>
                </c:pt>
                <c:pt idx="4665">
                  <c:v>0</c:v>
                </c:pt>
                <c:pt idx="4666">
                  <c:v>0</c:v>
                </c:pt>
                <c:pt idx="4667">
                  <c:v>0</c:v>
                </c:pt>
                <c:pt idx="4668">
                  <c:v>0</c:v>
                </c:pt>
                <c:pt idx="4669">
                  <c:v>0</c:v>
                </c:pt>
                <c:pt idx="4670">
                  <c:v>0</c:v>
                </c:pt>
                <c:pt idx="4671">
                  <c:v>0</c:v>
                </c:pt>
                <c:pt idx="4672">
                  <c:v>0</c:v>
                </c:pt>
                <c:pt idx="4673">
                  <c:v>0</c:v>
                </c:pt>
                <c:pt idx="4674">
                  <c:v>0</c:v>
                </c:pt>
                <c:pt idx="4675">
                  <c:v>0</c:v>
                </c:pt>
                <c:pt idx="4676">
                  <c:v>0</c:v>
                </c:pt>
                <c:pt idx="4677">
                  <c:v>0</c:v>
                </c:pt>
                <c:pt idx="4678">
                  <c:v>0</c:v>
                </c:pt>
                <c:pt idx="4679">
                  <c:v>0</c:v>
                </c:pt>
                <c:pt idx="4680">
                  <c:v>0</c:v>
                </c:pt>
                <c:pt idx="4681">
                  <c:v>0</c:v>
                </c:pt>
                <c:pt idx="4682">
                  <c:v>0</c:v>
                </c:pt>
                <c:pt idx="4683">
                  <c:v>0</c:v>
                </c:pt>
                <c:pt idx="4684">
                  <c:v>0</c:v>
                </c:pt>
                <c:pt idx="4685">
                  <c:v>0</c:v>
                </c:pt>
                <c:pt idx="4686">
                  <c:v>0</c:v>
                </c:pt>
                <c:pt idx="4687">
                  <c:v>0</c:v>
                </c:pt>
                <c:pt idx="4688">
                  <c:v>0</c:v>
                </c:pt>
                <c:pt idx="4689">
                  <c:v>0</c:v>
                </c:pt>
                <c:pt idx="4690">
                  <c:v>0</c:v>
                </c:pt>
                <c:pt idx="4691">
                  <c:v>0</c:v>
                </c:pt>
                <c:pt idx="4692">
                  <c:v>0</c:v>
                </c:pt>
                <c:pt idx="4693">
                  <c:v>0</c:v>
                </c:pt>
                <c:pt idx="4694">
                  <c:v>0</c:v>
                </c:pt>
                <c:pt idx="4695">
                  <c:v>0</c:v>
                </c:pt>
                <c:pt idx="4696">
                  <c:v>0</c:v>
                </c:pt>
                <c:pt idx="4697">
                  <c:v>0</c:v>
                </c:pt>
                <c:pt idx="4698">
                  <c:v>0</c:v>
                </c:pt>
                <c:pt idx="4699">
                  <c:v>0</c:v>
                </c:pt>
                <c:pt idx="4700">
                  <c:v>0</c:v>
                </c:pt>
                <c:pt idx="4701">
                  <c:v>0</c:v>
                </c:pt>
                <c:pt idx="4702">
                  <c:v>0</c:v>
                </c:pt>
                <c:pt idx="4703">
                  <c:v>0</c:v>
                </c:pt>
                <c:pt idx="4704">
                  <c:v>0</c:v>
                </c:pt>
                <c:pt idx="4705">
                  <c:v>0</c:v>
                </c:pt>
                <c:pt idx="4706">
                  <c:v>0</c:v>
                </c:pt>
                <c:pt idx="4707">
                  <c:v>0</c:v>
                </c:pt>
                <c:pt idx="4708">
                  <c:v>0</c:v>
                </c:pt>
                <c:pt idx="4709">
                  <c:v>0</c:v>
                </c:pt>
                <c:pt idx="4710">
                  <c:v>0</c:v>
                </c:pt>
                <c:pt idx="4711">
                  <c:v>0</c:v>
                </c:pt>
                <c:pt idx="4712">
                  <c:v>0</c:v>
                </c:pt>
                <c:pt idx="4713">
                  <c:v>0</c:v>
                </c:pt>
                <c:pt idx="4714">
                  <c:v>0</c:v>
                </c:pt>
                <c:pt idx="4715">
                  <c:v>0</c:v>
                </c:pt>
                <c:pt idx="4716">
                  <c:v>0</c:v>
                </c:pt>
                <c:pt idx="4717">
                  <c:v>0</c:v>
                </c:pt>
                <c:pt idx="4718">
                  <c:v>0</c:v>
                </c:pt>
                <c:pt idx="4719">
                  <c:v>0</c:v>
                </c:pt>
                <c:pt idx="4720">
                  <c:v>0</c:v>
                </c:pt>
                <c:pt idx="4721">
                  <c:v>0</c:v>
                </c:pt>
                <c:pt idx="4722">
                  <c:v>0</c:v>
                </c:pt>
                <c:pt idx="4723">
                  <c:v>0</c:v>
                </c:pt>
                <c:pt idx="4724">
                  <c:v>0</c:v>
                </c:pt>
                <c:pt idx="4725">
                  <c:v>0</c:v>
                </c:pt>
                <c:pt idx="4726">
                  <c:v>0</c:v>
                </c:pt>
                <c:pt idx="4727">
                  <c:v>0</c:v>
                </c:pt>
                <c:pt idx="4728">
                  <c:v>0</c:v>
                </c:pt>
                <c:pt idx="4729">
                  <c:v>0</c:v>
                </c:pt>
                <c:pt idx="4730">
                  <c:v>0</c:v>
                </c:pt>
                <c:pt idx="4731">
                  <c:v>0</c:v>
                </c:pt>
                <c:pt idx="4732">
                  <c:v>0</c:v>
                </c:pt>
                <c:pt idx="4733">
                  <c:v>0</c:v>
                </c:pt>
                <c:pt idx="4734">
                  <c:v>0</c:v>
                </c:pt>
                <c:pt idx="4735">
                  <c:v>0</c:v>
                </c:pt>
                <c:pt idx="4736">
                  <c:v>0</c:v>
                </c:pt>
                <c:pt idx="4737">
                  <c:v>0</c:v>
                </c:pt>
                <c:pt idx="4738">
                  <c:v>0</c:v>
                </c:pt>
                <c:pt idx="4739">
                  <c:v>0</c:v>
                </c:pt>
                <c:pt idx="4740">
                  <c:v>0</c:v>
                </c:pt>
                <c:pt idx="4741">
                  <c:v>0</c:v>
                </c:pt>
                <c:pt idx="4742">
                  <c:v>0</c:v>
                </c:pt>
                <c:pt idx="4743">
                  <c:v>0</c:v>
                </c:pt>
                <c:pt idx="4744">
                  <c:v>0</c:v>
                </c:pt>
                <c:pt idx="4745">
                  <c:v>0</c:v>
                </c:pt>
                <c:pt idx="4746">
                  <c:v>0</c:v>
                </c:pt>
                <c:pt idx="4747">
                  <c:v>0</c:v>
                </c:pt>
                <c:pt idx="4748">
                  <c:v>0</c:v>
                </c:pt>
                <c:pt idx="4749">
                  <c:v>0</c:v>
                </c:pt>
                <c:pt idx="4750">
                  <c:v>0</c:v>
                </c:pt>
                <c:pt idx="4751">
                  <c:v>0</c:v>
                </c:pt>
                <c:pt idx="4752">
                  <c:v>0</c:v>
                </c:pt>
                <c:pt idx="4753">
                  <c:v>0</c:v>
                </c:pt>
                <c:pt idx="4754">
                  <c:v>0</c:v>
                </c:pt>
                <c:pt idx="4755">
                  <c:v>0</c:v>
                </c:pt>
                <c:pt idx="4756">
                  <c:v>0</c:v>
                </c:pt>
                <c:pt idx="4757">
                  <c:v>0</c:v>
                </c:pt>
                <c:pt idx="4758">
                  <c:v>0</c:v>
                </c:pt>
                <c:pt idx="4759">
                  <c:v>0</c:v>
                </c:pt>
                <c:pt idx="4760">
                  <c:v>0</c:v>
                </c:pt>
                <c:pt idx="4761">
                  <c:v>0</c:v>
                </c:pt>
                <c:pt idx="4762">
                  <c:v>0</c:v>
                </c:pt>
                <c:pt idx="4763">
                  <c:v>0</c:v>
                </c:pt>
                <c:pt idx="4764">
                  <c:v>0</c:v>
                </c:pt>
                <c:pt idx="4765">
                  <c:v>0</c:v>
                </c:pt>
                <c:pt idx="4766">
                  <c:v>0</c:v>
                </c:pt>
                <c:pt idx="4767">
                  <c:v>0</c:v>
                </c:pt>
                <c:pt idx="4768">
                  <c:v>0</c:v>
                </c:pt>
                <c:pt idx="4769">
                  <c:v>0</c:v>
                </c:pt>
                <c:pt idx="4770">
                  <c:v>0</c:v>
                </c:pt>
                <c:pt idx="4771">
                  <c:v>0</c:v>
                </c:pt>
                <c:pt idx="4772">
                  <c:v>0</c:v>
                </c:pt>
                <c:pt idx="4773">
                  <c:v>0</c:v>
                </c:pt>
                <c:pt idx="4774">
                  <c:v>0</c:v>
                </c:pt>
                <c:pt idx="4775">
                  <c:v>0</c:v>
                </c:pt>
                <c:pt idx="4776">
                  <c:v>0</c:v>
                </c:pt>
                <c:pt idx="4777">
                  <c:v>0</c:v>
                </c:pt>
                <c:pt idx="4778">
                  <c:v>0</c:v>
                </c:pt>
                <c:pt idx="4779">
                  <c:v>0</c:v>
                </c:pt>
                <c:pt idx="4780">
                  <c:v>0</c:v>
                </c:pt>
                <c:pt idx="4781">
                  <c:v>0</c:v>
                </c:pt>
                <c:pt idx="4782">
                  <c:v>0</c:v>
                </c:pt>
                <c:pt idx="4783">
                  <c:v>0</c:v>
                </c:pt>
                <c:pt idx="4784">
                  <c:v>0</c:v>
                </c:pt>
                <c:pt idx="4785">
                  <c:v>0</c:v>
                </c:pt>
                <c:pt idx="4786">
                  <c:v>0</c:v>
                </c:pt>
                <c:pt idx="4787">
                  <c:v>0</c:v>
                </c:pt>
                <c:pt idx="4788">
                  <c:v>0</c:v>
                </c:pt>
                <c:pt idx="4789">
                  <c:v>0</c:v>
                </c:pt>
                <c:pt idx="4790">
                  <c:v>0</c:v>
                </c:pt>
                <c:pt idx="4791">
                  <c:v>0</c:v>
                </c:pt>
                <c:pt idx="4792">
                  <c:v>0</c:v>
                </c:pt>
                <c:pt idx="4793">
                  <c:v>0</c:v>
                </c:pt>
                <c:pt idx="4794">
                  <c:v>0</c:v>
                </c:pt>
                <c:pt idx="4795">
                  <c:v>0</c:v>
                </c:pt>
                <c:pt idx="4796">
                  <c:v>0</c:v>
                </c:pt>
                <c:pt idx="4797">
                  <c:v>0</c:v>
                </c:pt>
                <c:pt idx="4798">
                  <c:v>0</c:v>
                </c:pt>
                <c:pt idx="4799">
                  <c:v>0</c:v>
                </c:pt>
                <c:pt idx="4800">
                  <c:v>0</c:v>
                </c:pt>
                <c:pt idx="4801">
                  <c:v>0</c:v>
                </c:pt>
                <c:pt idx="4802">
                  <c:v>0</c:v>
                </c:pt>
                <c:pt idx="4803">
                  <c:v>0</c:v>
                </c:pt>
                <c:pt idx="4804">
                  <c:v>0</c:v>
                </c:pt>
                <c:pt idx="4805">
                  <c:v>0</c:v>
                </c:pt>
                <c:pt idx="4806">
                  <c:v>0</c:v>
                </c:pt>
                <c:pt idx="4807">
                  <c:v>0</c:v>
                </c:pt>
                <c:pt idx="4808">
                  <c:v>0</c:v>
                </c:pt>
                <c:pt idx="4809">
                  <c:v>0</c:v>
                </c:pt>
                <c:pt idx="4810">
                  <c:v>0</c:v>
                </c:pt>
                <c:pt idx="4811">
                  <c:v>0</c:v>
                </c:pt>
                <c:pt idx="4812">
                  <c:v>0</c:v>
                </c:pt>
                <c:pt idx="4813">
                  <c:v>0</c:v>
                </c:pt>
                <c:pt idx="4814">
                  <c:v>0</c:v>
                </c:pt>
                <c:pt idx="4815">
                  <c:v>0</c:v>
                </c:pt>
                <c:pt idx="4816">
                  <c:v>0</c:v>
                </c:pt>
                <c:pt idx="4817">
                  <c:v>0</c:v>
                </c:pt>
                <c:pt idx="4818">
                  <c:v>0</c:v>
                </c:pt>
                <c:pt idx="4819">
                  <c:v>0</c:v>
                </c:pt>
                <c:pt idx="4820">
                  <c:v>0</c:v>
                </c:pt>
                <c:pt idx="4821">
                  <c:v>0</c:v>
                </c:pt>
                <c:pt idx="4822">
                  <c:v>0</c:v>
                </c:pt>
                <c:pt idx="4823">
                  <c:v>0</c:v>
                </c:pt>
                <c:pt idx="4824">
                  <c:v>0</c:v>
                </c:pt>
                <c:pt idx="4825">
                  <c:v>0</c:v>
                </c:pt>
                <c:pt idx="4826">
                  <c:v>0</c:v>
                </c:pt>
                <c:pt idx="4827">
                  <c:v>0</c:v>
                </c:pt>
                <c:pt idx="4828">
                  <c:v>0</c:v>
                </c:pt>
                <c:pt idx="4829">
                  <c:v>0</c:v>
                </c:pt>
                <c:pt idx="4830">
                  <c:v>0</c:v>
                </c:pt>
                <c:pt idx="4831">
                  <c:v>0</c:v>
                </c:pt>
                <c:pt idx="4832">
                  <c:v>0</c:v>
                </c:pt>
                <c:pt idx="4833">
                  <c:v>0</c:v>
                </c:pt>
                <c:pt idx="4834">
                  <c:v>0</c:v>
                </c:pt>
                <c:pt idx="4835">
                  <c:v>0</c:v>
                </c:pt>
                <c:pt idx="4836">
                  <c:v>0</c:v>
                </c:pt>
                <c:pt idx="4837">
                  <c:v>0</c:v>
                </c:pt>
                <c:pt idx="4838">
                  <c:v>0</c:v>
                </c:pt>
                <c:pt idx="4839">
                  <c:v>0</c:v>
                </c:pt>
                <c:pt idx="4840">
                  <c:v>0</c:v>
                </c:pt>
                <c:pt idx="4841">
                  <c:v>0</c:v>
                </c:pt>
                <c:pt idx="4842">
                  <c:v>0</c:v>
                </c:pt>
                <c:pt idx="4843">
                  <c:v>0</c:v>
                </c:pt>
                <c:pt idx="4844">
                  <c:v>0</c:v>
                </c:pt>
                <c:pt idx="4845">
                  <c:v>0</c:v>
                </c:pt>
                <c:pt idx="4846">
                  <c:v>0</c:v>
                </c:pt>
                <c:pt idx="4847">
                  <c:v>0</c:v>
                </c:pt>
                <c:pt idx="4848">
                  <c:v>0</c:v>
                </c:pt>
                <c:pt idx="4849">
                  <c:v>0</c:v>
                </c:pt>
                <c:pt idx="4850">
                  <c:v>0</c:v>
                </c:pt>
                <c:pt idx="4851">
                  <c:v>0</c:v>
                </c:pt>
                <c:pt idx="4852">
                  <c:v>0</c:v>
                </c:pt>
                <c:pt idx="4853">
                  <c:v>0</c:v>
                </c:pt>
                <c:pt idx="4854">
                  <c:v>0</c:v>
                </c:pt>
                <c:pt idx="4855">
                  <c:v>0</c:v>
                </c:pt>
                <c:pt idx="4856">
                  <c:v>0</c:v>
                </c:pt>
                <c:pt idx="4857">
                  <c:v>0</c:v>
                </c:pt>
                <c:pt idx="4858">
                  <c:v>0</c:v>
                </c:pt>
                <c:pt idx="4859">
                  <c:v>0</c:v>
                </c:pt>
                <c:pt idx="4860">
                  <c:v>0</c:v>
                </c:pt>
                <c:pt idx="4861">
                  <c:v>0</c:v>
                </c:pt>
                <c:pt idx="4862">
                  <c:v>0</c:v>
                </c:pt>
                <c:pt idx="4863">
                  <c:v>0</c:v>
                </c:pt>
                <c:pt idx="4864">
                  <c:v>0</c:v>
                </c:pt>
                <c:pt idx="4865">
                  <c:v>0</c:v>
                </c:pt>
                <c:pt idx="4866">
                  <c:v>0</c:v>
                </c:pt>
                <c:pt idx="4867">
                  <c:v>0</c:v>
                </c:pt>
                <c:pt idx="4868">
                  <c:v>0</c:v>
                </c:pt>
                <c:pt idx="4869">
                  <c:v>0</c:v>
                </c:pt>
                <c:pt idx="4870">
                  <c:v>0</c:v>
                </c:pt>
                <c:pt idx="4871">
                  <c:v>0</c:v>
                </c:pt>
                <c:pt idx="4872">
                  <c:v>0</c:v>
                </c:pt>
                <c:pt idx="4873">
                  <c:v>0</c:v>
                </c:pt>
                <c:pt idx="4874">
                  <c:v>0</c:v>
                </c:pt>
                <c:pt idx="4875">
                  <c:v>0</c:v>
                </c:pt>
                <c:pt idx="4876">
                  <c:v>0</c:v>
                </c:pt>
                <c:pt idx="4877">
                  <c:v>0</c:v>
                </c:pt>
                <c:pt idx="4878">
                  <c:v>0</c:v>
                </c:pt>
                <c:pt idx="4879">
                  <c:v>0</c:v>
                </c:pt>
                <c:pt idx="4880">
                  <c:v>0</c:v>
                </c:pt>
                <c:pt idx="4881">
                  <c:v>0</c:v>
                </c:pt>
                <c:pt idx="4882">
                  <c:v>0</c:v>
                </c:pt>
                <c:pt idx="4883">
                  <c:v>0</c:v>
                </c:pt>
                <c:pt idx="4884">
                  <c:v>0</c:v>
                </c:pt>
                <c:pt idx="4885">
                  <c:v>0</c:v>
                </c:pt>
                <c:pt idx="4886">
                  <c:v>0</c:v>
                </c:pt>
                <c:pt idx="4887">
                  <c:v>0</c:v>
                </c:pt>
                <c:pt idx="4888">
                  <c:v>0</c:v>
                </c:pt>
                <c:pt idx="4889">
                  <c:v>0</c:v>
                </c:pt>
                <c:pt idx="4890">
                  <c:v>0</c:v>
                </c:pt>
                <c:pt idx="4891">
                  <c:v>0</c:v>
                </c:pt>
                <c:pt idx="4892">
                  <c:v>0</c:v>
                </c:pt>
                <c:pt idx="4893">
                  <c:v>0</c:v>
                </c:pt>
                <c:pt idx="4894">
                  <c:v>0</c:v>
                </c:pt>
                <c:pt idx="4895">
                  <c:v>0</c:v>
                </c:pt>
                <c:pt idx="4896">
                  <c:v>0</c:v>
                </c:pt>
                <c:pt idx="4897">
                  <c:v>0</c:v>
                </c:pt>
                <c:pt idx="4898">
                  <c:v>0</c:v>
                </c:pt>
                <c:pt idx="4899">
                  <c:v>0</c:v>
                </c:pt>
                <c:pt idx="4900">
                  <c:v>0</c:v>
                </c:pt>
                <c:pt idx="4901">
                  <c:v>0</c:v>
                </c:pt>
                <c:pt idx="4902">
                  <c:v>0</c:v>
                </c:pt>
                <c:pt idx="4903">
                  <c:v>0</c:v>
                </c:pt>
                <c:pt idx="4904">
                  <c:v>0</c:v>
                </c:pt>
                <c:pt idx="4905">
                  <c:v>0</c:v>
                </c:pt>
                <c:pt idx="4906">
                  <c:v>0</c:v>
                </c:pt>
                <c:pt idx="4907">
                  <c:v>0</c:v>
                </c:pt>
                <c:pt idx="4908">
                  <c:v>0</c:v>
                </c:pt>
                <c:pt idx="4909">
                  <c:v>0</c:v>
                </c:pt>
                <c:pt idx="4910">
                  <c:v>0</c:v>
                </c:pt>
                <c:pt idx="4911">
                  <c:v>0</c:v>
                </c:pt>
                <c:pt idx="4912">
                  <c:v>0</c:v>
                </c:pt>
                <c:pt idx="4913">
                  <c:v>0</c:v>
                </c:pt>
                <c:pt idx="4914">
                  <c:v>0</c:v>
                </c:pt>
                <c:pt idx="4915">
                  <c:v>0</c:v>
                </c:pt>
                <c:pt idx="4916">
                  <c:v>0</c:v>
                </c:pt>
                <c:pt idx="4917">
                  <c:v>0</c:v>
                </c:pt>
                <c:pt idx="4918">
                  <c:v>0</c:v>
                </c:pt>
                <c:pt idx="4919">
                  <c:v>0</c:v>
                </c:pt>
                <c:pt idx="4920">
                  <c:v>0</c:v>
                </c:pt>
                <c:pt idx="4921">
                  <c:v>0</c:v>
                </c:pt>
                <c:pt idx="4922">
                  <c:v>0</c:v>
                </c:pt>
                <c:pt idx="4923">
                  <c:v>0</c:v>
                </c:pt>
                <c:pt idx="4924">
                  <c:v>0</c:v>
                </c:pt>
                <c:pt idx="4925">
                  <c:v>0</c:v>
                </c:pt>
                <c:pt idx="4926">
                  <c:v>0</c:v>
                </c:pt>
                <c:pt idx="4927">
                  <c:v>0</c:v>
                </c:pt>
                <c:pt idx="4928">
                  <c:v>0</c:v>
                </c:pt>
                <c:pt idx="4929">
                  <c:v>0</c:v>
                </c:pt>
                <c:pt idx="4930">
                  <c:v>0</c:v>
                </c:pt>
                <c:pt idx="4931">
                  <c:v>0</c:v>
                </c:pt>
                <c:pt idx="4932">
                  <c:v>0</c:v>
                </c:pt>
                <c:pt idx="4933">
                  <c:v>0</c:v>
                </c:pt>
                <c:pt idx="4934">
                  <c:v>0</c:v>
                </c:pt>
                <c:pt idx="4935">
                  <c:v>0</c:v>
                </c:pt>
                <c:pt idx="4936">
                  <c:v>0</c:v>
                </c:pt>
                <c:pt idx="4937">
                  <c:v>0</c:v>
                </c:pt>
                <c:pt idx="4938">
                  <c:v>0</c:v>
                </c:pt>
                <c:pt idx="4939">
                  <c:v>0</c:v>
                </c:pt>
                <c:pt idx="4940">
                  <c:v>0</c:v>
                </c:pt>
                <c:pt idx="4941">
                  <c:v>0</c:v>
                </c:pt>
                <c:pt idx="4942">
                  <c:v>0</c:v>
                </c:pt>
                <c:pt idx="4943">
                  <c:v>0</c:v>
                </c:pt>
                <c:pt idx="4944">
                  <c:v>0</c:v>
                </c:pt>
                <c:pt idx="4945">
                  <c:v>0</c:v>
                </c:pt>
                <c:pt idx="4946">
                  <c:v>0</c:v>
                </c:pt>
                <c:pt idx="4947">
                  <c:v>0</c:v>
                </c:pt>
                <c:pt idx="4948">
                  <c:v>0</c:v>
                </c:pt>
                <c:pt idx="4949">
                  <c:v>0</c:v>
                </c:pt>
                <c:pt idx="4950">
                  <c:v>0</c:v>
                </c:pt>
                <c:pt idx="4951">
                  <c:v>0</c:v>
                </c:pt>
                <c:pt idx="4952">
                  <c:v>0</c:v>
                </c:pt>
                <c:pt idx="4953">
                  <c:v>0</c:v>
                </c:pt>
                <c:pt idx="4954">
                  <c:v>0</c:v>
                </c:pt>
                <c:pt idx="4955">
                  <c:v>0</c:v>
                </c:pt>
                <c:pt idx="4956">
                  <c:v>0</c:v>
                </c:pt>
                <c:pt idx="4957">
                  <c:v>0</c:v>
                </c:pt>
                <c:pt idx="4958">
                  <c:v>0</c:v>
                </c:pt>
                <c:pt idx="4959">
                  <c:v>0</c:v>
                </c:pt>
                <c:pt idx="4960">
                  <c:v>0</c:v>
                </c:pt>
                <c:pt idx="4961">
                  <c:v>0</c:v>
                </c:pt>
                <c:pt idx="4962">
                  <c:v>0</c:v>
                </c:pt>
                <c:pt idx="4963">
                  <c:v>0</c:v>
                </c:pt>
                <c:pt idx="4964">
                  <c:v>0</c:v>
                </c:pt>
                <c:pt idx="4965">
                  <c:v>0</c:v>
                </c:pt>
                <c:pt idx="4966">
                  <c:v>0</c:v>
                </c:pt>
                <c:pt idx="4967">
                  <c:v>0</c:v>
                </c:pt>
                <c:pt idx="4968">
                  <c:v>0</c:v>
                </c:pt>
                <c:pt idx="4969">
                  <c:v>0</c:v>
                </c:pt>
                <c:pt idx="4970">
                  <c:v>0</c:v>
                </c:pt>
                <c:pt idx="4971">
                  <c:v>0</c:v>
                </c:pt>
                <c:pt idx="4972">
                  <c:v>0</c:v>
                </c:pt>
                <c:pt idx="4973">
                  <c:v>0</c:v>
                </c:pt>
                <c:pt idx="4974">
                  <c:v>0</c:v>
                </c:pt>
                <c:pt idx="4975">
                  <c:v>0</c:v>
                </c:pt>
                <c:pt idx="4976">
                  <c:v>0</c:v>
                </c:pt>
                <c:pt idx="4977">
                  <c:v>0</c:v>
                </c:pt>
                <c:pt idx="4978">
                  <c:v>0</c:v>
                </c:pt>
                <c:pt idx="4979">
                  <c:v>0</c:v>
                </c:pt>
                <c:pt idx="4980">
                  <c:v>0</c:v>
                </c:pt>
                <c:pt idx="4981">
                  <c:v>0</c:v>
                </c:pt>
                <c:pt idx="4982">
                  <c:v>0</c:v>
                </c:pt>
                <c:pt idx="4983">
                  <c:v>0</c:v>
                </c:pt>
                <c:pt idx="4984">
                  <c:v>0</c:v>
                </c:pt>
                <c:pt idx="4985">
                  <c:v>0</c:v>
                </c:pt>
                <c:pt idx="4986">
                  <c:v>0</c:v>
                </c:pt>
                <c:pt idx="4987">
                  <c:v>0</c:v>
                </c:pt>
                <c:pt idx="4988">
                  <c:v>0</c:v>
                </c:pt>
                <c:pt idx="4989">
                  <c:v>0</c:v>
                </c:pt>
                <c:pt idx="4990">
                  <c:v>0</c:v>
                </c:pt>
                <c:pt idx="4991">
                  <c:v>0</c:v>
                </c:pt>
                <c:pt idx="4992">
                  <c:v>0</c:v>
                </c:pt>
                <c:pt idx="4993">
                  <c:v>0</c:v>
                </c:pt>
                <c:pt idx="4994">
                  <c:v>0</c:v>
                </c:pt>
                <c:pt idx="4995">
                  <c:v>0</c:v>
                </c:pt>
                <c:pt idx="4996">
                  <c:v>0</c:v>
                </c:pt>
                <c:pt idx="4997">
                  <c:v>0</c:v>
                </c:pt>
                <c:pt idx="4998">
                  <c:v>0</c:v>
                </c:pt>
                <c:pt idx="4999">
                  <c:v>0</c:v>
                </c:pt>
                <c:pt idx="5000">
                  <c:v>0</c:v>
                </c:pt>
                <c:pt idx="5001">
                  <c:v>0</c:v>
                </c:pt>
                <c:pt idx="5002">
                  <c:v>0</c:v>
                </c:pt>
                <c:pt idx="5003">
                  <c:v>0</c:v>
                </c:pt>
                <c:pt idx="5004">
                  <c:v>0</c:v>
                </c:pt>
                <c:pt idx="5005">
                  <c:v>0</c:v>
                </c:pt>
                <c:pt idx="5006">
                  <c:v>0</c:v>
                </c:pt>
                <c:pt idx="5007">
                  <c:v>0</c:v>
                </c:pt>
                <c:pt idx="5008">
                  <c:v>0</c:v>
                </c:pt>
                <c:pt idx="5009">
                  <c:v>0</c:v>
                </c:pt>
                <c:pt idx="5010">
                  <c:v>0</c:v>
                </c:pt>
                <c:pt idx="5011">
                  <c:v>0</c:v>
                </c:pt>
                <c:pt idx="5012">
                  <c:v>0</c:v>
                </c:pt>
                <c:pt idx="5013">
                  <c:v>0</c:v>
                </c:pt>
                <c:pt idx="5014">
                  <c:v>0</c:v>
                </c:pt>
                <c:pt idx="5015">
                  <c:v>0</c:v>
                </c:pt>
                <c:pt idx="5016">
                  <c:v>0</c:v>
                </c:pt>
                <c:pt idx="5017">
                  <c:v>0</c:v>
                </c:pt>
                <c:pt idx="5018">
                  <c:v>0</c:v>
                </c:pt>
                <c:pt idx="5019">
                  <c:v>0</c:v>
                </c:pt>
                <c:pt idx="5020">
                  <c:v>0</c:v>
                </c:pt>
                <c:pt idx="5021">
                  <c:v>0</c:v>
                </c:pt>
                <c:pt idx="5022">
                  <c:v>0</c:v>
                </c:pt>
                <c:pt idx="5023">
                  <c:v>0</c:v>
                </c:pt>
                <c:pt idx="5024">
                  <c:v>0</c:v>
                </c:pt>
                <c:pt idx="5025">
                  <c:v>0</c:v>
                </c:pt>
                <c:pt idx="5026">
                  <c:v>0</c:v>
                </c:pt>
                <c:pt idx="5027">
                  <c:v>0</c:v>
                </c:pt>
                <c:pt idx="5028">
                  <c:v>0</c:v>
                </c:pt>
                <c:pt idx="5029">
                  <c:v>0</c:v>
                </c:pt>
                <c:pt idx="5030">
                  <c:v>0</c:v>
                </c:pt>
                <c:pt idx="5031">
                  <c:v>0</c:v>
                </c:pt>
                <c:pt idx="5032">
                  <c:v>0</c:v>
                </c:pt>
                <c:pt idx="5033">
                  <c:v>0</c:v>
                </c:pt>
                <c:pt idx="5034">
                  <c:v>0</c:v>
                </c:pt>
                <c:pt idx="5035">
                  <c:v>0</c:v>
                </c:pt>
                <c:pt idx="5036">
                  <c:v>0</c:v>
                </c:pt>
                <c:pt idx="5037">
                  <c:v>0</c:v>
                </c:pt>
                <c:pt idx="5038">
                  <c:v>0</c:v>
                </c:pt>
                <c:pt idx="5039">
                  <c:v>0</c:v>
                </c:pt>
                <c:pt idx="5040">
                  <c:v>0</c:v>
                </c:pt>
                <c:pt idx="5041">
                  <c:v>0</c:v>
                </c:pt>
                <c:pt idx="5042">
                  <c:v>0</c:v>
                </c:pt>
                <c:pt idx="5043">
                  <c:v>0</c:v>
                </c:pt>
                <c:pt idx="5044">
                  <c:v>0</c:v>
                </c:pt>
                <c:pt idx="5045">
                  <c:v>0</c:v>
                </c:pt>
                <c:pt idx="5046">
                  <c:v>0</c:v>
                </c:pt>
                <c:pt idx="5047">
                  <c:v>0</c:v>
                </c:pt>
                <c:pt idx="5048">
                  <c:v>0</c:v>
                </c:pt>
                <c:pt idx="5049">
                  <c:v>0</c:v>
                </c:pt>
                <c:pt idx="5050">
                  <c:v>0</c:v>
                </c:pt>
                <c:pt idx="5051">
                  <c:v>0</c:v>
                </c:pt>
                <c:pt idx="5052">
                  <c:v>0</c:v>
                </c:pt>
                <c:pt idx="5053">
                  <c:v>0</c:v>
                </c:pt>
                <c:pt idx="5054">
                  <c:v>0</c:v>
                </c:pt>
                <c:pt idx="5055">
                  <c:v>0</c:v>
                </c:pt>
                <c:pt idx="5056">
                  <c:v>0</c:v>
                </c:pt>
                <c:pt idx="5057">
                  <c:v>0</c:v>
                </c:pt>
                <c:pt idx="5058">
                  <c:v>0</c:v>
                </c:pt>
                <c:pt idx="5059">
                  <c:v>0</c:v>
                </c:pt>
                <c:pt idx="5060">
                  <c:v>0</c:v>
                </c:pt>
                <c:pt idx="5061">
                  <c:v>0</c:v>
                </c:pt>
                <c:pt idx="5062">
                  <c:v>0</c:v>
                </c:pt>
                <c:pt idx="5063">
                  <c:v>0</c:v>
                </c:pt>
                <c:pt idx="5064">
                  <c:v>0</c:v>
                </c:pt>
                <c:pt idx="5065">
                  <c:v>0</c:v>
                </c:pt>
                <c:pt idx="5066">
                  <c:v>0</c:v>
                </c:pt>
                <c:pt idx="5067">
                  <c:v>0</c:v>
                </c:pt>
                <c:pt idx="5068">
                  <c:v>0</c:v>
                </c:pt>
                <c:pt idx="5069">
                  <c:v>0</c:v>
                </c:pt>
                <c:pt idx="5070">
                  <c:v>0</c:v>
                </c:pt>
                <c:pt idx="5071">
                  <c:v>0</c:v>
                </c:pt>
                <c:pt idx="5072">
                  <c:v>0</c:v>
                </c:pt>
                <c:pt idx="5073">
                  <c:v>0</c:v>
                </c:pt>
                <c:pt idx="5074">
                  <c:v>0</c:v>
                </c:pt>
                <c:pt idx="5075">
                  <c:v>0</c:v>
                </c:pt>
                <c:pt idx="5076">
                  <c:v>0</c:v>
                </c:pt>
                <c:pt idx="5077">
                  <c:v>0</c:v>
                </c:pt>
                <c:pt idx="5078">
                  <c:v>0</c:v>
                </c:pt>
                <c:pt idx="5079">
                  <c:v>0</c:v>
                </c:pt>
                <c:pt idx="5080">
                  <c:v>0</c:v>
                </c:pt>
                <c:pt idx="5081">
                  <c:v>0</c:v>
                </c:pt>
                <c:pt idx="5082">
                  <c:v>0</c:v>
                </c:pt>
                <c:pt idx="5083">
                  <c:v>0</c:v>
                </c:pt>
                <c:pt idx="5084">
                  <c:v>0</c:v>
                </c:pt>
                <c:pt idx="5085">
                  <c:v>0</c:v>
                </c:pt>
                <c:pt idx="5086">
                  <c:v>0</c:v>
                </c:pt>
                <c:pt idx="5087">
                  <c:v>0</c:v>
                </c:pt>
                <c:pt idx="5088">
                  <c:v>0</c:v>
                </c:pt>
                <c:pt idx="5089">
                  <c:v>0</c:v>
                </c:pt>
                <c:pt idx="5090">
                  <c:v>0</c:v>
                </c:pt>
                <c:pt idx="5091">
                  <c:v>0</c:v>
                </c:pt>
                <c:pt idx="5092">
                  <c:v>0</c:v>
                </c:pt>
                <c:pt idx="5093">
                  <c:v>0</c:v>
                </c:pt>
                <c:pt idx="5094">
                  <c:v>0</c:v>
                </c:pt>
                <c:pt idx="5095">
                  <c:v>0</c:v>
                </c:pt>
                <c:pt idx="5096">
                  <c:v>0</c:v>
                </c:pt>
                <c:pt idx="5097">
                  <c:v>0</c:v>
                </c:pt>
                <c:pt idx="5098">
                  <c:v>0</c:v>
                </c:pt>
                <c:pt idx="5099">
                  <c:v>0</c:v>
                </c:pt>
                <c:pt idx="5100">
                  <c:v>0</c:v>
                </c:pt>
                <c:pt idx="5101">
                  <c:v>0</c:v>
                </c:pt>
                <c:pt idx="5102">
                  <c:v>0</c:v>
                </c:pt>
                <c:pt idx="5103">
                  <c:v>0</c:v>
                </c:pt>
                <c:pt idx="5104">
                  <c:v>0</c:v>
                </c:pt>
                <c:pt idx="5105">
                  <c:v>0</c:v>
                </c:pt>
                <c:pt idx="5106">
                  <c:v>0</c:v>
                </c:pt>
                <c:pt idx="5107">
                  <c:v>0</c:v>
                </c:pt>
                <c:pt idx="5108">
                  <c:v>0</c:v>
                </c:pt>
                <c:pt idx="5109">
                  <c:v>0</c:v>
                </c:pt>
                <c:pt idx="5110">
                  <c:v>0</c:v>
                </c:pt>
                <c:pt idx="5111">
                  <c:v>0</c:v>
                </c:pt>
                <c:pt idx="5112">
                  <c:v>0</c:v>
                </c:pt>
                <c:pt idx="5113">
                  <c:v>0</c:v>
                </c:pt>
                <c:pt idx="5114">
                  <c:v>0</c:v>
                </c:pt>
                <c:pt idx="5115">
                  <c:v>0</c:v>
                </c:pt>
                <c:pt idx="5116">
                  <c:v>0</c:v>
                </c:pt>
                <c:pt idx="5117">
                  <c:v>0</c:v>
                </c:pt>
                <c:pt idx="5118">
                  <c:v>0</c:v>
                </c:pt>
                <c:pt idx="5119">
                  <c:v>0</c:v>
                </c:pt>
                <c:pt idx="5120">
                  <c:v>0</c:v>
                </c:pt>
                <c:pt idx="5121">
                  <c:v>0</c:v>
                </c:pt>
                <c:pt idx="5122">
                  <c:v>0</c:v>
                </c:pt>
                <c:pt idx="5123">
                  <c:v>0</c:v>
                </c:pt>
                <c:pt idx="5124">
                  <c:v>0</c:v>
                </c:pt>
                <c:pt idx="5125">
                  <c:v>0</c:v>
                </c:pt>
                <c:pt idx="5126">
                  <c:v>0</c:v>
                </c:pt>
                <c:pt idx="5127">
                  <c:v>0</c:v>
                </c:pt>
                <c:pt idx="5128">
                  <c:v>0</c:v>
                </c:pt>
                <c:pt idx="5129">
                  <c:v>0</c:v>
                </c:pt>
                <c:pt idx="5130">
                  <c:v>0</c:v>
                </c:pt>
                <c:pt idx="5131">
                  <c:v>0</c:v>
                </c:pt>
                <c:pt idx="5132">
                  <c:v>0</c:v>
                </c:pt>
                <c:pt idx="5133">
                  <c:v>0</c:v>
                </c:pt>
                <c:pt idx="5134">
                  <c:v>0</c:v>
                </c:pt>
                <c:pt idx="5135">
                  <c:v>0</c:v>
                </c:pt>
                <c:pt idx="5136">
                  <c:v>0</c:v>
                </c:pt>
                <c:pt idx="5137">
                  <c:v>0</c:v>
                </c:pt>
                <c:pt idx="5138">
                  <c:v>0</c:v>
                </c:pt>
                <c:pt idx="5139">
                  <c:v>0</c:v>
                </c:pt>
                <c:pt idx="5140">
                  <c:v>0</c:v>
                </c:pt>
                <c:pt idx="5141">
                  <c:v>0</c:v>
                </c:pt>
                <c:pt idx="5142">
                  <c:v>0</c:v>
                </c:pt>
                <c:pt idx="5143">
                  <c:v>0</c:v>
                </c:pt>
                <c:pt idx="5144">
                  <c:v>0</c:v>
                </c:pt>
                <c:pt idx="5145">
                  <c:v>0</c:v>
                </c:pt>
                <c:pt idx="5146">
                  <c:v>0</c:v>
                </c:pt>
                <c:pt idx="5147">
                  <c:v>0</c:v>
                </c:pt>
                <c:pt idx="5148">
                  <c:v>0</c:v>
                </c:pt>
                <c:pt idx="5149">
                  <c:v>0</c:v>
                </c:pt>
                <c:pt idx="5150">
                  <c:v>0</c:v>
                </c:pt>
                <c:pt idx="5151">
                  <c:v>0</c:v>
                </c:pt>
                <c:pt idx="5152">
                  <c:v>0</c:v>
                </c:pt>
                <c:pt idx="5153">
                  <c:v>0</c:v>
                </c:pt>
                <c:pt idx="5154">
                  <c:v>0</c:v>
                </c:pt>
                <c:pt idx="5155">
                  <c:v>0</c:v>
                </c:pt>
                <c:pt idx="5156">
                  <c:v>0</c:v>
                </c:pt>
                <c:pt idx="5157">
                  <c:v>0</c:v>
                </c:pt>
                <c:pt idx="5158">
                  <c:v>0</c:v>
                </c:pt>
                <c:pt idx="5159">
                  <c:v>0</c:v>
                </c:pt>
                <c:pt idx="5160">
                  <c:v>0</c:v>
                </c:pt>
                <c:pt idx="5161">
                  <c:v>0</c:v>
                </c:pt>
                <c:pt idx="5162">
                  <c:v>0</c:v>
                </c:pt>
                <c:pt idx="5163">
                  <c:v>0</c:v>
                </c:pt>
                <c:pt idx="5164">
                  <c:v>0</c:v>
                </c:pt>
                <c:pt idx="5165">
                  <c:v>0</c:v>
                </c:pt>
                <c:pt idx="5166">
                  <c:v>0</c:v>
                </c:pt>
                <c:pt idx="5167">
                  <c:v>0</c:v>
                </c:pt>
                <c:pt idx="5168">
                  <c:v>0</c:v>
                </c:pt>
                <c:pt idx="5169">
                  <c:v>0</c:v>
                </c:pt>
                <c:pt idx="5170">
                  <c:v>0</c:v>
                </c:pt>
                <c:pt idx="5171">
                  <c:v>0</c:v>
                </c:pt>
                <c:pt idx="5172">
                  <c:v>0</c:v>
                </c:pt>
                <c:pt idx="5173">
                  <c:v>0</c:v>
                </c:pt>
                <c:pt idx="5174">
                  <c:v>0</c:v>
                </c:pt>
                <c:pt idx="5175">
                  <c:v>0</c:v>
                </c:pt>
                <c:pt idx="5176">
                  <c:v>0</c:v>
                </c:pt>
                <c:pt idx="5177">
                  <c:v>0</c:v>
                </c:pt>
                <c:pt idx="5178">
                  <c:v>0</c:v>
                </c:pt>
                <c:pt idx="5179">
                  <c:v>0</c:v>
                </c:pt>
                <c:pt idx="5180">
                  <c:v>0</c:v>
                </c:pt>
                <c:pt idx="5181">
                  <c:v>0</c:v>
                </c:pt>
                <c:pt idx="5182">
                  <c:v>0</c:v>
                </c:pt>
                <c:pt idx="5183">
                  <c:v>0</c:v>
                </c:pt>
                <c:pt idx="5184">
                  <c:v>0</c:v>
                </c:pt>
                <c:pt idx="5185">
                  <c:v>0</c:v>
                </c:pt>
                <c:pt idx="5186">
                  <c:v>0</c:v>
                </c:pt>
                <c:pt idx="5187">
                  <c:v>0</c:v>
                </c:pt>
                <c:pt idx="5188">
                  <c:v>0</c:v>
                </c:pt>
                <c:pt idx="5189">
                  <c:v>0</c:v>
                </c:pt>
                <c:pt idx="5190">
                  <c:v>0</c:v>
                </c:pt>
                <c:pt idx="5191">
                  <c:v>0</c:v>
                </c:pt>
                <c:pt idx="5192">
                  <c:v>0</c:v>
                </c:pt>
                <c:pt idx="5193">
                  <c:v>0</c:v>
                </c:pt>
                <c:pt idx="5194">
                  <c:v>0</c:v>
                </c:pt>
                <c:pt idx="5195">
                  <c:v>0</c:v>
                </c:pt>
                <c:pt idx="5196">
                  <c:v>0</c:v>
                </c:pt>
                <c:pt idx="5197">
                  <c:v>0</c:v>
                </c:pt>
                <c:pt idx="5198">
                  <c:v>0</c:v>
                </c:pt>
                <c:pt idx="5199">
                  <c:v>0</c:v>
                </c:pt>
                <c:pt idx="5200">
                  <c:v>0</c:v>
                </c:pt>
                <c:pt idx="5201">
                  <c:v>0</c:v>
                </c:pt>
                <c:pt idx="5202">
                  <c:v>0</c:v>
                </c:pt>
                <c:pt idx="5203">
                  <c:v>0</c:v>
                </c:pt>
                <c:pt idx="5204">
                  <c:v>0</c:v>
                </c:pt>
                <c:pt idx="5205">
                  <c:v>0</c:v>
                </c:pt>
                <c:pt idx="5206">
                  <c:v>0</c:v>
                </c:pt>
                <c:pt idx="5207">
                  <c:v>0</c:v>
                </c:pt>
                <c:pt idx="5208">
                  <c:v>0</c:v>
                </c:pt>
                <c:pt idx="5209">
                  <c:v>0</c:v>
                </c:pt>
                <c:pt idx="5210">
                  <c:v>0</c:v>
                </c:pt>
                <c:pt idx="5211">
                  <c:v>0</c:v>
                </c:pt>
                <c:pt idx="5212">
                  <c:v>0</c:v>
                </c:pt>
                <c:pt idx="5213">
                  <c:v>0</c:v>
                </c:pt>
                <c:pt idx="5214">
                  <c:v>0</c:v>
                </c:pt>
                <c:pt idx="5215">
                  <c:v>0</c:v>
                </c:pt>
                <c:pt idx="5216">
                  <c:v>0</c:v>
                </c:pt>
                <c:pt idx="5217">
                  <c:v>0</c:v>
                </c:pt>
                <c:pt idx="5218">
                  <c:v>0</c:v>
                </c:pt>
                <c:pt idx="5219">
                  <c:v>0</c:v>
                </c:pt>
                <c:pt idx="5220">
                  <c:v>0</c:v>
                </c:pt>
                <c:pt idx="5221">
                  <c:v>0</c:v>
                </c:pt>
                <c:pt idx="5222">
                  <c:v>0</c:v>
                </c:pt>
                <c:pt idx="5223">
                  <c:v>0</c:v>
                </c:pt>
                <c:pt idx="5224">
                  <c:v>0</c:v>
                </c:pt>
                <c:pt idx="5225">
                  <c:v>0</c:v>
                </c:pt>
                <c:pt idx="5226">
                  <c:v>0</c:v>
                </c:pt>
                <c:pt idx="5227">
                  <c:v>0</c:v>
                </c:pt>
                <c:pt idx="5228">
                  <c:v>0</c:v>
                </c:pt>
                <c:pt idx="5229">
                  <c:v>0</c:v>
                </c:pt>
                <c:pt idx="5230">
                  <c:v>0</c:v>
                </c:pt>
                <c:pt idx="5231">
                  <c:v>0</c:v>
                </c:pt>
                <c:pt idx="5232">
                  <c:v>0</c:v>
                </c:pt>
                <c:pt idx="5233">
                  <c:v>0</c:v>
                </c:pt>
                <c:pt idx="5234">
                  <c:v>0</c:v>
                </c:pt>
                <c:pt idx="5235">
                  <c:v>0</c:v>
                </c:pt>
                <c:pt idx="5236">
                  <c:v>0</c:v>
                </c:pt>
                <c:pt idx="5237">
                  <c:v>0</c:v>
                </c:pt>
                <c:pt idx="5238">
                  <c:v>0</c:v>
                </c:pt>
                <c:pt idx="5239">
                  <c:v>0</c:v>
                </c:pt>
                <c:pt idx="5240">
                  <c:v>0</c:v>
                </c:pt>
                <c:pt idx="5241">
                  <c:v>0</c:v>
                </c:pt>
                <c:pt idx="5242">
                  <c:v>0</c:v>
                </c:pt>
                <c:pt idx="5243">
                  <c:v>0</c:v>
                </c:pt>
                <c:pt idx="5244">
                  <c:v>0</c:v>
                </c:pt>
                <c:pt idx="5245">
                  <c:v>0</c:v>
                </c:pt>
                <c:pt idx="5246">
                  <c:v>0</c:v>
                </c:pt>
                <c:pt idx="5247">
                  <c:v>0</c:v>
                </c:pt>
                <c:pt idx="5248">
                  <c:v>0</c:v>
                </c:pt>
                <c:pt idx="5249">
                  <c:v>0</c:v>
                </c:pt>
                <c:pt idx="5250">
                  <c:v>0</c:v>
                </c:pt>
                <c:pt idx="5251">
                  <c:v>0</c:v>
                </c:pt>
                <c:pt idx="5252">
                  <c:v>0</c:v>
                </c:pt>
                <c:pt idx="5253">
                  <c:v>0</c:v>
                </c:pt>
                <c:pt idx="5254">
                  <c:v>0</c:v>
                </c:pt>
                <c:pt idx="5255">
                  <c:v>0</c:v>
                </c:pt>
                <c:pt idx="5256">
                  <c:v>0</c:v>
                </c:pt>
                <c:pt idx="5257">
                  <c:v>0</c:v>
                </c:pt>
                <c:pt idx="5258">
                  <c:v>0</c:v>
                </c:pt>
                <c:pt idx="5259">
                  <c:v>0</c:v>
                </c:pt>
                <c:pt idx="5260">
                  <c:v>0</c:v>
                </c:pt>
                <c:pt idx="5261">
                  <c:v>0</c:v>
                </c:pt>
                <c:pt idx="5262">
                  <c:v>0</c:v>
                </c:pt>
                <c:pt idx="5263">
                  <c:v>0</c:v>
                </c:pt>
                <c:pt idx="5264">
                  <c:v>0</c:v>
                </c:pt>
                <c:pt idx="5265">
                  <c:v>0</c:v>
                </c:pt>
                <c:pt idx="5266">
                  <c:v>0</c:v>
                </c:pt>
                <c:pt idx="5267">
                  <c:v>0</c:v>
                </c:pt>
                <c:pt idx="5268">
                  <c:v>0</c:v>
                </c:pt>
                <c:pt idx="5269">
                  <c:v>0</c:v>
                </c:pt>
                <c:pt idx="5270">
                  <c:v>0</c:v>
                </c:pt>
                <c:pt idx="5271">
                  <c:v>0</c:v>
                </c:pt>
                <c:pt idx="5272">
                  <c:v>0</c:v>
                </c:pt>
                <c:pt idx="5273">
                  <c:v>0</c:v>
                </c:pt>
                <c:pt idx="5274">
                  <c:v>0</c:v>
                </c:pt>
                <c:pt idx="5275">
                  <c:v>0</c:v>
                </c:pt>
                <c:pt idx="5276">
                  <c:v>0</c:v>
                </c:pt>
                <c:pt idx="5277">
                  <c:v>0</c:v>
                </c:pt>
                <c:pt idx="5278">
                  <c:v>0</c:v>
                </c:pt>
                <c:pt idx="5279">
                  <c:v>0</c:v>
                </c:pt>
                <c:pt idx="5280">
                  <c:v>0</c:v>
                </c:pt>
                <c:pt idx="5281">
                  <c:v>0</c:v>
                </c:pt>
                <c:pt idx="5282">
                  <c:v>0</c:v>
                </c:pt>
                <c:pt idx="5283">
                  <c:v>0</c:v>
                </c:pt>
                <c:pt idx="5284">
                  <c:v>0</c:v>
                </c:pt>
                <c:pt idx="5285">
                  <c:v>0</c:v>
                </c:pt>
                <c:pt idx="5286">
                  <c:v>0</c:v>
                </c:pt>
                <c:pt idx="5287">
                  <c:v>0</c:v>
                </c:pt>
                <c:pt idx="5288">
                  <c:v>0</c:v>
                </c:pt>
                <c:pt idx="5289">
                  <c:v>0</c:v>
                </c:pt>
                <c:pt idx="5290">
                  <c:v>0</c:v>
                </c:pt>
                <c:pt idx="5291">
                  <c:v>0</c:v>
                </c:pt>
                <c:pt idx="5292">
                  <c:v>0</c:v>
                </c:pt>
                <c:pt idx="5293">
                  <c:v>0</c:v>
                </c:pt>
                <c:pt idx="5294">
                  <c:v>0</c:v>
                </c:pt>
                <c:pt idx="5295">
                  <c:v>0</c:v>
                </c:pt>
                <c:pt idx="5296">
                  <c:v>0</c:v>
                </c:pt>
                <c:pt idx="5297">
                  <c:v>0</c:v>
                </c:pt>
                <c:pt idx="5298">
                  <c:v>0</c:v>
                </c:pt>
                <c:pt idx="5299">
                  <c:v>0</c:v>
                </c:pt>
                <c:pt idx="5300">
                  <c:v>0</c:v>
                </c:pt>
                <c:pt idx="5301">
                  <c:v>0</c:v>
                </c:pt>
                <c:pt idx="5302">
                  <c:v>0</c:v>
                </c:pt>
                <c:pt idx="5303">
                  <c:v>0</c:v>
                </c:pt>
                <c:pt idx="5304">
                  <c:v>0</c:v>
                </c:pt>
                <c:pt idx="5305">
                  <c:v>0</c:v>
                </c:pt>
                <c:pt idx="5306">
                  <c:v>0</c:v>
                </c:pt>
                <c:pt idx="5307">
                  <c:v>0</c:v>
                </c:pt>
                <c:pt idx="5308">
                  <c:v>0</c:v>
                </c:pt>
                <c:pt idx="5309">
                  <c:v>0</c:v>
                </c:pt>
                <c:pt idx="5310">
                  <c:v>0</c:v>
                </c:pt>
                <c:pt idx="5311">
                  <c:v>0</c:v>
                </c:pt>
                <c:pt idx="5312">
                  <c:v>0</c:v>
                </c:pt>
                <c:pt idx="5313">
                  <c:v>0</c:v>
                </c:pt>
                <c:pt idx="5314">
                  <c:v>0</c:v>
                </c:pt>
                <c:pt idx="5315">
                  <c:v>0</c:v>
                </c:pt>
                <c:pt idx="5316">
                  <c:v>0</c:v>
                </c:pt>
                <c:pt idx="5317">
                  <c:v>0</c:v>
                </c:pt>
                <c:pt idx="5318">
                  <c:v>0</c:v>
                </c:pt>
                <c:pt idx="5319">
                  <c:v>0</c:v>
                </c:pt>
                <c:pt idx="5320">
                  <c:v>0</c:v>
                </c:pt>
                <c:pt idx="5321">
                  <c:v>0</c:v>
                </c:pt>
                <c:pt idx="5322">
                  <c:v>0</c:v>
                </c:pt>
                <c:pt idx="5323">
                  <c:v>0</c:v>
                </c:pt>
                <c:pt idx="5324">
                  <c:v>0</c:v>
                </c:pt>
                <c:pt idx="5325">
                  <c:v>0</c:v>
                </c:pt>
                <c:pt idx="5326">
                  <c:v>0</c:v>
                </c:pt>
                <c:pt idx="5327">
                  <c:v>0</c:v>
                </c:pt>
                <c:pt idx="5328">
                  <c:v>0</c:v>
                </c:pt>
                <c:pt idx="5329">
                  <c:v>0</c:v>
                </c:pt>
                <c:pt idx="5330">
                  <c:v>0</c:v>
                </c:pt>
                <c:pt idx="5331">
                  <c:v>0</c:v>
                </c:pt>
                <c:pt idx="5332">
                  <c:v>0</c:v>
                </c:pt>
                <c:pt idx="5333">
                  <c:v>0</c:v>
                </c:pt>
                <c:pt idx="5334">
                  <c:v>0</c:v>
                </c:pt>
                <c:pt idx="5335">
                  <c:v>0</c:v>
                </c:pt>
                <c:pt idx="5336">
                  <c:v>0</c:v>
                </c:pt>
                <c:pt idx="5337">
                  <c:v>0</c:v>
                </c:pt>
                <c:pt idx="5338">
                  <c:v>0</c:v>
                </c:pt>
                <c:pt idx="5339">
                  <c:v>0</c:v>
                </c:pt>
                <c:pt idx="5340">
                  <c:v>0</c:v>
                </c:pt>
                <c:pt idx="5341">
                  <c:v>0</c:v>
                </c:pt>
                <c:pt idx="5342">
                  <c:v>0</c:v>
                </c:pt>
                <c:pt idx="5343">
                  <c:v>0</c:v>
                </c:pt>
                <c:pt idx="5344">
                  <c:v>0</c:v>
                </c:pt>
                <c:pt idx="5345">
                  <c:v>0</c:v>
                </c:pt>
                <c:pt idx="5346">
                  <c:v>0</c:v>
                </c:pt>
                <c:pt idx="5347">
                  <c:v>0</c:v>
                </c:pt>
                <c:pt idx="5348">
                  <c:v>0</c:v>
                </c:pt>
                <c:pt idx="5349">
                  <c:v>0</c:v>
                </c:pt>
                <c:pt idx="5350">
                  <c:v>0</c:v>
                </c:pt>
                <c:pt idx="5351">
                  <c:v>0</c:v>
                </c:pt>
                <c:pt idx="5352">
                  <c:v>0</c:v>
                </c:pt>
                <c:pt idx="5353">
                  <c:v>0</c:v>
                </c:pt>
                <c:pt idx="5354">
                  <c:v>0</c:v>
                </c:pt>
                <c:pt idx="5355">
                  <c:v>0</c:v>
                </c:pt>
                <c:pt idx="5356">
                  <c:v>0</c:v>
                </c:pt>
                <c:pt idx="5357">
                  <c:v>0</c:v>
                </c:pt>
                <c:pt idx="5358">
                  <c:v>0</c:v>
                </c:pt>
                <c:pt idx="5359">
                  <c:v>0</c:v>
                </c:pt>
                <c:pt idx="5360">
                  <c:v>0</c:v>
                </c:pt>
                <c:pt idx="5361">
                  <c:v>0</c:v>
                </c:pt>
                <c:pt idx="5362">
                  <c:v>0</c:v>
                </c:pt>
                <c:pt idx="5363">
                  <c:v>0</c:v>
                </c:pt>
                <c:pt idx="5364">
                  <c:v>0</c:v>
                </c:pt>
                <c:pt idx="5365">
                  <c:v>0</c:v>
                </c:pt>
                <c:pt idx="5366">
                  <c:v>0</c:v>
                </c:pt>
                <c:pt idx="5367">
                  <c:v>0</c:v>
                </c:pt>
                <c:pt idx="5368">
                  <c:v>0</c:v>
                </c:pt>
                <c:pt idx="5369">
                  <c:v>0</c:v>
                </c:pt>
                <c:pt idx="5370">
                  <c:v>0</c:v>
                </c:pt>
                <c:pt idx="5371">
                  <c:v>0</c:v>
                </c:pt>
                <c:pt idx="5372">
                  <c:v>0</c:v>
                </c:pt>
                <c:pt idx="5373">
                  <c:v>0</c:v>
                </c:pt>
                <c:pt idx="5374">
                  <c:v>0</c:v>
                </c:pt>
                <c:pt idx="5375">
                  <c:v>0</c:v>
                </c:pt>
                <c:pt idx="5376">
                  <c:v>0</c:v>
                </c:pt>
                <c:pt idx="5377">
                  <c:v>0</c:v>
                </c:pt>
                <c:pt idx="5378">
                  <c:v>0</c:v>
                </c:pt>
                <c:pt idx="5379">
                  <c:v>0</c:v>
                </c:pt>
                <c:pt idx="5380">
                  <c:v>0</c:v>
                </c:pt>
                <c:pt idx="5381">
                  <c:v>0</c:v>
                </c:pt>
                <c:pt idx="5382">
                  <c:v>0</c:v>
                </c:pt>
                <c:pt idx="5383">
                  <c:v>0</c:v>
                </c:pt>
                <c:pt idx="5384">
                  <c:v>0</c:v>
                </c:pt>
                <c:pt idx="5385">
                  <c:v>0</c:v>
                </c:pt>
                <c:pt idx="5386">
                  <c:v>0</c:v>
                </c:pt>
                <c:pt idx="5387">
                  <c:v>0</c:v>
                </c:pt>
                <c:pt idx="5388">
                  <c:v>0</c:v>
                </c:pt>
                <c:pt idx="5389">
                  <c:v>0</c:v>
                </c:pt>
                <c:pt idx="5390">
                  <c:v>0</c:v>
                </c:pt>
                <c:pt idx="5391">
                  <c:v>0</c:v>
                </c:pt>
                <c:pt idx="5392">
                  <c:v>0</c:v>
                </c:pt>
                <c:pt idx="5393">
                  <c:v>0</c:v>
                </c:pt>
                <c:pt idx="5394">
                  <c:v>0</c:v>
                </c:pt>
                <c:pt idx="5395">
                  <c:v>0</c:v>
                </c:pt>
                <c:pt idx="5396">
                  <c:v>0</c:v>
                </c:pt>
                <c:pt idx="5397">
                  <c:v>0</c:v>
                </c:pt>
                <c:pt idx="5398">
                  <c:v>0</c:v>
                </c:pt>
                <c:pt idx="5399">
                  <c:v>0</c:v>
                </c:pt>
                <c:pt idx="5400">
                  <c:v>0</c:v>
                </c:pt>
                <c:pt idx="5401">
                  <c:v>0</c:v>
                </c:pt>
                <c:pt idx="5402">
                  <c:v>0</c:v>
                </c:pt>
                <c:pt idx="5403">
                  <c:v>0</c:v>
                </c:pt>
                <c:pt idx="5404">
                  <c:v>0</c:v>
                </c:pt>
                <c:pt idx="5405">
                  <c:v>0</c:v>
                </c:pt>
                <c:pt idx="5406">
                  <c:v>0</c:v>
                </c:pt>
                <c:pt idx="5407">
                  <c:v>0</c:v>
                </c:pt>
                <c:pt idx="5408">
                  <c:v>0</c:v>
                </c:pt>
                <c:pt idx="5409">
                  <c:v>0</c:v>
                </c:pt>
                <c:pt idx="5410">
                  <c:v>0</c:v>
                </c:pt>
                <c:pt idx="5411">
                  <c:v>0</c:v>
                </c:pt>
                <c:pt idx="5412">
                  <c:v>0</c:v>
                </c:pt>
                <c:pt idx="5413">
                  <c:v>1</c:v>
                </c:pt>
                <c:pt idx="5414">
                  <c:v>1</c:v>
                </c:pt>
                <c:pt idx="5415">
                  <c:v>1</c:v>
                </c:pt>
                <c:pt idx="5416">
                  <c:v>1</c:v>
                </c:pt>
                <c:pt idx="5417">
                  <c:v>1</c:v>
                </c:pt>
                <c:pt idx="5418">
                  <c:v>1</c:v>
                </c:pt>
                <c:pt idx="5419">
                  <c:v>1</c:v>
                </c:pt>
                <c:pt idx="5420">
                  <c:v>1</c:v>
                </c:pt>
                <c:pt idx="5421">
                  <c:v>1</c:v>
                </c:pt>
                <c:pt idx="5422">
                  <c:v>1</c:v>
                </c:pt>
                <c:pt idx="5423">
                  <c:v>1</c:v>
                </c:pt>
                <c:pt idx="5424">
                  <c:v>1</c:v>
                </c:pt>
                <c:pt idx="5425">
                  <c:v>1</c:v>
                </c:pt>
                <c:pt idx="5426">
                  <c:v>1</c:v>
                </c:pt>
                <c:pt idx="5427">
                  <c:v>1</c:v>
                </c:pt>
                <c:pt idx="5428">
                  <c:v>1</c:v>
                </c:pt>
                <c:pt idx="5429">
                  <c:v>1</c:v>
                </c:pt>
                <c:pt idx="5430">
                  <c:v>1</c:v>
                </c:pt>
                <c:pt idx="5431">
                  <c:v>1</c:v>
                </c:pt>
                <c:pt idx="5432">
                  <c:v>1</c:v>
                </c:pt>
                <c:pt idx="5433">
                  <c:v>1</c:v>
                </c:pt>
                <c:pt idx="5434">
                  <c:v>1</c:v>
                </c:pt>
                <c:pt idx="5435">
                  <c:v>1</c:v>
                </c:pt>
                <c:pt idx="5436">
                  <c:v>1</c:v>
                </c:pt>
                <c:pt idx="5437">
                  <c:v>1</c:v>
                </c:pt>
                <c:pt idx="5438">
                  <c:v>1</c:v>
                </c:pt>
                <c:pt idx="5439">
                  <c:v>1</c:v>
                </c:pt>
                <c:pt idx="5440">
                  <c:v>1</c:v>
                </c:pt>
                <c:pt idx="5441">
                  <c:v>1</c:v>
                </c:pt>
                <c:pt idx="5442">
                  <c:v>1</c:v>
                </c:pt>
                <c:pt idx="5443">
                  <c:v>1</c:v>
                </c:pt>
                <c:pt idx="5444">
                  <c:v>1</c:v>
                </c:pt>
                <c:pt idx="5445">
                  <c:v>1</c:v>
                </c:pt>
                <c:pt idx="5446">
                  <c:v>1</c:v>
                </c:pt>
                <c:pt idx="5447">
                  <c:v>1</c:v>
                </c:pt>
                <c:pt idx="5448">
                  <c:v>1</c:v>
                </c:pt>
                <c:pt idx="5449">
                  <c:v>1</c:v>
                </c:pt>
                <c:pt idx="5450">
                  <c:v>1</c:v>
                </c:pt>
                <c:pt idx="5451">
                  <c:v>1</c:v>
                </c:pt>
                <c:pt idx="5452">
                  <c:v>1</c:v>
                </c:pt>
                <c:pt idx="5453">
                  <c:v>1</c:v>
                </c:pt>
                <c:pt idx="5454">
                  <c:v>1</c:v>
                </c:pt>
                <c:pt idx="5455">
                  <c:v>1</c:v>
                </c:pt>
                <c:pt idx="5456">
                  <c:v>1</c:v>
                </c:pt>
                <c:pt idx="5457">
                  <c:v>1</c:v>
                </c:pt>
                <c:pt idx="5458">
                  <c:v>1</c:v>
                </c:pt>
                <c:pt idx="5459">
                  <c:v>1</c:v>
                </c:pt>
                <c:pt idx="5460">
                  <c:v>1</c:v>
                </c:pt>
                <c:pt idx="5461">
                  <c:v>1</c:v>
                </c:pt>
                <c:pt idx="5462">
                  <c:v>1</c:v>
                </c:pt>
                <c:pt idx="5463">
                  <c:v>1</c:v>
                </c:pt>
                <c:pt idx="5464">
                  <c:v>1</c:v>
                </c:pt>
                <c:pt idx="5465">
                  <c:v>1</c:v>
                </c:pt>
                <c:pt idx="5466">
                  <c:v>1</c:v>
                </c:pt>
                <c:pt idx="5467">
                  <c:v>1</c:v>
                </c:pt>
                <c:pt idx="5468">
                  <c:v>1</c:v>
                </c:pt>
                <c:pt idx="5469">
                  <c:v>1</c:v>
                </c:pt>
                <c:pt idx="5470">
                  <c:v>1</c:v>
                </c:pt>
                <c:pt idx="5471">
                  <c:v>1</c:v>
                </c:pt>
                <c:pt idx="5472">
                  <c:v>1</c:v>
                </c:pt>
                <c:pt idx="5473">
                  <c:v>1</c:v>
                </c:pt>
                <c:pt idx="5474">
                  <c:v>1</c:v>
                </c:pt>
                <c:pt idx="5475">
                  <c:v>1</c:v>
                </c:pt>
                <c:pt idx="5476">
                  <c:v>1</c:v>
                </c:pt>
                <c:pt idx="5477">
                  <c:v>1</c:v>
                </c:pt>
                <c:pt idx="5478">
                  <c:v>0</c:v>
                </c:pt>
                <c:pt idx="5479">
                  <c:v>0</c:v>
                </c:pt>
                <c:pt idx="5480">
                  <c:v>0</c:v>
                </c:pt>
                <c:pt idx="5481">
                  <c:v>0</c:v>
                </c:pt>
                <c:pt idx="5482">
                  <c:v>0</c:v>
                </c:pt>
                <c:pt idx="5483">
                  <c:v>0</c:v>
                </c:pt>
                <c:pt idx="5484">
                  <c:v>0</c:v>
                </c:pt>
                <c:pt idx="5485">
                  <c:v>0</c:v>
                </c:pt>
                <c:pt idx="5486">
                  <c:v>0</c:v>
                </c:pt>
                <c:pt idx="5487">
                  <c:v>0</c:v>
                </c:pt>
                <c:pt idx="5488">
                  <c:v>0</c:v>
                </c:pt>
                <c:pt idx="5489">
                  <c:v>0</c:v>
                </c:pt>
                <c:pt idx="5490">
                  <c:v>0</c:v>
                </c:pt>
                <c:pt idx="5491">
                  <c:v>0</c:v>
                </c:pt>
                <c:pt idx="5492">
                  <c:v>0</c:v>
                </c:pt>
                <c:pt idx="5493">
                  <c:v>0</c:v>
                </c:pt>
                <c:pt idx="5494">
                  <c:v>0</c:v>
                </c:pt>
                <c:pt idx="5495">
                  <c:v>0</c:v>
                </c:pt>
                <c:pt idx="5496">
                  <c:v>0</c:v>
                </c:pt>
                <c:pt idx="5497">
                  <c:v>0</c:v>
                </c:pt>
                <c:pt idx="5498">
                  <c:v>0</c:v>
                </c:pt>
                <c:pt idx="5499">
                  <c:v>0</c:v>
                </c:pt>
                <c:pt idx="5500">
                  <c:v>0</c:v>
                </c:pt>
                <c:pt idx="5501">
                  <c:v>0</c:v>
                </c:pt>
                <c:pt idx="5502">
                  <c:v>0</c:v>
                </c:pt>
                <c:pt idx="5503">
                  <c:v>0</c:v>
                </c:pt>
                <c:pt idx="5504">
                  <c:v>0</c:v>
                </c:pt>
                <c:pt idx="5505">
                  <c:v>0</c:v>
                </c:pt>
                <c:pt idx="5506">
                  <c:v>0</c:v>
                </c:pt>
                <c:pt idx="5507">
                  <c:v>0</c:v>
                </c:pt>
                <c:pt idx="5508">
                  <c:v>0</c:v>
                </c:pt>
                <c:pt idx="5509">
                  <c:v>0</c:v>
                </c:pt>
                <c:pt idx="5510">
                  <c:v>0</c:v>
                </c:pt>
                <c:pt idx="5511">
                  <c:v>0</c:v>
                </c:pt>
                <c:pt idx="5512">
                  <c:v>0</c:v>
                </c:pt>
                <c:pt idx="5513">
                  <c:v>0</c:v>
                </c:pt>
                <c:pt idx="5514">
                  <c:v>0</c:v>
                </c:pt>
                <c:pt idx="5515">
                  <c:v>0</c:v>
                </c:pt>
                <c:pt idx="5516">
                  <c:v>0</c:v>
                </c:pt>
                <c:pt idx="5517">
                  <c:v>0</c:v>
                </c:pt>
                <c:pt idx="5518">
                  <c:v>0</c:v>
                </c:pt>
                <c:pt idx="5519">
                  <c:v>0</c:v>
                </c:pt>
                <c:pt idx="5520">
                  <c:v>0</c:v>
                </c:pt>
                <c:pt idx="5521">
                  <c:v>0</c:v>
                </c:pt>
                <c:pt idx="5522">
                  <c:v>0</c:v>
                </c:pt>
                <c:pt idx="5523">
                  <c:v>0</c:v>
                </c:pt>
                <c:pt idx="5524">
                  <c:v>0</c:v>
                </c:pt>
                <c:pt idx="5525">
                  <c:v>0</c:v>
                </c:pt>
                <c:pt idx="5526">
                  <c:v>0</c:v>
                </c:pt>
                <c:pt idx="5527">
                  <c:v>0</c:v>
                </c:pt>
                <c:pt idx="5528">
                  <c:v>0</c:v>
                </c:pt>
                <c:pt idx="5529">
                  <c:v>0</c:v>
                </c:pt>
                <c:pt idx="5530">
                  <c:v>0</c:v>
                </c:pt>
                <c:pt idx="5531">
                  <c:v>0</c:v>
                </c:pt>
                <c:pt idx="5532">
                  <c:v>0</c:v>
                </c:pt>
                <c:pt idx="5533">
                  <c:v>0</c:v>
                </c:pt>
                <c:pt idx="5534">
                  <c:v>0</c:v>
                </c:pt>
                <c:pt idx="5535">
                  <c:v>0</c:v>
                </c:pt>
                <c:pt idx="5536">
                  <c:v>0</c:v>
                </c:pt>
                <c:pt idx="5537">
                  <c:v>0</c:v>
                </c:pt>
                <c:pt idx="5538">
                  <c:v>0</c:v>
                </c:pt>
                <c:pt idx="5539">
                  <c:v>0</c:v>
                </c:pt>
                <c:pt idx="5540">
                  <c:v>0</c:v>
                </c:pt>
                <c:pt idx="5541">
                  <c:v>0</c:v>
                </c:pt>
                <c:pt idx="5542">
                  <c:v>0</c:v>
                </c:pt>
                <c:pt idx="5543">
                  <c:v>0</c:v>
                </c:pt>
                <c:pt idx="5544">
                  <c:v>0</c:v>
                </c:pt>
                <c:pt idx="5545">
                  <c:v>0</c:v>
                </c:pt>
                <c:pt idx="5546">
                  <c:v>0</c:v>
                </c:pt>
                <c:pt idx="5547">
                  <c:v>0</c:v>
                </c:pt>
                <c:pt idx="5548">
                  <c:v>0</c:v>
                </c:pt>
                <c:pt idx="5549">
                  <c:v>0</c:v>
                </c:pt>
                <c:pt idx="5550">
                  <c:v>0</c:v>
                </c:pt>
                <c:pt idx="5551">
                  <c:v>0</c:v>
                </c:pt>
                <c:pt idx="5552">
                  <c:v>0</c:v>
                </c:pt>
                <c:pt idx="5553">
                  <c:v>0</c:v>
                </c:pt>
                <c:pt idx="5554">
                  <c:v>0</c:v>
                </c:pt>
                <c:pt idx="5555">
                  <c:v>0</c:v>
                </c:pt>
                <c:pt idx="5556">
                  <c:v>0</c:v>
                </c:pt>
                <c:pt idx="5557">
                  <c:v>0</c:v>
                </c:pt>
                <c:pt idx="5558">
                  <c:v>0</c:v>
                </c:pt>
                <c:pt idx="5559">
                  <c:v>0</c:v>
                </c:pt>
                <c:pt idx="5560">
                  <c:v>0</c:v>
                </c:pt>
                <c:pt idx="5561">
                  <c:v>0</c:v>
                </c:pt>
                <c:pt idx="5562">
                  <c:v>0</c:v>
                </c:pt>
                <c:pt idx="5563">
                  <c:v>0</c:v>
                </c:pt>
                <c:pt idx="5564">
                  <c:v>0</c:v>
                </c:pt>
                <c:pt idx="5565">
                  <c:v>0</c:v>
                </c:pt>
                <c:pt idx="5566">
                  <c:v>0</c:v>
                </c:pt>
                <c:pt idx="5567">
                  <c:v>0</c:v>
                </c:pt>
                <c:pt idx="5568">
                  <c:v>0</c:v>
                </c:pt>
                <c:pt idx="5569">
                  <c:v>0</c:v>
                </c:pt>
                <c:pt idx="5570">
                  <c:v>0</c:v>
                </c:pt>
                <c:pt idx="5571">
                  <c:v>0</c:v>
                </c:pt>
                <c:pt idx="5572">
                  <c:v>0</c:v>
                </c:pt>
                <c:pt idx="5573">
                  <c:v>0</c:v>
                </c:pt>
                <c:pt idx="5574">
                  <c:v>0</c:v>
                </c:pt>
                <c:pt idx="5575">
                  <c:v>0</c:v>
                </c:pt>
                <c:pt idx="5576">
                  <c:v>0</c:v>
                </c:pt>
                <c:pt idx="5577">
                  <c:v>0</c:v>
                </c:pt>
                <c:pt idx="5578">
                  <c:v>0</c:v>
                </c:pt>
                <c:pt idx="5579">
                  <c:v>0</c:v>
                </c:pt>
                <c:pt idx="5580">
                  <c:v>0</c:v>
                </c:pt>
                <c:pt idx="5581">
                  <c:v>0</c:v>
                </c:pt>
                <c:pt idx="5582">
                  <c:v>0</c:v>
                </c:pt>
                <c:pt idx="5583">
                  <c:v>0</c:v>
                </c:pt>
                <c:pt idx="5584">
                  <c:v>0</c:v>
                </c:pt>
                <c:pt idx="5585">
                  <c:v>0</c:v>
                </c:pt>
                <c:pt idx="5586">
                  <c:v>0</c:v>
                </c:pt>
                <c:pt idx="5587">
                  <c:v>0</c:v>
                </c:pt>
                <c:pt idx="5588">
                  <c:v>0</c:v>
                </c:pt>
                <c:pt idx="5589">
                  <c:v>0</c:v>
                </c:pt>
                <c:pt idx="5590">
                  <c:v>0</c:v>
                </c:pt>
                <c:pt idx="5591">
                  <c:v>0</c:v>
                </c:pt>
                <c:pt idx="5592">
                  <c:v>0</c:v>
                </c:pt>
                <c:pt idx="5593">
                  <c:v>0</c:v>
                </c:pt>
                <c:pt idx="5594">
                  <c:v>0</c:v>
                </c:pt>
                <c:pt idx="5595">
                  <c:v>0</c:v>
                </c:pt>
                <c:pt idx="5596">
                  <c:v>0</c:v>
                </c:pt>
                <c:pt idx="5597">
                  <c:v>0</c:v>
                </c:pt>
                <c:pt idx="5598">
                  <c:v>0</c:v>
                </c:pt>
                <c:pt idx="5599">
                  <c:v>0</c:v>
                </c:pt>
                <c:pt idx="5600">
                  <c:v>0</c:v>
                </c:pt>
                <c:pt idx="5601">
                  <c:v>0</c:v>
                </c:pt>
                <c:pt idx="5602">
                  <c:v>0</c:v>
                </c:pt>
                <c:pt idx="5603">
                  <c:v>0</c:v>
                </c:pt>
                <c:pt idx="5604">
                  <c:v>0</c:v>
                </c:pt>
                <c:pt idx="5605">
                  <c:v>0</c:v>
                </c:pt>
                <c:pt idx="5606">
                  <c:v>0</c:v>
                </c:pt>
                <c:pt idx="5607">
                  <c:v>0</c:v>
                </c:pt>
                <c:pt idx="5608">
                  <c:v>0</c:v>
                </c:pt>
                <c:pt idx="5609">
                  <c:v>0</c:v>
                </c:pt>
                <c:pt idx="5610">
                  <c:v>0</c:v>
                </c:pt>
                <c:pt idx="5611">
                  <c:v>0</c:v>
                </c:pt>
                <c:pt idx="5612">
                  <c:v>0</c:v>
                </c:pt>
                <c:pt idx="5613">
                  <c:v>0</c:v>
                </c:pt>
                <c:pt idx="5614">
                  <c:v>0</c:v>
                </c:pt>
                <c:pt idx="5615">
                  <c:v>0</c:v>
                </c:pt>
                <c:pt idx="5616">
                  <c:v>0</c:v>
                </c:pt>
                <c:pt idx="5617">
                  <c:v>0</c:v>
                </c:pt>
                <c:pt idx="5618">
                  <c:v>0</c:v>
                </c:pt>
                <c:pt idx="5619">
                  <c:v>0</c:v>
                </c:pt>
                <c:pt idx="5620">
                  <c:v>0</c:v>
                </c:pt>
                <c:pt idx="5621">
                  <c:v>0</c:v>
                </c:pt>
                <c:pt idx="5622">
                  <c:v>0</c:v>
                </c:pt>
                <c:pt idx="5623">
                  <c:v>0</c:v>
                </c:pt>
                <c:pt idx="5624">
                  <c:v>0</c:v>
                </c:pt>
                <c:pt idx="5625">
                  <c:v>0</c:v>
                </c:pt>
                <c:pt idx="5626">
                  <c:v>0</c:v>
                </c:pt>
                <c:pt idx="5627">
                  <c:v>0</c:v>
                </c:pt>
                <c:pt idx="5628">
                  <c:v>0</c:v>
                </c:pt>
                <c:pt idx="5629">
                  <c:v>0</c:v>
                </c:pt>
                <c:pt idx="5630">
                  <c:v>0</c:v>
                </c:pt>
                <c:pt idx="5631">
                  <c:v>0</c:v>
                </c:pt>
                <c:pt idx="5632">
                  <c:v>0</c:v>
                </c:pt>
                <c:pt idx="5633">
                  <c:v>0</c:v>
                </c:pt>
                <c:pt idx="5634">
                  <c:v>0</c:v>
                </c:pt>
                <c:pt idx="5635">
                  <c:v>0</c:v>
                </c:pt>
                <c:pt idx="5636">
                  <c:v>0</c:v>
                </c:pt>
                <c:pt idx="5637">
                  <c:v>0</c:v>
                </c:pt>
                <c:pt idx="5638">
                  <c:v>0</c:v>
                </c:pt>
                <c:pt idx="5639">
                  <c:v>0</c:v>
                </c:pt>
                <c:pt idx="5640">
                  <c:v>0</c:v>
                </c:pt>
                <c:pt idx="5641">
                  <c:v>0</c:v>
                </c:pt>
                <c:pt idx="5642">
                  <c:v>0</c:v>
                </c:pt>
                <c:pt idx="5643">
                  <c:v>0</c:v>
                </c:pt>
                <c:pt idx="5644">
                  <c:v>0</c:v>
                </c:pt>
                <c:pt idx="5645">
                  <c:v>0</c:v>
                </c:pt>
                <c:pt idx="5646">
                  <c:v>0</c:v>
                </c:pt>
                <c:pt idx="5647">
                  <c:v>0</c:v>
                </c:pt>
                <c:pt idx="5648">
                  <c:v>0</c:v>
                </c:pt>
                <c:pt idx="5649">
                  <c:v>0</c:v>
                </c:pt>
                <c:pt idx="5650">
                  <c:v>0</c:v>
                </c:pt>
                <c:pt idx="5651">
                  <c:v>0</c:v>
                </c:pt>
                <c:pt idx="5652">
                  <c:v>0</c:v>
                </c:pt>
                <c:pt idx="5653">
                  <c:v>0</c:v>
                </c:pt>
                <c:pt idx="5654">
                  <c:v>0</c:v>
                </c:pt>
                <c:pt idx="5655">
                  <c:v>0</c:v>
                </c:pt>
                <c:pt idx="5656">
                  <c:v>0</c:v>
                </c:pt>
                <c:pt idx="5657">
                  <c:v>0</c:v>
                </c:pt>
                <c:pt idx="5658">
                  <c:v>0</c:v>
                </c:pt>
                <c:pt idx="5659">
                  <c:v>0</c:v>
                </c:pt>
                <c:pt idx="5660">
                  <c:v>0</c:v>
                </c:pt>
                <c:pt idx="5661">
                  <c:v>0</c:v>
                </c:pt>
                <c:pt idx="5662">
                  <c:v>0</c:v>
                </c:pt>
                <c:pt idx="5663">
                  <c:v>0</c:v>
                </c:pt>
                <c:pt idx="5664">
                  <c:v>0</c:v>
                </c:pt>
                <c:pt idx="5665">
                  <c:v>0</c:v>
                </c:pt>
                <c:pt idx="5666">
                  <c:v>0</c:v>
                </c:pt>
                <c:pt idx="5667">
                  <c:v>0</c:v>
                </c:pt>
                <c:pt idx="5668">
                  <c:v>0</c:v>
                </c:pt>
                <c:pt idx="5669">
                  <c:v>0</c:v>
                </c:pt>
                <c:pt idx="5670">
                  <c:v>0</c:v>
                </c:pt>
                <c:pt idx="5671">
                  <c:v>0</c:v>
                </c:pt>
                <c:pt idx="5672">
                  <c:v>0</c:v>
                </c:pt>
                <c:pt idx="5673">
                  <c:v>0</c:v>
                </c:pt>
                <c:pt idx="5674">
                  <c:v>0</c:v>
                </c:pt>
                <c:pt idx="5675">
                  <c:v>0</c:v>
                </c:pt>
                <c:pt idx="5676">
                  <c:v>0</c:v>
                </c:pt>
                <c:pt idx="5677">
                  <c:v>0</c:v>
                </c:pt>
                <c:pt idx="5678">
                  <c:v>0</c:v>
                </c:pt>
                <c:pt idx="5679">
                  <c:v>0</c:v>
                </c:pt>
                <c:pt idx="5680">
                  <c:v>0</c:v>
                </c:pt>
                <c:pt idx="5681">
                  <c:v>0</c:v>
                </c:pt>
                <c:pt idx="5682">
                  <c:v>0</c:v>
                </c:pt>
                <c:pt idx="5683">
                  <c:v>0</c:v>
                </c:pt>
                <c:pt idx="5684">
                  <c:v>0</c:v>
                </c:pt>
                <c:pt idx="5685">
                  <c:v>0</c:v>
                </c:pt>
                <c:pt idx="5686">
                  <c:v>0</c:v>
                </c:pt>
                <c:pt idx="5687">
                  <c:v>0</c:v>
                </c:pt>
                <c:pt idx="5688">
                  <c:v>0</c:v>
                </c:pt>
                <c:pt idx="5689">
                  <c:v>0</c:v>
                </c:pt>
                <c:pt idx="5690">
                  <c:v>0</c:v>
                </c:pt>
                <c:pt idx="5691">
                  <c:v>0</c:v>
                </c:pt>
                <c:pt idx="5692">
                  <c:v>0</c:v>
                </c:pt>
                <c:pt idx="5693">
                  <c:v>0</c:v>
                </c:pt>
                <c:pt idx="5694">
                  <c:v>0</c:v>
                </c:pt>
                <c:pt idx="5695">
                  <c:v>0</c:v>
                </c:pt>
                <c:pt idx="5696">
                  <c:v>0</c:v>
                </c:pt>
                <c:pt idx="5697">
                  <c:v>0</c:v>
                </c:pt>
                <c:pt idx="5698">
                  <c:v>0</c:v>
                </c:pt>
                <c:pt idx="5699">
                  <c:v>0</c:v>
                </c:pt>
                <c:pt idx="5700">
                  <c:v>0</c:v>
                </c:pt>
                <c:pt idx="5701">
                  <c:v>0</c:v>
                </c:pt>
                <c:pt idx="5702">
                  <c:v>0</c:v>
                </c:pt>
                <c:pt idx="5703">
                  <c:v>0</c:v>
                </c:pt>
                <c:pt idx="5704">
                  <c:v>0</c:v>
                </c:pt>
                <c:pt idx="5705">
                  <c:v>0</c:v>
                </c:pt>
                <c:pt idx="5706">
                  <c:v>0</c:v>
                </c:pt>
                <c:pt idx="5707">
                  <c:v>0</c:v>
                </c:pt>
                <c:pt idx="5708">
                  <c:v>0</c:v>
                </c:pt>
                <c:pt idx="5709">
                  <c:v>0</c:v>
                </c:pt>
                <c:pt idx="5710">
                  <c:v>0</c:v>
                </c:pt>
                <c:pt idx="5711">
                  <c:v>0</c:v>
                </c:pt>
                <c:pt idx="5712">
                  <c:v>0</c:v>
                </c:pt>
                <c:pt idx="5713">
                  <c:v>0</c:v>
                </c:pt>
                <c:pt idx="5714">
                  <c:v>0</c:v>
                </c:pt>
                <c:pt idx="5715">
                  <c:v>0</c:v>
                </c:pt>
                <c:pt idx="5716">
                  <c:v>0</c:v>
                </c:pt>
                <c:pt idx="5717">
                  <c:v>0</c:v>
                </c:pt>
                <c:pt idx="5718">
                  <c:v>0</c:v>
                </c:pt>
                <c:pt idx="5719">
                  <c:v>0</c:v>
                </c:pt>
                <c:pt idx="5720">
                  <c:v>0</c:v>
                </c:pt>
                <c:pt idx="5721">
                  <c:v>0</c:v>
                </c:pt>
                <c:pt idx="5722">
                  <c:v>0</c:v>
                </c:pt>
                <c:pt idx="5723">
                  <c:v>0</c:v>
                </c:pt>
                <c:pt idx="5724">
                  <c:v>0</c:v>
                </c:pt>
                <c:pt idx="5725">
                  <c:v>0</c:v>
                </c:pt>
                <c:pt idx="5726">
                  <c:v>0</c:v>
                </c:pt>
                <c:pt idx="5727">
                  <c:v>0</c:v>
                </c:pt>
                <c:pt idx="5728">
                  <c:v>0</c:v>
                </c:pt>
                <c:pt idx="5729">
                  <c:v>0</c:v>
                </c:pt>
                <c:pt idx="5730">
                  <c:v>0</c:v>
                </c:pt>
                <c:pt idx="5731">
                  <c:v>0</c:v>
                </c:pt>
                <c:pt idx="5732">
                  <c:v>0</c:v>
                </c:pt>
                <c:pt idx="5733">
                  <c:v>0</c:v>
                </c:pt>
                <c:pt idx="5734">
                  <c:v>0</c:v>
                </c:pt>
                <c:pt idx="5735">
                  <c:v>0</c:v>
                </c:pt>
                <c:pt idx="5736">
                  <c:v>0</c:v>
                </c:pt>
                <c:pt idx="5737">
                  <c:v>0</c:v>
                </c:pt>
                <c:pt idx="5738">
                  <c:v>0</c:v>
                </c:pt>
                <c:pt idx="5739">
                  <c:v>0</c:v>
                </c:pt>
                <c:pt idx="5740">
                  <c:v>0</c:v>
                </c:pt>
                <c:pt idx="5741">
                  <c:v>0</c:v>
                </c:pt>
                <c:pt idx="5742">
                  <c:v>0</c:v>
                </c:pt>
                <c:pt idx="5743">
                  <c:v>0</c:v>
                </c:pt>
                <c:pt idx="5744">
                  <c:v>0</c:v>
                </c:pt>
                <c:pt idx="5745">
                  <c:v>0</c:v>
                </c:pt>
                <c:pt idx="5746">
                  <c:v>0</c:v>
                </c:pt>
                <c:pt idx="5747">
                  <c:v>0</c:v>
                </c:pt>
                <c:pt idx="5748">
                  <c:v>0</c:v>
                </c:pt>
                <c:pt idx="5749">
                  <c:v>0</c:v>
                </c:pt>
                <c:pt idx="5750">
                  <c:v>0</c:v>
                </c:pt>
                <c:pt idx="5751">
                  <c:v>0</c:v>
                </c:pt>
                <c:pt idx="5752">
                  <c:v>0</c:v>
                </c:pt>
                <c:pt idx="5753">
                  <c:v>0</c:v>
                </c:pt>
                <c:pt idx="5754">
                  <c:v>0</c:v>
                </c:pt>
                <c:pt idx="5755">
                  <c:v>0</c:v>
                </c:pt>
                <c:pt idx="5756">
                  <c:v>0</c:v>
                </c:pt>
                <c:pt idx="5757">
                  <c:v>0</c:v>
                </c:pt>
                <c:pt idx="5758">
                  <c:v>0</c:v>
                </c:pt>
                <c:pt idx="5759">
                  <c:v>0</c:v>
                </c:pt>
                <c:pt idx="5760">
                  <c:v>0</c:v>
                </c:pt>
                <c:pt idx="5761">
                  <c:v>0</c:v>
                </c:pt>
                <c:pt idx="5762">
                  <c:v>0</c:v>
                </c:pt>
                <c:pt idx="5763">
                  <c:v>0</c:v>
                </c:pt>
                <c:pt idx="5764">
                  <c:v>0</c:v>
                </c:pt>
                <c:pt idx="5765">
                  <c:v>0</c:v>
                </c:pt>
                <c:pt idx="5766">
                  <c:v>0</c:v>
                </c:pt>
                <c:pt idx="5767">
                  <c:v>0</c:v>
                </c:pt>
                <c:pt idx="5768">
                  <c:v>0</c:v>
                </c:pt>
                <c:pt idx="5769">
                  <c:v>0</c:v>
                </c:pt>
                <c:pt idx="5770">
                  <c:v>0</c:v>
                </c:pt>
                <c:pt idx="5771">
                  <c:v>0</c:v>
                </c:pt>
                <c:pt idx="5772">
                  <c:v>0</c:v>
                </c:pt>
                <c:pt idx="5773">
                  <c:v>0</c:v>
                </c:pt>
                <c:pt idx="5774">
                  <c:v>0</c:v>
                </c:pt>
                <c:pt idx="5775">
                  <c:v>0</c:v>
                </c:pt>
                <c:pt idx="5776">
                  <c:v>0</c:v>
                </c:pt>
                <c:pt idx="5777">
                  <c:v>0</c:v>
                </c:pt>
                <c:pt idx="5778">
                  <c:v>0</c:v>
                </c:pt>
                <c:pt idx="5779">
                  <c:v>0</c:v>
                </c:pt>
                <c:pt idx="5780">
                  <c:v>0</c:v>
                </c:pt>
                <c:pt idx="5781">
                  <c:v>0</c:v>
                </c:pt>
                <c:pt idx="5782">
                  <c:v>0</c:v>
                </c:pt>
                <c:pt idx="5783">
                  <c:v>0</c:v>
                </c:pt>
                <c:pt idx="5784">
                  <c:v>0</c:v>
                </c:pt>
                <c:pt idx="5785">
                  <c:v>0</c:v>
                </c:pt>
                <c:pt idx="5786">
                  <c:v>0</c:v>
                </c:pt>
                <c:pt idx="5787">
                  <c:v>0</c:v>
                </c:pt>
                <c:pt idx="5788">
                  <c:v>0</c:v>
                </c:pt>
                <c:pt idx="5789">
                  <c:v>0</c:v>
                </c:pt>
                <c:pt idx="5790">
                  <c:v>0</c:v>
                </c:pt>
                <c:pt idx="5791">
                  <c:v>0</c:v>
                </c:pt>
                <c:pt idx="5792">
                  <c:v>0</c:v>
                </c:pt>
                <c:pt idx="5793">
                  <c:v>0</c:v>
                </c:pt>
                <c:pt idx="5794">
                  <c:v>0</c:v>
                </c:pt>
                <c:pt idx="5795">
                  <c:v>0</c:v>
                </c:pt>
                <c:pt idx="5796">
                  <c:v>0</c:v>
                </c:pt>
                <c:pt idx="5797">
                  <c:v>0</c:v>
                </c:pt>
                <c:pt idx="5798">
                  <c:v>0</c:v>
                </c:pt>
                <c:pt idx="5799">
                  <c:v>0</c:v>
                </c:pt>
                <c:pt idx="5800">
                  <c:v>0</c:v>
                </c:pt>
                <c:pt idx="5801">
                  <c:v>0</c:v>
                </c:pt>
                <c:pt idx="5802">
                  <c:v>0</c:v>
                </c:pt>
                <c:pt idx="5803">
                  <c:v>0</c:v>
                </c:pt>
                <c:pt idx="5804">
                  <c:v>0</c:v>
                </c:pt>
                <c:pt idx="5805">
                  <c:v>0</c:v>
                </c:pt>
                <c:pt idx="5806">
                  <c:v>0</c:v>
                </c:pt>
                <c:pt idx="5807">
                  <c:v>0</c:v>
                </c:pt>
                <c:pt idx="5808">
                  <c:v>0</c:v>
                </c:pt>
                <c:pt idx="5809">
                  <c:v>0</c:v>
                </c:pt>
                <c:pt idx="5810">
                  <c:v>0</c:v>
                </c:pt>
                <c:pt idx="5811">
                  <c:v>0</c:v>
                </c:pt>
                <c:pt idx="5812">
                  <c:v>0</c:v>
                </c:pt>
                <c:pt idx="5813">
                  <c:v>0</c:v>
                </c:pt>
                <c:pt idx="5814">
                  <c:v>0</c:v>
                </c:pt>
                <c:pt idx="5815">
                  <c:v>0</c:v>
                </c:pt>
                <c:pt idx="5816">
                  <c:v>0</c:v>
                </c:pt>
                <c:pt idx="5817">
                  <c:v>0</c:v>
                </c:pt>
                <c:pt idx="5818">
                  <c:v>0</c:v>
                </c:pt>
                <c:pt idx="5819">
                  <c:v>0</c:v>
                </c:pt>
                <c:pt idx="5820">
                  <c:v>0</c:v>
                </c:pt>
                <c:pt idx="5821">
                  <c:v>0</c:v>
                </c:pt>
                <c:pt idx="5822">
                  <c:v>0</c:v>
                </c:pt>
                <c:pt idx="5823">
                  <c:v>0</c:v>
                </c:pt>
                <c:pt idx="5824">
                  <c:v>0</c:v>
                </c:pt>
                <c:pt idx="5825">
                  <c:v>0</c:v>
                </c:pt>
                <c:pt idx="5826">
                  <c:v>0</c:v>
                </c:pt>
                <c:pt idx="5827">
                  <c:v>0</c:v>
                </c:pt>
                <c:pt idx="5828">
                  <c:v>0</c:v>
                </c:pt>
                <c:pt idx="5829">
                  <c:v>0</c:v>
                </c:pt>
                <c:pt idx="5830">
                  <c:v>0</c:v>
                </c:pt>
                <c:pt idx="5831">
                  <c:v>0</c:v>
                </c:pt>
                <c:pt idx="5832">
                  <c:v>0</c:v>
                </c:pt>
                <c:pt idx="5833">
                  <c:v>0</c:v>
                </c:pt>
                <c:pt idx="5834">
                  <c:v>0</c:v>
                </c:pt>
                <c:pt idx="5835">
                  <c:v>0</c:v>
                </c:pt>
                <c:pt idx="5836">
                  <c:v>0</c:v>
                </c:pt>
                <c:pt idx="5837">
                  <c:v>0</c:v>
                </c:pt>
                <c:pt idx="5838">
                  <c:v>0</c:v>
                </c:pt>
                <c:pt idx="5839">
                  <c:v>0</c:v>
                </c:pt>
                <c:pt idx="5840">
                  <c:v>0</c:v>
                </c:pt>
                <c:pt idx="5841">
                  <c:v>0</c:v>
                </c:pt>
                <c:pt idx="5842">
                  <c:v>0</c:v>
                </c:pt>
                <c:pt idx="5843">
                  <c:v>0</c:v>
                </c:pt>
                <c:pt idx="5844">
                  <c:v>0</c:v>
                </c:pt>
                <c:pt idx="5845">
                  <c:v>0</c:v>
                </c:pt>
                <c:pt idx="5846">
                  <c:v>0</c:v>
                </c:pt>
                <c:pt idx="5847">
                  <c:v>0</c:v>
                </c:pt>
                <c:pt idx="5848">
                  <c:v>0</c:v>
                </c:pt>
                <c:pt idx="5849">
                  <c:v>0</c:v>
                </c:pt>
                <c:pt idx="5850">
                  <c:v>0</c:v>
                </c:pt>
                <c:pt idx="5851">
                  <c:v>0</c:v>
                </c:pt>
                <c:pt idx="5852">
                  <c:v>0</c:v>
                </c:pt>
                <c:pt idx="5853">
                  <c:v>0</c:v>
                </c:pt>
                <c:pt idx="5854">
                  <c:v>0</c:v>
                </c:pt>
                <c:pt idx="5855">
                  <c:v>0</c:v>
                </c:pt>
                <c:pt idx="5856">
                  <c:v>0</c:v>
                </c:pt>
                <c:pt idx="5857">
                  <c:v>0</c:v>
                </c:pt>
                <c:pt idx="5858">
                  <c:v>0</c:v>
                </c:pt>
                <c:pt idx="5859">
                  <c:v>0</c:v>
                </c:pt>
                <c:pt idx="5860">
                  <c:v>0</c:v>
                </c:pt>
                <c:pt idx="5861">
                  <c:v>0</c:v>
                </c:pt>
                <c:pt idx="5862">
                  <c:v>0</c:v>
                </c:pt>
                <c:pt idx="5863">
                  <c:v>0</c:v>
                </c:pt>
                <c:pt idx="5864">
                  <c:v>0</c:v>
                </c:pt>
                <c:pt idx="5865">
                  <c:v>0</c:v>
                </c:pt>
                <c:pt idx="5866">
                  <c:v>0</c:v>
                </c:pt>
                <c:pt idx="5867">
                  <c:v>0</c:v>
                </c:pt>
                <c:pt idx="5868">
                  <c:v>0</c:v>
                </c:pt>
                <c:pt idx="5869">
                  <c:v>0</c:v>
                </c:pt>
                <c:pt idx="5870">
                  <c:v>0</c:v>
                </c:pt>
                <c:pt idx="5871">
                  <c:v>0</c:v>
                </c:pt>
                <c:pt idx="5872">
                  <c:v>0</c:v>
                </c:pt>
                <c:pt idx="5873">
                  <c:v>0</c:v>
                </c:pt>
                <c:pt idx="5874">
                  <c:v>0</c:v>
                </c:pt>
                <c:pt idx="5875">
                  <c:v>0</c:v>
                </c:pt>
                <c:pt idx="5876">
                  <c:v>0</c:v>
                </c:pt>
                <c:pt idx="5877">
                  <c:v>0</c:v>
                </c:pt>
                <c:pt idx="5878">
                  <c:v>0</c:v>
                </c:pt>
                <c:pt idx="5879">
                  <c:v>0</c:v>
                </c:pt>
                <c:pt idx="5880">
                  <c:v>0</c:v>
                </c:pt>
                <c:pt idx="5881">
                  <c:v>0</c:v>
                </c:pt>
                <c:pt idx="5882">
                  <c:v>0</c:v>
                </c:pt>
                <c:pt idx="5883">
                  <c:v>0</c:v>
                </c:pt>
                <c:pt idx="5884">
                  <c:v>0</c:v>
                </c:pt>
                <c:pt idx="5885">
                  <c:v>0</c:v>
                </c:pt>
                <c:pt idx="5886">
                  <c:v>0</c:v>
                </c:pt>
                <c:pt idx="5887">
                  <c:v>0</c:v>
                </c:pt>
                <c:pt idx="5888">
                  <c:v>0</c:v>
                </c:pt>
                <c:pt idx="5889">
                  <c:v>0</c:v>
                </c:pt>
                <c:pt idx="5890">
                  <c:v>0</c:v>
                </c:pt>
                <c:pt idx="5891">
                  <c:v>0</c:v>
                </c:pt>
                <c:pt idx="5892">
                  <c:v>0</c:v>
                </c:pt>
                <c:pt idx="5893">
                  <c:v>0</c:v>
                </c:pt>
                <c:pt idx="5894">
                  <c:v>0</c:v>
                </c:pt>
                <c:pt idx="5895">
                  <c:v>0</c:v>
                </c:pt>
                <c:pt idx="5896">
                  <c:v>0</c:v>
                </c:pt>
                <c:pt idx="5897">
                  <c:v>0</c:v>
                </c:pt>
                <c:pt idx="5898">
                  <c:v>0</c:v>
                </c:pt>
                <c:pt idx="5899">
                  <c:v>0</c:v>
                </c:pt>
                <c:pt idx="5900">
                  <c:v>0</c:v>
                </c:pt>
                <c:pt idx="5901">
                  <c:v>0</c:v>
                </c:pt>
                <c:pt idx="5902">
                  <c:v>0</c:v>
                </c:pt>
                <c:pt idx="5903">
                  <c:v>0</c:v>
                </c:pt>
                <c:pt idx="5904">
                  <c:v>0</c:v>
                </c:pt>
                <c:pt idx="5905">
                  <c:v>0</c:v>
                </c:pt>
                <c:pt idx="5906">
                  <c:v>0</c:v>
                </c:pt>
                <c:pt idx="5907">
                  <c:v>0</c:v>
                </c:pt>
                <c:pt idx="5908">
                  <c:v>0</c:v>
                </c:pt>
                <c:pt idx="5909">
                  <c:v>0</c:v>
                </c:pt>
                <c:pt idx="5910">
                  <c:v>0</c:v>
                </c:pt>
                <c:pt idx="5911">
                  <c:v>0</c:v>
                </c:pt>
                <c:pt idx="5912">
                  <c:v>0</c:v>
                </c:pt>
                <c:pt idx="5913">
                  <c:v>0</c:v>
                </c:pt>
                <c:pt idx="5914">
                  <c:v>0</c:v>
                </c:pt>
                <c:pt idx="5915">
                  <c:v>0</c:v>
                </c:pt>
                <c:pt idx="5916">
                  <c:v>0</c:v>
                </c:pt>
                <c:pt idx="5917">
                  <c:v>0</c:v>
                </c:pt>
                <c:pt idx="5918">
                  <c:v>0</c:v>
                </c:pt>
                <c:pt idx="5919">
                  <c:v>0</c:v>
                </c:pt>
                <c:pt idx="5920">
                  <c:v>0</c:v>
                </c:pt>
                <c:pt idx="5921">
                  <c:v>0</c:v>
                </c:pt>
                <c:pt idx="5922">
                  <c:v>0</c:v>
                </c:pt>
                <c:pt idx="5923">
                  <c:v>0</c:v>
                </c:pt>
                <c:pt idx="5924">
                  <c:v>0</c:v>
                </c:pt>
                <c:pt idx="5925">
                  <c:v>0</c:v>
                </c:pt>
                <c:pt idx="5926">
                  <c:v>0</c:v>
                </c:pt>
                <c:pt idx="5927">
                  <c:v>0</c:v>
                </c:pt>
                <c:pt idx="5928">
                  <c:v>0</c:v>
                </c:pt>
                <c:pt idx="5929">
                  <c:v>0</c:v>
                </c:pt>
                <c:pt idx="5930">
                  <c:v>0</c:v>
                </c:pt>
                <c:pt idx="5931">
                  <c:v>0</c:v>
                </c:pt>
                <c:pt idx="5932">
                  <c:v>0</c:v>
                </c:pt>
                <c:pt idx="5933">
                  <c:v>0</c:v>
                </c:pt>
                <c:pt idx="5934">
                  <c:v>0</c:v>
                </c:pt>
                <c:pt idx="5935">
                  <c:v>0</c:v>
                </c:pt>
                <c:pt idx="5936">
                  <c:v>0</c:v>
                </c:pt>
                <c:pt idx="5937">
                  <c:v>0</c:v>
                </c:pt>
                <c:pt idx="5938">
                  <c:v>0</c:v>
                </c:pt>
                <c:pt idx="5939">
                  <c:v>0</c:v>
                </c:pt>
                <c:pt idx="5940">
                  <c:v>0</c:v>
                </c:pt>
                <c:pt idx="5941">
                  <c:v>0</c:v>
                </c:pt>
                <c:pt idx="5942">
                  <c:v>0</c:v>
                </c:pt>
                <c:pt idx="5943">
                  <c:v>0</c:v>
                </c:pt>
                <c:pt idx="5944">
                  <c:v>0</c:v>
                </c:pt>
                <c:pt idx="5945">
                  <c:v>0</c:v>
                </c:pt>
                <c:pt idx="5946">
                  <c:v>0</c:v>
                </c:pt>
                <c:pt idx="5947">
                  <c:v>0</c:v>
                </c:pt>
                <c:pt idx="5948">
                  <c:v>0</c:v>
                </c:pt>
                <c:pt idx="5949">
                  <c:v>0</c:v>
                </c:pt>
                <c:pt idx="5950">
                  <c:v>0</c:v>
                </c:pt>
                <c:pt idx="5951">
                  <c:v>0</c:v>
                </c:pt>
                <c:pt idx="5952">
                  <c:v>0</c:v>
                </c:pt>
                <c:pt idx="5953">
                  <c:v>0</c:v>
                </c:pt>
                <c:pt idx="5954">
                  <c:v>0</c:v>
                </c:pt>
                <c:pt idx="5955">
                  <c:v>0</c:v>
                </c:pt>
                <c:pt idx="5956">
                  <c:v>0</c:v>
                </c:pt>
                <c:pt idx="5957">
                  <c:v>0</c:v>
                </c:pt>
                <c:pt idx="5958">
                  <c:v>0</c:v>
                </c:pt>
                <c:pt idx="5959">
                  <c:v>0</c:v>
                </c:pt>
                <c:pt idx="5960">
                  <c:v>0</c:v>
                </c:pt>
                <c:pt idx="5961">
                  <c:v>0</c:v>
                </c:pt>
                <c:pt idx="5962">
                  <c:v>0</c:v>
                </c:pt>
                <c:pt idx="5963">
                  <c:v>0</c:v>
                </c:pt>
                <c:pt idx="5964">
                  <c:v>0</c:v>
                </c:pt>
                <c:pt idx="5965">
                  <c:v>0</c:v>
                </c:pt>
                <c:pt idx="5966">
                  <c:v>0</c:v>
                </c:pt>
                <c:pt idx="5967">
                  <c:v>0</c:v>
                </c:pt>
                <c:pt idx="5968">
                  <c:v>0</c:v>
                </c:pt>
                <c:pt idx="5969">
                  <c:v>0</c:v>
                </c:pt>
                <c:pt idx="5970">
                  <c:v>0</c:v>
                </c:pt>
                <c:pt idx="5971">
                  <c:v>0</c:v>
                </c:pt>
                <c:pt idx="5972">
                  <c:v>0</c:v>
                </c:pt>
                <c:pt idx="5973">
                  <c:v>0</c:v>
                </c:pt>
                <c:pt idx="5974">
                  <c:v>0</c:v>
                </c:pt>
                <c:pt idx="5975">
                  <c:v>0</c:v>
                </c:pt>
                <c:pt idx="5976">
                  <c:v>0</c:v>
                </c:pt>
                <c:pt idx="5977">
                  <c:v>0</c:v>
                </c:pt>
                <c:pt idx="5978">
                  <c:v>0</c:v>
                </c:pt>
                <c:pt idx="5979">
                  <c:v>0</c:v>
                </c:pt>
                <c:pt idx="5980">
                  <c:v>0</c:v>
                </c:pt>
                <c:pt idx="5981">
                  <c:v>0</c:v>
                </c:pt>
                <c:pt idx="5982">
                  <c:v>0</c:v>
                </c:pt>
                <c:pt idx="5983">
                  <c:v>0</c:v>
                </c:pt>
                <c:pt idx="5984">
                  <c:v>0</c:v>
                </c:pt>
                <c:pt idx="5985">
                  <c:v>0</c:v>
                </c:pt>
                <c:pt idx="5986">
                  <c:v>0</c:v>
                </c:pt>
                <c:pt idx="5987">
                  <c:v>0</c:v>
                </c:pt>
                <c:pt idx="5988">
                  <c:v>0</c:v>
                </c:pt>
                <c:pt idx="5989">
                  <c:v>0</c:v>
                </c:pt>
                <c:pt idx="5990">
                  <c:v>0</c:v>
                </c:pt>
                <c:pt idx="5991">
                  <c:v>0</c:v>
                </c:pt>
                <c:pt idx="5992">
                  <c:v>0</c:v>
                </c:pt>
                <c:pt idx="5993">
                  <c:v>0</c:v>
                </c:pt>
                <c:pt idx="5994">
                  <c:v>0</c:v>
                </c:pt>
                <c:pt idx="5995">
                  <c:v>0</c:v>
                </c:pt>
                <c:pt idx="5996">
                  <c:v>0</c:v>
                </c:pt>
                <c:pt idx="5997">
                  <c:v>0</c:v>
                </c:pt>
                <c:pt idx="5998">
                  <c:v>0</c:v>
                </c:pt>
                <c:pt idx="5999">
                  <c:v>0</c:v>
                </c:pt>
                <c:pt idx="6000">
                  <c:v>0</c:v>
                </c:pt>
                <c:pt idx="6001">
                  <c:v>0</c:v>
                </c:pt>
                <c:pt idx="6002">
                  <c:v>0</c:v>
                </c:pt>
                <c:pt idx="6003">
                  <c:v>0</c:v>
                </c:pt>
                <c:pt idx="6004">
                  <c:v>0</c:v>
                </c:pt>
                <c:pt idx="6005">
                  <c:v>0</c:v>
                </c:pt>
                <c:pt idx="6006">
                  <c:v>0</c:v>
                </c:pt>
                <c:pt idx="6007">
                  <c:v>0</c:v>
                </c:pt>
                <c:pt idx="6008">
                  <c:v>0</c:v>
                </c:pt>
                <c:pt idx="6009">
                  <c:v>0</c:v>
                </c:pt>
                <c:pt idx="6010">
                  <c:v>0</c:v>
                </c:pt>
                <c:pt idx="6011">
                  <c:v>0</c:v>
                </c:pt>
                <c:pt idx="6012">
                  <c:v>0</c:v>
                </c:pt>
                <c:pt idx="6013">
                  <c:v>0</c:v>
                </c:pt>
                <c:pt idx="6014">
                  <c:v>0</c:v>
                </c:pt>
                <c:pt idx="6015">
                  <c:v>0</c:v>
                </c:pt>
                <c:pt idx="6016">
                  <c:v>0</c:v>
                </c:pt>
                <c:pt idx="6017">
                  <c:v>0</c:v>
                </c:pt>
                <c:pt idx="6018">
                  <c:v>0</c:v>
                </c:pt>
                <c:pt idx="6019">
                  <c:v>0</c:v>
                </c:pt>
                <c:pt idx="6020">
                  <c:v>0</c:v>
                </c:pt>
                <c:pt idx="6021">
                  <c:v>0</c:v>
                </c:pt>
                <c:pt idx="6022">
                  <c:v>0</c:v>
                </c:pt>
                <c:pt idx="6023">
                  <c:v>0</c:v>
                </c:pt>
                <c:pt idx="6024">
                  <c:v>0</c:v>
                </c:pt>
                <c:pt idx="6025">
                  <c:v>0</c:v>
                </c:pt>
                <c:pt idx="6026">
                  <c:v>0</c:v>
                </c:pt>
                <c:pt idx="6027">
                  <c:v>0</c:v>
                </c:pt>
                <c:pt idx="6028">
                  <c:v>0</c:v>
                </c:pt>
                <c:pt idx="6029">
                  <c:v>0</c:v>
                </c:pt>
                <c:pt idx="6030">
                  <c:v>0</c:v>
                </c:pt>
                <c:pt idx="6031">
                  <c:v>0</c:v>
                </c:pt>
                <c:pt idx="6032">
                  <c:v>0</c:v>
                </c:pt>
                <c:pt idx="6033">
                  <c:v>0</c:v>
                </c:pt>
                <c:pt idx="6034">
                  <c:v>0</c:v>
                </c:pt>
                <c:pt idx="6035">
                  <c:v>0</c:v>
                </c:pt>
                <c:pt idx="6036">
                  <c:v>0</c:v>
                </c:pt>
                <c:pt idx="6037">
                  <c:v>0</c:v>
                </c:pt>
                <c:pt idx="6038">
                  <c:v>0</c:v>
                </c:pt>
                <c:pt idx="6039">
                  <c:v>0</c:v>
                </c:pt>
                <c:pt idx="6040">
                  <c:v>0</c:v>
                </c:pt>
                <c:pt idx="6041">
                  <c:v>0</c:v>
                </c:pt>
                <c:pt idx="6042">
                  <c:v>0</c:v>
                </c:pt>
                <c:pt idx="6043">
                  <c:v>0</c:v>
                </c:pt>
                <c:pt idx="6044">
                  <c:v>0</c:v>
                </c:pt>
                <c:pt idx="6045">
                  <c:v>0</c:v>
                </c:pt>
                <c:pt idx="6046">
                  <c:v>0</c:v>
                </c:pt>
                <c:pt idx="6047">
                  <c:v>0</c:v>
                </c:pt>
                <c:pt idx="6048">
                  <c:v>0</c:v>
                </c:pt>
                <c:pt idx="6049">
                  <c:v>0</c:v>
                </c:pt>
                <c:pt idx="6050">
                  <c:v>0</c:v>
                </c:pt>
                <c:pt idx="6051">
                  <c:v>0</c:v>
                </c:pt>
                <c:pt idx="6052">
                  <c:v>0</c:v>
                </c:pt>
                <c:pt idx="6053">
                  <c:v>0</c:v>
                </c:pt>
                <c:pt idx="6054">
                  <c:v>0</c:v>
                </c:pt>
                <c:pt idx="6055">
                  <c:v>0</c:v>
                </c:pt>
                <c:pt idx="6056">
                  <c:v>0</c:v>
                </c:pt>
                <c:pt idx="6057">
                  <c:v>0</c:v>
                </c:pt>
                <c:pt idx="6058">
                  <c:v>0</c:v>
                </c:pt>
                <c:pt idx="6059">
                  <c:v>0</c:v>
                </c:pt>
                <c:pt idx="6060">
                  <c:v>0</c:v>
                </c:pt>
                <c:pt idx="6061">
                  <c:v>0</c:v>
                </c:pt>
                <c:pt idx="6062">
                  <c:v>0</c:v>
                </c:pt>
                <c:pt idx="6063">
                  <c:v>0</c:v>
                </c:pt>
                <c:pt idx="6064">
                  <c:v>0</c:v>
                </c:pt>
                <c:pt idx="6065">
                  <c:v>0</c:v>
                </c:pt>
                <c:pt idx="6066">
                  <c:v>0</c:v>
                </c:pt>
                <c:pt idx="6067">
                  <c:v>0</c:v>
                </c:pt>
                <c:pt idx="6068">
                  <c:v>0</c:v>
                </c:pt>
                <c:pt idx="6069">
                  <c:v>0</c:v>
                </c:pt>
                <c:pt idx="6070">
                  <c:v>0</c:v>
                </c:pt>
                <c:pt idx="6071">
                  <c:v>0</c:v>
                </c:pt>
                <c:pt idx="6072">
                  <c:v>0</c:v>
                </c:pt>
                <c:pt idx="6073">
                  <c:v>0</c:v>
                </c:pt>
                <c:pt idx="6074">
                  <c:v>0</c:v>
                </c:pt>
                <c:pt idx="6075">
                  <c:v>0</c:v>
                </c:pt>
                <c:pt idx="6076">
                  <c:v>0</c:v>
                </c:pt>
                <c:pt idx="6077">
                  <c:v>0</c:v>
                </c:pt>
                <c:pt idx="6078">
                  <c:v>0</c:v>
                </c:pt>
                <c:pt idx="6079">
                  <c:v>0</c:v>
                </c:pt>
                <c:pt idx="6080">
                  <c:v>0</c:v>
                </c:pt>
                <c:pt idx="6081">
                  <c:v>0</c:v>
                </c:pt>
                <c:pt idx="6082">
                  <c:v>0</c:v>
                </c:pt>
                <c:pt idx="6083">
                  <c:v>0</c:v>
                </c:pt>
                <c:pt idx="6084">
                  <c:v>0</c:v>
                </c:pt>
                <c:pt idx="6085">
                  <c:v>0</c:v>
                </c:pt>
                <c:pt idx="6086">
                  <c:v>0</c:v>
                </c:pt>
                <c:pt idx="6087">
                  <c:v>0</c:v>
                </c:pt>
                <c:pt idx="6088">
                  <c:v>0</c:v>
                </c:pt>
                <c:pt idx="6089">
                  <c:v>0</c:v>
                </c:pt>
                <c:pt idx="6090">
                  <c:v>0</c:v>
                </c:pt>
                <c:pt idx="6091">
                  <c:v>0</c:v>
                </c:pt>
                <c:pt idx="6092">
                  <c:v>0</c:v>
                </c:pt>
                <c:pt idx="6093">
                  <c:v>0</c:v>
                </c:pt>
                <c:pt idx="6094">
                  <c:v>0</c:v>
                </c:pt>
                <c:pt idx="6095">
                  <c:v>0</c:v>
                </c:pt>
                <c:pt idx="6096">
                  <c:v>0</c:v>
                </c:pt>
                <c:pt idx="6097">
                  <c:v>0</c:v>
                </c:pt>
                <c:pt idx="6098">
                  <c:v>0</c:v>
                </c:pt>
                <c:pt idx="6099">
                  <c:v>0</c:v>
                </c:pt>
                <c:pt idx="6100">
                  <c:v>0</c:v>
                </c:pt>
                <c:pt idx="6101">
                  <c:v>0</c:v>
                </c:pt>
                <c:pt idx="6102">
                  <c:v>0</c:v>
                </c:pt>
                <c:pt idx="6103">
                  <c:v>0</c:v>
                </c:pt>
                <c:pt idx="6104">
                  <c:v>0</c:v>
                </c:pt>
                <c:pt idx="6105">
                  <c:v>0</c:v>
                </c:pt>
                <c:pt idx="6106">
                  <c:v>0</c:v>
                </c:pt>
                <c:pt idx="6107">
                  <c:v>0</c:v>
                </c:pt>
                <c:pt idx="6108">
                  <c:v>0</c:v>
                </c:pt>
                <c:pt idx="6109">
                  <c:v>0</c:v>
                </c:pt>
                <c:pt idx="6110">
                  <c:v>0</c:v>
                </c:pt>
                <c:pt idx="6111">
                  <c:v>0</c:v>
                </c:pt>
                <c:pt idx="6112">
                  <c:v>0</c:v>
                </c:pt>
                <c:pt idx="6113">
                  <c:v>0</c:v>
                </c:pt>
                <c:pt idx="6114">
                  <c:v>0</c:v>
                </c:pt>
                <c:pt idx="6115">
                  <c:v>0</c:v>
                </c:pt>
                <c:pt idx="6116">
                  <c:v>0</c:v>
                </c:pt>
                <c:pt idx="6117">
                  <c:v>0</c:v>
                </c:pt>
                <c:pt idx="6118">
                  <c:v>0</c:v>
                </c:pt>
                <c:pt idx="6119">
                  <c:v>0</c:v>
                </c:pt>
                <c:pt idx="6120">
                  <c:v>0</c:v>
                </c:pt>
                <c:pt idx="6121">
                  <c:v>0</c:v>
                </c:pt>
                <c:pt idx="6122">
                  <c:v>0</c:v>
                </c:pt>
                <c:pt idx="6123">
                  <c:v>0</c:v>
                </c:pt>
                <c:pt idx="6124">
                  <c:v>0</c:v>
                </c:pt>
                <c:pt idx="6125">
                  <c:v>0</c:v>
                </c:pt>
                <c:pt idx="6126">
                  <c:v>0</c:v>
                </c:pt>
                <c:pt idx="6127">
                  <c:v>0</c:v>
                </c:pt>
                <c:pt idx="6128">
                  <c:v>0</c:v>
                </c:pt>
                <c:pt idx="6129">
                  <c:v>0</c:v>
                </c:pt>
                <c:pt idx="6130">
                  <c:v>0</c:v>
                </c:pt>
                <c:pt idx="6131">
                  <c:v>0</c:v>
                </c:pt>
                <c:pt idx="6132">
                  <c:v>0</c:v>
                </c:pt>
                <c:pt idx="6133">
                  <c:v>0</c:v>
                </c:pt>
                <c:pt idx="6134">
                  <c:v>0</c:v>
                </c:pt>
                <c:pt idx="6135">
                  <c:v>0</c:v>
                </c:pt>
                <c:pt idx="6136">
                  <c:v>0</c:v>
                </c:pt>
                <c:pt idx="6137">
                  <c:v>0</c:v>
                </c:pt>
                <c:pt idx="6138">
                  <c:v>0</c:v>
                </c:pt>
                <c:pt idx="6139">
                  <c:v>0</c:v>
                </c:pt>
                <c:pt idx="6140">
                  <c:v>0</c:v>
                </c:pt>
                <c:pt idx="6141">
                  <c:v>0</c:v>
                </c:pt>
                <c:pt idx="6142">
                  <c:v>0</c:v>
                </c:pt>
                <c:pt idx="6143">
                  <c:v>0</c:v>
                </c:pt>
                <c:pt idx="6144">
                  <c:v>0</c:v>
                </c:pt>
                <c:pt idx="6145">
                  <c:v>0</c:v>
                </c:pt>
                <c:pt idx="6146">
                  <c:v>0</c:v>
                </c:pt>
                <c:pt idx="6147">
                  <c:v>0</c:v>
                </c:pt>
                <c:pt idx="6148">
                  <c:v>0</c:v>
                </c:pt>
                <c:pt idx="6149">
                  <c:v>0</c:v>
                </c:pt>
                <c:pt idx="6150">
                  <c:v>0</c:v>
                </c:pt>
                <c:pt idx="6151">
                  <c:v>0</c:v>
                </c:pt>
                <c:pt idx="6152">
                  <c:v>0</c:v>
                </c:pt>
                <c:pt idx="6153">
                  <c:v>0</c:v>
                </c:pt>
                <c:pt idx="6154">
                  <c:v>0</c:v>
                </c:pt>
                <c:pt idx="6155">
                  <c:v>0</c:v>
                </c:pt>
                <c:pt idx="6156">
                  <c:v>0</c:v>
                </c:pt>
                <c:pt idx="6157">
                  <c:v>0</c:v>
                </c:pt>
                <c:pt idx="6158">
                  <c:v>0</c:v>
                </c:pt>
                <c:pt idx="6159">
                  <c:v>0</c:v>
                </c:pt>
                <c:pt idx="6160">
                  <c:v>0</c:v>
                </c:pt>
                <c:pt idx="6161">
                  <c:v>0</c:v>
                </c:pt>
                <c:pt idx="6162">
                  <c:v>0</c:v>
                </c:pt>
                <c:pt idx="6163">
                  <c:v>0</c:v>
                </c:pt>
                <c:pt idx="6164">
                  <c:v>0</c:v>
                </c:pt>
                <c:pt idx="6165">
                  <c:v>0</c:v>
                </c:pt>
                <c:pt idx="6166">
                  <c:v>0</c:v>
                </c:pt>
                <c:pt idx="6167">
                  <c:v>0</c:v>
                </c:pt>
                <c:pt idx="6168">
                  <c:v>0</c:v>
                </c:pt>
                <c:pt idx="6169">
                  <c:v>0</c:v>
                </c:pt>
                <c:pt idx="6170">
                  <c:v>0</c:v>
                </c:pt>
                <c:pt idx="6171">
                  <c:v>0</c:v>
                </c:pt>
                <c:pt idx="6172">
                  <c:v>0</c:v>
                </c:pt>
                <c:pt idx="6173">
                  <c:v>0</c:v>
                </c:pt>
                <c:pt idx="6174">
                  <c:v>0</c:v>
                </c:pt>
                <c:pt idx="6175">
                  <c:v>0</c:v>
                </c:pt>
                <c:pt idx="6176">
                  <c:v>0</c:v>
                </c:pt>
                <c:pt idx="6177">
                  <c:v>0</c:v>
                </c:pt>
                <c:pt idx="6178">
                  <c:v>0</c:v>
                </c:pt>
                <c:pt idx="6179">
                  <c:v>0</c:v>
                </c:pt>
                <c:pt idx="6180">
                  <c:v>0</c:v>
                </c:pt>
                <c:pt idx="6181">
                  <c:v>0</c:v>
                </c:pt>
                <c:pt idx="6182">
                  <c:v>0</c:v>
                </c:pt>
                <c:pt idx="6183">
                  <c:v>0</c:v>
                </c:pt>
                <c:pt idx="6184">
                  <c:v>0</c:v>
                </c:pt>
                <c:pt idx="6185">
                  <c:v>0</c:v>
                </c:pt>
                <c:pt idx="6186">
                  <c:v>0</c:v>
                </c:pt>
                <c:pt idx="6187">
                  <c:v>0</c:v>
                </c:pt>
                <c:pt idx="6188">
                  <c:v>0</c:v>
                </c:pt>
                <c:pt idx="6189">
                  <c:v>0</c:v>
                </c:pt>
                <c:pt idx="6190">
                  <c:v>0</c:v>
                </c:pt>
                <c:pt idx="6191">
                  <c:v>0</c:v>
                </c:pt>
                <c:pt idx="6192">
                  <c:v>0</c:v>
                </c:pt>
                <c:pt idx="6193">
                  <c:v>0</c:v>
                </c:pt>
                <c:pt idx="6194">
                  <c:v>0</c:v>
                </c:pt>
                <c:pt idx="6195">
                  <c:v>0</c:v>
                </c:pt>
                <c:pt idx="6196">
                  <c:v>0</c:v>
                </c:pt>
                <c:pt idx="6197">
                  <c:v>0</c:v>
                </c:pt>
                <c:pt idx="6198">
                  <c:v>0</c:v>
                </c:pt>
                <c:pt idx="6199">
                  <c:v>0</c:v>
                </c:pt>
                <c:pt idx="6200">
                  <c:v>0</c:v>
                </c:pt>
                <c:pt idx="6201">
                  <c:v>0</c:v>
                </c:pt>
                <c:pt idx="6202">
                  <c:v>0</c:v>
                </c:pt>
                <c:pt idx="6203">
                  <c:v>0</c:v>
                </c:pt>
                <c:pt idx="6204">
                  <c:v>0</c:v>
                </c:pt>
                <c:pt idx="6205">
                  <c:v>0</c:v>
                </c:pt>
                <c:pt idx="6206">
                  <c:v>0</c:v>
                </c:pt>
                <c:pt idx="6207">
                  <c:v>0</c:v>
                </c:pt>
                <c:pt idx="6208">
                  <c:v>0</c:v>
                </c:pt>
                <c:pt idx="6209">
                  <c:v>0</c:v>
                </c:pt>
                <c:pt idx="6210">
                  <c:v>0</c:v>
                </c:pt>
                <c:pt idx="6211">
                  <c:v>0</c:v>
                </c:pt>
                <c:pt idx="6212">
                  <c:v>0</c:v>
                </c:pt>
                <c:pt idx="6213">
                  <c:v>0</c:v>
                </c:pt>
                <c:pt idx="6214">
                  <c:v>0</c:v>
                </c:pt>
                <c:pt idx="6215">
                  <c:v>0</c:v>
                </c:pt>
                <c:pt idx="6216">
                  <c:v>0</c:v>
                </c:pt>
                <c:pt idx="6217">
                  <c:v>0</c:v>
                </c:pt>
                <c:pt idx="6218">
                  <c:v>0</c:v>
                </c:pt>
                <c:pt idx="6219">
                  <c:v>0</c:v>
                </c:pt>
                <c:pt idx="6220">
                  <c:v>0</c:v>
                </c:pt>
                <c:pt idx="6221">
                  <c:v>0</c:v>
                </c:pt>
                <c:pt idx="6222">
                  <c:v>0</c:v>
                </c:pt>
                <c:pt idx="6223">
                  <c:v>0</c:v>
                </c:pt>
                <c:pt idx="6224">
                  <c:v>0</c:v>
                </c:pt>
                <c:pt idx="6225">
                  <c:v>0</c:v>
                </c:pt>
                <c:pt idx="6226">
                  <c:v>0</c:v>
                </c:pt>
                <c:pt idx="6227">
                  <c:v>0</c:v>
                </c:pt>
                <c:pt idx="6228">
                  <c:v>0</c:v>
                </c:pt>
                <c:pt idx="6229">
                  <c:v>0</c:v>
                </c:pt>
                <c:pt idx="6230">
                  <c:v>0</c:v>
                </c:pt>
                <c:pt idx="6231">
                  <c:v>0</c:v>
                </c:pt>
                <c:pt idx="6232">
                  <c:v>0</c:v>
                </c:pt>
                <c:pt idx="6233">
                  <c:v>0</c:v>
                </c:pt>
                <c:pt idx="6234">
                  <c:v>0</c:v>
                </c:pt>
                <c:pt idx="6235">
                  <c:v>0</c:v>
                </c:pt>
                <c:pt idx="6236">
                  <c:v>0</c:v>
                </c:pt>
                <c:pt idx="6237">
                  <c:v>0</c:v>
                </c:pt>
                <c:pt idx="6238">
                  <c:v>0</c:v>
                </c:pt>
                <c:pt idx="6239">
                  <c:v>0</c:v>
                </c:pt>
                <c:pt idx="6240">
                  <c:v>0</c:v>
                </c:pt>
                <c:pt idx="6241">
                  <c:v>0</c:v>
                </c:pt>
                <c:pt idx="6242">
                  <c:v>0</c:v>
                </c:pt>
                <c:pt idx="6243">
                  <c:v>0</c:v>
                </c:pt>
                <c:pt idx="6244">
                  <c:v>0</c:v>
                </c:pt>
                <c:pt idx="6245">
                  <c:v>0</c:v>
                </c:pt>
                <c:pt idx="6246">
                  <c:v>0</c:v>
                </c:pt>
                <c:pt idx="6247">
                  <c:v>0</c:v>
                </c:pt>
                <c:pt idx="6248">
                  <c:v>0</c:v>
                </c:pt>
                <c:pt idx="6249">
                  <c:v>0</c:v>
                </c:pt>
                <c:pt idx="6250">
                  <c:v>0</c:v>
                </c:pt>
                <c:pt idx="6251">
                  <c:v>0</c:v>
                </c:pt>
                <c:pt idx="6252">
                  <c:v>0</c:v>
                </c:pt>
                <c:pt idx="6253">
                  <c:v>0</c:v>
                </c:pt>
                <c:pt idx="6254">
                  <c:v>0</c:v>
                </c:pt>
                <c:pt idx="6255">
                  <c:v>0</c:v>
                </c:pt>
                <c:pt idx="6256">
                  <c:v>0</c:v>
                </c:pt>
                <c:pt idx="6257">
                  <c:v>0</c:v>
                </c:pt>
                <c:pt idx="6258">
                  <c:v>0</c:v>
                </c:pt>
                <c:pt idx="6259">
                  <c:v>0</c:v>
                </c:pt>
                <c:pt idx="6260">
                  <c:v>0</c:v>
                </c:pt>
                <c:pt idx="6261">
                  <c:v>0</c:v>
                </c:pt>
                <c:pt idx="6262">
                  <c:v>0</c:v>
                </c:pt>
                <c:pt idx="6263">
                  <c:v>0</c:v>
                </c:pt>
                <c:pt idx="6264">
                  <c:v>0</c:v>
                </c:pt>
                <c:pt idx="6265">
                  <c:v>0</c:v>
                </c:pt>
                <c:pt idx="6266">
                  <c:v>0</c:v>
                </c:pt>
                <c:pt idx="6267">
                  <c:v>0</c:v>
                </c:pt>
                <c:pt idx="6268">
                  <c:v>0</c:v>
                </c:pt>
                <c:pt idx="6269">
                  <c:v>0</c:v>
                </c:pt>
                <c:pt idx="6270">
                  <c:v>0</c:v>
                </c:pt>
                <c:pt idx="6271">
                  <c:v>0</c:v>
                </c:pt>
                <c:pt idx="6272">
                  <c:v>0</c:v>
                </c:pt>
                <c:pt idx="6273">
                  <c:v>0</c:v>
                </c:pt>
                <c:pt idx="6274">
                  <c:v>0</c:v>
                </c:pt>
                <c:pt idx="6275">
                  <c:v>0</c:v>
                </c:pt>
                <c:pt idx="6276">
                  <c:v>0</c:v>
                </c:pt>
                <c:pt idx="6277">
                  <c:v>0</c:v>
                </c:pt>
                <c:pt idx="6278">
                  <c:v>0</c:v>
                </c:pt>
                <c:pt idx="6279">
                  <c:v>0</c:v>
                </c:pt>
                <c:pt idx="6280">
                  <c:v>0</c:v>
                </c:pt>
                <c:pt idx="6281">
                  <c:v>0</c:v>
                </c:pt>
                <c:pt idx="6282">
                  <c:v>0</c:v>
                </c:pt>
                <c:pt idx="6283">
                  <c:v>0</c:v>
                </c:pt>
                <c:pt idx="6284">
                  <c:v>0</c:v>
                </c:pt>
                <c:pt idx="6285">
                  <c:v>0</c:v>
                </c:pt>
                <c:pt idx="6286">
                  <c:v>0</c:v>
                </c:pt>
                <c:pt idx="6287">
                  <c:v>0</c:v>
                </c:pt>
                <c:pt idx="6288">
                  <c:v>0</c:v>
                </c:pt>
                <c:pt idx="6289">
                  <c:v>0</c:v>
                </c:pt>
                <c:pt idx="6290">
                  <c:v>0</c:v>
                </c:pt>
                <c:pt idx="6291">
                  <c:v>0</c:v>
                </c:pt>
                <c:pt idx="6292">
                  <c:v>0</c:v>
                </c:pt>
                <c:pt idx="6293">
                  <c:v>0</c:v>
                </c:pt>
                <c:pt idx="6294">
                  <c:v>0</c:v>
                </c:pt>
                <c:pt idx="6295">
                  <c:v>0</c:v>
                </c:pt>
                <c:pt idx="6296">
                  <c:v>0</c:v>
                </c:pt>
                <c:pt idx="6297">
                  <c:v>0</c:v>
                </c:pt>
                <c:pt idx="6298">
                  <c:v>0</c:v>
                </c:pt>
                <c:pt idx="6299">
                  <c:v>0</c:v>
                </c:pt>
                <c:pt idx="6300">
                  <c:v>0</c:v>
                </c:pt>
                <c:pt idx="6301">
                  <c:v>0</c:v>
                </c:pt>
                <c:pt idx="6302">
                  <c:v>0</c:v>
                </c:pt>
                <c:pt idx="6303">
                  <c:v>0</c:v>
                </c:pt>
                <c:pt idx="6304">
                  <c:v>0</c:v>
                </c:pt>
                <c:pt idx="6305">
                  <c:v>0</c:v>
                </c:pt>
                <c:pt idx="6306">
                  <c:v>0</c:v>
                </c:pt>
                <c:pt idx="6307">
                  <c:v>0</c:v>
                </c:pt>
                <c:pt idx="6308">
                  <c:v>0</c:v>
                </c:pt>
                <c:pt idx="6309">
                  <c:v>0</c:v>
                </c:pt>
                <c:pt idx="6310">
                  <c:v>0</c:v>
                </c:pt>
                <c:pt idx="6311">
                  <c:v>0</c:v>
                </c:pt>
                <c:pt idx="6312">
                  <c:v>0</c:v>
                </c:pt>
                <c:pt idx="6313">
                  <c:v>0</c:v>
                </c:pt>
                <c:pt idx="6314">
                  <c:v>0</c:v>
                </c:pt>
                <c:pt idx="6315">
                  <c:v>0</c:v>
                </c:pt>
                <c:pt idx="6316">
                  <c:v>0</c:v>
                </c:pt>
                <c:pt idx="6317">
                  <c:v>0</c:v>
                </c:pt>
                <c:pt idx="6318">
                  <c:v>0</c:v>
                </c:pt>
                <c:pt idx="6319">
                  <c:v>0</c:v>
                </c:pt>
                <c:pt idx="6320">
                  <c:v>0</c:v>
                </c:pt>
                <c:pt idx="6321">
                  <c:v>0</c:v>
                </c:pt>
                <c:pt idx="6322">
                  <c:v>0</c:v>
                </c:pt>
                <c:pt idx="6323">
                  <c:v>0</c:v>
                </c:pt>
                <c:pt idx="6324">
                  <c:v>0</c:v>
                </c:pt>
                <c:pt idx="6325">
                  <c:v>0</c:v>
                </c:pt>
                <c:pt idx="6326">
                  <c:v>0</c:v>
                </c:pt>
                <c:pt idx="6327">
                  <c:v>0</c:v>
                </c:pt>
                <c:pt idx="6328">
                  <c:v>0</c:v>
                </c:pt>
                <c:pt idx="6329">
                  <c:v>0</c:v>
                </c:pt>
                <c:pt idx="6330">
                  <c:v>0</c:v>
                </c:pt>
                <c:pt idx="6331">
                  <c:v>0</c:v>
                </c:pt>
                <c:pt idx="6332">
                  <c:v>0</c:v>
                </c:pt>
                <c:pt idx="6333">
                  <c:v>0</c:v>
                </c:pt>
                <c:pt idx="6334">
                  <c:v>0</c:v>
                </c:pt>
                <c:pt idx="6335">
                  <c:v>0</c:v>
                </c:pt>
                <c:pt idx="6336">
                  <c:v>0</c:v>
                </c:pt>
                <c:pt idx="6337">
                  <c:v>0</c:v>
                </c:pt>
                <c:pt idx="6338">
                  <c:v>0</c:v>
                </c:pt>
                <c:pt idx="6339">
                  <c:v>0</c:v>
                </c:pt>
                <c:pt idx="6340">
                  <c:v>0</c:v>
                </c:pt>
                <c:pt idx="6341">
                  <c:v>0</c:v>
                </c:pt>
                <c:pt idx="6342">
                  <c:v>0</c:v>
                </c:pt>
                <c:pt idx="6343">
                  <c:v>0</c:v>
                </c:pt>
                <c:pt idx="6344">
                  <c:v>0</c:v>
                </c:pt>
                <c:pt idx="6345">
                  <c:v>0</c:v>
                </c:pt>
                <c:pt idx="6346">
                  <c:v>0</c:v>
                </c:pt>
                <c:pt idx="6347">
                  <c:v>0</c:v>
                </c:pt>
                <c:pt idx="6348">
                  <c:v>0</c:v>
                </c:pt>
                <c:pt idx="6349">
                  <c:v>0</c:v>
                </c:pt>
                <c:pt idx="6350">
                  <c:v>0</c:v>
                </c:pt>
                <c:pt idx="6351">
                  <c:v>0</c:v>
                </c:pt>
                <c:pt idx="6352">
                  <c:v>0</c:v>
                </c:pt>
                <c:pt idx="6353">
                  <c:v>0</c:v>
                </c:pt>
                <c:pt idx="6354">
                  <c:v>0</c:v>
                </c:pt>
                <c:pt idx="6355">
                  <c:v>0</c:v>
                </c:pt>
                <c:pt idx="6356">
                  <c:v>0</c:v>
                </c:pt>
                <c:pt idx="6357">
                  <c:v>0</c:v>
                </c:pt>
                <c:pt idx="6358">
                  <c:v>0</c:v>
                </c:pt>
                <c:pt idx="6359">
                  <c:v>0</c:v>
                </c:pt>
                <c:pt idx="6360">
                  <c:v>0</c:v>
                </c:pt>
                <c:pt idx="6361">
                  <c:v>0</c:v>
                </c:pt>
                <c:pt idx="6362">
                  <c:v>0</c:v>
                </c:pt>
                <c:pt idx="6363">
                  <c:v>0</c:v>
                </c:pt>
                <c:pt idx="6364">
                  <c:v>0</c:v>
                </c:pt>
                <c:pt idx="6365">
                  <c:v>0</c:v>
                </c:pt>
                <c:pt idx="6366">
                  <c:v>0</c:v>
                </c:pt>
                <c:pt idx="6367">
                  <c:v>0</c:v>
                </c:pt>
                <c:pt idx="6368">
                  <c:v>0</c:v>
                </c:pt>
                <c:pt idx="6369">
                  <c:v>0</c:v>
                </c:pt>
                <c:pt idx="6370">
                  <c:v>0</c:v>
                </c:pt>
                <c:pt idx="6371">
                  <c:v>0</c:v>
                </c:pt>
                <c:pt idx="6372">
                  <c:v>0</c:v>
                </c:pt>
                <c:pt idx="6373">
                  <c:v>0</c:v>
                </c:pt>
                <c:pt idx="6374">
                  <c:v>0</c:v>
                </c:pt>
                <c:pt idx="6375">
                  <c:v>0</c:v>
                </c:pt>
                <c:pt idx="6376">
                  <c:v>0</c:v>
                </c:pt>
                <c:pt idx="6377">
                  <c:v>0</c:v>
                </c:pt>
                <c:pt idx="6378">
                  <c:v>0</c:v>
                </c:pt>
                <c:pt idx="6379">
                  <c:v>0</c:v>
                </c:pt>
                <c:pt idx="6380">
                  <c:v>0</c:v>
                </c:pt>
                <c:pt idx="6381">
                  <c:v>0</c:v>
                </c:pt>
                <c:pt idx="6382">
                  <c:v>0</c:v>
                </c:pt>
                <c:pt idx="6383">
                  <c:v>0</c:v>
                </c:pt>
                <c:pt idx="6384">
                  <c:v>0</c:v>
                </c:pt>
                <c:pt idx="6385">
                  <c:v>0</c:v>
                </c:pt>
                <c:pt idx="6386">
                  <c:v>0</c:v>
                </c:pt>
                <c:pt idx="6387">
                  <c:v>0</c:v>
                </c:pt>
                <c:pt idx="6388">
                  <c:v>0</c:v>
                </c:pt>
                <c:pt idx="6389">
                  <c:v>0</c:v>
                </c:pt>
                <c:pt idx="6390">
                  <c:v>0</c:v>
                </c:pt>
                <c:pt idx="6391">
                  <c:v>0</c:v>
                </c:pt>
                <c:pt idx="6392">
                  <c:v>0</c:v>
                </c:pt>
                <c:pt idx="6393">
                  <c:v>0</c:v>
                </c:pt>
                <c:pt idx="6394">
                  <c:v>0</c:v>
                </c:pt>
                <c:pt idx="6395">
                  <c:v>0</c:v>
                </c:pt>
                <c:pt idx="6396">
                  <c:v>0</c:v>
                </c:pt>
                <c:pt idx="6397">
                  <c:v>0</c:v>
                </c:pt>
                <c:pt idx="6398">
                  <c:v>0</c:v>
                </c:pt>
                <c:pt idx="6399">
                  <c:v>0</c:v>
                </c:pt>
                <c:pt idx="6400">
                  <c:v>0</c:v>
                </c:pt>
                <c:pt idx="6401">
                  <c:v>0</c:v>
                </c:pt>
                <c:pt idx="6402">
                  <c:v>0</c:v>
                </c:pt>
                <c:pt idx="6403">
                  <c:v>0</c:v>
                </c:pt>
                <c:pt idx="6404">
                  <c:v>0</c:v>
                </c:pt>
                <c:pt idx="6405">
                  <c:v>0</c:v>
                </c:pt>
                <c:pt idx="6406">
                  <c:v>0</c:v>
                </c:pt>
                <c:pt idx="6407">
                  <c:v>0</c:v>
                </c:pt>
                <c:pt idx="6408">
                  <c:v>0</c:v>
                </c:pt>
                <c:pt idx="6409">
                  <c:v>0</c:v>
                </c:pt>
                <c:pt idx="6410">
                  <c:v>0</c:v>
                </c:pt>
                <c:pt idx="6411">
                  <c:v>0</c:v>
                </c:pt>
                <c:pt idx="6412">
                  <c:v>0</c:v>
                </c:pt>
                <c:pt idx="6413">
                  <c:v>0</c:v>
                </c:pt>
                <c:pt idx="6414">
                  <c:v>0</c:v>
                </c:pt>
                <c:pt idx="6415">
                  <c:v>0</c:v>
                </c:pt>
                <c:pt idx="6416">
                  <c:v>0</c:v>
                </c:pt>
                <c:pt idx="6417">
                  <c:v>0</c:v>
                </c:pt>
                <c:pt idx="6418">
                  <c:v>0</c:v>
                </c:pt>
                <c:pt idx="6419">
                  <c:v>0</c:v>
                </c:pt>
                <c:pt idx="6420">
                  <c:v>0</c:v>
                </c:pt>
                <c:pt idx="6421">
                  <c:v>0</c:v>
                </c:pt>
                <c:pt idx="6422">
                  <c:v>0</c:v>
                </c:pt>
                <c:pt idx="6423">
                  <c:v>0</c:v>
                </c:pt>
                <c:pt idx="6424">
                  <c:v>0</c:v>
                </c:pt>
                <c:pt idx="6425">
                  <c:v>0</c:v>
                </c:pt>
                <c:pt idx="6426">
                  <c:v>0</c:v>
                </c:pt>
                <c:pt idx="6427">
                  <c:v>0</c:v>
                </c:pt>
                <c:pt idx="6428">
                  <c:v>0</c:v>
                </c:pt>
                <c:pt idx="6429">
                  <c:v>0</c:v>
                </c:pt>
                <c:pt idx="6430">
                  <c:v>0</c:v>
                </c:pt>
                <c:pt idx="6431">
                  <c:v>0</c:v>
                </c:pt>
                <c:pt idx="6432">
                  <c:v>0</c:v>
                </c:pt>
                <c:pt idx="6433">
                  <c:v>0</c:v>
                </c:pt>
                <c:pt idx="6434">
                  <c:v>0</c:v>
                </c:pt>
                <c:pt idx="6435">
                  <c:v>0</c:v>
                </c:pt>
                <c:pt idx="6436">
                  <c:v>0</c:v>
                </c:pt>
                <c:pt idx="6437">
                  <c:v>0</c:v>
                </c:pt>
                <c:pt idx="6438">
                  <c:v>0</c:v>
                </c:pt>
                <c:pt idx="6439">
                  <c:v>0</c:v>
                </c:pt>
                <c:pt idx="6440">
                  <c:v>0</c:v>
                </c:pt>
                <c:pt idx="6441">
                  <c:v>0</c:v>
                </c:pt>
                <c:pt idx="6442">
                  <c:v>0</c:v>
                </c:pt>
                <c:pt idx="6443">
                  <c:v>0</c:v>
                </c:pt>
                <c:pt idx="6444">
                  <c:v>0</c:v>
                </c:pt>
                <c:pt idx="6445">
                  <c:v>0</c:v>
                </c:pt>
                <c:pt idx="6446">
                  <c:v>0</c:v>
                </c:pt>
                <c:pt idx="6447">
                  <c:v>0</c:v>
                </c:pt>
                <c:pt idx="6448">
                  <c:v>0</c:v>
                </c:pt>
                <c:pt idx="6449">
                  <c:v>0</c:v>
                </c:pt>
                <c:pt idx="6450">
                  <c:v>0</c:v>
                </c:pt>
                <c:pt idx="6451">
                  <c:v>0</c:v>
                </c:pt>
                <c:pt idx="6452">
                  <c:v>0</c:v>
                </c:pt>
                <c:pt idx="6453">
                  <c:v>0</c:v>
                </c:pt>
                <c:pt idx="6454">
                  <c:v>0</c:v>
                </c:pt>
                <c:pt idx="6455">
                  <c:v>0</c:v>
                </c:pt>
                <c:pt idx="6456">
                  <c:v>0</c:v>
                </c:pt>
                <c:pt idx="6457">
                  <c:v>0</c:v>
                </c:pt>
                <c:pt idx="6458">
                  <c:v>0</c:v>
                </c:pt>
                <c:pt idx="6459">
                  <c:v>0</c:v>
                </c:pt>
                <c:pt idx="6460">
                  <c:v>0</c:v>
                </c:pt>
                <c:pt idx="6461">
                  <c:v>0</c:v>
                </c:pt>
                <c:pt idx="6462">
                  <c:v>0</c:v>
                </c:pt>
                <c:pt idx="6463">
                  <c:v>0</c:v>
                </c:pt>
                <c:pt idx="6464">
                  <c:v>0</c:v>
                </c:pt>
                <c:pt idx="6465">
                  <c:v>0</c:v>
                </c:pt>
                <c:pt idx="6466">
                  <c:v>0</c:v>
                </c:pt>
                <c:pt idx="6467">
                  <c:v>0</c:v>
                </c:pt>
                <c:pt idx="6468">
                  <c:v>0</c:v>
                </c:pt>
                <c:pt idx="6469">
                  <c:v>0</c:v>
                </c:pt>
                <c:pt idx="6470">
                  <c:v>0</c:v>
                </c:pt>
                <c:pt idx="6471">
                  <c:v>0</c:v>
                </c:pt>
                <c:pt idx="6472">
                  <c:v>0</c:v>
                </c:pt>
                <c:pt idx="6473">
                  <c:v>0</c:v>
                </c:pt>
                <c:pt idx="6474">
                  <c:v>0</c:v>
                </c:pt>
                <c:pt idx="6475">
                  <c:v>0</c:v>
                </c:pt>
                <c:pt idx="6476">
                  <c:v>0</c:v>
                </c:pt>
                <c:pt idx="6477">
                  <c:v>0</c:v>
                </c:pt>
                <c:pt idx="6478">
                  <c:v>0</c:v>
                </c:pt>
                <c:pt idx="6479">
                  <c:v>0</c:v>
                </c:pt>
                <c:pt idx="6480">
                  <c:v>0</c:v>
                </c:pt>
                <c:pt idx="6481">
                  <c:v>0</c:v>
                </c:pt>
                <c:pt idx="6482">
                  <c:v>0</c:v>
                </c:pt>
                <c:pt idx="6483">
                  <c:v>0</c:v>
                </c:pt>
                <c:pt idx="6484">
                  <c:v>0</c:v>
                </c:pt>
                <c:pt idx="6485">
                  <c:v>0</c:v>
                </c:pt>
                <c:pt idx="6486">
                  <c:v>0</c:v>
                </c:pt>
                <c:pt idx="6487">
                  <c:v>0</c:v>
                </c:pt>
                <c:pt idx="6488">
                  <c:v>0</c:v>
                </c:pt>
                <c:pt idx="6489">
                  <c:v>0</c:v>
                </c:pt>
                <c:pt idx="6490">
                  <c:v>0</c:v>
                </c:pt>
                <c:pt idx="6491">
                  <c:v>0</c:v>
                </c:pt>
                <c:pt idx="6492">
                  <c:v>0</c:v>
                </c:pt>
                <c:pt idx="6493">
                  <c:v>0</c:v>
                </c:pt>
                <c:pt idx="6494">
                  <c:v>0</c:v>
                </c:pt>
                <c:pt idx="6495">
                  <c:v>0</c:v>
                </c:pt>
                <c:pt idx="6496">
                  <c:v>0</c:v>
                </c:pt>
                <c:pt idx="6497">
                  <c:v>0</c:v>
                </c:pt>
                <c:pt idx="6498">
                  <c:v>0</c:v>
                </c:pt>
                <c:pt idx="6499">
                  <c:v>0</c:v>
                </c:pt>
                <c:pt idx="6500">
                  <c:v>0</c:v>
                </c:pt>
                <c:pt idx="6501">
                  <c:v>0</c:v>
                </c:pt>
                <c:pt idx="6502">
                  <c:v>0</c:v>
                </c:pt>
                <c:pt idx="6503">
                  <c:v>0</c:v>
                </c:pt>
                <c:pt idx="6504">
                  <c:v>0</c:v>
                </c:pt>
                <c:pt idx="6505">
                  <c:v>0</c:v>
                </c:pt>
                <c:pt idx="6506">
                  <c:v>0</c:v>
                </c:pt>
                <c:pt idx="6507">
                  <c:v>0</c:v>
                </c:pt>
                <c:pt idx="6508">
                  <c:v>0</c:v>
                </c:pt>
                <c:pt idx="6509">
                  <c:v>0</c:v>
                </c:pt>
                <c:pt idx="6510">
                  <c:v>0</c:v>
                </c:pt>
                <c:pt idx="6511">
                  <c:v>0</c:v>
                </c:pt>
                <c:pt idx="6512">
                  <c:v>0</c:v>
                </c:pt>
                <c:pt idx="6513">
                  <c:v>0</c:v>
                </c:pt>
                <c:pt idx="6514">
                  <c:v>0</c:v>
                </c:pt>
                <c:pt idx="6515">
                  <c:v>0</c:v>
                </c:pt>
                <c:pt idx="6516">
                  <c:v>0</c:v>
                </c:pt>
                <c:pt idx="6517">
                  <c:v>0</c:v>
                </c:pt>
                <c:pt idx="6518">
                  <c:v>0</c:v>
                </c:pt>
                <c:pt idx="6519">
                  <c:v>0</c:v>
                </c:pt>
                <c:pt idx="6520">
                  <c:v>0</c:v>
                </c:pt>
                <c:pt idx="6521">
                  <c:v>0</c:v>
                </c:pt>
                <c:pt idx="6522">
                  <c:v>0</c:v>
                </c:pt>
                <c:pt idx="6523">
                  <c:v>0</c:v>
                </c:pt>
                <c:pt idx="6524">
                  <c:v>0</c:v>
                </c:pt>
                <c:pt idx="6525">
                  <c:v>0</c:v>
                </c:pt>
                <c:pt idx="6526">
                  <c:v>0</c:v>
                </c:pt>
                <c:pt idx="6527">
                  <c:v>0</c:v>
                </c:pt>
                <c:pt idx="6528">
                  <c:v>0</c:v>
                </c:pt>
                <c:pt idx="6529">
                  <c:v>0</c:v>
                </c:pt>
                <c:pt idx="6530">
                  <c:v>0</c:v>
                </c:pt>
                <c:pt idx="6531">
                  <c:v>0</c:v>
                </c:pt>
                <c:pt idx="6532">
                  <c:v>0</c:v>
                </c:pt>
                <c:pt idx="6533">
                  <c:v>0</c:v>
                </c:pt>
                <c:pt idx="6534">
                  <c:v>0</c:v>
                </c:pt>
                <c:pt idx="6535">
                  <c:v>0</c:v>
                </c:pt>
                <c:pt idx="6536">
                  <c:v>0</c:v>
                </c:pt>
                <c:pt idx="6537">
                  <c:v>0</c:v>
                </c:pt>
                <c:pt idx="6538">
                  <c:v>0</c:v>
                </c:pt>
                <c:pt idx="6539">
                  <c:v>0</c:v>
                </c:pt>
                <c:pt idx="6540">
                  <c:v>0</c:v>
                </c:pt>
                <c:pt idx="6541">
                  <c:v>0</c:v>
                </c:pt>
                <c:pt idx="6542">
                  <c:v>0</c:v>
                </c:pt>
                <c:pt idx="6543">
                  <c:v>0</c:v>
                </c:pt>
                <c:pt idx="6544">
                  <c:v>0</c:v>
                </c:pt>
                <c:pt idx="6545">
                  <c:v>0</c:v>
                </c:pt>
                <c:pt idx="6546">
                  <c:v>0</c:v>
                </c:pt>
                <c:pt idx="6547">
                  <c:v>0</c:v>
                </c:pt>
                <c:pt idx="6548">
                  <c:v>0</c:v>
                </c:pt>
                <c:pt idx="6549">
                  <c:v>0</c:v>
                </c:pt>
                <c:pt idx="6550">
                  <c:v>0</c:v>
                </c:pt>
                <c:pt idx="6551">
                  <c:v>0</c:v>
                </c:pt>
                <c:pt idx="6552">
                  <c:v>0</c:v>
                </c:pt>
                <c:pt idx="6553">
                  <c:v>0</c:v>
                </c:pt>
                <c:pt idx="6554">
                  <c:v>0</c:v>
                </c:pt>
                <c:pt idx="6555">
                  <c:v>0</c:v>
                </c:pt>
                <c:pt idx="6556">
                  <c:v>0</c:v>
                </c:pt>
                <c:pt idx="6557">
                  <c:v>0</c:v>
                </c:pt>
                <c:pt idx="6558">
                  <c:v>0</c:v>
                </c:pt>
                <c:pt idx="6559">
                  <c:v>0</c:v>
                </c:pt>
                <c:pt idx="6560">
                  <c:v>0</c:v>
                </c:pt>
                <c:pt idx="6561">
                  <c:v>0</c:v>
                </c:pt>
                <c:pt idx="6562">
                  <c:v>0</c:v>
                </c:pt>
                <c:pt idx="6563">
                  <c:v>0</c:v>
                </c:pt>
                <c:pt idx="6564">
                  <c:v>0</c:v>
                </c:pt>
                <c:pt idx="6565">
                  <c:v>0</c:v>
                </c:pt>
                <c:pt idx="6566">
                  <c:v>0</c:v>
                </c:pt>
                <c:pt idx="6567">
                  <c:v>0</c:v>
                </c:pt>
                <c:pt idx="6568">
                  <c:v>0</c:v>
                </c:pt>
                <c:pt idx="6569">
                  <c:v>0</c:v>
                </c:pt>
                <c:pt idx="6570">
                  <c:v>0</c:v>
                </c:pt>
                <c:pt idx="6571">
                  <c:v>0</c:v>
                </c:pt>
                <c:pt idx="6572">
                  <c:v>0</c:v>
                </c:pt>
                <c:pt idx="6573">
                  <c:v>0</c:v>
                </c:pt>
                <c:pt idx="6574">
                  <c:v>0</c:v>
                </c:pt>
                <c:pt idx="6575">
                  <c:v>0</c:v>
                </c:pt>
                <c:pt idx="6576">
                  <c:v>0</c:v>
                </c:pt>
                <c:pt idx="6577">
                  <c:v>0</c:v>
                </c:pt>
                <c:pt idx="6578">
                  <c:v>0</c:v>
                </c:pt>
                <c:pt idx="6579">
                  <c:v>0</c:v>
                </c:pt>
                <c:pt idx="6580">
                  <c:v>0</c:v>
                </c:pt>
                <c:pt idx="6581">
                  <c:v>0</c:v>
                </c:pt>
                <c:pt idx="6582">
                  <c:v>0</c:v>
                </c:pt>
                <c:pt idx="6583">
                  <c:v>0</c:v>
                </c:pt>
                <c:pt idx="6584">
                  <c:v>0</c:v>
                </c:pt>
                <c:pt idx="6585">
                  <c:v>0</c:v>
                </c:pt>
                <c:pt idx="6586">
                  <c:v>0</c:v>
                </c:pt>
                <c:pt idx="6587">
                  <c:v>0</c:v>
                </c:pt>
                <c:pt idx="6588">
                  <c:v>0</c:v>
                </c:pt>
                <c:pt idx="6589">
                  <c:v>0</c:v>
                </c:pt>
                <c:pt idx="6590">
                  <c:v>0</c:v>
                </c:pt>
                <c:pt idx="6591">
                  <c:v>0</c:v>
                </c:pt>
                <c:pt idx="6592">
                  <c:v>0</c:v>
                </c:pt>
                <c:pt idx="6593">
                  <c:v>0</c:v>
                </c:pt>
                <c:pt idx="6594">
                  <c:v>0</c:v>
                </c:pt>
                <c:pt idx="6595">
                  <c:v>0</c:v>
                </c:pt>
                <c:pt idx="6596">
                  <c:v>0</c:v>
                </c:pt>
                <c:pt idx="6597">
                  <c:v>0</c:v>
                </c:pt>
                <c:pt idx="6598">
                  <c:v>0</c:v>
                </c:pt>
                <c:pt idx="6599">
                  <c:v>0</c:v>
                </c:pt>
                <c:pt idx="6600">
                  <c:v>0</c:v>
                </c:pt>
                <c:pt idx="6601">
                  <c:v>0</c:v>
                </c:pt>
                <c:pt idx="6602">
                  <c:v>0</c:v>
                </c:pt>
                <c:pt idx="6603">
                  <c:v>0</c:v>
                </c:pt>
                <c:pt idx="6604">
                  <c:v>0</c:v>
                </c:pt>
                <c:pt idx="6605">
                  <c:v>0</c:v>
                </c:pt>
                <c:pt idx="6606">
                  <c:v>0</c:v>
                </c:pt>
                <c:pt idx="6607">
                  <c:v>0</c:v>
                </c:pt>
                <c:pt idx="6608">
                  <c:v>0</c:v>
                </c:pt>
                <c:pt idx="6609">
                  <c:v>0</c:v>
                </c:pt>
                <c:pt idx="6610">
                  <c:v>0</c:v>
                </c:pt>
                <c:pt idx="6611">
                  <c:v>0</c:v>
                </c:pt>
                <c:pt idx="6612">
                  <c:v>0</c:v>
                </c:pt>
                <c:pt idx="6613">
                  <c:v>0</c:v>
                </c:pt>
                <c:pt idx="6614">
                  <c:v>0</c:v>
                </c:pt>
                <c:pt idx="6615">
                  <c:v>0</c:v>
                </c:pt>
                <c:pt idx="6616">
                  <c:v>0</c:v>
                </c:pt>
                <c:pt idx="6617">
                  <c:v>0</c:v>
                </c:pt>
                <c:pt idx="6618">
                  <c:v>0</c:v>
                </c:pt>
                <c:pt idx="6619">
                  <c:v>0</c:v>
                </c:pt>
                <c:pt idx="6620">
                  <c:v>0</c:v>
                </c:pt>
                <c:pt idx="6621">
                  <c:v>0</c:v>
                </c:pt>
                <c:pt idx="6622">
                  <c:v>0</c:v>
                </c:pt>
                <c:pt idx="6623">
                  <c:v>0</c:v>
                </c:pt>
                <c:pt idx="6624">
                  <c:v>0</c:v>
                </c:pt>
                <c:pt idx="6625">
                  <c:v>0</c:v>
                </c:pt>
                <c:pt idx="6626">
                  <c:v>0</c:v>
                </c:pt>
                <c:pt idx="6627">
                  <c:v>0</c:v>
                </c:pt>
                <c:pt idx="6628">
                  <c:v>0</c:v>
                </c:pt>
                <c:pt idx="6629">
                  <c:v>0</c:v>
                </c:pt>
                <c:pt idx="6630">
                  <c:v>0</c:v>
                </c:pt>
                <c:pt idx="6631">
                  <c:v>0</c:v>
                </c:pt>
                <c:pt idx="6632">
                  <c:v>0</c:v>
                </c:pt>
                <c:pt idx="6633">
                  <c:v>0</c:v>
                </c:pt>
                <c:pt idx="6634">
                  <c:v>0</c:v>
                </c:pt>
                <c:pt idx="6635">
                  <c:v>0</c:v>
                </c:pt>
                <c:pt idx="6636">
                  <c:v>0</c:v>
                </c:pt>
                <c:pt idx="6637">
                  <c:v>0</c:v>
                </c:pt>
                <c:pt idx="6638">
                  <c:v>0</c:v>
                </c:pt>
                <c:pt idx="6639">
                  <c:v>0</c:v>
                </c:pt>
                <c:pt idx="6640">
                  <c:v>0</c:v>
                </c:pt>
                <c:pt idx="6641">
                  <c:v>0</c:v>
                </c:pt>
                <c:pt idx="6642">
                  <c:v>0</c:v>
                </c:pt>
                <c:pt idx="6643">
                  <c:v>0</c:v>
                </c:pt>
                <c:pt idx="6644">
                  <c:v>0</c:v>
                </c:pt>
                <c:pt idx="6645">
                  <c:v>0</c:v>
                </c:pt>
                <c:pt idx="6646">
                  <c:v>0</c:v>
                </c:pt>
                <c:pt idx="6647">
                  <c:v>0</c:v>
                </c:pt>
                <c:pt idx="6648">
                  <c:v>0</c:v>
                </c:pt>
                <c:pt idx="6649">
                  <c:v>0</c:v>
                </c:pt>
                <c:pt idx="6650">
                  <c:v>0</c:v>
                </c:pt>
                <c:pt idx="6651">
                  <c:v>0</c:v>
                </c:pt>
                <c:pt idx="6652">
                  <c:v>0</c:v>
                </c:pt>
                <c:pt idx="6653">
                  <c:v>0</c:v>
                </c:pt>
                <c:pt idx="6654">
                  <c:v>0</c:v>
                </c:pt>
                <c:pt idx="6655">
                  <c:v>0</c:v>
                </c:pt>
                <c:pt idx="6656">
                  <c:v>0</c:v>
                </c:pt>
                <c:pt idx="6657">
                  <c:v>0</c:v>
                </c:pt>
                <c:pt idx="6658">
                  <c:v>0</c:v>
                </c:pt>
                <c:pt idx="6659">
                  <c:v>0</c:v>
                </c:pt>
                <c:pt idx="6660">
                  <c:v>0</c:v>
                </c:pt>
                <c:pt idx="6661">
                  <c:v>0</c:v>
                </c:pt>
                <c:pt idx="6662">
                  <c:v>0</c:v>
                </c:pt>
                <c:pt idx="6663">
                  <c:v>0</c:v>
                </c:pt>
                <c:pt idx="6664">
                  <c:v>0</c:v>
                </c:pt>
                <c:pt idx="6665">
                  <c:v>0</c:v>
                </c:pt>
                <c:pt idx="6666">
                  <c:v>0</c:v>
                </c:pt>
                <c:pt idx="6667">
                  <c:v>0</c:v>
                </c:pt>
                <c:pt idx="6668">
                  <c:v>0</c:v>
                </c:pt>
                <c:pt idx="6669">
                  <c:v>0</c:v>
                </c:pt>
                <c:pt idx="6670">
                  <c:v>0</c:v>
                </c:pt>
                <c:pt idx="6671">
                  <c:v>0</c:v>
                </c:pt>
                <c:pt idx="6672">
                  <c:v>0</c:v>
                </c:pt>
                <c:pt idx="6673">
                  <c:v>0</c:v>
                </c:pt>
                <c:pt idx="6674">
                  <c:v>0</c:v>
                </c:pt>
                <c:pt idx="6675">
                  <c:v>0</c:v>
                </c:pt>
                <c:pt idx="6676">
                  <c:v>0</c:v>
                </c:pt>
                <c:pt idx="6677">
                  <c:v>0</c:v>
                </c:pt>
                <c:pt idx="6678">
                  <c:v>0</c:v>
                </c:pt>
                <c:pt idx="6679">
                  <c:v>0</c:v>
                </c:pt>
                <c:pt idx="6680">
                  <c:v>0</c:v>
                </c:pt>
                <c:pt idx="6681">
                  <c:v>0</c:v>
                </c:pt>
                <c:pt idx="6682">
                  <c:v>0</c:v>
                </c:pt>
                <c:pt idx="6683">
                  <c:v>0</c:v>
                </c:pt>
                <c:pt idx="6684">
                  <c:v>0</c:v>
                </c:pt>
                <c:pt idx="6685">
                  <c:v>0</c:v>
                </c:pt>
                <c:pt idx="6686">
                  <c:v>0</c:v>
                </c:pt>
                <c:pt idx="6687">
                  <c:v>0</c:v>
                </c:pt>
                <c:pt idx="6688">
                  <c:v>0</c:v>
                </c:pt>
                <c:pt idx="6689">
                  <c:v>0</c:v>
                </c:pt>
                <c:pt idx="6690">
                  <c:v>0</c:v>
                </c:pt>
                <c:pt idx="6691">
                  <c:v>0</c:v>
                </c:pt>
                <c:pt idx="6692">
                  <c:v>0</c:v>
                </c:pt>
                <c:pt idx="6693">
                  <c:v>0</c:v>
                </c:pt>
                <c:pt idx="6694">
                  <c:v>0</c:v>
                </c:pt>
                <c:pt idx="6695">
                  <c:v>0</c:v>
                </c:pt>
                <c:pt idx="6696">
                  <c:v>0</c:v>
                </c:pt>
                <c:pt idx="6697">
                  <c:v>0</c:v>
                </c:pt>
                <c:pt idx="6698">
                  <c:v>0</c:v>
                </c:pt>
                <c:pt idx="6699">
                  <c:v>0</c:v>
                </c:pt>
                <c:pt idx="6700">
                  <c:v>0</c:v>
                </c:pt>
                <c:pt idx="6701">
                  <c:v>0</c:v>
                </c:pt>
                <c:pt idx="6702">
                  <c:v>0</c:v>
                </c:pt>
                <c:pt idx="6703">
                  <c:v>0</c:v>
                </c:pt>
                <c:pt idx="6704">
                  <c:v>0</c:v>
                </c:pt>
                <c:pt idx="6705">
                  <c:v>0</c:v>
                </c:pt>
                <c:pt idx="6706">
                  <c:v>0</c:v>
                </c:pt>
                <c:pt idx="6707">
                  <c:v>0</c:v>
                </c:pt>
                <c:pt idx="6708">
                  <c:v>0</c:v>
                </c:pt>
                <c:pt idx="6709">
                  <c:v>0</c:v>
                </c:pt>
                <c:pt idx="6710">
                  <c:v>0</c:v>
                </c:pt>
                <c:pt idx="6711">
                  <c:v>0</c:v>
                </c:pt>
                <c:pt idx="6712">
                  <c:v>0</c:v>
                </c:pt>
                <c:pt idx="6713">
                  <c:v>0</c:v>
                </c:pt>
                <c:pt idx="6714">
                  <c:v>0</c:v>
                </c:pt>
                <c:pt idx="6715">
                  <c:v>0</c:v>
                </c:pt>
                <c:pt idx="6716">
                  <c:v>0</c:v>
                </c:pt>
                <c:pt idx="6717">
                  <c:v>0</c:v>
                </c:pt>
                <c:pt idx="6718">
                  <c:v>0</c:v>
                </c:pt>
                <c:pt idx="6719">
                  <c:v>0</c:v>
                </c:pt>
                <c:pt idx="6720">
                  <c:v>0</c:v>
                </c:pt>
                <c:pt idx="6721">
                  <c:v>0</c:v>
                </c:pt>
                <c:pt idx="6722">
                  <c:v>0</c:v>
                </c:pt>
                <c:pt idx="6723">
                  <c:v>0</c:v>
                </c:pt>
                <c:pt idx="6724">
                  <c:v>0</c:v>
                </c:pt>
                <c:pt idx="6725">
                  <c:v>0</c:v>
                </c:pt>
                <c:pt idx="6726">
                  <c:v>0</c:v>
                </c:pt>
                <c:pt idx="6727">
                  <c:v>0</c:v>
                </c:pt>
                <c:pt idx="6728">
                  <c:v>0</c:v>
                </c:pt>
                <c:pt idx="6729">
                  <c:v>0</c:v>
                </c:pt>
                <c:pt idx="6730">
                  <c:v>0</c:v>
                </c:pt>
                <c:pt idx="6731">
                  <c:v>0</c:v>
                </c:pt>
                <c:pt idx="6732">
                  <c:v>0</c:v>
                </c:pt>
                <c:pt idx="6733">
                  <c:v>0</c:v>
                </c:pt>
                <c:pt idx="6734">
                  <c:v>0</c:v>
                </c:pt>
                <c:pt idx="6735">
                  <c:v>0</c:v>
                </c:pt>
                <c:pt idx="6736">
                  <c:v>0</c:v>
                </c:pt>
                <c:pt idx="6737">
                  <c:v>0</c:v>
                </c:pt>
                <c:pt idx="6738">
                  <c:v>0</c:v>
                </c:pt>
                <c:pt idx="6739">
                  <c:v>0</c:v>
                </c:pt>
                <c:pt idx="6740">
                  <c:v>0</c:v>
                </c:pt>
                <c:pt idx="6741">
                  <c:v>0</c:v>
                </c:pt>
                <c:pt idx="6742">
                  <c:v>0</c:v>
                </c:pt>
                <c:pt idx="6743">
                  <c:v>0</c:v>
                </c:pt>
                <c:pt idx="6744">
                  <c:v>0</c:v>
                </c:pt>
                <c:pt idx="6745">
                  <c:v>0</c:v>
                </c:pt>
                <c:pt idx="6746">
                  <c:v>0</c:v>
                </c:pt>
                <c:pt idx="6747">
                  <c:v>0</c:v>
                </c:pt>
                <c:pt idx="6748">
                  <c:v>0</c:v>
                </c:pt>
                <c:pt idx="6749">
                  <c:v>0</c:v>
                </c:pt>
                <c:pt idx="6750">
                  <c:v>0</c:v>
                </c:pt>
                <c:pt idx="6751">
                  <c:v>0</c:v>
                </c:pt>
                <c:pt idx="6752">
                  <c:v>0</c:v>
                </c:pt>
                <c:pt idx="6753">
                  <c:v>0</c:v>
                </c:pt>
                <c:pt idx="6754">
                  <c:v>0</c:v>
                </c:pt>
                <c:pt idx="6755">
                  <c:v>0</c:v>
                </c:pt>
                <c:pt idx="6756">
                  <c:v>0</c:v>
                </c:pt>
                <c:pt idx="6757">
                  <c:v>0</c:v>
                </c:pt>
                <c:pt idx="6758">
                  <c:v>0</c:v>
                </c:pt>
                <c:pt idx="6759">
                  <c:v>0</c:v>
                </c:pt>
                <c:pt idx="6760">
                  <c:v>0</c:v>
                </c:pt>
                <c:pt idx="6761">
                  <c:v>0</c:v>
                </c:pt>
                <c:pt idx="6762">
                  <c:v>0</c:v>
                </c:pt>
                <c:pt idx="6763">
                  <c:v>0</c:v>
                </c:pt>
                <c:pt idx="6764">
                  <c:v>0</c:v>
                </c:pt>
                <c:pt idx="6765">
                  <c:v>0</c:v>
                </c:pt>
                <c:pt idx="6766">
                  <c:v>0</c:v>
                </c:pt>
                <c:pt idx="6767">
                  <c:v>0</c:v>
                </c:pt>
                <c:pt idx="6768">
                  <c:v>0</c:v>
                </c:pt>
                <c:pt idx="6769">
                  <c:v>0</c:v>
                </c:pt>
                <c:pt idx="6770">
                  <c:v>0</c:v>
                </c:pt>
                <c:pt idx="6771">
                  <c:v>0</c:v>
                </c:pt>
                <c:pt idx="6772">
                  <c:v>0</c:v>
                </c:pt>
                <c:pt idx="6773">
                  <c:v>0</c:v>
                </c:pt>
                <c:pt idx="6774">
                  <c:v>0</c:v>
                </c:pt>
                <c:pt idx="6775">
                  <c:v>0</c:v>
                </c:pt>
                <c:pt idx="6776">
                  <c:v>0</c:v>
                </c:pt>
                <c:pt idx="6777">
                  <c:v>0</c:v>
                </c:pt>
                <c:pt idx="6778">
                  <c:v>0</c:v>
                </c:pt>
                <c:pt idx="6779">
                  <c:v>0</c:v>
                </c:pt>
                <c:pt idx="6780">
                  <c:v>0</c:v>
                </c:pt>
                <c:pt idx="6781">
                  <c:v>0</c:v>
                </c:pt>
                <c:pt idx="6782">
                  <c:v>0</c:v>
                </c:pt>
                <c:pt idx="6783">
                  <c:v>0</c:v>
                </c:pt>
                <c:pt idx="6784">
                  <c:v>0</c:v>
                </c:pt>
                <c:pt idx="6785">
                  <c:v>0</c:v>
                </c:pt>
                <c:pt idx="6786">
                  <c:v>0</c:v>
                </c:pt>
                <c:pt idx="6787">
                  <c:v>0</c:v>
                </c:pt>
                <c:pt idx="6788">
                  <c:v>0</c:v>
                </c:pt>
                <c:pt idx="6789">
                  <c:v>0</c:v>
                </c:pt>
                <c:pt idx="6790">
                  <c:v>0</c:v>
                </c:pt>
                <c:pt idx="6791">
                  <c:v>0</c:v>
                </c:pt>
                <c:pt idx="6792">
                  <c:v>0</c:v>
                </c:pt>
                <c:pt idx="6793">
                  <c:v>0</c:v>
                </c:pt>
                <c:pt idx="6794">
                  <c:v>0</c:v>
                </c:pt>
                <c:pt idx="6795">
                  <c:v>0</c:v>
                </c:pt>
                <c:pt idx="6796">
                  <c:v>0</c:v>
                </c:pt>
                <c:pt idx="6797">
                  <c:v>0</c:v>
                </c:pt>
                <c:pt idx="6798">
                  <c:v>0</c:v>
                </c:pt>
                <c:pt idx="6799">
                  <c:v>0</c:v>
                </c:pt>
                <c:pt idx="6800">
                  <c:v>0</c:v>
                </c:pt>
                <c:pt idx="6801">
                  <c:v>0</c:v>
                </c:pt>
                <c:pt idx="6802">
                  <c:v>0</c:v>
                </c:pt>
                <c:pt idx="6803">
                  <c:v>0</c:v>
                </c:pt>
                <c:pt idx="6804">
                  <c:v>0</c:v>
                </c:pt>
                <c:pt idx="6805">
                  <c:v>0</c:v>
                </c:pt>
                <c:pt idx="6806">
                  <c:v>0</c:v>
                </c:pt>
                <c:pt idx="6807">
                  <c:v>0</c:v>
                </c:pt>
                <c:pt idx="6808">
                  <c:v>0</c:v>
                </c:pt>
                <c:pt idx="6809">
                  <c:v>0</c:v>
                </c:pt>
                <c:pt idx="6810">
                  <c:v>0</c:v>
                </c:pt>
                <c:pt idx="6811">
                  <c:v>0</c:v>
                </c:pt>
                <c:pt idx="6812">
                  <c:v>0</c:v>
                </c:pt>
                <c:pt idx="6813">
                  <c:v>0</c:v>
                </c:pt>
                <c:pt idx="6814">
                  <c:v>0</c:v>
                </c:pt>
                <c:pt idx="6815">
                  <c:v>0</c:v>
                </c:pt>
                <c:pt idx="6816">
                  <c:v>0</c:v>
                </c:pt>
                <c:pt idx="6817">
                  <c:v>0</c:v>
                </c:pt>
                <c:pt idx="6818">
                  <c:v>0</c:v>
                </c:pt>
                <c:pt idx="6819">
                  <c:v>0</c:v>
                </c:pt>
                <c:pt idx="6820">
                  <c:v>0</c:v>
                </c:pt>
                <c:pt idx="6821">
                  <c:v>0</c:v>
                </c:pt>
                <c:pt idx="6822">
                  <c:v>0</c:v>
                </c:pt>
                <c:pt idx="6823">
                  <c:v>0</c:v>
                </c:pt>
                <c:pt idx="6824">
                  <c:v>0</c:v>
                </c:pt>
                <c:pt idx="6825">
                  <c:v>0</c:v>
                </c:pt>
                <c:pt idx="6826">
                  <c:v>0</c:v>
                </c:pt>
                <c:pt idx="6827">
                  <c:v>0</c:v>
                </c:pt>
                <c:pt idx="6828">
                  <c:v>0</c:v>
                </c:pt>
                <c:pt idx="6829">
                  <c:v>0</c:v>
                </c:pt>
                <c:pt idx="6830">
                  <c:v>0</c:v>
                </c:pt>
                <c:pt idx="6831">
                  <c:v>0</c:v>
                </c:pt>
                <c:pt idx="6832">
                  <c:v>0</c:v>
                </c:pt>
                <c:pt idx="6833">
                  <c:v>0</c:v>
                </c:pt>
                <c:pt idx="6834">
                  <c:v>0</c:v>
                </c:pt>
                <c:pt idx="6835">
                  <c:v>0</c:v>
                </c:pt>
                <c:pt idx="6836">
                  <c:v>0</c:v>
                </c:pt>
                <c:pt idx="6837">
                  <c:v>0</c:v>
                </c:pt>
                <c:pt idx="6838">
                  <c:v>0</c:v>
                </c:pt>
                <c:pt idx="6839">
                  <c:v>0</c:v>
                </c:pt>
                <c:pt idx="6840">
                  <c:v>0</c:v>
                </c:pt>
                <c:pt idx="6841">
                  <c:v>0</c:v>
                </c:pt>
                <c:pt idx="6842">
                  <c:v>0</c:v>
                </c:pt>
                <c:pt idx="6843">
                  <c:v>0</c:v>
                </c:pt>
                <c:pt idx="6844">
                  <c:v>0</c:v>
                </c:pt>
                <c:pt idx="6845">
                  <c:v>0</c:v>
                </c:pt>
                <c:pt idx="6846">
                  <c:v>0</c:v>
                </c:pt>
                <c:pt idx="6847">
                  <c:v>0</c:v>
                </c:pt>
                <c:pt idx="6848">
                  <c:v>0</c:v>
                </c:pt>
                <c:pt idx="6849">
                  <c:v>0</c:v>
                </c:pt>
                <c:pt idx="6850">
                  <c:v>0</c:v>
                </c:pt>
                <c:pt idx="6851">
                  <c:v>0</c:v>
                </c:pt>
                <c:pt idx="6852">
                  <c:v>0</c:v>
                </c:pt>
                <c:pt idx="6853">
                  <c:v>0</c:v>
                </c:pt>
                <c:pt idx="6854">
                  <c:v>0</c:v>
                </c:pt>
                <c:pt idx="6855">
                  <c:v>0</c:v>
                </c:pt>
                <c:pt idx="6856">
                  <c:v>0</c:v>
                </c:pt>
                <c:pt idx="6857">
                  <c:v>0</c:v>
                </c:pt>
                <c:pt idx="6858">
                  <c:v>0</c:v>
                </c:pt>
                <c:pt idx="6859">
                  <c:v>0</c:v>
                </c:pt>
                <c:pt idx="6860">
                  <c:v>0</c:v>
                </c:pt>
                <c:pt idx="6861">
                  <c:v>0</c:v>
                </c:pt>
                <c:pt idx="6862">
                  <c:v>0</c:v>
                </c:pt>
                <c:pt idx="6863">
                  <c:v>0</c:v>
                </c:pt>
                <c:pt idx="6864">
                  <c:v>0</c:v>
                </c:pt>
                <c:pt idx="6865">
                  <c:v>0</c:v>
                </c:pt>
                <c:pt idx="6866">
                  <c:v>0</c:v>
                </c:pt>
                <c:pt idx="6867">
                  <c:v>0</c:v>
                </c:pt>
                <c:pt idx="6868">
                  <c:v>0</c:v>
                </c:pt>
                <c:pt idx="6869">
                  <c:v>0</c:v>
                </c:pt>
                <c:pt idx="6870">
                  <c:v>0</c:v>
                </c:pt>
                <c:pt idx="6871">
                  <c:v>0</c:v>
                </c:pt>
                <c:pt idx="6872">
                  <c:v>0</c:v>
                </c:pt>
                <c:pt idx="6873">
                  <c:v>0</c:v>
                </c:pt>
                <c:pt idx="6874">
                  <c:v>0</c:v>
                </c:pt>
                <c:pt idx="6875">
                  <c:v>0</c:v>
                </c:pt>
                <c:pt idx="6876">
                  <c:v>0</c:v>
                </c:pt>
                <c:pt idx="6877">
                  <c:v>0</c:v>
                </c:pt>
                <c:pt idx="6878">
                  <c:v>0</c:v>
                </c:pt>
                <c:pt idx="6879">
                  <c:v>0</c:v>
                </c:pt>
                <c:pt idx="6880">
                  <c:v>0</c:v>
                </c:pt>
                <c:pt idx="6881">
                  <c:v>0</c:v>
                </c:pt>
                <c:pt idx="6882">
                  <c:v>0</c:v>
                </c:pt>
                <c:pt idx="6883">
                  <c:v>0</c:v>
                </c:pt>
                <c:pt idx="6884">
                  <c:v>0</c:v>
                </c:pt>
                <c:pt idx="6885">
                  <c:v>0</c:v>
                </c:pt>
                <c:pt idx="6886">
                  <c:v>0</c:v>
                </c:pt>
                <c:pt idx="6887">
                  <c:v>0</c:v>
                </c:pt>
                <c:pt idx="6888">
                  <c:v>0</c:v>
                </c:pt>
                <c:pt idx="6889">
                  <c:v>0</c:v>
                </c:pt>
                <c:pt idx="6890">
                  <c:v>0</c:v>
                </c:pt>
                <c:pt idx="6891">
                  <c:v>0</c:v>
                </c:pt>
                <c:pt idx="6892">
                  <c:v>0</c:v>
                </c:pt>
                <c:pt idx="6893">
                  <c:v>0</c:v>
                </c:pt>
                <c:pt idx="6894">
                  <c:v>0</c:v>
                </c:pt>
                <c:pt idx="6895">
                  <c:v>0</c:v>
                </c:pt>
                <c:pt idx="6896">
                  <c:v>0</c:v>
                </c:pt>
                <c:pt idx="6897">
                  <c:v>0</c:v>
                </c:pt>
                <c:pt idx="6898">
                  <c:v>0</c:v>
                </c:pt>
                <c:pt idx="6899">
                  <c:v>0</c:v>
                </c:pt>
                <c:pt idx="6900">
                  <c:v>0</c:v>
                </c:pt>
                <c:pt idx="6901">
                  <c:v>0</c:v>
                </c:pt>
                <c:pt idx="6902">
                  <c:v>0</c:v>
                </c:pt>
                <c:pt idx="6903">
                  <c:v>0</c:v>
                </c:pt>
                <c:pt idx="6904">
                  <c:v>0</c:v>
                </c:pt>
                <c:pt idx="6905">
                  <c:v>0</c:v>
                </c:pt>
                <c:pt idx="6906">
                  <c:v>0</c:v>
                </c:pt>
                <c:pt idx="6907">
                  <c:v>0</c:v>
                </c:pt>
                <c:pt idx="6908">
                  <c:v>0</c:v>
                </c:pt>
                <c:pt idx="6909">
                  <c:v>0</c:v>
                </c:pt>
                <c:pt idx="6910">
                  <c:v>0</c:v>
                </c:pt>
                <c:pt idx="6911">
                  <c:v>0</c:v>
                </c:pt>
                <c:pt idx="6912">
                  <c:v>0</c:v>
                </c:pt>
                <c:pt idx="6913">
                  <c:v>0</c:v>
                </c:pt>
                <c:pt idx="6914">
                  <c:v>0</c:v>
                </c:pt>
                <c:pt idx="6915">
                  <c:v>0</c:v>
                </c:pt>
                <c:pt idx="6916">
                  <c:v>0</c:v>
                </c:pt>
                <c:pt idx="6917">
                  <c:v>0</c:v>
                </c:pt>
                <c:pt idx="6918">
                  <c:v>0</c:v>
                </c:pt>
                <c:pt idx="6919">
                  <c:v>0</c:v>
                </c:pt>
                <c:pt idx="6920">
                  <c:v>0</c:v>
                </c:pt>
                <c:pt idx="6921">
                  <c:v>0</c:v>
                </c:pt>
                <c:pt idx="6922">
                  <c:v>0</c:v>
                </c:pt>
                <c:pt idx="6923">
                  <c:v>0</c:v>
                </c:pt>
                <c:pt idx="6924">
                  <c:v>0</c:v>
                </c:pt>
                <c:pt idx="6925">
                  <c:v>0</c:v>
                </c:pt>
                <c:pt idx="6926">
                  <c:v>0</c:v>
                </c:pt>
                <c:pt idx="6927">
                  <c:v>0</c:v>
                </c:pt>
                <c:pt idx="6928">
                  <c:v>0</c:v>
                </c:pt>
                <c:pt idx="6929">
                  <c:v>0</c:v>
                </c:pt>
                <c:pt idx="6930">
                  <c:v>0</c:v>
                </c:pt>
                <c:pt idx="6931">
                  <c:v>0</c:v>
                </c:pt>
                <c:pt idx="6932">
                  <c:v>0</c:v>
                </c:pt>
                <c:pt idx="6933">
                  <c:v>0</c:v>
                </c:pt>
                <c:pt idx="6934">
                  <c:v>0</c:v>
                </c:pt>
                <c:pt idx="6935">
                  <c:v>0</c:v>
                </c:pt>
                <c:pt idx="6936">
                  <c:v>0</c:v>
                </c:pt>
                <c:pt idx="6937">
                  <c:v>0</c:v>
                </c:pt>
                <c:pt idx="6938">
                  <c:v>0</c:v>
                </c:pt>
                <c:pt idx="6939">
                  <c:v>0</c:v>
                </c:pt>
                <c:pt idx="6940">
                  <c:v>0</c:v>
                </c:pt>
                <c:pt idx="6941">
                  <c:v>0</c:v>
                </c:pt>
                <c:pt idx="6942">
                  <c:v>0</c:v>
                </c:pt>
                <c:pt idx="6943">
                  <c:v>0</c:v>
                </c:pt>
                <c:pt idx="6944">
                  <c:v>0</c:v>
                </c:pt>
                <c:pt idx="6945">
                  <c:v>0</c:v>
                </c:pt>
                <c:pt idx="6946">
                  <c:v>0</c:v>
                </c:pt>
                <c:pt idx="6947">
                  <c:v>0</c:v>
                </c:pt>
                <c:pt idx="6948">
                  <c:v>0</c:v>
                </c:pt>
                <c:pt idx="6949">
                  <c:v>0</c:v>
                </c:pt>
                <c:pt idx="6950">
                  <c:v>0</c:v>
                </c:pt>
                <c:pt idx="6951">
                  <c:v>0</c:v>
                </c:pt>
                <c:pt idx="6952">
                  <c:v>0</c:v>
                </c:pt>
                <c:pt idx="6953">
                  <c:v>0</c:v>
                </c:pt>
                <c:pt idx="6954">
                  <c:v>0</c:v>
                </c:pt>
                <c:pt idx="6955">
                  <c:v>0</c:v>
                </c:pt>
                <c:pt idx="6956">
                  <c:v>0</c:v>
                </c:pt>
                <c:pt idx="6957">
                  <c:v>0</c:v>
                </c:pt>
                <c:pt idx="6958">
                  <c:v>0</c:v>
                </c:pt>
                <c:pt idx="6959">
                  <c:v>0</c:v>
                </c:pt>
                <c:pt idx="6960">
                  <c:v>0</c:v>
                </c:pt>
                <c:pt idx="6961">
                  <c:v>0</c:v>
                </c:pt>
                <c:pt idx="6962">
                  <c:v>0</c:v>
                </c:pt>
                <c:pt idx="6963">
                  <c:v>0</c:v>
                </c:pt>
                <c:pt idx="6964">
                  <c:v>0</c:v>
                </c:pt>
                <c:pt idx="6965">
                  <c:v>0</c:v>
                </c:pt>
                <c:pt idx="6966">
                  <c:v>0</c:v>
                </c:pt>
                <c:pt idx="6967">
                  <c:v>0</c:v>
                </c:pt>
                <c:pt idx="6968">
                  <c:v>0</c:v>
                </c:pt>
                <c:pt idx="6969">
                  <c:v>0</c:v>
                </c:pt>
                <c:pt idx="6970">
                  <c:v>0</c:v>
                </c:pt>
                <c:pt idx="6971">
                  <c:v>0</c:v>
                </c:pt>
                <c:pt idx="6972">
                  <c:v>0</c:v>
                </c:pt>
                <c:pt idx="6973">
                  <c:v>0</c:v>
                </c:pt>
                <c:pt idx="6974">
                  <c:v>0</c:v>
                </c:pt>
                <c:pt idx="6975">
                  <c:v>0</c:v>
                </c:pt>
                <c:pt idx="6976">
                  <c:v>0</c:v>
                </c:pt>
                <c:pt idx="6977">
                  <c:v>0</c:v>
                </c:pt>
                <c:pt idx="6978">
                  <c:v>0</c:v>
                </c:pt>
                <c:pt idx="6979">
                  <c:v>0</c:v>
                </c:pt>
                <c:pt idx="6980">
                  <c:v>0</c:v>
                </c:pt>
                <c:pt idx="6981">
                  <c:v>0</c:v>
                </c:pt>
                <c:pt idx="6982">
                  <c:v>0</c:v>
                </c:pt>
                <c:pt idx="6983">
                  <c:v>0</c:v>
                </c:pt>
                <c:pt idx="6984">
                  <c:v>0</c:v>
                </c:pt>
                <c:pt idx="6985">
                  <c:v>0</c:v>
                </c:pt>
                <c:pt idx="6986">
                  <c:v>0</c:v>
                </c:pt>
                <c:pt idx="6987">
                  <c:v>0</c:v>
                </c:pt>
                <c:pt idx="6988">
                  <c:v>0</c:v>
                </c:pt>
                <c:pt idx="6989">
                  <c:v>0</c:v>
                </c:pt>
                <c:pt idx="6990">
                  <c:v>0</c:v>
                </c:pt>
                <c:pt idx="6991">
                  <c:v>0</c:v>
                </c:pt>
                <c:pt idx="6992">
                  <c:v>0</c:v>
                </c:pt>
                <c:pt idx="6993">
                  <c:v>0</c:v>
                </c:pt>
                <c:pt idx="6994">
                  <c:v>0</c:v>
                </c:pt>
                <c:pt idx="6995">
                  <c:v>0</c:v>
                </c:pt>
                <c:pt idx="6996">
                  <c:v>0</c:v>
                </c:pt>
                <c:pt idx="6997">
                  <c:v>0</c:v>
                </c:pt>
              </c:numCache>
            </c:numRef>
          </c:val>
          <c:smooth val="0"/>
          <c:extLst>
            <c:ext xmlns:c16="http://schemas.microsoft.com/office/drawing/2014/chart" uri="{C3380CC4-5D6E-409C-BE32-E72D297353CC}">
              <c16:uniqueId val="{00000009-34E5-0744-AA2C-554353F9D891}"/>
            </c:ext>
          </c:extLst>
        </c:ser>
        <c:dLbls>
          <c:showLegendKey val="0"/>
          <c:showVal val="0"/>
          <c:showCatName val="0"/>
          <c:showSerName val="0"/>
          <c:showPercent val="0"/>
          <c:showBubbleSize val="0"/>
        </c:dLbls>
        <c:marker val="1"/>
        <c:smooth val="0"/>
        <c:axId val="753658367"/>
        <c:axId val="718341871"/>
      </c:lineChart>
      <c:catAx>
        <c:axId val="752697023"/>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51437647"/>
        <c:crosses val="autoZero"/>
        <c:auto val="1"/>
        <c:lblAlgn val="ctr"/>
        <c:lblOffset val="100"/>
        <c:noMultiLvlLbl val="0"/>
      </c:catAx>
      <c:valAx>
        <c:axId val="95143764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52697023"/>
        <c:crosses val="autoZero"/>
        <c:crossBetween val="between"/>
      </c:valAx>
      <c:valAx>
        <c:axId val="718341871"/>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53658367"/>
        <c:crosses val="max"/>
        <c:crossBetween val="between"/>
      </c:valAx>
      <c:catAx>
        <c:axId val="753658367"/>
        <c:scaling>
          <c:orientation val="minMax"/>
        </c:scaling>
        <c:delete val="1"/>
        <c:axPos val="b"/>
        <c:majorTickMark val="out"/>
        <c:minorTickMark val="none"/>
        <c:tickLblPos val="nextTo"/>
        <c:crossAx val="71834187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800" b="0" i="0" baseline="0">
                <a:effectLst/>
              </a:rPr>
              <a:t>Matrix Analysis Rolling SD for Pump Failure</a:t>
            </a:r>
            <a:endParaRPr lang="en-US">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barChart>
        <c:barDir val="col"/>
        <c:grouping val="clustered"/>
        <c:varyColors val="0"/>
        <c:ser>
          <c:idx val="0"/>
          <c:order val="0"/>
          <c:tx>
            <c:strRef>
              <c:f>'Q4)Matrix Analysis Rolling SD'!$A$10</c:f>
              <c:strCache>
                <c:ptCount val="1"/>
                <c:pt idx="0">
                  <c:v>PUMP FAILURE (1 or 0)</c:v>
                </c:pt>
              </c:strCache>
            </c:strRef>
          </c:tx>
          <c:spPr>
            <a:solidFill>
              <a:schemeClr val="accent1"/>
            </a:solidFill>
            <a:ln>
              <a:noFill/>
            </a:ln>
            <a:effectLst/>
          </c:spPr>
          <c:invertIfNegative val="0"/>
          <c:cat>
            <c:strRef>
              <c:f>'Q4)Matrix Analysis Rolling SD'!$B$1:$I$1</c:f>
              <c:strCache>
                <c:ptCount val="8"/>
                <c:pt idx="0">
                  <c:v>SURJEK_FLOW_METER_1</c:v>
                </c:pt>
                <c:pt idx="1">
                  <c:v>SURJEK_FLOW_METER_2</c:v>
                </c:pt>
                <c:pt idx="2">
                  <c:v>ROTATIONAL_PUMP_RPM</c:v>
                </c:pt>
                <c:pt idx="3">
                  <c:v>SURJEK_PUMP_TORQUE</c:v>
                </c:pt>
                <c:pt idx="4">
                  <c:v>MAXIMUM_DAILY_PUMP_TORQUE</c:v>
                </c:pt>
                <c:pt idx="5">
                  <c:v>SURJEK_AMMONIA_FLOW_RATE</c:v>
                </c:pt>
                <c:pt idx="6">
                  <c:v>SURJEK_TUBE_PRESSURE</c:v>
                </c:pt>
                <c:pt idx="7">
                  <c:v>SURJEK_ESTIMATED_EFFICIENCY</c:v>
                </c:pt>
              </c:strCache>
            </c:strRef>
          </c:cat>
          <c:val>
            <c:numRef>
              <c:f>'Q4)Matrix Analysis Rolling SD'!$B$10:$I$10</c:f>
              <c:numCache>
                <c:formatCode>General</c:formatCode>
                <c:ptCount val="8"/>
                <c:pt idx="0">
                  <c:v>0.21342086000355057</c:v>
                </c:pt>
                <c:pt idx="1">
                  <c:v>0.61127535601095162</c:v>
                </c:pt>
                <c:pt idx="2">
                  <c:v>0.38225902822344426</c:v>
                </c:pt>
                <c:pt idx="3">
                  <c:v>0.53529470963638859</c:v>
                </c:pt>
                <c:pt idx="4">
                  <c:v>0.55328739255061199</c:v>
                </c:pt>
                <c:pt idx="5">
                  <c:v>0</c:v>
                </c:pt>
                <c:pt idx="6">
                  <c:v>-2.0523273653394222E-2</c:v>
                </c:pt>
                <c:pt idx="7">
                  <c:v>-6.98440783973064E-2</c:v>
                </c:pt>
              </c:numCache>
            </c:numRef>
          </c:val>
          <c:extLst>
            <c:ext xmlns:c16="http://schemas.microsoft.com/office/drawing/2014/chart" uri="{C3380CC4-5D6E-409C-BE32-E72D297353CC}">
              <c16:uniqueId val="{00000000-13B4-8B47-A8FF-B2B615B77A1E}"/>
            </c:ext>
          </c:extLst>
        </c:ser>
        <c:dLbls>
          <c:showLegendKey val="0"/>
          <c:showVal val="0"/>
          <c:showCatName val="0"/>
          <c:showSerName val="0"/>
          <c:showPercent val="0"/>
          <c:showBubbleSize val="0"/>
        </c:dLbls>
        <c:gapWidth val="219"/>
        <c:overlap val="-27"/>
        <c:axId val="1853832015"/>
        <c:axId val="1848835999"/>
      </c:barChart>
      <c:catAx>
        <c:axId val="18538320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48835999"/>
        <c:crosses val="autoZero"/>
        <c:auto val="1"/>
        <c:lblAlgn val="ctr"/>
        <c:lblOffset val="100"/>
        <c:noMultiLvlLbl val="0"/>
      </c:catAx>
      <c:valAx>
        <c:axId val="184883599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3832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baseline="0"/>
              <a:t>Numerical Regressive Scor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283636719276861"/>
          <c:y val="0.23413856673727093"/>
          <c:w val="0.57379294611611942"/>
          <c:h val="0.54961009573296749"/>
        </c:manualLayout>
      </c:layout>
      <c:lineChart>
        <c:grouping val="standard"/>
        <c:varyColors val="0"/>
        <c:ser>
          <c:idx val="0"/>
          <c:order val="0"/>
          <c:tx>
            <c:strRef>
              <c:f>'Q8)Regression Equation'!$I$4</c:f>
              <c:strCache>
                <c:ptCount val="1"/>
                <c:pt idx="0">
                  <c:v>PUMP FAILURE (1 or 0)</c:v>
                </c:pt>
              </c:strCache>
            </c:strRef>
          </c:tx>
          <c:spPr>
            <a:ln w="28575" cap="rnd">
              <a:solidFill>
                <a:schemeClr val="accent1"/>
              </a:solidFill>
              <a:round/>
            </a:ln>
            <a:effectLst/>
          </c:spPr>
          <c:marker>
            <c:symbol val="none"/>
          </c:marker>
          <c:val>
            <c:numRef>
              <c:f>'Q8)Regression Equation'!$I$5:$I$7001</c:f>
              <c:numCache>
                <c:formatCode>General</c:formatCode>
                <c:ptCount val="699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0</c:v>
                </c:pt>
                <c:pt idx="2254">
                  <c:v>0</c:v>
                </c:pt>
                <c:pt idx="2255">
                  <c:v>0</c:v>
                </c:pt>
                <c:pt idx="2256">
                  <c:v>0</c:v>
                </c:pt>
                <c:pt idx="2257">
                  <c:v>0</c:v>
                </c:pt>
                <c:pt idx="2258">
                  <c:v>0</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pt idx="2452">
                  <c:v>0</c:v>
                </c:pt>
                <c:pt idx="2453">
                  <c:v>0</c:v>
                </c:pt>
                <c:pt idx="2454">
                  <c:v>0</c:v>
                </c:pt>
                <c:pt idx="2455">
                  <c:v>0</c:v>
                </c:pt>
                <c:pt idx="2456">
                  <c:v>0</c:v>
                </c:pt>
                <c:pt idx="2457">
                  <c:v>0</c:v>
                </c:pt>
                <c:pt idx="2458">
                  <c:v>0</c:v>
                </c:pt>
                <c:pt idx="2459">
                  <c:v>0</c:v>
                </c:pt>
                <c:pt idx="2460">
                  <c:v>0</c:v>
                </c:pt>
                <c:pt idx="2461">
                  <c:v>0</c:v>
                </c:pt>
                <c:pt idx="2462">
                  <c:v>0</c:v>
                </c:pt>
                <c:pt idx="2463">
                  <c:v>0</c:v>
                </c:pt>
                <c:pt idx="2464">
                  <c:v>0</c:v>
                </c:pt>
                <c:pt idx="2465">
                  <c:v>0</c:v>
                </c:pt>
                <c:pt idx="2466">
                  <c:v>0</c:v>
                </c:pt>
                <c:pt idx="2467">
                  <c:v>0</c:v>
                </c:pt>
                <c:pt idx="2468">
                  <c:v>0</c:v>
                </c:pt>
                <c:pt idx="2469">
                  <c:v>0</c:v>
                </c:pt>
                <c:pt idx="2470">
                  <c:v>0</c:v>
                </c:pt>
                <c:pt idx="2471">
                  <c:v>0</c:v>
                </c:pt>
                <c:pt idx="2472">
                  <c:v>0</c:v>
                </c:pt>
                <c:pt idx="2473">
                  <c:v>0</c:v>
                </c:pt>
                <c:pt idx="2474">
                  <c:v>0</c:v>
                </c:pt>
                <c:pt idx="2475">
                  <c:v>0</c:v>
                </c:pt>
                <c:pt idx="2476">
                  <c:v>0</c:v>
                </c:pt>
                <c:pt idx="2477">
                  <c:v>0</c:v>
                </c:pt>
                <c:pt idx="2478">
                  <c:v>0</c:v>
                </c:pt>
                <c:pt idx="2479">
                  <c:v>0</c:v>
                </c:pt>
                <c:pt idx="2480">
                  <c:v>0</c:v>
                </c:pt>
                <c:pt idx="2481">
                  <c:v>0</c:v>
                </c:pt>
                <c:pt idx="2482">
                  <c:v>0</c:v>
                </c:pt>
                <c:pt idx="2483">
                  <c:v>0</c:v>
                </c:pt>
                <c:pt idx="2484">
                  <c:v>0</c:v>
                </c:pt>
                <c:pt idx="2485">
                  <c:v>0</c:v>
                </c:pt>
                <c:pt idx="2486">
                  <c:v>0</c:v>
                </c:pt>
                <c:pt idx="2487">
                  <c:v>0</c:v>
                </c:pt>
                <c:pt idx="2488">
                  <c:v>0</c:v>
                </c:pt>
                <c:pt idx="2489">
                  <c:v>0</c:v>
                </c:pt>
                <c:pt idx="2490">
                  <c:v>0</c:v>
                </c:pt>
                <c:pt idx="2491">
                  <c:v>0</c:v>
                </c:pt>
                <c:pt idx="2492">
                  <c:v>0</c:v>
                </c:pt>
                <c:pt idx="2493">
                  <c:v>0</c:v>
                </c:pt>
                <c:pt idx="2494">
                  <c:v>0</c:v>
                </c:pt>
                <c:pt idx="2495">
                  <c:v>0</c:v>
                </c:pt>
                <c:pt idx="2496">
                  <c:v>0</c:v>
                </c:pt>
                <c:pt idx="2497">
                  <c:v>0</c:v>
                </c:pt>
                <c:pt idx="2498">
                  <c:v>0</c:v>
                </c:pt>
                <c:pt idx="2499">
                  <c:v>0</c:v>
                </c:pt>
                <c:pt idx="2500">
                  <c:v>0</c:v>
                </c:pt>
                <c:pt idx="2501">
                  <c:v>0</c:v>
                </c:pt>
                <c:pt idx="2502">
                  <c:v>0</c:v>
                </c:pt>
                <c:pt idx="2503">
                  <c:v>0</c:v>
                </c:pt>
                <c:pt idx="2504">
                  <c:v>0</c:v>
                </c:pt>
                <c:pt idx="2505">
                  <c:v>0</c:v>
                </c:pt>
                <c:pt idx="2506">
                  <c:v>0</c:v>
                </c:pt>
                <c:pt idx="2507">
                  <c:v>0</c:v>
                </c:pt>
                <c:pt idx="2508">
                  <c:v>0</c:v>
                </c:pt>
                <c:pt idx="2509">
                  <c:v>0</c:v>
                </c:pt>
                <c:pt idx="2510">
                  <c:v>0</c:v>
                </c:pt>
                <c:pt idx="2511">
                  <c:v>0</c:v>
                </c:pt>
                <c:pt idx="2512">
                  <c:v>0</c:v>
                </c:pt>
                <c:pt idx="2513">
                  <c:v>0</c:v>
                </c:pt>
                <c:pt idx="2514">
                  <c:v>0</c:v>
                </c:pt>
                <c:pt idx="2515">
                  <c:v>0</c:v>
                </c:pt>
                <c:pt idx="2516">
                  <c:v>0</c:v>
                </c:pt>
                <c:pt idx="2517">
                  <c:v>0</c:v>
                </c:pt>
                <c:pt idx="2518">
                  <c:v>0</c:v>
                </c:pt>
                <c:pt idx="2519">
                  <c:v>0</c:v>
                </c:pt>
                <c:pt idx="2520">
                  <c:v>0</c:v>
                </c:pt>
                <c:pt idx="2521">
                  <c:v>0</c:v>
                </c:pt>
                <c:pt idx="2522">
                  <c:v>0</c:v>
                </c:pt>
                <c:pt idx="2523">
                  <c:v>0</c:v>
                </c:pt>
                <c:pt idx="2524">
                  <c:v>0</c:v>
                </c:pt>
                <c:pt idx="2525">
                  <c:v>0</c:v>
                </c:pt>
                <c:pt idx="2526">
                  <c:v>0</c:v>
                </c:pt>
                <c:pt idx="2527">
                  <c:v>0</c:v>
                </c:pt>
                <c:pt idx="2528">
                  <c:v>0</c:v>
                </c:pt>
                <c:pt idx="2529">
                  <c:v>0</c:v>
                </c:pt>
                <c:pt idx="2530">
                  <c:v>0</c:v>
                </c:pt>
                <c:pt idx="2531">
                  <c:v>0</c:v>
                </c:pt>
                <c:pt idx="2532">
                  <c:v>0</c:v>
                </c:pt>
                <c:pt idx="2533">
                  <c:v>0</c:v>
                </c:pt>
                <c:pt idx="2534">
                  <c:v>0</c:v>
                </c:pt>
                <c:pt idx="2535">
                  <c:v>0</c:v>
                </c:pt>
                <c:pt idx="2536">
                  <c:v>0</c:v>
                </c:pt>
                <c:pt idx="2537">
                  <c:v>0</c:v>
                </c:pt>
                <c:pt idx="2538">
                  <c:v>0</c:v>
                </c:pt>
                <c:pt idx="2539">
                  <c:v>0</c:v>
                </c:pt>
                <c:pt idx="2540">
                  <c:v>0</c:v>
                </c:pt>
                <c:pt idx="2541">
                  <c:v>0</c:v>
                </c:pt>
                <c:pt idx="2542">
                  <c:v>0</c:v>
                </c:pt>
                <c:pt idx="2543">
                  <c:v>0</c:v>
                </c:pt>
                <c:pt idx="2544">
                  <c:v>0</c:v>
                </c:pt>
                <c:pt idx="2545">
                  <c:v>0</c:v>
                </c:pt>
                <c:pt idx="2546">
                  <c:v>0</c:v>
                </c:pt>
                <c:pt idx="2547">
                  <c:v>0</c:v>
                </c:pt>
                <c:pt idx="2548">
                  <c:v>0</c:v>
                </c:pt>
                <c:pt idx="2549">
                  <c:v>0</c:v>
                </c:pt>
                <c:pt idx="2550">
                  <c:v>0</c:v>
                </c:pt>
                <c:pt idx="2551">
                  <c:v>0</c:v>
                </c:pt>
                <c:pt idx="2552">
                  <c:v>0</c:v>
                </c:pt>
                <c:pt idx="2553">
                  <c:v>0</c:v>
                </c:pt>
                <c:pt idx="2554">
                  <c:v>0</c:v>
                </c:pt>
                <c:pt idx="2555">
                  <c:v>0</c:v>
                </c:pt>
                <c:pt idx="2556">
                  <c:v>0</c:v>
                </c:pt>
                <c:pt idx="2557">
                  <c:v>0</c:v>
                </c:pt>
                <c:pt idx="2558">
                  <c:v>0</c:v>
                </c:pt>
                <c:pt idx="2559">
                  <c:v>0</c:v>
                </c:pt>
                <c:pt idx="2560">
                  <c:v>0</c:v>
                </c:pt>
                <c:pt idx="2561">
                  <c:v>0</c:v>
                </c:pt>
                <c:pt idx="2562">
                  <c:v>0</c:v>
                </c:pt>
                <c:pt idx="2563">
                  <c:v>0</c:v>
                </c:pt>
                <c:pt idx="2564">
                  <c:v>0</c:v>
                </c:pt>
                <c:pt idx="2565">
                  <c:v>0</c:v>
                </c:pt>
                <c:pt idx="2566">
                  <c:v>0</c:v>
                </c:pt>
                <c:pt idx="2567">
                  <c:v>0</c:v>
                </c:pt>
                <c:pt idx="2568">
                  <c:v>0</c:v>
                </c:pt>
                <c:pt idx="2569">
                  <c:v>0</c:v>
                </c:pt>
                <c:pt idx="2570">
                  <c:v>0</c:v>
                </c:pt>
                <c:pt idx="2571">
                  <c:v>0</c:v>
                </c:pt>
                <c:pt idx="2572">
                  <c:v>0</c:v>
                </c:pt>
                <c:pt idx="2573">
                  <c:v>0</c:v>
                </c:pt>
                <c:pt idx="2574">
                  <c:v>0</c:v>
                </c:pt>
                <c:pt idx="2575">
                  <c:v>0</c:v>
                </c:pt>
                <c:pt idx="2576">
                  <c:v>0</c:v>
                </c:pt>
                <c:pt idx="2577">
                  <c:v>0</c:v>
                </c:pt>
                <c:pt idx="2578">
                  <c:v>0</c:v>
                </c:pt>
                <c:pt idx="2579">
                  <c:v>0</c:v>
                </c:pt>
                <c:pt idx="2580">
                  <c:v>0</c:v>
                </c:pt>
                <c:pt idx="2581">
                  <c:v>0</c:v>
                </c:pt>
                <c:pt idx="2582">
                  <c:v>0</c:v>
                </c:pt>
                <c:pt idx="2583">
                  <c:v>0</c:v>
                </c:pt>
                <c:pt idx="2584">
                  <c:v>0</c:v>
                </c:pt>
                <c:pt idx="2585">
                  <c:v>0</c:v>
                </c:pt>
                <c:pt idx="2586">
                  <c:v>0</c:v>
                </c:pt>
                <c:pt idx="2587">
                  <c:v>0</c:v>
                </c:pt>
                <c:pt idx="2588">
                  <c:v>0</c:v>
                </c:pt>
                <c:pt idx="2589">
                  <c:v>0</c:v>
                </c:pt>
                <c:pt idx="2590">
                  <c:v>0</c:v>
                </c:pt>
                <c:pt idx="2591">
                  <c:v>0</c:v>
                </c:pt>
                <c:pt idx="2592">
                  <c:v>0</c:v>
                </c:pt>
                <c:pt idx="2593">
                  <c:v>0</c:v>
                </c:pt>
                <c:pt idx="2594">
                  <c:v>0</c:v>
                </c:pt>
                <c:pt idx="2595">
                  <c:v>0</c:v>
                </c:pt>
                <c:pt idx="2596">
                  <c:v>0</c:v>
                </c:pt>
                <c:pt idx="2597">
                  <c:v>0</c:v>
                </c:pt>
                <c:pt idx="2598">
                  <c:v>0</c:v>
                </c:pt>
                <c:pt idx="2599">
                  <c:v>0</c:v>
                </c:pt>
                <c:pt idx="2600">
                  <c:v>0</c:v>
                </c:pt>
                <c:pt idx="2601">
                  <c:v>0</c:v>
                </c:pt>
                <c:pt idx="2602">
                  <c:v>0</c:v>
                </c:pt>
                <c:pt idx="2603">
                  <c:v>0</c:v>
                </c:pt>
                <c:pt idx="2604">
                  <c:v>0</c:v>
                </c:pt>
                <c:pt idx="2605">
                  <c:v>0</c:v>
                </c:pt>
                <c:pt idx="2606">
                  <c:v>0</c:v>
                </c:pt>
                <c:pt idx="2607">
                  <c:v>0</c:v>
                </c:pt>
                <c:pt idx="2608">
                  <c:v>0</c:v>
                </c:pt>
                <c:pt idx="2609">
                  <c:v>0</c:v>
                </c:pt>
                <c:pt idx="2610">
                  <c:v>0</c:v>
                </c:pt>
                <c:pt idx="2611">
                  <c:v>0</c:v>
                </c:pt>
                <c:pt idx="2612">
                  <c:v>0</c:v>
                </c:pt>
                <c:pt idx="2613">
                  <c:v>0</c:v>
                </c:pt>
                <c:pt idx="2614">
                  <c:v>0</c:v>
                </c:pt>
                <c:pt idx="2615">
                  <c:v>0</c:v>
                </c:pt>
                <c:pt idx="2616">
                  <c:v>0</c:v>
                </c:pt>
                <c:pt idx="2617">
                  <c:v>0</c:v>
                </c:pt>
                <c:pt idx="2618">
                  <c:v>0</c:v>
                </c:pt>
                <c:pt idx="2619">
                  <c:v>0</c:v>
                </c:pt>
                <c:pt idx="2620">
                  <c:v>0</c:v>
                </c:pt>
                <c:pt idx="2621">
                  <c:v>0</c:v>
                </c:pt>
                <c:pt idx="2622">
                  <c:v>0</c:v>
                </c:pt>
                <c:pt idx="2623">
                  <c:v>0</c:v>
                </c:pt>
                <c:pt idx="2624">
                  <c:v>0</c:v>
                </c:pt>
                <c:pt idx="2625">
                  <c:v>0</c:v>
                </c:pt>
                <c:pt idx="2626">
                  <c:v>0</c:v>
                </c:pt>
                <c:pt idx="2627">
                  <c:v>0</c:v>
                </c:pt>
                <c:pt idx="2628">
                  <c:v>0</c:v>
                </c:pt>
                <c:pt idx="2629">
                  <c:v>0</c:v>
                </c:pt>
                <c:pt idx="2630">
                  <c:v>0</c:v>
                </c:pt>
                <c:pt idx="2631">
                  <c:v>0</c:v>
                </c:pt>
                <c:pt idx="2632">
                  <c:v>0</c:v>
                </c:pt>
                <c:pt idx="2633">
                  <c:v>0</c:v>
                </c:pt>
                <c:pt idx="2634">
                  <c:v>0</c:v>
                </c:pt>
                <c:pt idx="2635">
                  <c:v>0</c:v>
                </c:pt>
                <c:pt idx="2636">
                  <c:v>0</c:v>
                </c:pt>
                <c:pt idx="2637">
                  <c:v>0</c:v>
                </c:pt>
                <c:pt idx="2638">
                  <c:v>0</c:v>
                </c:pt>
                <c:pt idx="2639">
                  <c:v>0</c:v>
                </c:pt>
                <c:pt idx="2640">
                  <c:v>0</c:v>
                </c:pt>
                <c:pt idx="2641">
                  <c:v>0</c:v>
                </c:pt>
                <c:pt idx="2642">
                  <c:v>0</c:v>
                </c:pt>
                <c:pt idx="2643">
                  <c:v>0</c:v>
                </c:pt>
                <c:pt idx="2644">
                  <c:v>0</c:v>
                </c:pt>
                <c:pt idx="2645">
                  <c:v>0</c:v>
                </c:pt>
                <c:pt idx="2646">
                  <c:v>0</c:v>
                </c:pt>
                <c:pt idx="2647">
                  <c:v>0</c:v>
                </c:pt>
                <c:pt idx="2648">
                  <c:v>0</c:v>
                </c:pt>
                <c:pt idx="2649">
                  <c:v>0</c:v>
                </c:pt>
                <c:pt idx="2650">
                  <c:v>0</c:v>
                </c:pt>
                <c:pt idx="2651">
                  <c:v>0</c:v>
                </c:pt>
                <c:pt idx="2652">
                  <c:v>0</c:v>
                </c:pt>
                <c:pt idx="2653">
                  <c:v>0</c:v>
                </c:pt>
                <c:pt idx="2654">
                  <c:v>0</c:v>
                </c:pt>
                <c:pt idx="2655">
                  <c:v>0</c:v>
                </c:pt>
                <c:pt idx="2656">
                  <c:v>0</c:v>
                </c:pt>
                <c:pt idx="2657">
                  <c:v>0</c:v>
                </c:pt>
                <c:pt idx="2658">
                  <c:v>0</c:v>
                </c:pt>
                <c:pt idx="2659">
                  <c:v>0</c:v>
                </c:pt>
                <c:pt idx="2660">
                  <c:v>0</c:v>
                </c:pt>
                <c:pt idx="2661">
                  <c:v>0</c:v>
                </c:pt>
                <c:pt idx="2662">
                  <c:v>0</c:v>
                </c:pt>
                <c:pt idx="2663">
                  <c:v>0</c:v>
                </c:pt>
                <c:pt idx="2664">
                  <c:v>0</c:v>
                </c:pt>
                <c:pt idx="2665">
                  <c:v>0</c:v>
                </c:pt>
                <c:pt idx="2666">
                  <c:v>0</c:v>
                </c:pt>
                <c:pt idx="2667">
                  <c:v>0</c:v>
                </c:pt>
                <c:pt idx="2668">
                  <c:v>0</c:v>
                </c:pt>
                <c:pt idx="2669">
                  <c:v>0</c:v>
                </c:pt>
                <c:pt idx="2670">
                  <c:v>0</c:v>
                </c:pt>
                <c:pt idx="2671">
                  <c:v>0</c:v>
                </c:pt>
                <c:pt idx="2672">
                  <c:v>0</c:v>
                </c:pt>
                <c:pt idx="2673">
                  <c:v>0</c:v>
                </c:pt>
                <c:pt idx="2674">
                  <c:v>0</c:v>
                </c:pt>
                <c:pt idx="2675">
                  <c:v>0</c:v>
                </c:pt>
                <c:pt idx="2676">
                  <c:v>0</c:v>
                </c:pt>
                <c:pt idx="2677">
                  <c:v>0</c:v>
                </c:pt>
                <c:pt idx="2678">
                  <c:v>0</c:v>
                </c:pt>
                <c:pt idx="2679">
                  <c:v>0</c:v>
                </c:pt>
                <c:pt idx="2680">
                  <c:v>0</c:v>
                </c:pt>
                <c:pt idx="2681">
                  <c:v>0</c:v>
                </c:pt>
                <c:pt idx="2682">
                  <c:v>0</c:v>
                </c:pt>
                <c:pt idx="2683">
                  <c:v>0</c:v>
                </c:pt>
                <c:pt idx="2684">
                  <c:v>0</c:v>
                </c:pt>
                <c:pt idx="2685">
                  <c:v>0</c:v>
                </c:pt>
                <c:pt idx="2686">
                  <c:v>0</c:v>
                </c:pt>
                <c:pt idx="2687">
                  <c:v>0</c:v>
                </c:pt>
                <c:pt idx="2688">
                  <c:v>0</c:v>
                </c:pt>
                <c:pt idx="2689">
                  <c:v>0</c:v>
                </c:pt>
                <c:pt idx="2690">
                  <c:v>0</c:v>
                </c:pt>
                <c:pt idx="2691">
                  <c:v>0</c:v>
                </c:pt>
                <c:pt idx="2692">
                  <c:v>0</c:v>
                </c:pt>
                <c:pt idx="2693">
                  <c:v>0</c:v>
                </c:pt>
                <c:pt idx="2694">
                  <c:v>0</c:v>
                </c:pt>
                <c:pt idx="2695">
                  <c:v>0</c:v>
                </c:pt>
                <c:pt idx="2696">
                  <c:v>0</c:v>
                </c:pt>
                <c:pt idx="2697">
                  <c:v>0</c:v>
                </c:pt>
                <c:pt idx="2698">
                  <c:v>0</c:v>
                </c:pt>
                <c:pt idx="2699">
                  <c:v>0</c:v>
                </c:pt>
                <c:pt idx="2700">
                  <c:v>0</c:v>
                </c:pt>
                <c:pt idx="2701">
                  <c:v>0</c:v>
                </c:pt>
                <c:pt idx="2702">
                  <c:v>0</c:v>
                </c:pt>
                <c:pt idx="2703">
                  <c:v>0</c:v>
                </c:pt>
                <c:pt idx="2704">
                  <c:v>0</c:v>
                </c:pt>
                <c:pt idx="2705">
                  <c:v>0</c:v>
                </c:pt>
                <c:pt idx="2706">
                  <c:v>0</c:v>
                </c:pt>
                <c:pt idx="2707">
                  <c:v>0</c:v>
                </c:pt>
                <c:pt idx="2708">
                  <c:v>0</c:v>
                </c:pt>
                <c:pt idx="2709">
                  <c:v>0</c:v>
                </c:pt>
                <c:pt idx="2710">
                  <c:v>0</c:v>
                </c:pt>
                <c:pt idx="2711">
                  <c:v>0</c:v>
                </c:pt>
                <c:pt idx="2712">
                  <c:v>0</c:v>
                </c:pt>
                <c:pt idx="2713">
                  <c:v>0</c:v>
                </c:pt>
                <c:pt idx="2714">
                  <c:v>0</c:v>
                </c:pt>
                <c:pt idx="2715">
                  <c:v>0</c:v>
                </c:pt>
                <c:pt idx="2716">
                  <c:v>0</c:v>
                </c:pt>
                <c:pt idx="2717">
                  <c:v>0</c:v>
                </c:pt>
                <c:pt idx="2718">
                  <c:v>0</c:v>
                </c:pt>
                <c:pt idx="2719">
                  <c:v>0</c:v>
                </c:pt>
                <c:pt idx="2720">
                  <c:v>0</c:v>
                </c:pt>
                <c:pt idx="2721">
                  <c:v>0</c:v>
                </c:pt>
                <c:pt idx="2722">
                  <c:v>0</c:v>
                </c:pt>
                <c:pt idx="2723">
                  <c:v>0</c:v>
                </c:pt>
                <c:pt idx="2724">
                  <c:v>0</c:v>
                </c:pt>
                <c:pt idx="2725">
                  <c:v>0</c:v>
                </c:pt>
                <c:pt idx="2726">
                  <c:v>0</c:v>
                </c:pt>
                <c:pt idx="2727">
                  <c:v>0</c:v>
                </c:pt>
                <c:pt idx="2728">
                  <c:v>0</c:v>
                </c:pt>
                <c:pt idx="2729">
                  <c:v>0</c:v>
                </c:pt>
                <c:pt idx="2730">
                  <c:v>0</c:v>
                </c:pt>
                <c:pt idx="2731">
                  <c:v>0</c:v>
                </c:pt>
                <c:pt idx="2732">
                  <c:v>0</c:v>
                </c:pt>
                <c:pt idx="2733">
                  <c:v>0</c:v>
                </c:pt>
                <c:pt idx="2734">
                  <c:v>0</c:v>
                </c:pt>
                <c:pt idx="2735">
                  <c:v>0</c:v>
                </c:pt>
                <c:pt idx="2736">
                  <c:v>0</c:v>
                </c:pt>
                <c:pt idx="2737">
                  <c:v>0</c:v>
                </c:pt>
                <c:pt idx="2738">
                  <c:v>0</c:v>
                </c:pt>
                <c:pt idx="2739">
                  <c:v>0</c:v>
                </c:pt>
                <c:pt idx="2740">
                  <c:v>0</c:v>
                </c:pt>
                <c:pt idx="2741">
                  <c:v>0</c:v>
                </c:pt>
                <c:pt idx="2742">
                  <c:v>0</c:v>
                </c:pt>
                <c:pt idx="2743">
                  <c:v>0</c:v>
                </c:pt>
                <c:pt idx="2744">
                  <c:v>0</c:v>
                </c:pt>
                <c:pt idx="2745">
                  <c:v>0</c:v>
                </c:pt>
                <c:pt idx="2746">
                  <c:v>0</c:v>
                </c:pt>
                <c:pt idx="2747">
                  <c:v>0</c:v>
                </c:pt>
                <c:pt idx="2748">
                  <c:v>0</c:v>
                </c:pt>
                <c:pt idx="2749">
                  <c:v>0</c:v>
                </c:pt>
                <c:pt idx="2750">
                  <c:v>0</c:v>
                </c:pt>
                <c:pt idx="2751">
                  <c:v>0</c:v>
                </c:pt>
                <c:pt idx="2752">
                  <c:v>0</c:v>
                </c:pt>
                <c:pt idx="2753">
                  <c:v>0</c:v>
                </c:pt>
                <c:pt idx="2754">
                  <c:v>0</c:v>
                </c:pt>
                <c:pt idx="2755">
                  <c:v>0</c:v>
                </c:pt>
                <c:pt idx="2756">
                  <c:v>0</c:v>
                </c:pt>
                <c:pt idx="2757">
                  <c:v>0</c:v>
                </c:pt>
                <c:pt idx="2758">
                  <c:v>0</c:v>
                </c:pt>
                <c:pt idx="2759">
                  <c:v>0</c:v>
                </c:pt>
                <c:pt idx="2760">
                  <c:v>0</c:v>
                </c:pt>
                <c:pt idx="2761">
                  <c:v>0</c:v>
                </c:pt>
                <c:pt idx="2762">
                  <c:v>0</c:v>
                </c:pt>
                <c:pt idx="2763">
                  <c:v>0</c:v>
                </c:pt>
                <c:pt idx="2764">
                  <c:v>0</c:v>
                </c:pt>
                <c:pt idx="2765">
                  <c:v>0</c:v>
                </c:pt>
                <c:pt idx="2766">
                  <c:v>0</c:v>
                </c:pt>
                <c:pt idx="2767">
                  <c:v>0</c:v>
                </c:pt>
                <c:pt idx="2768">
                  <c:v>0</c:v>
                </c:pt>
                <c:pt idx="2769">
                  <c:v>0</c:v>
                </c:pt>
                <c:pt idx="2770">
                  <c:v>0</c:v>
                </c:pt>
                <c:pt idx="2771">
                  <c:v>0</c:v>
                </c:pt>
                <c:pt idx="2772">
                  <c:v>0</c:v>
                </c:pt>
                <c:pt idx="2773">
                  <c:v>0</c:v>
                </c:pt>
                <c:pt idx="2774">
                  <c:v>0</c:v>
                </c:pt>
                <c:pt idx="2775">
                  <c:v>0</c:v>
                </c:pt>
                <c:pt idx="2776">
                  <c:v>0</c:v>
                </c:pt>
                <c:pt idx="2777">
                  <c:v>0</c:v>
                </c:pt>
                <c:pt idx="2778">
                  <c:v>0</c:v>
                </c:pt>
                <c:pt idx="2779">
                  <c:v>0</c:v>
                </c:pt>
                <c:pt idx="2780">
                  <c:v>0</c:v>
                </c:pt>
                <c:pt idx="2781">
                  <c:v>0</c:v>
                </c:pt>
                <c:pt idx="2782">
                  <c:v>0</c:v>
                </c:pt>
                <c:pt idx="2783">
                  <c:v>0</c:v>
                </c:pt>
                <c:pt idx="2784">
                  <c:v>0</c:v>
                </c:pt>
                <c:pt idx="2785">
                  <c:v>0</c:v>
                </c:pt>
                <c:pt idx="2786">
                  <c:v>0</c:v>
                </c:pt>
                <c:pt idx="2787">
                  <c:v>0</c:v>
                </c:pt>
                <c:pt idx="2788">
                  <c:v>0</c:v>
                </c:pt>
                <c:pt idx="2789">
                  <c:v>0</c:v>
                </c:pt>
                <c:pt idx="2790">
                  <c:v>0</c:v>
                </c:pt>
                <c:pt idx="2791">
                  <c:v>0</c:v>
                </c:pt>
                <c:pt idx="2792">
                  <c:v>0</c:v>
                </c:pt>
                <c:pt idx="2793">
                  <c:v>0</c:v>
                </c:pt>
                <c:pt idx="2794">
                  <c:v>0</c:v>
                </c:pt>
                <c:pt idx="2795">
                  <c:v>0</c:v>
                </c:pt>
                <c:pt idx="2796">
                  <c:v>0</c:v>
                </c:pt>
                <c:pt idx="2797">
                  <c:v>0</c:v>
                </c:pt>
                <c:pt idx="2798">
                  <c:v>0</c:v>
                </c:pt>
                <c:pt idx="2799">
                  <c:v>0</c:v>
                </c:pt>
                <c:pt idx="2800">
                  <c:v>0</c:v>
                </c:pt>
                <c:pt idx="2801">
                  <c:v>0</c:v>
                </c:pt>
                <c:pt idx="2802">
                  <c:v>0</c:v>
                </c:pt>
                <c:pt idx="2803">
                  <c:v>0</c:v>
                </c:pt>
                <c:pt idx="2804">
                  <c:v>0</c:v>
                </c:pt>
                <c:pt idx="2805">
                  <c:v>0</c:v>
                </c:pt>
                <c:pt idx="2806">
                  <c:v>0</c:v>
                </c:pt>
                <c:pt idx="2807">
                  <c:v>0</c:v>
                </c:pt>
                <c:pt idx="2808">
                  <c:v>0</c:v>
                </c:pt>
                <c:pt idx="2809">
                  <c:v>0</c:v>
                </c:pt>
                <c:pt idx="2810">
                  <c:v>0</c:v>
                </c:pt>
                <c:pt idx="2811">
                  <c:v>0</c:v>
                </c:pt>
                <c:pt idx="2812">
                  <c:v>0</c:v>
                </c:pt>
                <c:pt idx="2813">
                  <c:v>0</c:v>
                </c:pt>
                <c:pt idx="2814">
                  <c:v>0</c:v>
                </c:pt>
                <c:pt idx="2815">
                  <c:v>0</c:v>
                </c:pt>
                <c:pt idx="2816">
                  <c:v>0</c:v>
                </c:pt>
                <c:pt idx="2817">
                  <c:v>0</c:v>
                </c:pt>
                <c:pt idx="2818">
                  <c:v>0</c:v>
                </c:pt>
                <c:pt idx="2819">
                  <c:v>0</c:v>
                </c:pt>
                <c:pt idx="2820">
                  <c:v>0</c:v>
                </c:pt>
                <c:pt idx="2821">
                  <c:v>0</c:v>
                </c:pt>
                <c:pt idx="2822">
                  <c:v>0</c:v>
                </c:pt>
                <c:pt idx="2823">
                  <c:v>0</c:v>
                </c:pt>
                <c:pt idx="2824">
                  <c:v>0</c:v>
                </c:pt>
                <c:pt idx="2825">
                  <c:v>0</c:v>
                </c:pt>
                <c:pt idx="2826">
                  <c:v>0</c:v>
                </c:pt>
                <c:pt idx="2827">
                  <c:v>0</c:v>
                </c:pt>
                <c:pt idx="2828">
                  <c:v>0</c:v>
                </c:pt>
                <c:pt idx="2829">
                  <c:v>0</c:v>
                </c:pt>
                <c:pt idx="2830">
                  <c:v>0</c:v>
                </c:pt>
                <c:pt idx="2831">
                  <c:v>0</c:v>
                </c:pt>
                <c:pt idx="2832">
                  <c:v>0</c:v>
                </c:pt>
                <c:pt idx="2833">
                  <c:v>0</c:v>
                </c:pt>
                <c:pt idx="2834">
                  <c:v>0</c:v>
                </c:pt>
                <c:pt idx="2835">
                  <c:v>0</c:v>
                </c:pt>
                <c:pt idx="2836">
                  <c:v>0</c:v>
                </c:pt>
                <c:pt idx="2837">
                  <c:v>0</c:v>
                </c:pt>
                <c:pt idx="2838">
                  <c:v>0</c:v>
                </c:pt>
                <c:pt idx="2839">
                  <c:v>0</c:v>
                </c:pt>
                <c:pt idx="2840">
                  <c:v>0</c:v>
                </c:pt>
                <c:pt idx="2841">
                  <c:v>0</c:v>
                </c:pt>
                <c:pt idx="2842">
                  <c:v>0</c:v>
                </c:pt>
                <c:pt idx="2843">
                  <c:v>0</c:v>
                </c:pt>
                <c:pt idx="2844">
                  <c:v>0</c:v>
                </c:pt>
                <c:pt idx="2845">
                  <c:v>0</c:v>
                </c:pt>
                <c:pt idx="2846">
                  <c:v>0</c:v>
                </c:pt>
                <c:pt idx="2847">
                  <c:v>0</c:v>
                </c:pt>
                <c:pt idx="2848">
                  <c:v>0</c:v>
                </c:pt>
                <c:pt idx="2849">
                  <c:v>0</c:v>
                </c:pt>
                <c:pt idx="2850">
                  <c:v>0</c:v>
                </c:pt>
                <c:pt idx="2851">
                  <c:v>0</c:v>
                </c:pt>
                <c:pt idx="2852">
                  <c:v>0</c:v>
                </c:pt>
                <c:pt idx="2853">
                  <c:v>0</c:v>
                </c:pt>
                <c:pt idx="2854">
                  <c:v>0</c:v>
                </c:pt>
                <c:pt idx="2855">
                  <c:v>0</c:v>
                </c:pt>
                <c:pt idx="2856">
                  <c:v>0</c:v>
                </c:pt>
                <c:pt idx="2857">
                  <c:v>0</c:v>
                </c:pt>
                <c:pt idx="2858">
                  <c:v>0</c:v>
                </c:pt>
                <c:pt idx="2859">
                  <c:v>0</c:v>
                </c:pt>
                <c:pt idx="2860">
                  <c:v>0</c:v>
                </c:pt>
                <c:pt idx="2861">
                  <c:v>0</c:v>
                </c:pt>
                <c:pt idx="2862">
                  <c:v>0</c:v>
                </c:pt>
                <c:pt idx="2863">
                  <c:v>0</c:v>
                </c:pt>
                <c:pt idx="2864">
                  <c:v>0</c:v>
                </c:pt>
                <c:pt idx="2865">
                  <c:v>0</c:v>
                </c:pt>
                <c:pt idx="2866">
                  <c:v>0</c:v>
                </c:pt>
                <c:pt idx="2867">
                  <c:v>0</c:v>
                </c:pt>
                <c:pt idx="2868">
                  <c:v>0</c:v>
                </c:pt>
                <c:pt idx="2869">
                  <c:v>0</c:v>
                </c:pt>
                <c:pt idx="2870">
                  <c:v>0</c:v>
                </c:pt>
                <c:pt idx="2871">
                  <c:v>0</c:v>
                </c:pt>
                <c:pt idx="2872">
                  <c:v>0</c:v>
                </c:pt>
                <c:pt idx="2873">
                  <c:v>0</c:v>
                </c:pt>
                <c:pt idx="2874">
                  <c:v>0</c:v>
                </c:pt>
                <c:pt idx="2875">
                  <c:v>0</c:v>
                </c:pt>
                <c:pt idx="2876">
                  <c:v>0</c:v>
                </c:pt>
                <c:pt idx="2877">
                  <c:v>0</c:v>
                </c:pt>
                <c:pt idx="2878">
                  <c:v>0</c:v>
                </c:pt>
                <c:pt idx="2879">
                  <c:v>0</c:v>
                </c:pt>
                <c:pt idx="2880">
                  <c:v>0</c:v>
                </c:pt>
                <c:pt idx="2881">
                  <c:v>0</c:v>
                </c:pt>
                <c:pt idx="2882">
                  <c:v>0</c:v>
                </c:pt>
                <c:pt idx="2883">
                  <c:v>0</c:v>
                </c:pt>
                <c:pt idx="2884">
                  <c:v>0</c:v>
                </c:pt>
                <c:pt idx="2885">
                  <c:v>0</c:v>
                </c:pt>
                <c:pt idx="2886">
                  <c:v>0</c:v>
                </c:pt>
                <c:pt idx="2887">
                  <c:v>0</c:v>
                </c:pt>
                <c:pt idx="2888">
                  <c:v>0</c:v>
                </c:pt>
                <c:pt idx="2889">
                  <c:v>0</c:v>
                </c:pt>
                <c:pt idx="2890">
                  <c:v>0</c:v>
                </c:pt>
                <c:pt idx="2891">
                  <c:v>0</c:v>
                </c:pt>
                <c:pt idx="2892">
                  <c:v>0</c:v>
                </c:pt>
                <c:pt idx="2893">
                  <c:v>0</c:v>
                </c:pt>
                <c:pt idx="2894">
                  <c:v>0</c:v>
                </c:pt>
                <c:pt idx="2895">
                  <c:v>0</c:v>
                </c:pt>
                <c:pt idx="2896">
                  <c:v>0</c:v>
                </c:pt>
                <c:pt idx="2897">
                  <c:v>0</c:v>
                </c:pt>
                <c:pt idx="2898">
                  <c:v>0</c:v>
                </c:pt>
                <c:pt idx="2899">
                  <c:v>0</c:v>
                </c:pt>
                <c:pt idx="2900">
                  <c:v>0</c:v>
                </c:pt>
                <c:pt idx="2901">
                  <c:v>0</c:v>
                </c:pt>
                <c:pt idx="2902">
                  <c:v>0</c:v>
                </c:pt>
                <c:pt idx="2903">
                  <c:v>0</c:v>
                </c:pt>
                <c:pt idx="2904">
                  <c:v>0</c:v>
                </c:pt>
                <c:pt idx="2905">
                  <c:v>0</c:v>
                </c:pt>
                <c:pt idx="2906">
                  <c:v>0</c:v>
                </c:pt>
                <c:pt idx="2907">
                  <c:v>0</c:v>
                </c:pt>
                <c:pt idx="2908">
                  <c:v>0</c:v>
                </c:pt>
                <c:pt idx="2909">
                  <c:v>0</c:v>
                </c:pt>
                <c:pt idx="2910">
                  <c:v>0</c:v>
                </c:pt>
                <c:pt idx="2911">
                  <c:v>0</c:v>
                </c:pt>
                <c:pt idx="2912">
                  <c:v>0</c:v>
                </c:pt>
                <c:pt idx="2913">
                  <c:v>0</c:v>
                </c:pt>
                <c:pt idx="2914">
                  <c:v>0</c:v>
                </c:pt>
                <c:pt idx="2915">
                  <c:v>0</c:v>
                </c:pt>
                <c:pt idx="2916">
                  <c:v>0</c:v>
                </c:pt>
                <c:pt idx="2917">
                  <c:v>0</c:v>
                </c:pt>
                <c:pt idx="2918">
                  <c:v>0</c:v>
                </c:pt>
                <c:pt idx="2919">
                  <c:v>0</c:v>
                </c:pt>
                <c:pt idx="2920">
                  <c:v>0</c:v>
                </c:pt>
                <c:pt idx="2921">
                  <c:v>0</c:v>
                </c:pt>
                <c:pt idx="2922">
                  <c:v>0</c:v>
                </c:pt>
                <c:pt idx="2923">
                  <c:v>0</c:v>
                </c:pt>
                <c:pt idx="2924">
                  <c:v>0</c:v>
                </c:pt>
                <c:pt idx="2925">
                  <c:v>0</c:v>
                </c:pt>
                <c:pt idx="2926">
                  <c:v>0</c:v>
                </c:pt>
                <c:pt idx="2927">
                  <c:v>0</c:v>
                </c:pt>
                <c:pt idx="2928">
                  <c:v>0</c:v>
                </c:pt>
                <c:pt idx="2929">
                  <c:v>0</c:v>
                </c:pt>
                <c:pt idx="2930">
                  <c:v>0</c:v>
                </c:pt>
                <c:pt idx="2931">
                  <c:v>0</c:v>
                </c:pt>
                <c:pt idx="2932">
                  <c:v>0</c:v>
                </c:pt>
                <c:pt idx="2933">
                  <c:v>0</c:v>
                </c:pt>
                <c:pt idx="2934">
                  <c:v>0</c:v>
                </c:pt>
                <c:pt idx="2935">
                  <c:v>0</c:v>
                </c:pt>
                <c:pt idx="2936">
                  <c:v>0</c:v>
                </c:pt>
                <c:pt idx="2937">
                  <c:v>0</c:v>
                </c:pt>
                <c:pt idx="2938">
                  <c:v>0</c:v>
                </c:pt>
                <c:pt idx="2939">
                  <c:v>0</c:v>
                </c:pt>
                <c:pt idx="2940">
                  <c:v>0</c:v>
                </c:pt>
                <c:pt idx="2941">
                  <c:v>0</c:v>
                </c:pt>
                <c:pt idx="2942">
                  <c:v>0</c:v>
                </c:pt>
                <c:pt idx="2943">
                  <c:v>0</c:v>
                </c:pt>
                <c:pt idx="2944">
                  <c:v>0</c:v>
                </c:pt>
                <c:pt idx="2945">
                  <c:v>0</c:v>
                </c:pt>
                <c:pt idx="2946">
                  <c:v>0</c:v>
                </c:pt>
                <c:pt idx="2947">
                  <c:v>0</c:v>
                </c:pt>
                <c:pt idx="2948">
                  <c:v>0</c:v>
                </c:pt>
                <c:pt idx="2949">
                  <c:v>0</c:v>
                </c:pt>
                <c:pt idx="2950">
                  <c:v>0</c:v>
                </c:pt>
                <c:pt idx="2951">
                  <c:v>0</c:v>
                </c:pt>
                <c:pt idx="2952">
                  <c:v>0</c:v>
                </c:pt>
                <c:pt idx="2953">
                  <c:v>0</c:v>
                </c:pt>
                <c:pt idx="2954">
                  <c:v>0</c:v>
                </c:pt>
                <c:pt idx="2955">
                  <c:v>0</c:v>
                </c:pt>
                <c:pt idx="2956">
                  <c:v>0</c:v>
                </c:pt>
                <c:pt idx="2957">
                  <c:v>0</c:v>
                </c:pt>
                <c:pt idx="2958">
                  <c:v>0</c:v>
                </c:pt>
                <c:pt idx="2959">
                  <c:v>0</c:v>
                </c:pt>
                <c:pt idx="2960">
                  <c:v>0</c:v>
                </c:pt>
                <c:pt idx="2961">
                  <c:v>0</c:v>
                </c:pt>
                <c:pt idx="2962">
                  <c:v>0</c:v>
                </c:pt>
                <c:pt idx="2963">
                  <c:v>0</c:v>
                </c:pt>
                <c:pt idx="2964">
                  <c:v>0</c:v>
                </c:pt>
                <c:pt idx="2965">
                  <c:v>0</c:v>
                </c:pt>
                <c:pt idx="2966">
                  <c:v>0</c:v>
                </c:pt>
                <c:pt idx="2967">
                  <c:v>0</c:v>
                </c:pt>
                <c:pt idx="2968">
                  <c:v>0</c:v>
                </c:pt>
                <c:pt idx="2969">
                  <c:v>0</c:v>
                </c:pt>
                <c:pt idx="2970">
                  <c:v>0</c:v>
                </c:pt>
                <c:pt idx="2971">
                  <c:v>0</c:v>
                </c:pt>
                <c:pt idx="2972">
                  <c:v>0</c:v>
                </c:pt>
                <c:pt idx="2973">
                  <c:v>0</c:v>
                </c:pt>
                <c:pt idx="2974">
                  <c:v>0</c:v>
                </c:pt>
                <c:pt idx="2975">
                  <c:v>0</c:v>
                </c:pt>
                <c:pt idx="2976">
                  <c:v>0</c:v>
                </c:pt>
                <c:pt idx="2977">
                  <c:v>0</c:v>
                </c:pt>
                <c:pt idx="2978">
                  <c:v>0</c:v>
                </c:pt>
                <c:pt idx="2979">
                  <c:v>0</c:v>
                </c:pt>
                <c:pt idx="2980">
                  <c:v>0</c:v>
                </c:pt>
                <c:pt idx="2981">
                  <c:v>0</c:v>
                </c:pt>
                <c:pt idx="2982">
                  <c:v>0</c:v>
                </c:pt>
                <c:pt idx="2983">
                  <c:v>0</c:v>
                </c:pt>
                <c:pt idx="2984">
                  <c:v>0</c:v>
                </c:pt>
                <c:pt idx="2985">
                  <c:v>0</c:v>
                </c:pt>
                <c:pt idx="2986">
                  <c:v>0</c:v>
                </c:pt>
                <c:pt idx="2987">
                  <c:v>0</c:v>
                </c:pt>
                <c:pt idx="2988">
                  <c:v>0</c:v>
                </c:pt>
                <c:pt idx="2989">
                  <c:v>0</c:v>
                </c:pt>
                <c:pt idx="2990">
                  <c:v>0</c:v>
                </c:pt>
                <c:pt idx="2991">
                  <c:v>0</c:v>
                </c:pt>
                <c:pt idx="2992">
                  <c:v>0</c:v>
                </c:pt>
                <c:pt idx="2993">
                  <c:v>0</c:v>
                </c:pt>
                <c:pt idx="2994">
                  <c:v>0</c:v>
                </c:pt>
                <c:pt idx="2995">
                  <c:v>0</c:v>
                </c:pt>
                <c:pt idx="2996">
                  <c:v>0</c:v>
                </c:pt>
                <c:pt idx="2997">
                  <c:v>0</c:v>
                </c:pt>
                <c:pt idx="2998">
                  <c:v>0</c:v>
                </c:pt>
                <c:pt idx="2999">
                  <c:v>0</c:v>
                </c:pt>
                <c:pt idx="3000">
                  <c:v>0</c:v>
                </c:pt>
                <c:pt idx="3001">
                  <c:v>0</c:v>
                </c:pt>
                <c:pt idx="3002">
                  <c:v>0</c:v>
                </c:pt>
                <c:pt idx="3003">
                  <c:v>0</c:v>
                </c:pt>
                <c:pt idx="3004">
                  <c:v>0</c:v>
                </c:pt>
                <c:pt idx="3005">
                  <c:v>0</c:v>
                </c:pt>
                <c:pt idx="3006">
                  <c:v>0</c:v>
                </c:pt>
                <c:pt idx="3007">
                  <c:v>0</c:v>
                </c:pt>
                <c:pt idx="3008">
                  <c:v>0</c:v>
                </c:pt>
                <c:pt idx="3009">
                  <c:v>0</c:v>
                </c:pt>
                <c:pt idx="3010">
                  <c:v>0</c:v>
                </c:pt>
                <c:pt idx="3011">
                  <c:v>0</c:v>
                </c:pt>
                <c:pt idx="3012">
                  <c:v>0</c:v>
                </c:pt>
                <c:pt idx="3013">
                  <c:v>0</c:v>
                </c:pt>
                <c:pt idx="3014">
                  <c:v>0</c:v>
                </c:pt>
                <c:pt idx="3015">
                  <c:v>0</c:v>
                </c:pt>
                <c:pt idx="3016">
                  <c:v>0</c:v>
                </c:pt>
                <c:pt idx="3017">
                  <c:v>0</c:v>
                </c:pt>
                <c:pt idx="3018">
                  <c:v>0</c:v>
                </c:pt>
                <c:pt idx="3019">
                  <c:v>0</c:v>
                </c:pt>
                <c:pt idx="3020">
                  <c:v>0</c:v>
                </c:pt>
                <c:pt idx="3021">
                  <c:v>0</c:v>
                </c:pt>
                <c:pt idx="3022">
                  <c:v>0</c:v>
                </c:pt>
                <c:pt idx="3023">
                  <c:v>0</c:v>
                </c:pt>
                <c:pt idx="3024">
                  <c:v>0</c:v>
                </c:pt>
                <c:pt idx="3025">
                  <c:v>0</c:v>
                </c:pt>
                <c:pt idx="3026">
                  <c:v>0</c:v>
                </c:pt>
                <c:pt idx="3027">
                  <c:v>0</c:v>
                </c:pt>
                <c:pt idx="3028">
                  <c:v>0</c:v>
                </c:pt>
                <c:pt idx="3029">
                  <c:v>0</c:v>
                </c:pt>
                <c:pt idx="3030">
                  <c:v>0</c:v>
                </c:pt>
                <c:pt idx="3031">
                  <c:v>0</c:v>
                </c:pt>
                <c:pt idx="3032">
                  <c:v>0</c:v>
                </c:pt>
                <c:pt idx="3033">
                  <c:v>0</c:v>
                </c:pt>
                <c:pt idx="3034">
                  <c:v>0</c:v>
                </c:pt>
                <c:pt idx="3035">
                  <c:v>0</c:v>
                </c:pt>
                <c:pt idx="3036">
                  <c:v>0</c:v>
                </c:pt>
                <c:pt idx="3037">
                  <c:v>0</c:v>
                </c:pt>
                <c:pt idx="3038">
                  <c:v>0</c:v>
                </c:pt>
                <c:pt idx="3039">
                  <c:v>0</c:v>
                </c:pt>
                <c:pt idx="3040">
                  <c:v>0</c:v>
                </c:pt>
                <c:pt idx="3041">
                  <c:v>0</c:v>
                </c:pt>
                <c:pt idx="3042">
                  <c:v>0</c:v>
                </c:pt>
                <c:pt idx="3043">
                  <c:v>0</c:v>
                </c:pt>
                <c:pt idx="3044">
                  <c:v>0</c:v>
                </c:pt>
                <c:pt idx="3045">
                  <c:v>0</c:v>
                </c:pt>
                <c:pt idx="3046">
                  <c:v>0</c:v>
                </c:pt>
                <c:pt idx="3047">
                  <c:v>0</c:v>
                </c:pt>
                <c:pt idx="3048">
                  <c:v>0</c:v>
                </c:pt>
                <c:pt idx="3049">
                  <c:v>0</c:v>
                </c:pt>
                <c:pt idx="3050">
                  <c:v>0</c:v>
                </c:pt>
                <c:pt idx="3051">
                  <c:v>0</c:v>
                </c:pt>
                <c:pt idx="3052">
                  <c:v>0</c:v>
                </c:pt>
                <c:pt idx="3053">
                  <c:v>0</c:v>
                </c:pt>
                <c:pt idx="3054">
                  <c:v>0</c:v>
                </c:pt>
                <c:pt idx="3055">
                  <c:v>0</c:v>
                </c:pt>
                <c:pt idx="3056">
                  <c:v>0</c:v>
                </c:pt>
                <c:pt idx="3057">
                  <c:v>0</c:v>
                </c:pt>
                <c:pt idx="3058">
                  <c:v>0</c:v>
                </c:pt>
                <c:pt idx="3059">
                  <c:v>0</c:v>
                </c:pt>
                <c:pt idx="3060">
                  <c:v>0</c:v>
                </c:pt>
                <c:pt idx="3061">
                  <c:v>0</c:v>
                </c:pt>
                <c:pt idx="3062">
                  <c:v>0</c:v>
                </c:pt>
                <c:pt idx="3063">
                  <c:v>0</c:v>
                </c:pt>
                <c:pt idx="3064">
                  <c:v>0</c:v>
                </c:pt>
                <c:pt idx="3065">
                  <c:v>0</c:v>
                </c:pt>
                <c:pt idx="3066">
                  <c:v>0</c:v>
                </c:pt>
                <c:pt idx="3067">
                  <c:v>0</c:v>
                </c:pt>
                <c:pt idx="3068">
                  <c:v>0</c:v>
                </c:pt>
                <c:pt idx="3069">
                  <c:v>0</c:v>
                </c:pt>
                <c:pt idx="3070">
                  <c:v>0</c:v>
                </c:pt>
                <c:pt idx="3071">
                  <c:v>0</c:v>
                </c:pt>
                <c:pt idx="3072">
                  <c:v>0</c:v>
                </c:pt>
                <c:pt idx="3073">
                  <c:v>0</c:v>
                </c:pt>
                <c:pt idx="3074">
                  <c:v>0</c:v>
                </c:pt>
                <c:pt idx="3075">
                  <c:v>0</c:v>
                </c:pt>
                <c:pt idx="3076">
                  <c:v>0</c:v>
                </c:pt>
                <c:pt idx="3077">
                  <c:v>0</c:v>
                </c:pt>
                <c:pt idx="3078">
                  <c:v>0</c:v>
                </c:pt>
                <c:pt idx="3079">
                  <c:v>0</c:v>
                </c:pt>
                <c:pt idx="3080">
                  <c:v>0</c:v>
                </c:pt>
                <c:pt idx="3081">
                  <c:v>0</c:v>
                </c:pt>
                <c:pt idx="3082">
                  <c:v>0</c:v>
                </c:pt>
                <c:pt idx="3083">
                  <c:v>0</c:v>
                </c:pt>
                <c:pt idx="3084">
                  <c:v>0</c:v>
                </c:pt>
                <c:pt idx="3085">
                  <c:v>0</c:v>
                </c:pt>
                <c:pt idx="3086">
                  <c:v>0</c:v>
                </c:pt>
                <c:pt idx="3087">
                  <c:v>0</c:v>
                </c:pt>
                <c:pt idx="3088">
                  <c:v>0</c:v>
                </c:pt>
                <c:pt idx="3089">
                  <c:v>0</c:v>
                </c:pt>
                <c:pt idx="3090">
                  <c:v>0</c:v>
                </c:pt>
                <c:pt idx="3091">
                  <c:v>0</c:v>
                </c:pt>
                <c:pt idx="3092">
                  <c:v>0</c:v>
                </c:pt>
                <c:pt idx="3093">
                  <c:v>0</c:v>
                </c:pt>
                <c:pt idx="3094">
                  <c:v>0</c:v>
                </c:pt>
                <c:pt idx="3095">
                  <c:v>0</c:v>
                </c:pt>
                <c:pt idx="3096">
                  <c:v>0</c:v>
                </c:pt>
                <c:pt idx="3097">
                  <c:v>0</c:v>
                </c:pt>
                <c:pt idx="3098">
                  <c:v>0</c:v>
                </c:pt>
                <c:pt idx="3099">
                  <c:v>0</c:v>
                </c:pt>
                <c:pt idx="3100">
                  <c:v>0</c:v>
                </c:pt>
                <c:pt idx="3101">
                  <c:v>0</c:v>
                </c:pt>
                <c:pt idx="3102">
                  <c:v>0</c:v>
                </c:pt>
                <c:pt idx="3103">
                  <c:v>0</c:v>
                </c:pt>
                <c:pt idx="3104">
                  <c:v>0</c:v>
                </c:pt>
                <c:pt idx="3105">
                  <c:v>0</c:v>
                </c:pt>
                <c:pt idx="3106">
                  <c:v>0</c:v>
                </c:pt>
                <c:pt idx="3107">
                  <c:v>0</c:v>
                </c:pt>
                <c:pt idx="3108">
                  <c:v>0</c:v>
                </c:pt>
                <c:pt idx="3109">
                  <c:v>0</c:v>
                </c:pt>
                <c:pt idx="3110">
                  <c:v>0</c:v>
                </c:pt>
                <c:pt idx="3111">
                  <c:v>0</c:v>
                </c:pt>
                <c:pt idx="3112">
                  <c:v>0</c:v>
                </c:pt>
                <c:pt idx="3113">
                  <c:v>0</c:v>
                </c:pt>
                <c:pt idx="3114">
                  <c:v>0</c:v>
                </c:pt>
                <c:pt idx="3115">
                  <c:v>0</c:v>
                </c:pt>
                <c:pt idx="3116">
                  <c:v>0</c:v>
                </c:pt>
                <c:pt idx="3117">
                  <c:v>0</c:v>
                </c:pt>
                <c:pt idx="3118">
                  <c:v>0</c:v>
                </c:pt>
                <c:pt idx="3119">
                  <c:v>0</c:v>
                </c:pt>
                <c:pt idx="3120">
                  <c:v>0</c:v>
                </c:pt>
                <c:pt idx="3121">
                  <c:v>0</c:v>
                </c:pt>
                <c:pt idx="3122">
                  <c:v>0</c:v>
                </c:pt>
                <c:pt idx="3123">
                  <c:v>0</c:v>
                </c:pt>
                <c:pt idx="3124">
                  <c:v>0</c:v>
                </c:pt>
                <c:pt idx="3125">
                  <c:v>0</c:v>
                </c:pt>
                <c:pt idx="3126">
                  <c:v>0</c:v>
                </c:pt>
                <c:pt idx="3127">
                  <c:v>0</c:v>
                </c:pt>
                <c:pt idx="3128">
                  <c:v>0</c:v>
                </c:pt>
                <c:pt idx="3129">
                  <c:v>0</c:v>
                </c:pt>
                <c:pt idx="3130">
                  <c:v>0</c:v>
                </c:pt>
                <c:pt idx="3131">
                  <c:v>0</c:v>
                </c:pt>
                <c:pt idx="3132">
                  <c:v>0</c:v>
                </c:pt>
                <c:pt idx="3133">
                  <c:v>0</c:v>
                </c:pt>
                <c:pt idx="3134">
                  <c:v>0</c:v>
                </c:pt>
                <c:pt idx="3135">
                  <c:v>0</c:v>
                </c:pt>
                <c:pt idx="3136">
                  <c:v>0</c:v>
                </c:pt>
                <c:pt idx="3137">
                  <c:v>0</c:v>
                </c:pt>
                <c:pt idx="3138">
                  <c:v>0</c:v>
                </c:pt>
                <c:pt idx="3139">
                  <c:v>0</c:v>
                </c:pt>
                <c:pt idx="3140">
                  <c:v>0</c:v>
                </c:pt>
                <c:pt idx="3141">
                  <c:v>0</c:v>
                </c:pt>
                <c:pt idx="3142">
                  <c:v>0</c:v>
                </c:pt>
                <c:pt idx="3143">
                  <c:v>0</c:v>
                </c:pt>
                <c:pt idx="3144">
                  <c:v>0</c:v>
                </c:pt>
                <c:pt idx="3145">
                  <c:v>0</c:v>
                </c:pt>
                <c:pt idx="3146">
                  <c:v>0</c:v>
                </c:pt>
                <c:pt idx="3147">
                  <c:v>0</c:v>
                </c:pt>
                <c:pt idx="3148">
                  <c:v>0</c:v>
                </c:pt>
                <c:pt idx="3149">
                  <c:v>0</c:v>
                </c:pt>
                <c:pt idx="3150">
                  <c:v>0</c:v>
                </c:pt>
                <c:pt idx="3151">
                  <c:v>0</c:v>
                </c:pt>
                <c:pt idx="3152">
                  <c:v>0</c:v>
                </c:pt>
                <c:pt idx="3153">
                  <c:v>0</c:v>
                </c:pt>
                <c:pt idx="3154">
                  <c:v>0</c:v>
                </c:pt>
                <c:pt idx="3155">
                  <c:v>0</c:v>
                </c:pt>
                <c:pt idx="3156">
                  <c:v>0</c:v>
                </c:pt>
                <c:pt idx="3157">
                  <c:v>0</c:v>
                </c:pt>
                <c:pt idx="3158">
                  <c:v>0</c:v>
                </c:pt>
                <c:pt idx="3159">
                  <c:v>0</c:v>
                </c:pt>
                <c:pt idx="3160">
                  <c:v>0</c:v>
                </c:pt>
                <c:pt idx="3161">
                  <c:v>0</c:v>
                </c:pt>
                <c:pt idx="3162">
                  <c:v>0</c:v>
                </c:pt>
                <c:pt idx="3163">
                  <c:v>0</c:v>
                </c:pt>
                <c:pt idx="3164">
                  <c:v>0</c:v>
                </c:pt>
                <c:pt idx="3165">
                  <c:v>0</c:v>
                </c:pt>
                <c:pt idx="3166">
                  <c:v>0</c:v>
                </c:pt>
                <c:pt idx="3167">
                  <c:v>0</c:v>
                </c:pt>
                <c:pt idx="3168">
                  <c:v>0</c:v>
                </c:pt>
                <c:pt idx="3169">
                  <c:v>0</c:v>
                </c:pt>
                <c:pt idx="3170">
                  <c:v>0</c:v>
                </c:pt>
                <c:pt idx="3171">
                  <c:v>0</c:v>
                </c:pt>
                <c:pt idx="3172">
                  <c:v>0</c:v>
                </c:pt>
                <c:pt idx="3173">
                  <c:v>0</c:v>
                </c:pt>
                <c:pt idx="3174">
                  <c:v>0</c:v>
                </c:pt>
                <c:pt idx="3175">
                  <c:v>0</c:v>
                </c:pt>
                <c:pt idx="3176">
                  <c:v>0</c:v>
                </c:pt>
                <c:pt idx="3177">
                  <c:v>0</c:v>
                </c:pt>
                <c:pt idx="3178">
                  <c:v>0</c:v>
                </c:pt>
                <c:pt idx="3179">
                  <c:v>0</c:v>
                </c:pt>
                <c:pt idx="3180">
                  <c:v>0</c:v>
                </c:pt>
                <c:pt idx="3181">
                  <c:v>0</c:v>
                </c:pt>
                <c:pt idx="3182">
                  <c:v>0</c:v>
                </c:pt>
                <c:pt idx="3183">
                  <c:v>0</c:v>
                </c:pt>
                <c:pt idx="3184">
                  <c:v>0</c:v>
                </c:pt>
                <c:pt idx="3185">
                  <c:v>0</c:v>
                </c:pt>
                <c:pt idx="3186">
                  <c:v>0</c:v>
                </c:pt>
                <c:pt idx="3187">
                  <c:v>0</c:v>
                </c:pt>
                <c:pt idx="3188">
                  <c:v>0</c:v>
                </c:pt>
                <c:pt idx="3189">
                  <c:v>0</c:v>
                </c:pt>
                <c:pt idx="3190">
                  <c:v>0</c:v>
                </c:pt>
                <c:pt idx="3191">
                  <c:v>0</c:v>
                </c:pt>
                <c:pt idx="3192">
                  <c:v>0</c:v>
                </c:pt>
                <c:pt idx="3193">
                  <c:v>0</c:v>
                </c:pt>
                <c:pt idx="3194">
                  <c:v>0</c:v>
                </c:pt>
                <c:pt idx="3195">
                  <c:v>0</c:v>
                </c:pt>
                <c:pt idx="3196">
                  <c:v>0</c:v>
                </c:pt>
                <c:pt idx="3197">
                  <c:v>0</c:v>
                </c:pt>
                <c:pt idx="3198">
                  <c:v>0</c:v>
                </c:pt>
                <c:pt idx="3199">
                  <c:v>0</c:v>
                </c:pt>
                <c:pt idx="3200">
                  <c:v>0</c:v>
                </c:pt>
                <c:pt idx="3201">
                  <c:v>0</c:v>
                </c:pt>
                <c:pt idx="3202">
                  <c:v>0</c:v>
                </c:pt>
                <c:pt idx="3203">
                  <c:v>0</c:v>
                </c:pt>
                <c:pt idx="3204">
                  <c:v>0</c:v>
                </c:pt>
                <c:pt idx="3205">
                  <c:v>0</c:v>
                </c:pt>
                <c:pt idx="3206">
                  <c:v>0</c:v>
                </c:pt>
                <c:pt idx="3207">
                  <c:v>0</c:v>
                </c:pt>
                <c:pt idx="3208">
                  <c:v>0</c:v>
                </c:pt>
                <c:pt idx="3209">
                  <c:v>0</c:v>
                </c:pt>
                <c:pt idx="3210">
                  <c:v>0</c:v>
                </c:pt>
                <c:pt idx="3211">
                  <c:v>0</c:v>
                </c:pt>
                <c:pt idx="3212">
                  <c:v>0</c:v>
                </c:pt>
                <c:pt idx="3213">
                  <c:v>0</c:v>
                </c:pt>
                <c:pt idx="3214">
                  <c:v>0</c:v>
                </c:pt>
                <c:pt idx="3215">
                  <c:v>0</c:v>
                </c:pt>
                <c:pt idx="3216">
                  <c:v>0</c:v>
                </c:pt>
                <c:pt idx="3217">
                  <c:v>0</c:v>
                </c:pt>
                <c:pt idx="3218">
                  <c:v>0</c:v>
                </c:pt>
                <c:pt idx="3219">
                  <c:v>0</c:v>
                </c:pt>
                <c:pt idx="3220">
                  <c:v>0</c:v>
                </c:pt>
                <c:pt idx="3221">
                  <c:v>0</c:v>
                </c:pt>
                <c:pt idx="3222">
                  <c:v>0</c:v>
                </c:pt>
                <c:pt idx="3223">
                  <c:v>0</c:v>
                </c:pt>
                <c:pt idx="3224">
                  <c:v>0</c:v>
                </c:pt>
                <c:pt idx="3225">
                  <c:v>0</c:v>
                </c:pt>
                <c:pt idx="3226">
                  <c:v>0</c:v>
                </c:pt>
                <c:pt idx="3227">
                  <c:v>0</c:v>
                </c:pt>
                <c:pt idx="3228">
                  <c:v>0</c:v>
                </c:pt>
                <c:pt idx="3229">
                  <c:v>0</c:v>
                </c:pt>
                <c:pt idx="3230">
                  <c:v>0</c:v>
                </c:pt>
                <c:pt idx="3231">
                  <c:v>0</c:v>
                </c:pt>
                <c:pt idx="3232">
                  <c:v>0</c:v>
                </c:pt>
                <c:pt idx="3233">
                  <c:v>0</c:v>
                </c:pt>
                <c:pt idx="3234">
                  <c:v>0</c:v>
                </c:pt>
                <c:pt idx="3235">
                  <c:v>0</c:v>
                </c:pt>
                <c:pt idx="3236">
                  <c:v>0</c:v>
                </c:pt>
                <c:pt idx="3237">
                  <c:v>0</c:v>
                </c:pt>
                <c:pt idx="3238">
                  <c:v>0</c:v>
                </c:pt>
                <c:pt idx="3239">
                  <c:v>0</c:v>
                </c:pt>
                <c:pt idx="3240">
                  <c:v>0</c:v>
                </c:pt>
                <c:pt idx="3241">
                  <c:v>0</c:v>
                </c:pt>
                <c:pt idx="3242">
                  <c:v>0</c:v>
                </c:pt>
                <c:pt idx="3243">
                  <c:v>0</c:v>
                </c:pt>
                <c:pt idx="3244">
                  <c:v>0</c:v>
                </c:pt>
                <c:pt idx="3245">
                  <c:v>0</c:v>
                </c:pt>
                <c:pt idx="3246">
                  <c:v>0</c:v>
                </c:pt>
                <c:pt idx="3247">
                  <c:v>0</c:v>
                </c:pt>
                <c:pt idx="3248">
                  <c:v>0</c:v>
                </c:pt>
                <c:pt idx="3249">
                  <c:v>0</c:v>
                </c:pt>
                <c:pt idx="3250">
                  <c:v>0</c:v>
                </c:pt>
                <c:pt idx="3251">
                  <c:v>0</c:v>
                </c:pt>
                <c:pt idx="3252">
                  <c:v>0</c:v>
                </c:pt>
                <c:pt idx="3253">
                  <c:v>0</c:v>
                </c:pt>
                <c:pt idx="3254">
                  <c:v>0</c:v>
                </c:pt>
                <c:pt idx="3255">
                  <c:v>0</c:v>
                </c:pt>
                <c:pt idx="3256">
                  <c:v>0</c:v>
                </c:pt>
                <c:pt idx="3257">
                  <c:v>0</c:v>
                </c:pt>
                <c:pt idx="3258">
                  <c:v>0</c:v>
                </c:pt>
                <c:pt idx="3259">
                  <c:v>0</c:v>
                </c:pt>
                <c:pt idx="3260">
                  <c:v>0</c:v>
                </c:pt>
                <c:pt idx="3261">
                  <c:v>0</c:v>
                </c:pt>
                <c:pt idx="3262">
                  <c:v>0</c:v>
                </c:pt>
                <c:pt idx="3263">
                  <c:v>0</c:v>
                </c:pt>
                <c:pt idx="3264">
                  <c:v>0</c:v>
                </c:pt>
                <c:pt idx="3265">
                  <c:v>0</c:v>
                </c:pt>
                <c:pt idx="3266">
                  <c:v>0</c:v>
                </c:pt>
                <c:pt idx="3267">
                  <c:v>0</c:v>
                </c:pt>
                <c:pt idx="3268">
                  <c:v>0</c:v>
                </c:pt>
                <c:pt idx="3269">
                  <c:v>0</c:v>
                </c:pt>
                <c:pt idx="3270">
                  <c:v>0</c:v>
                </c:pt>
                <c:pt idx="3271">
                  <c:v>0</c:v>
                </c:pt>
                <c:pt idx="3272">
                  <c:v>0</c:v>
                </c:pt>
                <c:pt idx="3273">
                  <c:v>0</c:v>
                </c:pt>
                <c:pt idx="3274">
                  <c:v>0</c:v>
                </c:pt>
                <c:pt idx="3275">
                  <c:v>0</c:v>
                </c:pt>
                <c:pt idx="3276">
                  <c:v>0</c:v>
                </c:pt>
                <c:pt idx="3277">
                  <c:v>0</c:v>
                </c:pt>
                <c:pt idx="3278">
                  <c:v>0</c:v>
                </c:pt>
                <c:pt idx="3279">
                  <c:v>0</c:v>
                </c:pt>
                <c:pt idx="3280">
                  <c:v>0</c:v>
                </c:pt>
                <c:pt idx="3281">
                  <c:v>0</c:v>
                </c:pt>
                <c:pt idx="3282">
                  <c:v>0</c:v>
                </c:pt>
                <c:pt idx="3283">
                  <c:v>0</c:v>
                </c:pt>
                <c:pt idx="3284">
                  <c:v>0</c:v>
                </c:pt>
                <c:pt idx="3285">
                  <c:v>0</c:v>
                </c:pt>
                <c:pt idx="3286">
                  <c:v>0</c:v>
                </c:pt>
                <c:pt idx="3287">
                  <c:v>0</c:v>
                </c:pt>
                <c:pt idx="3288">
                  <c:v>0</c:v>
                </c:pt>
                <c:pt idx="3289">
                  <c:v>0</c:v>
                </c:pt>
                <c:pt idx="3290">
                  <c:v>0</c:v>
                </c:pt>
                <c:pt idx="3291">
                  <c:v>0</c:v>
                </c:pt>
                <c:pt idx="3292">
                  <c:v>0</c:v>
                </c:pt>
                <c:pt idx="3293">
                  <c:v>0</c:v>
                </c:pt>
                <c:pt idx="3294">
                  <c:v>0</c:v>
                </c:pt>
                <c:pt idx="3295">
                  <c:v>0</c:v>
                </c:pt>
                <c:pt idx="3296">
                  <c:v>0</c:v>
                </c:pt>
                <c:pt idx="3297">
                  <c:v>0</c:v>
                </c:pt>
                <c:pt idx="3298">
                  <c:v>0</c:v>
                </c:pt>
                <c:pt idx="3299">
                  <c:v>0</c:v>
                </c:pt>
                <c:pt idx="3300">
                  <c:v>0</c:v>
                </c:pt>
                <c:pt idx="3301">
                  <c:v>0</c:v>
                </c:pt>
                <c:pt idx="3302">
                  <c:v>0</c:v>
                </c:pt>
                <c:pt idx="3303">
                  <c:v>0</c:v>
                </c:pt>
                <c:pt idx="3304">
                  <c:v>0</c:v>
                </c:pt>
                <c:pt idx="3305">
                  <c:v>0</c:v>
                </c:pt>
                <c:pt idx="3306">
                  <c:v>0</c:v>
                </c:pt>
                <c:pt idx="3307">
                  <c:v>0</c:v>
                </c:pt>
                <c:pt idx="3308">
                  <c:v>0</c:v>
                </c:pt>
                <c:pt idx="3309">
                  <c:v>0</c:v>
                </c:pt>
                <c:pt idx="3310">
                  <c:v>0</c:v>
                </c:pt>
                <c:pt idx="3311">
                  <c:v>0</c:v>
                </c:pt>
                <c:pt idx="3312">
                  <c:v>0</c:v>
                </c:pt>
                <c:pt idx="3313">
                  <c:v>0</c:v>
                </c:pt>
                <c:pt idx="3314">
                  <c:v>0</c:v>
                </c:pt>
                <c:pt idx="3315">
                  <c:v>0</c:v>
                </c:pt>
                <c:pt idx="3316">
                  <c:v>0</c:v>
                </c:pt>
                <c:pt idx="3317">
                  <c:v>0</c:v>
                </c:pt>
                <c:pt idx="3318">
                  <c:v>0</c:v>
                </c:pt>
                <c:pt idx="3319">
                  <c:v>0</c:v>
                </c:pt>
                <c:pt idx="3320">
                  <c:v>0</c:v>
                </c:pt>
                <c:pt idx="3321">
                  <c:v>0</c:v>
                </c:pt>
                <c:pt idx="3322">
                  <c:v>0</c:v>
                </c:pt>
                <c:pt idx="3323">
                  <c:v>0</c:v>
                </c:pt>
                <c:pt idx="3324">
                  <c:v>0</c:v>
                </c:pt>
                <c:pt idx="3325">
                  <c:v>0</c:v>
                </c:pt>
                <c:pt idx="3326">
                  <c:v>0</c:v>
                </c:pt>
                <c:pt idx="3327">
                  <c:v>0</c:v>
                </c:pt>
                <c:pt idx="3328">
                  <c:v>0</c:v>
                </c:pt>
                <c:pt idx="3329">
                  <c:v>0</c:v>
                </c:pt>
                <c:pt idx="3330">
                  <c:v>0</c:v>
                </c:pt>
                <c:pt idx="3331">
                  <c:v>0</c:v>
                </c:pt>
                <c:pt idx="3332">
                  <c:v>0</c:v>
                </c:pt>
                <c:pt idx="3333">
                  <c:v>0</c:v>
                </c:pt>
                <c:pt idx="3334">
                  <c:v>0</c:v>
                </c:pt>
                <c:pt idx="3335">
                  <c:v>0</c:v>
                </c:pt>
                <c:pt idx="3336">
                  <c:v>0</c:v>
                </c:pt>
                <c:pt idx="3337">
                  <c:v>0</c:v>
                </c:pt>
                <c:pt idx="3338">
                  <c:v>0</c:v>
                </c:pt>
                <c:pt idx="3339">
                  <c:v>0</c:v>
                </c:pt>
                <c:pt idx="3340">
                  <c:v>0</c:v>
                </c:pt>
                <c:pt idx="3341">
                  <c:v>0</c:v>
                </c:pt>
                <c:pt idx="3342">
                  <c:v>0</c:v>
                </c:pt>
                <c:pt idx="3343">
                  <c:v>0</c:v>
                </c:pt>
                <c:pt idx="3344">
                  <c:v>0</c:v>
                </c:pt>
                <c:pt idx="3345">
                  <c:v>0</c:v>
                </c:pt>
                <c:pt idx="3346">
                  <c:v>0</c:v>
                </c:pt>
                <c:pt idx="3347">
                  <c:v>0</c:v>
                </c:pt>
                <c:pt idx="3348">
                  <c:v>0</c:v>
                </c:pt>
                <c:pt idx="3349">
                  <c:v>0</c:v>
                </c:pt>
                <c:pt idx="3350">
                  <c:v>0</c:v>
                </c:pt>
                <c:pt idx="3351">
                  <c:v>0</c:v>
                </c:pt>
                <c:pt idx="3352">
                  <c:v>0</c:v>
                </c:pt>
                <c:pt idx="3353">
                  <c:v>0</c:v>
                </c:pt>
                <c:pt idx="3354">
                  <c:v>0</c:v>
                </c:pt>
                <c:pt idx="3355">
                  <c:v>0</c:v>
                </c:pt>
                <c:pt idx="3356">
                  <c:v>0</c:v>
                </c:pt>
                <c:pt idx="3357">
                  <c:v>0</c:v>
                </c:pt>
                <c:pt idx="3358">
                  <c:v>0</c:v>
                </c:pt>
                <c:pt idx="3359">
                  <c:v>0</c:v>
                </c:pt>
                <c:pt idx="3360">
                  <c:v>0</c:v>
                </c:pt>
                <c:pt idx="3361">
                  <c:v>0</c:v>
                </c:pt>
                <c:pt idx="3362">
                  <c:v>0</c:v>
                </c:pt>
                <c:pt idx="3363">
                  <c:v>0</c:v>
                </c:pt>
                <c:pt idx="3364">
                  <c:v>0</c:v>
                </c:pt>
                <c:pt idx="3365">
                  <c:v>0</c:v>
                </c:pt>
                <c:pt idx="3366">
                  <c:v>0</c:v>
                </c:pt>
                <c:pt idx="3367">
                  <c:v>0</c:v>
                </c:pt>
                <c:pt idx="3368">
                  <c:v>0</c:v>
                </c:pt>
                <c:pt idx="3369">
                  <c:v>0</c:v>
                </c:pt>
                <c:pt idx="3370">
                  <c:v>0</c:v>
                </c:pt>
                <c:pt idx="3371">
                  <c:v>0</c:v>
                </c:pt>
                <c:pt idx="3372">
                  <c:v>0</c:v>
                </c:pt>
                <c:pt idx="3373">
                  <c:v>0</c:v>
                </c:pt>
                <c:pt idx="3374">
                  <c:v>0</c:v>
                </c:pt>
                <c:pt idx="3375">
                  <c:v>0</c:v>
                </c:pt>
                <c:pt idx="3376">
                  <c:v>0</c:v>
                </c:pt>
                <c:pt idx="3377">
                  <c:v>0</c:v>
                </c:pt>
                <c:pt idx="3378">
                  <c:v>0</c:v>
                </c:pt>
                <c:pt idx="3379">
                  <c:v>0</c:v>
                </c:pt>
                <c:pt idx="3380">
                  <c:v>0</c:v>
                </c:pt>
                <c:pt idx="3381">
                  <c:v>0</c:v>
                </c:pt>
                <c:pt idx="3382">
                  <c:v>0</c:v>
                </c:pt>
                <c:pt idx="3383">
                  <c:v>0</c:v>
                </c:pt>
                <c:pt idx="3384">
                  <c:v>0</c:v>
                </c:pt>
                <c:pt idx="3385">
                  <c:v>0</c:v>
                </c:pt>
                <c:pt idx="3386">
                  <c:v>0</c:v>
                </c:pt>
                <c:pt idx="3387">
                  <c:v>0</c:v>
                </c:pt>
                <c:pt idx="3388">
                  <c:v>0</c:v>
                </c:pt>
                <c:pt idx="3389">
                  <c:v>0</c:v>
                </c:pt>
                <c:pt idx="3390">
                  <c:v>0</c:v>
                </c:pt>
                <c:pt idx="3391">
                  <c:v>0</c:v>
                </c:pt>
                <c:pt idx="3392">
                  <c:v>0</c:v>
                </c:pt>
                <c:pt idx="3393">
                  <c:v>0</c:v>
                </c:pt>
                <c:pt idx="3394">
                  <c:v>0</c:v>
                </c:pt>
                <c:pt idx="3395">
                  <c:v>0</c:v>
                </c:pt>
                <c:pt idx="3396">
                  <c:v>0</c:v>
                </c:pt>
                <c:pt idx="3397">
                  <c:v>0</c:v>
                </c:pt>
                <c:pt idx="3398">
                  <c:v>0</c:v>
                </c:pt>
                <c:pt idx="3399">
                  <c:v>0</c:v>
                </c:pt>
                <c:pt idx="3400">
                  <c:v>0</c:v>
                </c:pt>
                <c:pt idx="3401">
                  <c:v>0</c:v>
                </c:pt>
                <c:pt idx="3402">
                  <c:v>0</c:v>
                </c:pt>
                <c:pt idx="3403">
                  <c:v>0</c:v>
                </c:pt>
                <c:pt idx="3404">
                  <c:v>0</c:v>
                </c:pt>
                <c:pt idx="3405">
                  <c:v>0</c:v>
                </c:pt>
                <c:pt idx="3406">
                  <c:v>0</c:v>
                </c:pt>
                <c:pt idx="3407">
                  <c:v>0</c:v>
                </c:pt>
                <c:pt idx="3408">
                  <c:v>0</c:v>
                </c:pt>
                <c:pt idx="3409">
                  <c:v>0</c:v>
                </c:pt>
                <c:pt idx="3410">
                  <c:v>0</c:v>
                </c:pt>
                <c:pt idx="3411">
                  <c:v>0</c:v>
                </c:pt>
                <c:pt idx="3412">
                  <c:v>0</c:v>
                </c:pt>
                <c:pt idx="3413">
                  <c:v>0</c:v>
                </c:pt>
                <c:pt idx="3414">
                  <c:v>0</c:v>
                </c:pt>
                <c:pt idx="3415">
                  <c:v>0</c:v>
                </c:pt>
                <c:pt idx="3416">
                  <c:v>0</c:v>
                </c:pt>
                <c:pt idx="3417">
                  <c:v>0</c:v>
                </c:pt>
                <c:pt idx="3418">
                  <c:v>0</c:v>
                </c:pt>
                <c:pt idx="3419">
                  <c:v>0</c:v>
                </c:pt>
                <c:pt idx="3420">
                  <c:v>0</c:v>
                </c:pt>
                <c:pt idx="3421">
                  <c:v>0</c:v>
                </c:pt>
                <c:pt idx="3422">
                  <c:v>0</c:v>
                </c:pt>
                <c:pt idx="3423">
                  <c:v>0</c:v>
                </c:pt>
                <c:pt idx="3424">
                  <c:v>0</c:v>
                </c:pt>
                <c:pt idx="3425">
                  <c:v>0</c:v>
                </c:pt>
                <c:pt idx="3426">
                  <c:v>0</c:v>
                </c:pt>
                <c:pt idx="3427">
                  <c:v>0</c:v>
                </c:pt>
                <c:pt idx="3428">
                  <c:v>0</c:v>
                </c:pt>
                <c:pt idx="3429">
                  <c:v>0</c:v>
                </c:pt>
                <c:pt idx="3430">
                  <c:v>0</c:v>
                </c:pt>
                <c:pt idx="3431">
                  <c:v>0</c:v>
                </c:pt>
                <c:pt idx="3432">
                  <c:v>0</c:v>
                </c:pt>
                <c:pt idx="3433">
                  <c:v>0</c:v>
                </c:pt>
                <c:pt idx="3434">
                  <c:v>0</c:v>
                </c:pt>
                <c:pt idx="3435">
                  <c:v>0</c:v>
                </c:pt>
                <c:pt idx="3436">
                  <c:v>0</c:v>
                </c:pt>
                <c:pt idx="3437">
                  <c:v>0</c:v>
                </c:pt>
                <c:pt idx="3438">
                  <c:v>0</c:v>
                </c:pt>
                <c:pt idx="3439">
                  <c:v>0</c:v>
                </c:pt>
                <c:pt idx="3440">
                  <c:v>0</c:v>
                </c:pt>
                <c:pt idx="3441">
                  <c:v>0</c:v>
                </c:pt>
                <c:pt idx="3442">
                  <c:v>0</c:v>
                </c:pt>
                <c:pt idx="3443">
                  <c:v>0</c:v>
                </c:pt>
                <c:pt idx="3444">
                  <c:v>0</c:v>
                </c:pt>
                <c:pt idx="3445">
                  <c:v>0</c:v>
                </c:pt>
                <c:pt idx="3446">
                  <c:v>0</c:v>
                </c:pt>
                <c:pt idx="3447">
                  <c:v>0</c:v>
                </c:pt>
                <c:pt idx="3448">
                  <c:v>0</c:v>
                </c:pt>
                <c:pt idx="3449">
                  <c:v>0</c:v>
                </c:pt>
                <c:pt idx="3450">
                  <c:v>0</c:v>
                </c:pt>
                <c:pt idx="3451">
                  <c:v>0</c:v>
                </c:pt>
                <c:pt idx="3452">
                  <c:v>0</c:v>
                </c:pt>
                <c:pt idx="3453">
                  <c:v>0</c:v>
                </c:pt>
                <c:pt idx="3454">
                  <c:v>0</c:v>
                </c:pt>
                <c:pt idx="3455">
                  <c:v>0</c:v>
                </c:pt>
                <c:pt idx="3456">
                  <c:v>0</c:v>
                </c:pt>
                <c:pt idx="3457">
                  <c:v>0</c:v>
                </c:pt>
                <c:pt idx="3458">
                  <c:v>0</c:v>
                </c:pt>
                <c:pt idx="3459">
                  <c:v>0</c:v>
                </c:pt>
                <c:pt idx="3460">
                  <c:v>0</c:v>
                </c:pt>
                <c:pt idx="3461">
                  <c:v>0</c:v>
                </c:pt>
                <c:pt idx="3462">
                  <c:v>0</c:v>
                </c:pt>
                <c:pt idx="3463">
                  <c:v>0</c:v>
                </c:pt>
                <c:pt idx="3464">
                  <c:v>0</c:v>
                </c:pt>
                <c:pt idx="3465">
                  <c:v>0</c:v>
                </c:pt>
                <c:pt idx="3466">
                  <c:v>0</c:v>
                </c:pt>
                <c:pt idx="3467">
                  <c:v>0</c:v>
                </c:pt>
                <c:pt idx="3468">
                  <c:v>0</c:v>
                </c:pt>
                <c:pt idx="3469">
                  <c:v>0</c:v>
                </c:pt>
                <c:pt idx="3470">
                  <c:v>0</c:v>
                </c:pt>
                <c:pt idx="3471">
                  <c:v>0</c:v>
                </c:pt>
                <c:pt idx="3472">
                  <c:v>0</c:v>
                </c:pt>
                <c:pt idx="3473">
                  <c:v>0</c:v>
                </c:pt>
                <c:pt idx="3474">
                  <c:v>0</c:v>
                </c:pt>
                <c:pt idx="3475">
                  <c:v>0</c:v>
                </c:pt>
                <c:pt idx="3476">
                  <c:v>0</c:v>
                </c:pt>
                <c:pt idx="3477">
                  <c:v>0</c:v>
                </c:pt>
                <c:pt idx="3478">
                  <c:v>0</c:v>
                </c:pt>
                <c:pt idx="3479">
                  <c:v>0</c:v>
                </c:pt>
                <c:pt idx="3480">
                  <c:v>0</c:v>
                </c:pt>
                <c:pt idx="3481">
                  <c:v>0</c:v>
                </c:pt>
                <c:pt idx="3482">
                  <c:v>0</c:v>
                </c:pt>
                <c:pt idx="3483">
                  <c:v>0</c:v>
                </c:pt>
                <c:pt idx="3484">
                  <c:v>0</c:v>
                </c:pt>
                <c:pt idx="3485">
                  <c:v>0</c:v>
                </c:pt>
                <c:pt idx="3486">
                  <c:v>0</c:v>
                </c:pt>
                <c:pt idx="3487">
                  <c:v>0</c:v>
                </c:pt>
                <c:pt idx="3488">
                  <c:v>0</c:v>
                </c:pt>
                <c:pt idx="3489">
                  <c:v>0</c:v>
                </c:pt>
                <c:pt idx="3490">
                  <c:v>0</c:v>
                </c:pt>
                <c:pt idx="3491">
                  <c:v>0</c:v>
                </c:pt>
                <c:pt idx="3492">
                  <c:v>0</c:v>
                </c:pt>
                <c:pt idx="3493">
                  <c:v>0</c:v>
                </c:pt>
                <c:pt idx="3494">
                  <c:v>0</c:v>
                </c:pt>
                <c:pt idx="3495">
                  <c:v>0</c:v>
                </c:pt>
                <c:pt idx="3496">
                  <c:v>0</c:v>
                </c:pt>
                <c:pt idx="3497">
                  <c:v>0</c:v>
                </c:pt>
                <c:pt idx="3498">
                  <c:v>0</c:v>
                </c:pt>
                <c:pt idx="3499">
                  <c:v>0</c:v>
                </c:pt>
                <c:pt idx="3500">
                  <c:v>0</c:v>
                </c:pt>
                <c:pt idx="3501">
                  <c:v>0</c:v>
                </c:pt>
                <c:pt idx="3502">
                  <c:v>0</c:v>
                </c:pt>
                <c:pt idx="3503">
                  <c:v>0</c:v>
                </c:pt>
                <c:pt idx="3504">
                  <c:v>0</c:v>
                </c:pt>
                <c:pt idx="3505">
                  <c:v>0</c:v>
                </c:pt>
                <c:pt idx="3506">
                  <c:v>0</c:v>
                </c:pt>
                <c:pt idx="3507">
                  <c:v>0</c:v>
                </c:pt>
                <c:pt idx="3508">
                  <c:v>0</c:v>
                </c:pt>
                <c:pt idx="3509">
                  <c:v>0</c:v>
                </c:pt>
                <c:pt idx="3510">
                  <c:v>0</c:v>
                </c:pt>
                <c:pt idx="3511">
                  <c:v>0</c:v>
                </c:pt>
                <c:pt idx="3512">
                  <c:v>0</c:v>
                </c:pt>
                <c:pt idx="3513">
                  <c:v>0</c:v>
                </c:pt>
                <c:pt idx="3514">
                  <c:v>0</c:v>
                </c:pt>
                <c:pt idx="3515">
                  <c:v>0</c:v>
                </c:pt>
                <c:pt idx="3516">
                  <c:v>0</c:v>
                </c:pt>
                <c:pt idx="3517">
                  <c:v>0</c:v>
                </c:pt>
                <c:pt idx="3518">
                  <c:v>0</c:v>
                </c:pt>
                <c:pt idx="3519">
                  <c:v>0</c:v>
                </c:pt>
                <c:pt idx="3520">
                  <c:v>0</c:v>
                </c:pt>
                <c:pt idx="3521">
                  <c:v>0</c:v>
                </c:pt>
                <c:pt idx="3522">
                  <c:v>0</c:v>
                </c:pt>
                <c:pt idx="3523">
                  <c:v>0</c:v>
                </c:pt>
                <c:pt idx="3524">
                  <c:v>0</c:v>
                </c:pt>
                <c:pt idx="3525">
                  <c:v>0</c:v>
                </c:pt>
                <c:pt idx="3526">
                  <c:v>0</c:v>
                </c:pt>
                <c:pt idx="3527">
                  <c:v>0</c:v>
                </c:pt>
                <c:pt idx="3528">
                  <c:v>0</c:v>
                </c:pt>
                <c:pt idx="3529">
                  <c:v>0</c:v>
                </c:pt>
                <c:pt idx="3530">
                  <c:v>0</c:v>
                </c:pt>
                <c:pt idx="3531">
                  <c:v>0</c:v>
                </c:pt>
                <c:pt idx="3532">
                  <c:v>0</c:v>
                </c:pt>
                <c:pt idx="3533">
                  <c:v>0</c:v>
                </c:pt>
                <c:pt idx="3534">
                  <c:v>0</c:v>
                </c:pt>
                <c:pt idx="3535">
                  <c:v>0</c:v>
                </c:pt>
                <c:pt idx="3536">
                  <c:v>0</c:v>
                </c:pt>
                <c:pt idx="3537">
                  <c:v>0</c:v>
                </c:pt>
                <c:pt idx="3538">
                  <c:v>0</c:v>
                </c:pt>
                <c:pt idx="3539">
                  <c:v>0</c:v>
                </c:pt>
                <c:pt idx="3540">
                  <c:v>0</c:v>
                </c:pt>
                <c:pt idx="3541">
                  <c:v>0</c:v>
                </c:pt>
                <c:pt idx="3542">
                  <c:v>0</c:v>
                </c:pt>
                <c:pt idx="3543">
                  <c:v>0</c:v>
                </c:pt>
                <c:pt idx="3544">
                  <c:v>0</c:v>
                </c:pt>
                <c:pt idx="3545">
                  <c:v>0</c:v>
                </c:pt>
                <c:pt idx="3546">
                  <c:v>0</c:v>
                </c:pt>
                <c:pt idx="3547">
                  <c:v>0</c:v>
                </c:pt>
                <c:pt idx="3548">
                  <c:v>0</c:v>
                </c:pt>
                <c:pt idx="3549">
                  <c:v>0</c:v>
                </c:pt>
                <c:pt idx="3550">
                  <c:v>0</c:v>
                </c:pt>
                <c:pt idx="3551">
                  <c:v>0</c:v>
                </c:pt>
                <c:pt idx="3552">
                  <c:v>0</c:v>
                </c:pt>
                <c:pt idx="3553">
                  <c:v>0</c:v>
                </c:pt>
                <c:pt idx="3554">
                  <c:v>0</c:v>
                </c:pt>
                <c:pt idx="3555">
                  <c:v>0</c:v>
                </c:pt>
                <c:pt idx="3556">
                  <c:v>0</c:v>
                </c:pt>
                <c:pt idx="3557">
                  <c:v>0</c:v>
                </c:pt>
                <c:pt idx="3558">
                  <c:v>0</c:v>
                </c:pt>
                <c:pt idx="3559">
                  <c:v>0</c:v>
                </c:pt>
                <c:pt idx="3560">
                  <c:v>0</c:v>
                </c:pt>
                <c:pt idx="3561">
                  <c:v>0</c:v>
                </c:pt>
                <c:pt idx="3562">
                  <c:v>0</c:v>
                </c:pt>
                <c:pt idx="3563">
                  <c:v>0</c:v>
                </c:pt>
                <c:pt idx="3564">
                  <c:v>0</c:v>
                </c:pt>
                <c:pt idx="3565">
                  <c:v>0</c:v>
                </c:pt>
                <c:pt idx="3566">
                  <c:v>0</c:v>
                </c:pt>
                <c:pt idx="3567">
                  <c:v>0</c:v>
                </c:pt>
                <c:pt idx="3568">
                  <c:v>0</c:v>
                </c:pt>
                <c:pt idx="3569">
                  <c:v>0</c:v>
                </c:pt>
                <c:pt idx="3570">
                  <c:v>0</c:v>
                </c:pt>
                <c:pt idx="3571">
                  <c:v>0</c:v>
                </c:pt>
                <c:pt idx="3572">
                  <c:v>0</c:v>
                </c:pt>
                <c:pt idx="3573">
                  <c:v>0</c:v>
                </c:pt>
                <c:pt idx="3574">
                  <c:v>0</c:v>
                </c:pt>
                <c:pt idx="3575">
                  <c:v>0</c:v>
                </c:pt>
                <c:pt idx="3576">
                  <c:v>0</c:v>
                </c:pt>
                <c:pt idx="3577">
                  <c:v>0</c:v>
                </c:pt>
                <c:pt idx="3578">
                  <c:v>0</c:v>
                </c:pt>
                <c:pt idx="3579">
                  <c:v>0</c:v>
                </c:pt>
                <c:pt idx="3580">
                  <c:v>0</c:v>
                </c:pt>
                <c:pt idx="3581">
                  <c:v>0</c:v>
                </c:pt>
                <c:pt idx="3582">
                  <c:v>0</c:v>
                </c:pt>
                <c:pt idx="3583">
                  <c:v>0</c:v>
                </c:pt>
                <c:pt idx="3584">
                  <c:v>0</c:v>
                </c:pt>
                <c:pt idx="3585">
                  <c:v>0</c:v>
                </c:pt>
                <c:pt idx="3586">
                  <c:v>0</c:v>
                </c:pt>
                <c:pt idx="3587">
                  <c:v>0</c:v>
                </c:pt>
                <c:pt idx="3588">
                  <c:v>0</c:v>
                </c:pt>
                <c:pt idx="3589">
                  <c:v>0</c:v>
                </c:pt>
                <c:pt idx="3590">
                  <c:v>0</c:v>
                </c:pt>
                <c:pt idx="3591">
                  <c:v>0</c:v>
                </c:pt>
                <c:pt idx="3592">
                  <c:v>0</c:v>
                </c:pt>
                <c:pt idx="3593">
                  <c:v>0</c:v>
                </c:pt>
                <c:pt idx="3594">
                  <c:v>0</c:v>
                </c:pt>
                <c:pt idx="3595">
                  <c:v>0</c:v>
                </c:pt>
                <c:pt idx="3596">
                  <c:v>0</c:v>
                </c:pt>
                <c:pt idx="3597">
                  <c:v>0</c:v>
                </c:pt>
                <c:pt idx="3598">
                  <c:v>0</c:v>
                </c:pt>
                <c:pt idx="3599">
                  <c:v>0</c:v>
                </c:pt>
                <c:pt idx="3600">
                  <c:v>0</c:v>
                </c:pt>
                <c:pt idx="3601">
                  <c:v>0</c:v>
                </c:pt>
                <c:pt idx="3602">
                  <c:v>0</c:v>
                </c:pt>
                <c:pt idx="3603">
                  <c:v>0</c:v>
                </c:pt>
                <c:pt idx="3604">
                  <c:v>0</c:v>
                </c:pt>
                <c:pt idx="3605">
                  <c:v>0</c:v>
                </c:pt>
                <c:pt idx="3606">
                  <c:v>0</c:v>
                </c:pt>
                <c:pt idx="3607">
                  <c:v>0</c:v>
                </c:pt>
                <c:pt idx="3608">
                  <c:v>0</c:v>
                </c:pt>
                <c:pt idx="3609">
                  <c:v>0</c:v>
                </c:pt>
                <c:pt idx="3610">
                  <c:v>0</c:v>
                </c:pt>
                <c:pt idx="3611">
                  <c:v>0</c:v>
                </c:pt>
                <c:pt idx="3612">
                  <c:v>0</c:v>
                </c:pt>
                <c:pt idx="3613">
                  <c:v>0</c:v>
                </c:pt>
                <c:pt idx="3614">
                  <c:v>0</c:v>
                </c:pt>
                <c:pt idx="3615">
                  <c:v>0</c:v>
                </c:pt>
                <c:pt idx="3616">
                  <c:v>0</c:v>
                </c:pt>
                <c:pt idx="3617">
                  <c:v>0</c:v>
                </c:pt>
                <c:pt idx="3618">
                  <c:v>0</c:v>
                </c:pt>
                <c:pt idx="3619">
                  <c:v>0</c:v>
                </c:pt>
                <c:pt idx="3620">
                  <c:v>0</c:v>
                </c:pt>
                <c:pt idx="3621">
                  <c:v>0</c:v>
                </c:pt>
                <c:pt idx="3622">
                  <c:v>0</c:v>
                </c:pt>
                <c:pt idx="3623">
                  <c:v>0</c:v>
                </c:pt>
                <c:pt idx="3624">
                  <c:v>0</c:v>
                </c:pt>
                <c:pt idx="3625">
                  <c:v>0</c:v>
                </c:pt>
                <c:pt idx="3626">
                  <c:v>0</c:v>
                </c:pt>
                <c:pt idx="3627">
                  <c:v>0</c:v>
                </c:pt>
                <c:pt idx="3628">
                  <c:v>0</c:v>
                </c:pt>
                <c:pt idx="3629">
                  <c:v>0</c:v>
                </c:pt>
                <c:pt idx="3630">
                  <c:v>0</c:v>
                </c:pt>
                <c:pt idx="3631">
                  <c:v>0</c:v>
                </c:pt>
                <c:pt idx="3632">
                  <c:v>0</c:v>
                </c:pt>
                <c:pt idx="3633">
                  <c:v>0</c:v>
                </c:pt>
                <c:pt idx="3634">
                  <c:v>0</c:v>
                </c:pt>
                <c:pt idx="3635">
                  <c:v>0</c:v>
                </c:pt>
                <c:pt idx="3636">
                  <c:v>0</c:v>
                </c:pt>
                <c:pt idx="3637">
                  <c:v>0</c:v>
                </c:pt>
                <c:pt idx="3638">
                  <c:v>0</c:v>
                </c:pt>
                <c:pt idx="3639">
                  <c:v>0</c:v>
                </c:pt>
                <c:pt idx="3640">
                  <c:v>0</c:v>
                </c:pt>
                <c:pt idx="3641">
                  <c:v>0</c:v>
                </c:pt>
                <c:pt idx="3642">
                  <c:v>0</c:v>
                </c:pt>
                <c:pt idx="3643">
                  <c:v>0</c:v>
                </c:pt>
                <c:pt idx="3644">
                  <c:v>0</c:v>
                </c:pt>
                <c:pt idx="3645">
                  <c:v>0</c:v>
                </c:pt>
                <c:pt idx="3646">
                  <c:v>0</c:v>
                </c:pt>
                <c:pt idx="3647">
                  <c:v>0</c:v>
                </c:pt>
                <c:pt idx="3648">
                  <c:v>0</c:v>
                </c:pt>
                <c:pt idx="3649">
                  <c:v>0</c:v>
                </c:pt>
                <c:pt idx="3650">
                  <c:v>0</c:v>
                </c:pt>
                <c:pt idx="3651">
                  <c:v>0</c:v>
                </c:pt>
                <c:pt idx="3652">
                  <c:v>0</c:v>
                </c:pt>
                <c:pt idx="3653">
                  <c:v>0</c:v>
                </c:pt>
                <c:pt idx="3654">
                  <c:v>0</c:v>
                </c:pt>
                <c:pt idx="3655">
                  <c:v>0</c:v>
                </c:pt>
                <c:pt idx="3656">
                  <c:v>0</c:v>
                </c:pt>
                <c:pt idx="3657">
                  <c:v>0</c:v>
                </c:pt>
                <c:pt idx="3658">
                  <c:v>0</c:v>
                </c:pt>
                <c:pt idx="3659">
                  <c:v>0</c:v>
                </c:pt>
                <c:pt idx="3660">
                  <c:v>0</c:v>
                </c:pt>
                <c:pt idx="3661">
                  <c:v>0</c:v>
                </c:pt>
                <c:pt idx="3662">
                  <c:v>0</c:v>
                </c:pt>
                <c:pt idx="3663">
                  <c:v>0</c:v>
                </c:pt>
                <c:pt idx="3664">
                  <c:v>0</c:v>
                </c:pt>
                <c:pt idx="3665">
                  <c:v>0</c:v>
                </c:pt>
                <c:pt idx="3666">
                  <c:v>0</c:v>
                </c:pt>
                <c:pt idx="3667">
                  <c:v>0</c:v>
                </c:pt>
                <c:pt idx="3668">
                  <c:v>0</c:v>
                </c:pt>
                <c:pt idx="3669">
                  <c:v>0</c:v>
                </c:pt>
                <c:pt idx="3670">
                  <c:v>0</c:v>
                </c:pt>
                <c:pt idx="3671">
                  <c:v>0</c:v>
                </c:pt>
                <c:pt idx="3672">
                  <c:v>0</c:v>
                </c:pt>
                <c:pt idx="3673">
                  <c:v>0</c:v>
                </c:pt>
                <c:pt idx="3674">
                  <c:v>0</c:v>
                </c:pt>
                <c:pt idx="3675">
                  <c:v>0</c:v>
                </c:pt>
                <c:pt idx="3676">
                  <c:v>0</c:v>
                </c:pt>
                <c:pt idx="3677">
                  <c:v>0</c:v>
                </c:pt>
                <c:pt idx="3678">
                  <c:v>0</c:v>
                </c:pt>
                <c:pt idx="3679">
                  <c:v>0</c:v>
                </c:pt>
                <c:pt idx="3680">
                  <c:v>0</c:v>
                </c:pt>
                <c:pt idx="3681">
                  <c:v>0</c:v>
                </c:pt>
                <c:pt idx="3682">
                  <c:v>0</c:v>
                </c:pt>
                <c:pt idx="3683">
                  <c:v>0</c:v>
                </c:pt>
                <c:pt idx="3684">
                  <c:v>0</c:v>
                </c:pt>
                <c:pt idx="3685">
                  <c:v>0</c:v>
                </c:pt>
                <c:pt idx="3686">
                  <c:v>0</c:v>
                </c:pt>
                <c:pt idx="3687">
                  <c:v>0</c:v>
                </c:pt>
                <c:pt idx="3688">
                  <c:v>0</c:v>
                </c:pt>
                <c:pt idx="3689">
                  <c:v>0</c:v>
                </c:pt>
                <c:pt idx="3690">
                  <c:v>0</c:v>
                </c:pt>
                <c:pt idx="3691">
                  <c:v>0</c:v>
                </c:pt>
                <c:pt idx="3692">
                  <c:v>0</c:v>
                </c:pt>
                <c:pt idx="3693">
                  <c:v>0</c:v>
                </c:pt>
                <c:pt idx="3694">
                  <c:v>0</c:v>
                </c:pt>
                <c:pt idx="3695">
                  <c:v>0</c:v>
                </c:pt>
                <c:pt idx="3696">
                  <c:v>0</c:v>
                </c:pt>
                <c:pt idx="3697">
                  <c:v>0</c:v>
                </c:pt>
                <c:pt idx="3698">
                  <c:v>0</c:v>
                </c:pt>
                <c:pt idx="3699">
                  <c:v>0</c:v>
                </c:pt>
                <c:pt idx="3700">
                  <c:v>0</c:v>
                </c:pt>
                <c:pt idx="3701">
                  <c:v>0</c:v>
                </c:pt>
                <c:pt idx="3702">
                  <c:v>0</c:v>
                </c:pt>
                <c:pt idx="3703">
                  <c:v>0</c:v>
                </c:pt>
                <c:pt idx="3704">
                  <c:v>0</c:v>
                </c:pt>
                <c:pt idx="3705">
                  <c:v>0</c:v>
                </c:pt>
                <c:pt idx="3706">
                  <c:v>0</c:v>
                </c:pt>
                <c:pt idx="3707">
                  <c:v>0</c:v>
                </c:pt>
                <c:pt idx="3708">
                  <c:v>0</c:v>
                </c:pt>
                <c:pt idx="3709">
                  <c:v>0</c:v>
                </c:pt>
                <c:pt idx="3710">
                  <c:v>0</c:v>
                </c:pt>
                <c:pt idx="3711">
                  <c:v>0</c:v>
                </c:pt>
                <c:pt idx="3712">
                  <c:v>0</c:v>
                </c:pt>
                <c:pt idx="3713">
                  <c:v>0</c:v>
                </c:pt>
                <c:pt idx="3714">
                  <c:v>0</c:v>
                </c:pt>
                <c:pt idx="3715">
                  <c:v>0</c:v>
                </c:pt>
                <c:pt idx="3716">
                  <c:v>0</c:v>
                </c:pt>
                <c:pt idx="3717">
                  <c:v>0</c:v>
                </c:pt>
                <c:pt idx="3718">
                  <c:v>0</c:v>
                </c:pt>
                <c:pt idx="3719">
                  <c:v>0</c:v>
                </c:pt>
                <c:pt idx="3720">
                  <c:v>0</c:v>
                </c:pt>
                <c:pt idx="3721">
                  <c:v>0</c:v>
                </c:pt>
                <c:pt idx="3722">
                  <c:v>0</c:v>
                </c:pt>
                <c:pt idx="3723">
                  <c:v>0</c:v>
                </c:pt>
                <c:pt idx="3724">
                  <c:v>0</c:v>
                </c:pt>
                <c:pt idx="3725">
                  <c:v>0</c:v>
                </c:pt>
                <c:pt idx="3726">
                  <c:v>0</c:v>
                </c:pt>
                <c:pt idx="3727">
                  <c:v>0</c:v>
                </c:pt>
                <c:pt idx="3728">
                  <c:v>0</c:v>
                </c:pt>
                <c:pt idx="3729">
                  <c:v>0</c:v>
                </c:pt>
                <c:pt idx="3730">
                  <c:v>0</c:v>
                </c:pt>
                <c:pt idx="3731">
                  <c:v>0</c:v>
                </c:pt>
                <c:pt idx="3732">
                  <c:v>0</c:v>
                </c:pt>
                <c:pt idx="3733">
                  <c:v>0</c:v>
                </c:pt>
                <c:pt idx="3734">
                  <c:v>0</c:v>
                </c:pt>
                <c:pt idx="3735">
                  <c:v>0</c:v>
                </c:pt>
                <c:pt idx="3736">
                  <c:v>0</c:v>
                </c:pt>
                <c:pt idx="3737">
                  <c:v>0</c:v>
                </c:pt>
                <c:pt idx="3738">
                  <c:v>0</c:v>
                </c:pt>
                <c:pt idx="3739">
                  <c:v>0</c:v>
                </c:pt>
                <c:pt idx="3740">
                  <c:v>0</c:v>
                </c:pt>
                <c:pt idx="3741">
                  <c:v>0</c:v>
                </c:pt>
                <c:pt idx="3742">
                  <c:v>0</c:v>
                </c:pt>
                <c:pt idx="3743">
                  <c:v>0</c:v>
                </c:pt>
                <c:pt idx="3744">
                  <c:v>0</c:v>
                </c:pt>
                <c:pt idx="3745">
                  <c:v>0</c:v>
                </c:pt>
                <c:pt idx="3746">
                  <c:v>0</c:v>
                </c:pt>
                <c:pt idx="3747">
                  <c:v>0</c:v>
                </c:pt>
                <c:pt idx="3748">
                  <c:v>0</c:v>
                </c:pt>
                <c:pt idx="3749">
                  <c:v>0</c:v>
                </c:pt>
                <c:pt idx="3750">
                  <c:v>0</c:v>
                </c:pt>
                <c:pt idx="3751">
                  <c:v>0</c:v>
                </c:pt>
                <c:pt idx="3752">
                  <c:v>0</c:v>
                </c:pt>
                <c:pt idx="3753">
                  <c:v>0</c:v>
                </c:pt>
                <c:pt idx="3754">
                  <c:v>0</c:v>
                </c:pt>
                <c:pt idx="3755">
                  <c:v>0</c:v>
                </c:pt>
                <c:pt idx="3756">
                  <c:v>0</c:v>
                </c:pt>
                <c:pt idx="3757">
                  <c:v>0</c:v>
                </c:pt>
                <c:pt idx="3758">
                  <c:v>0</c:v>
                </c:pt>
                <c:pt idx="3759">
                  <c:v>0</c:v>
                </c:pt>
                <c:pt idx="3760">
                  <c:v>0</c:v>
                </c:pt>
                <c:pt idx="3761">
                  <c:v>0</c:v>
                </c:pt>
                <c:pt idx="3762">
                  <c:v>0</c:v>
                </c:pt>
                <c:pt idx="3763">
                  <c:v>0</c:v>
                </c:pt>
                <c:pt idx="3764">
                  <c:v>0</c:v>
                </c:pt>
                <c:pt idx="3765">
                  <c:v>0</c:v>
                </c:pt>
                <c:pt idx="3766">
                  <c:v>0</c:v>
                </c:pt>
                <c:pt idx="3767">
                  <c:v>0</c:v>
                </c:pt>
                <c:pt idx="3768">
                  <c:v>0</c:v>
                </c:pt>
                <c:pt idx="3769">
                  <c:v>0</c:v>
                </c:pt>
                <c:pt idx="3770">
                  <c:v>0</c:v>
                </c:pt>
                <c:pt idx="3771">
                  <c:v>0</c:v>
                </c:pt>
                <c:pt idx="3772">
                  <c:v>0</c:v>
                </c:pt>
                <c:pt idx="3773">
                  <c:v>0</c:v>
                </c:pt>
                <c:pt idx="3774">
                  <c:v>0</c:v>
                </c:pt>
                <c:pt idx="3775">
                  <c:v>0</c:v>
                </c:pt>
                <c:pt idx="3776">
                  <c:v>0</c:v>
                </c:pt>
                <c:pt idx="3777">
                  <c:v>0</c:v>
                </c:pt>
                <c:pt idx="3778">
                  <c:v>0</c:v>
                </c:pt>
                <c:pt idx="3779">
                  <c:v>0</c:v>
                </c:pt>
                <c:pt idx="3780">
                  <c:v>0</c:v>
                </c:pt>
                <c:pt idx="3781">
                  <c:v>0</c:v>
                </c:pt>
                <c:pt idx="3782">
                  <c:v>0</c:v>
                </c:pt>
                <c:pt idx="3783">
                  <c:v>0</c:v>
                </c:pt>
                <c:pt idx="3784">
                  <c:v>0</c:v>
                </c:pt>
                <c:pt idx="3785">
                  <c:v>0</c:v>
                </c:pt>
                <c:pt idx="3786">
                  <c:v>0</c:v>
                </c:pt>
                <c:pt idx="3787">
                  <c:v>0</c:v>
                </c:pt>
                <c:pt idx="3788">
                  <c:v>0</c:v>
                </c:pt>
                <c:pt idx="3789">
                  <c:v>0</c:v>
                </c:pt>
                <c:pt idx="3790">
                  <c:v>0</c:v>
                </c:pt>
                <c:pt idx="3791">
                  <c:v>0</c:v>
                </c:pt>
                <c:pt idx="3792">
                  <c:v>0</c:v>
                </c:pt>
                <c:pt idx="3793">
                  <c:v>0</c:v>
                </c:pt>
                <c:pt idx="3794">
                  <c:v>0</c:v>
                </c:pt>
                <c:pt idx="3795">
                  <c:v>0</c:v>
                </c:pt>
                <c:pt idx="3796">
                  <c:v>0</c:v>
                </c:pt>
                <c:pt idx="3797">
                  <c:v>0</c:v>
                </c:pt>
                <c:pt idx="3798">
                  <c:v>0</c:v>
                </c:pt>
                <c:pt idx="3799">
                  <c:v>0</c:v>
                </c:pt>
                <c:pt idx="3800">
                  <c:v>0</c:v>
                </c:pt>
                <c:pt idx="3801">
                  <c:v>0</c:v>
                </c:pt>
                <c:pt idx="3802">
                  <c:v>0</c:v>
                </c:pt>
                <c:pt idx="3803">
                  <c:v>0</c:v>
                </c:pt>
                <c:pt idx="3804">
                  <c:v>0</c:v>
                </c:pt>
                <c:pt idx="3805">
                  <c:v>0</c:v>
                </c:pt>
                <c:pt idx="3806">
                  <c:v>0</c:v>
                </c:pt>
                <c:pt idx="3807">
                  <c:v>0</c:v>
                </c:pt>
                <c:pt idx="3808">
                  <c:v>0</c:v>
                </c:pt>
                <c:pt idx="3809">
                  <c:v>0</c:v>
                </c:pt>
                <c:pt idx="3810">
                  <c:v>0</c:v>
                </c:pt>
                <c:pt idx="3811">
                  <c:v>0</c:v>
                </c:pt>
                <c:pt idx="3812">
                  <c:v>0</c:v>
                </c:pt>
                <c:pt idx="3813">
                  <c:v>0</c:v>
                </c:pt>
                <c:pt idx="3814">
                  <c:v>0</c:v>
                </c:pt>
                <c:pt idx="3815">
                  <c:v>0</c:v>
                </c:pt>
                <c:pt idx="3816">
                  <c:v>0</c:v>
                </c:pt>
                <c:pt idx="3817">
                  <c:v>0</c:v>
                </c:pt>
                <c:pt idx="3818">
                  <c:v>0</c:v>
                </c:pt>
                <c:pt idx="3819">
                  <c:v>0</c:v>
                </c:pt>
                <c:pt idx="3820">
                  <c:v>0</c:v>
                </c:pt>
                <c:pt idx="3821">
                  <c:v>0</c:v>
                </c:pt>
                <c:pt idx="3822">
                  <c:v>0</c:v>
                </c:pt>
                <c:pt idx="3823">
                  <c:v>0</c:v>
                </c:pt>
                <c:pt idx="3824">
                  <c:v>0</c:v>
                </c:pt>
                <c:pt idx="3825">
                  <c:v>0</c:v>
                </c:pt>
                <c:pt idx="3826">
                  <c:v>0</c:v>
                </c:pt>
                <c:pt idx="3827">
                  <c:v>0</c:v>
                </c:pt>
                <c:pt idx="3828">
                  <c:v>0</c:v>
                </c:pt>
                <c:pt idx="3829">
                  <c:v>0</c:v>
                </c:pt>
                <c:pt idx="3830">
                  <c:v>0</c:v>
                </c:pt>
                <c:pt idx="3831">
                  <c:v>0</c:v>
                </c:pt>
                <c:pt idx="3832">
                  <c:v>0</c:v>
                </c:pt>
                <c:pt idx="3833">
                  <c:v>0</c:v>
                </c:pt>
                <c:pt idx="3834">
                  <c:v>0</c:v>
                </c:pt>
                <c:pt idx="3835">
                  <c:v>0</c:v>
                </c:pt>
                <c:pt idx="3836">
                  <c:v>0</c:v>
                </c:pt>
                <c:pt idx="3837">
                  <c:v>0</c:v>
                </c:pt>
                <c:pt idx="3838">
                  <c:v>0</c:v>
                </c:pt>
                <c:pt idx="3839">
                  <c:v>0</c:v>
                </c:pt>
                <c:pt idx="3840">
                  <c:v>0</c:v>
                </c:pt>
                <c:pt idx="3841">
                  <c:v>0</c:v>
                </c:pt>
                <c:pt idx="3842">
                  <c:v>0</c:v>
                </c:pt>
                <c:pt idx="3843">
                  <c:v>0</c:v>
                </c:pt>
                <c:pt idx="3844">
                  <c:v>0</c:v>
                </c:pt>
                <c:pt idx="3845">
                  <c:v>0</c:v>
                </c:pt>
                <c:pt idx="3846">
                  <c:v>0</c:v>
                </c:pt>
                <c:pt idx="3847">
                  <c:v>0</c:v>
                </c:pt>
                <c:pt idx="3848">
                  <c:v>0</c:v>
                </c:pt>
                <c:pt idx="3849">
                  <c:v>0</c:v>
                </c:pt>
                <c:pt idx="3850">
                  <c:v>0</c:v>
                </c:pt>
                <c:pt idx="3851">
                  <c:v>0</c:v>
                </c:pt>
                <c:pt idx="3852">
                  <c:v>0</c:v>
                </c:pt>
                <c:pt idx="3853">
                  <c:v>0</c:v>
                </c:pt>
                <c:pt idx="3854">
                  <c:v>0</c:v>
                </c:pt>
                <c:pt idx="3855">
                  <c:v>0</c:v>
                </c:pt>
                <c:pt idx="3856">
                  <c:v>0</c:v>
                </c:pt>
                <c:pt idx="3857">
                  <c:v>0</c:v>
                </c:pt>
                <c:pt idx="3858">
                  <c:v>0</c:v>
                </c:pt>
                <c:pt idx="3859">
                  <c:v>0</c:v>
                </c:pt>
                <c:pt idx="3860">
                  <c:v>0</c:v>
                </c:pt>
                <c:pt idx="3861">
                  <c:v>0</c:v>
                </c:pt>
                <c:pt idx="3862">
                  <c:v>0</c:v>
                </c:pt>
                <c:pt idx="3863">
                  <c:v>0</c:v>
                </c:pt>
                <c:pt idx="3864">
                  <c:v>0</c:v>
                </c:pt>
                <c:pt idx="3865">
                  <c:v>0</c:v>
                </c:pt>
                <c:pt idx="3866">
                  <c:v>0</c:v>
                </c:pt>
                <c:pt idx="3867">
                  <c:v>0</c:v>
                </c:pt>
                <c:pt idx="3868">
                  <c:v>0</c:v>
                </c:pt>
                <c:pt idx="3869">
                  <c:v>0</c:v>
                </c:pt>
                <c:pt idx="3870">
                  <c:v>0</c:v>
                </c:pt>
                <c:pt idx="3871">
                  <c:v>0</c:v>
                </c:pt>
                <c:pt idx="3872">
                  <c:v>0</c:v>
                </c:pt>
                <c:pt idx="3873">
                  <c:v>0</c:v>
                </c:pt>
                <c:pt idx="3874">
                  <c:v>0</c:v>
                </c:pt>
                <c:pt idx="3875">
                  <c:v>0</c:v>
                </c:pt>
                <c:pt idx="3876">
                  <c:v>0</c:v>
                </c:pt>
                <c:pt idx="3877">
                  <c:v>0</c:v>
                </c:pt>
                <c:pt idx="3878">
                  <c:v>0</c:v>
                </c:pt>
                <c:pt idx="3879">
                  <c:v>0</c:v>
                </c:pt>
                <c:pt idx="3880">
                  <c:v>0</c:v>
                </c:pt>
                <c:pt idx="3881">
                  <c:v>0</c:v>
                </c:pt>
                <c:pt idx="3882">
                  <c:v>0</c:v>
                </c:pt>
                <c:pt idx="3883">
                  <c:v>0</c:v>
                </c:pt>
                <c:pt idx="3884">
                  <c:v>0</c:v>
                </c:pt>
                <c:pt idx="3885">
                  <c:v>0</c:v>
                </c:pt>
                <c:pt idx="3886">
                  <c:v>0</c:v>
                </c:pt>
                <c:pt idx="3887">
                  <c:v>0</c:v>
                </c:pt>
                <c:pt idx="3888">
                  <c:v>0</c:v>
                </c:pt>
                <c:pt idx="3889">
                  <c:v>0</c:v>
                </c:pt>
                <c:pt idx="3890">
                  <c:v>0</c:v>
                </c:pt>
                <c:pt idx="3891">
                  <c:v>0</c:v>
                </c:pt>
                <c:pt idx="3892">
                  <c:v>0</c:v>
                </c:pt>
                <c:pt idx="3893">
                  <c:v>0</c:v>
                </c:pt>
                <c:pt idx="3894">
                  <c:v>0</c:v>
                </c:pt>
                <c:pt idx="3895">
                  <c:v>0</c:v>
                </c:pt>
                <c:pt idx="3896">
                  <c:v>0</c:v>
                </c:pt>
                <c:pt idx="3897">
                  <c:v>0</c:v>
                </c:pt>
                <c:pt idx="3898">
                  <c:v>0</c:v>
                </c:pt>
                <c:pt idx="3899">
                  <c:v>0</c:v>
                </c:pt>
                <c:pt idx="3900">
                  <c:v>0</c:v>
                </c:pt>
                <c:pt idx="3901">
                  <c:v>0</c:v>
                </c:pt>
                <c:pt idx="3902">
                  <c:v>0</c:v>
                </c:pt>
                <c:pt idx="3903">
                  <c:v>0</c:v>
                </c:pt>
                <c:pt idx="3904">
                  <c:v>0</c:v>
                </c:pt>
                <c:pt idx="3905">
                  <c:v>0</c:v>
                </c:pt>
                <c:pt idx="3906">
                  <c:v>0</c:v>
                </c:pt>
                <c:pt idx="3907">
                  <c:v>0</c:v>
                </c:pt>
                <c:pt idx="3908">
                  <c:v>0</c:v>
                </c:pt>
                <c:pt idx="3909">
                  <c:v>0</c:v>
                </c:pt>
                <c:pt idx="3910">
                  <c:v>0</c:v>
                </c:pt>
                <c:pt idx="3911">
                  <c:v>0</c:v>
                </c:pt>
                <c:pt idx="3912">
                  <c:v>0</c:v>
                </c:pt>
                <c:pt idx="3913">
                  <c:v>0</c:v>
                </c:pt>
                <c:pt idx="3914">
                  <c:v>0</c:v>
                </c:pt>
                <c:pt idx="3915">
                  <c:v>0</c:v>
                </c:pt>
                <c:pt idx="3916">
                  <c:v>0</c:v>
                </c:pt>
                <c:pt idx="3917">
                  <c:v>0</c:v>
                </c:pt>
                <c:pt idx="3918">
                  <c:v>0</c:v>
                </c:pt>
                <c:pt idx="3919">
                  <c:v>0</c:v>
                </c:pt>
                <c:pt idx="3920">
                  <c:v>0</c:v>
                </c:pt>
                <c:pt idx="3921">
                  <c:v>0</c:v>
                </c:pt>
                <c:pt idx="3922">
                  <c:v>0</c:v>
                </c:pt>
                <c:pt idx="3923">
                  <c:v>0</c:v>
                </c:pt>
                <c:pt idx="3924">
                  <c:v>0</c:v>
                </c:pt>
                <c:pt idx="3925">
                  <c:v>0</c:v>
                </c:pt>
                <c:pt idx="3926">
                  <c:v>0</c:v>
                </c:pt>
                <c:pt idx="3927">
                  <c:v>0</c:v>
                </c:pt>
                <c:pt idx="3928">
                  <c:v>0</c:v>
                </c:pt>
                <c:pt idx="3929">
                  <c:v>0</c:v>
                </c:pt>
                <c:pt idx="3930">
                  <c:v>0</c:v>
                </c:pt>
                <c:pt idx="3931">
                  <c:v>0</c:v>
                </c:pt>
                <c:pt idx="3932">
                  <c:v>0</c:v>
                </c:pt>
                <c:pt idx="3933">
                  <c:v>0</c:v>
                </c:pt>
                <c:pt idx="3934">
                  <c:v>0</c:v>
                </c:pt>
                <c:pt idx="3935">
                  <c:v>0</c:v>
                </c:pt>
                <c:pt idx="3936">
                  <c:v>0</c:v>
                </c:pt>
                <c:pt idx="3937">
                  <c:v>0</c:v>
                </c:pt>
                <c:pt idx="3938">
                  <c:v>0</c:v>
                </c:pt>
                <c:pt idx="3939">
                  <c:v>0</c:v>
                </c:pt>
                <c:pt idx="3940">
                  <c:v>0</c:v>
                </c:pt>
                <c:pt idx="3941">
                  <c:v>0</c:v>
                </c:pt>
                <c:pt idx="3942">
                  <c:v>0</c:v>
                </c:pt>
                <c:pt idx="3943">
                  <c:v>0</c:v>
                </c:pt>
                <c:pt idx="3944">
                  <c:v>0</c:v>
                </c:pt>
                <c:pt idx="3945">
                  <c:v>0</c:v>
                </c:pt>
                <c:pt idx="3946">
                  <c:v>0</c:v>
                </c:pt>
                <c:pt idx="3947">
                  <c:v>0</c:v>
                </c:pt>
                <c:pt idx="3948">
                  <c:v>0</c:v>
                </c:pt>
                <c:pt idx="3949">
                  <c:v>0</c:v>
                </c:pt>
                <c:pt idx="3950">
                  <c:v>0</c:v>
                </c:pt>
                <c:pt idx="3951">
                  <c:v>0</c:v>
                </c:pt>
                <c:pt idx="3952">
                  <c:v>0</c:v>
                </c:pt>
                <c:pt idx="3953">
                  <c:v>0</c:v>
                </c:pt>
                <c:pt idx="3954">
                  <c:v>0</c:v>
                </c:pt>
                <c:pt idx="3955">
                  <c:v>0</c:v>
                </c:pt>
                <c:pt idx="3956">
                  <c:v>0</c:v>
                </c:pt>
                <c:pt idx="3957">
                  <c:v>0</c:v>
                </c:pt>
                <c:pt idx="3958">
                  <c:v>0</c:v>
                </c:pt>
                <c:pt idx="3959">
                  <c:v>0</c:v>
                </c:pt>
                <c:pt idx="3960">
                  <c:v>0</c:v>
                </c:pt>
                <c:pt idx="3961">
                  <c:v>0</c:v>
                </c:pt>
                <c:pt idx="3962">
                  <c:v>0</c:v>
                </c:pt>
                <c:pt idx="3963">
                  <c:v>0</c:v>
                </c:pt>
                <c:pt idx="3964">
                  <c:v>0</c:v>
                </c:pt>
                <c:pt idx="3965">
                  <c:v>0</c:v>
                </c:pt>
                <c:pt idx="3966">
                  <c:v>0</c:v>
                </c:pt>
                <c:pt idx="3967">
                  <c:v>0</c:v>
                </c:pt>
                <c:pt idx="3968">
                  <c:v>0</c:v>
                </c:pt>
                <c:pt idx="3969">
                  <c:v>0</c:v>
                </c:pt>
                <c:pt idx="3970">
                  <c:v>0</c:v>
                </c:pt>
                <c:pt idx="3971">
                  <c:v>0</c:v>
                </c:pt>
                <c:pt idx="3972">
                  <c:v>0</c:v>
                </c:pt>
                <c:pt idx="3973">
                  <c:v>0</c:v>
                </c:pt>
                <c:pt idx="3974">
                  <c:v>0</c:v>
                </c:pt>
                <c:pt idx="3975">
                  <c:v>0</c:v>
                </c:pt>
                <c:pt idx="3976">
                  <c:v>0</c:v>
                </c:pt>
                <c:pt idx="3977">
                  <c:v>0</c:v>
                </c:pt>
                <c:pt idx="3978">
                  <c:v>0</c:v>
                </c:pt>
                <c:pt idx="3979">
                  <c:v>0</c:v>
                </c:pt>
                <c:pt idx="3980">
                  <c:v>0</c:v>
                </c:pt>
                <c:pt idx="3981">
                  <c:v>0</c:v>
                </c:pt>
                <c:pt idx="3982">
                  <c:v>0</c:v>
                </c:pt>
                <c:pt idx="3983">
                  <c:v>0</c:v>
                </c:pt>
                <c:pt idx="3984">
                  <c:v>0</c:v>
                </c:pt>
                <c:pt idx="3985">
                  <c:v>0</c:v>
                </c:pt>
                <c:pt idx="3986">
                  <c:v>0</c:v>
                </c:pt>
                <c:pt idx="3987">
                  <c:v>0</c:v>
                </c:pt>
                <c:pt idx="3988">
                  <c:v>0</c:v>
                </c:pt>
                <c:pt idx="3989">
                  <c:v>0</c:v>
                </c:pt>
                <c:pt idx="3990">
                  <c:v>0</c:v>
                </c:pt>
                <c:pt idx="3991">
                  <c:v>0</c:v>
                </c:pt>
                <c:pt idx="3992">
                  <c:v>0</c:v>
                </c:pt>
                <c:pt idx="3993">
                  <c:v>0</c:v>
                </c:pt>
                <c:pt idx="3994">
                  <c:v>0</c:v>
                </c:pt>
                <c:pt idx="3995">
                  <c:v>0</c:v>
                </c:pt>
                <c:pt idx="3996">
                  <c:v>0</c:v>
                </c:pt>
                <c:pt idx="3997">
                  <c:v>0</c:v>
                </c:pt>
                <c:pt idx="3998">
                  <c:v>0</c:v>
                </c:pt>
                <c:pt idx="3999">
                  <c:v>0</c:v>
                </c:pt>
                <c:pt idx="4000">
                  <c:v>0</c:v>
                </c:pt>
                <c:pt idx="4001">
                  <c:v>0</c:v>
                </c:pt>
                <c:pt idx="4002">
                  <c:v>0</c:v>
                </c:pt>
                <c:pt idx="4003">
                  <c:v>0</c:v>
                </c:pt>
                <c:pt idx="4004">
                  <c:v>0</c:v>
                </c:pt>
                <c:pt idx="4005">
                  <c:v>0</c:v>
                </c:pt>
                <c:pt idx="4006">
                  <c:v>0</c:v>
                </c:pt>
                <c:pt idx="4007">
                  <c:v>0</c:v>
                </c:pt>
                <c:pt idx="4008">
                  <c:v>0</c:v>
                </c:pt>
                <c:pt idx="4009">
                  <c:v>0</c:v>
                </c:pt>
                <c:pt idx="4010">
                  <c:v>0</c:v>
                </c:pt>
                <c:pt idx="4011">
                  <c:v>0</c:v>
                </c:pt>
                <c:pt idx="4012">
                  <c:v>0</c:v>
                </c:pt>
                <c:pt idx="4013">
                  <c:v>0</c:v>
                </c:pt>
                <c:pt idx="4014">
                  <c:v>0</c:v>
                </c:pt>
                <c:pt idx="4015">
                  <c:v>0</c:v>
                </c:pt>
                <c:pt idx="4016">
                  <c:v>0</c:v>
                </c:pt>
                <c:pt idx="4017">
                  <c:v>0</c:v>
                </c:pt>
                <c:pt idx="4018">
                  <c:v>0</c:v>
                </c:pt>
                <c:pt idx="4019">
                  <c:v>0</c:v>
                </c:pt>
                <c:pt idx="4020">
                  <c:v>0</c:v>
                </c:pt>
                <c:pt idx="4021">
                  <c:v>0</c:v>
                </c:pt>
                <c:pt idx="4022">
                  <c:v>0</c:v>
                </c:pt>
                <c:pt idx="4023">
                  <c:v>0</c:v>
                </c:pt>
                <c:pt idx="4024">
                  <c:v>0</c:v>
                </c:pt>
                <c:pt idx="4025">
                  <c:v>0</c:v>
                </c:pt>
                <c:pt idx="4026">
                  <c:v>0</c:v>
                </c:pt>
                <c:pt idx="4027">
                  <c:v>0</c:v>
                </c:pt>
                <c:pt idx="4028">
                  <c:v>0</c:v>
                </c:pt>
                <c:pt idx="4029">
                  <c:v>0</c:v>
                </c:pt>
                <c:pt idx="4030">
                  <c:v>0</c:v>
                </c:pt>
                <c:pt idx="4031">
                  <c:v>0</c:v>
                </c:pt>
                <c:pt idx="4032">
                  <c:v>0</c:v>
                </c:pt>
                <c:pt idx="4033">
                  <c:v>0</c:v>
                </c:pt>
                <c:pt idx="4034">
                  <c:v>0</c:v>
                </c:pt>
                <c:pt idx="4035">
                  <c:v>0</c:v>
                </c:pt>
                <c:pt idx="4036">
                  <c:v>0</c:v>
                </c:pt>
                <c:pt idx="4037">
                  <c:v>0</c:v>
                </c:pt>
                <c:pt idx="4038">
                  <c:v>0</c:v>
                </c:pt>
                <c:pt idx="4039">
                  <c:v>0</c:v>
                </c:pt>
                <c:pt idx="4040">
                  <c:v>0</c:v>
                </c:pt>
                <c:pt idx="4041">
                  <c:v>0</c:v>
                </c:pt>
                <c:pt idx="4042">
                  <c:v>0</c:v>
                </c:pt>
                <c:pt idx="4043">
                  <c:v>0</c:v>
                </c:pt>
                <c:pt idx="4044">
                  <c:v>0</c:v>
                </c:pt>
                <c:pt idx="4045">
                  <c:v>0</c:v>
                </c:pt>
                <c:pt idx="4046">
                  <c:v>0</c:v>
                </c:pt>
                <c:pt idx="4047">
                  <c:v>0</c:v>
                </c:pt>
                <c:pt idx="4048">
                  <c:v>0</c:v>
                </c:pt>
                <c:pt idx="4049">
                  <c:v>0</c:v>
                </c:pt>
                <c:pt idx="4050">
                  <c:v>0</c:v>
                </c:pt>
                <c:pt idx="4051">
                  <c:v>0</c:v>
                </c:pt>
                <c:pt idx="4052">
                  <c:v>0</c:v>
                </c:pt>
                <c:pt idx="4053">
                  <c:v>0</c:v>
                </c:pt>
                <c:pt idx="4054">
                  <c:v>0</c:v>
                </c:pt>
                <c:pt idx="4055">
                  <c:v>0</c:v>
                </c:pt>
                <c:pt idx="4056">
                  <c:v>0</c:v>
                </c:pt>
                <c:pt idx="4057">
                  <c:v>0</c:v>
                </c:pt>
                <c:pt idx="4058">
                  <c:v>0</c:v>
                </c:pt>
                <c:pt idx="4059">
                  <c:v>0</c:v>
                </c:pt>
                <c:pt idx="4060">
                  <c:v>0</c:v>
                </c:pt>
                <c:pt idx="4061">
                  <c:v>0</c:v>
                </c:pt>
                <c:pt idx="4062">
                  <c:v>0</c:v>
                </c:pt>
                <c:pt idx="4063">
                  <c:v>0</c:v>
                </c:pt>
                <c:pt idx="4064">
                  <c:v>0</c:v>
                </c:pt>
                <c:pt idx="4065">
                  <c:v>0</c:v>
                </c:pt>
                <c:pt idx="4066">
                  <c:v>0</c:v>
                </c:pt>
                <c:pt idx="4067">
                  <c:v>0</c:v>
                </c:pt>
                <c:pt idx="4068">
                  <c:v>0</c:v>
                </c:pt>
                <c:pt idx="4069">
                  <c:v>0</c:v>
                </c:pt>
                <c:pt idx="4070">
                  <c:v>0</c:v>
                </c:pt>
                <c:pt idx="4071">
                  <c:v>0</c:v>
                </c:pt>
                <c:pt idx="4072">
                  <c:v>0</c:v>
                </c:pt>
                <c:pt idx="4073">
                  <c:v>0</c:v>
                </c:pt>
                <c:pt idx="4074">
                  <c:v>0</c:v>
                </c:pt>
                <c:pt idx="4075">
                  <c:v>0</c:v>
                </c:pt>
                <c:pt idx="4076">
                  <c:v>0</c:v>
                </c:pt>
                <c:pt idx="4077">
                  <c:v>0</c:v>
                </c:pt>
                <c:pt idx="4078">
                  <c:v>0</c:v>
                </c:pt>
                <c:pt idx="4079">
                  <c:v>0</c:v>
                </c:pt>
                <c:pt idx="4080">
                  <c:v>0</c:v>
                </c:pt>
                <c:pt idx="4081">
                  <c:v>0</c:v>
                </c:pt>
                <c:pt idx="4082">
                  <c:v>0</c:v>
                </c:pt>
                <c:pt idx="4083">
                  <c:v>0</c:v>
                </c:pt>
                <c:pt idx="4084">
                  <c:v>0</c:v>
                </c:pt>
                <c:pt idx="4085">
                  <c:v>0</c:v>
                </c:pt>
                <c:pt idx="4086">
                  <c:v>0</c:v>
                </c:pt>
                <c:pt idx="4087">
                  <c:v>0</c:v>
                </c:pt>
                <c:pt idx="4088">
                  <c:v>0</c:v>
                </c:pt>
                <c:pt idx="4089">
                  <c:v>0</c:v>
                </c:pt>
                <c:pt idx="4090">
                  <c:v>0</c:v>
                </c:pt>
                <c:pt idx="4091">
                  <c:v>0</c:v>
                </c:pt>
                <c:pt idx="4092">
                  <c:v>0</c:v>
                </c:pt>
                <c:pt idx="4093">
                  <c:v>0</c:v>
                </c:pt>
                <c:pt idx="4094">
                  <c:v>0</c:v>
                </c:pt>
                <c:pt idx="4095">
                  <c:v>0</c:v>
                </c:pt>
                <c:pt idx="4096">
                  <c:v>0</c:v>
                </c:pt>
                <c:pt idx="4097">
                  <c:v>0</c:v>
                </c:pt>
                <c:pt idx="4098">
                  <c:v>0</c:v>
                </c:pt>
                <c:pt idx="4099">
                  <c:v>0</c:v>
                </c:pt>
                <c:pt idx="4100">
                  <c:v>0</c:v>
                </c:pt>
                <c:pt idx="4101">
                  <c:v>0</c:v>
                </c:pt>
                <c:pt idx="4102">
                  <c:v>0</c:v>
                </c:pt>
                <c:pt idx="4103">
                  <c:v>0</c:v>
                </c:pt>
                <c:pt idx="4104">
                  <c:v>0</c:v>
                </c:pt>
                <c:pt idx="4105">
                  <c:v>0</c:v>
                </c:pt>
                <c:pt idx="4106">
                  <c:v>0</c:v>
                </c:pt>
                <c:pt idx="4107">
                  <c:v>0</c:v>
                </c:pt>
                <c:pt idx="4108">
                  <c:v>0</c:v>
                </c:pt>
                <c:pt idx="4109">
                  <c:v>0</c:v>
                </c:pt>
                <c:pt idx="4110">
                  <c:v>0</c:v>
                </c:pt>
                <c:pt idx="4111">
                  <c:v>0</c:v>
                </c:pt>
                <c:pt idx="4112">
                  <c:v>0</c:v>
                </c:pt>
                <c:pt idx="4113">
                  <c:v>0</c:v>
                </c:pt>
                <c:pt idx="4114">
                  <c:v>0</c:v>
                </c:pt>
                <c:pt idx="4115">
                  <c:v>0</c:v>
                </c:pt>
                <c:pt idx="4116">
                  <c:v>0</c:v>
                </c:pt>
                <c:pt idx="4117">
                  <c:v>0</c:v>
                </c:pt>
                <c:pt idx="4118">
                  <c:v>0</c:v>
                </c:pt>
                <c:pt idx="4119">
                  <c:v>0</c:v>
                </c:pt>
                <c:pt idx="4120">
                  <c:v>0</c:v>
                </c:pt>
                <c:pt idx="4121">
                  <c:v>0</c:v>
                </c:pt>
                <c:pt idx="4122">
                  <c:v>0</c:v>
                </c:pt>
                <c:pt idx="4123">
                  <c:v>0</c:v>
                </c:pt>
                <c:pt idx="4124">
                  <c:v>0</c:v>
                </c:pt>
                <c:pt idx="4125">
                  <c:v>0</c:v>
                </c:pt>
                <c:pt idx="4126">
                  <c:v>0</c:v>
                </c:pt>
                <c:pt idx="4127">
                  <c:v>0</c:v>
                </c:pt>
                <c:pt idx="4128">
                  <c:v>0</c:v>
                </c:pt>
                <c:pt idx="4129">
                  <c:v>0</c:v>
                </c:pt>
                <c:pt idx="4130">
                  <c:v>0</c:v>
                </c:pt>
                <c:pt idx="4131">
                  <c:v>0</c:v>
                </c:pt>
                <c:pt idx="4132">
                  <c:v>0</c:v>
                </c:pt>
                <c:pt idx="4133">
                  <c:v>0</c:v>
                </c:pt>
                <c:pt idx="4134">
                  <c:v>0</c:v>
                </c:pt>
                <c:pt idx="4135">
                  <c:v>0</c:v>
                </c:pt>
                <c:pt idx="4136">
                  <c:v>0</c:v>
                </c:pt>
                <c:pt idx="4137">
                  <c:v>0</c:v>
                </c:pt>
                <c:pt idx="4138">
                  <c:v>0</c:v>
                </c:pt>
                <c:pt idx="4139">
                  <c:v>0</c:v>
                </c:pt>
                <c:pt idx="4140">
                  <c:v>0</c:v>
                </c:pt>
                <c:pt idx="4141">
                  <c:v>0</c:v>
                </c:pt>
                <c:pt idx="4142">
                  <c:v>0</c:v>
                </c:pt>
                <c:pt idx="4143">
                  <c:v>0</c:v>
                </c:pt>
                <c:pt idx="4144">
                  <c:v>0</c:v>
                </c:pt>
                <c:pt idx="4145">
                  <c:v>0</c:v>
                </c:pt>
                <c:pt idx="4146">
                  <c:v>0</c:v>
                </c:pt>
                <c:pt idx="4147">
                  <c:v>0</c:v>
                </c:pt>
                <c:pt idx="4148">
                  <c:v>0</c:v>
                </c:pt>
                <c:pt idx="4149">
                  <c:v>0</c:v>
                </c:pt>
                <c:pt idx="4150">
                  <c:v>0</c:v>
                </c:pt>
                <c:pt idx="4151">
                  <c:v>0</c:v>
                </c:pt>
                <c:pt idx="4152">
                  <c:v>0</c:v>
                </c:pt>
                <c:pt idx="4153">
                  <c:v>0</c:v>
                </c:pt>
                <c:pt idx="4154">
                  <c:v>0</c:v>
                </c:pt>
                <c:pt idx="4155">
                  <c:v>0</c:v>
                </c:pt>
                <c:pt idx="4156">
                  <c:v>0</c:v>
                </c:pt>
                <c:pt idx="4157">
                  <c:v>0</c:v>
                </c:pt>
                <c:pt idx="4158">
                  <c:v>0</c:v>
                </c:pt>
                <c:pt idx="4159">
                  <c:v>0</c:v>
                </c:pt>
                <c:pt idx="4160">
                  <c:v>0</c:v>
                </c:pt>
                <c:pt idx="4161">
                  <c:v>0</c:v>
                </c:pt>
                <c:pt idx="4162">
                  <c:v>0</c:v>
                </c:pt>
                <c:pt idx="4163">
                  <c:v>0</c:v>
                </c:pt>
                <c:pt idx="4164">
                  <c:v>0</c:v>
                </c:pt>
                <c:pt idx="4165">
                  <c:v>0</c:v>
                </c:pt>
                <c:pt idx="4166">
                  <c:v>0</c:v>
                </c:pt>
                <c:pt idx="4167">
                  <c:v>0</c:v>
                </c:pt>
                <c:pt idx="4168">
                  <c:v>0</c:v>
                </c:pt>
                <c:pt idx="4169">
                  <c:v>0</c:v>
                </c:pt>
                <c:pt idx="4170">
                  <c:v>0</c:v>
                </c:pt>
                <c:pt idx="4171">
                  <c:v>0</c:v>
                </c:pt>
                <c:pt idx="4172">
                  <c:v>0</c:v>
                </c:pt>
                <c:pt idx="4173">
                  <c:v>0</c:v>
                </c:pt>
                <c:pt idx="4174">
                  <c:v>0</c:v>
                </c:pt>
                <c:pt idx="4175">
                  <c:v>0</c:v>
                </c:pt>
                <c:pt idx="4176">
                  <c:v>0</c:v>
                </c:pt>
                <c:pt idx="4177">
                  <c:v>0</c:v>
                </c:pt>
                <c:pt idx="4178">
                  <c:v>0</c:v>
                </c:pt>
                <c:pt idx="4179">
                  <c:v>0</c:v>
                </c:pt>
                <c:pt idx="4180">
                  <c:v>0</c:v>
                </c:pt>
                <c:pt idx="4181">
                  <c:v>0</c:v>
                </c:pt>
                <c:pt idx="4182">
                  <c:v>0</c:v>
                </c:pt>
                <c:pt idx="4183">
                  <c:v>0</c:v>
                </c:pt>
                <c:pt idx="4184">
                  <c:v>0</c:v>
                </c:pt>
                <c:pt idx="4185">
                  <c:v>0</c:v>
                </c:pt>
                <c:pt idx="4186">
                  <c:v>0</c:v>
                </c:pt>
                <c:pt idx="4187">
                  <c:v>0</c:v>
                </c:pt>
                <c:pt idx="4188">
                  <c:v>0</c:v>
                </c:pt>
                <c:pt idx="4189">
                  <c:v>0</c:v>
                </c:pt>
                <c:pt idx="4190">
                  <c:v>0</c:v>
                </c:pt>
                <c:pt idx="4191">
                  <c:v>0</c:v>
                </c:pt>
                <c:pt idx="4192">
                  <c:v>0</c:v>
                </c:pt>
                <c:pt idx="4193">
                  <c:v>0</c:v>
                </c:pt>
                <c:pt idx="4194">
                  <c:v>0</c:v>
                </c:pt>
                <c:pt idx="4195">
                  <c:v>0</c:v>
                </c:pt>
                <c:pt idx="4196">
                  <c:v>0</c:v>
                </c:pt>
                <c:pt idx="4197">
                  <c:v>0</c:v>
                </c:pt>
                <c:pt idx="4198">
                  <c:v>0</c:v>
                </c:pt>
                <c:pt idx="4199">
                  <c:v>0</c:v>
                </c:pt>
                <c:pt idx="4200">
                  <c:v>0</c:v>
                </c:pt>
                <c:pt idx="4201">
                  <c:v>0</c:v>
                </c:pt>
                <c:pt idx="4202">
                  <c:v>0</c:v>
                </c:pt>
                <c:pt idx="4203">
                  <c:v>0</c:v>
                </c:pt>
                <c:pt idx="4204">
                  <c:v>0</c:v>
                </c:pt>
                <c:pt idx="4205">
                  <c:v>0</c:v>
                </c:pt>
                <c:pt idx="4206">
                  <c:v>0</c:v>
                </c:pt>
                <c:pt idx="4207">
                  <c:v>0</c:v>
                </c:pt>
                <c:pt idx="4208">
                  <c:v>0</c:v>
                </c:pt>
                <c:pt idx="4209">
                  <c:v>0</c:v>
                </c:pt>
                <c:pt idx="4210">
                  <c:v>0</c:v>
                </c:pt>
                <c:pt idx="4211">
                  <c:v>0</c:v>
                </c:pt>
                <c:pt idx="4212">
                  <c:v>0</c:v>
                </c:pt>
                <c:pt idx="4213">
                  <c:v>0</c:v>
                </c:pt>
                <c:pt idx="4214">
                  <c:v>0</c:v>
                </c:pt>
                <c:pt idx="4215">
                  <c:v>0</c:v>
                </c:pt>
                <c:pt idx="4216">
                  <c:v>0</c:v>
                </c:pt>
                <c:pt idx="4217">
                  <c:v>0</c:v>
                </c:pt>
                <c:pt idx="4218">
                  <c:v>0</c:v>
                </c:pt>
                <c:pt idx="4219">
                  <c:v>0</c:v>
                </c:pt>
                <c:pt idx="4220">
                  <c:v>0</c:v>
                </c:pt>
                <c:pt idx="4221">
                  <c:v>0</c:v>
                </c:pt>
                <c:pt idx="4222">
                  <c:v>0</c:v>
                </c:pt>
                <c:pt idx="4223">
                  <c:v>0</c:v>
                </c:pt>
                <c:pt idx="4224">
                  <c:v>0</c:v>
                </c:pt>
                <c:pt idx="4225">
                  <c:v>0</c:v>
                </c:pt>
                <c:pt idx="4226">
                  <c:v>0</c:v>
                </c:pt>
                <c:pt idx="4227">
                  <c:v>0</c:v>
                </c:pt>
                <c:pt idx="4228">
                  <c:v>0</c:v>
                </c:pt>
                <c:pt idx="4229">
                  <c:v>0</c:v>
                </c:pt>
                <c:pt idx="4230">
                  <c:v>0</c:v>
                </c:pt>
                <c:pt idx="4231">
                  <c:v>0</c:v>
                </c:pt>
                <c:pt idx="4232">
                  <c:v>0</c:v>
                </c:pt>
                <c:pt idx="4233">
                  <c:v>0</c:v>
                </c:pt>
                <c:pt idx="4234">
                  <c:v>0</c:v>
                </c:pt>
                <c:pt idx="4235">
                  <c:v>0</c:v>
                </c:pt>
                <c:pt idx="4236">
                  <c:v>0</c:v>
                </c:pt>
                <c:pt idx="4237">
                  <c:v>0</c:v>
                </c:pt>
                <c:pt idx="4238">
                  <c:v>0</c:v>
                </c:pt>
                <c:pt idx="4239">
                  <c:v>0</c:v>
                </c:pt>
                <c:pt idx="4240">
                  <c:v>0</c:v>
                </c:pt>
                <c:pt idx="4241">
                  <c:v>0</c:v>
                </c:pt>
                <c:pt idx="4242">
                  <c:v>0</c:v>
                </c:pt>
                <c:pt idx="4243">
                  <c:v>0</c:v>
                </c:pt>
                <c:pt idx="4244">
                  <c:v>0</c:v>
                </c:pt>
                <c:pt idx="4245">
                  <c:v>0</c:v>
                </c:pt>
                <c:pt idx="4246">
                  <c:v>0</c:v>
                </c:pt>
                <c:pt idx="4247">
                  <c:v>0</c:v>
                </c:pt>
                <c:pt idx="4248">
                  <c:v>0</c:v>
                </c:pt>
                <c:pt idx="4249">
                  <c:v>0</c:v>
                </c:pt>
                <c:pt idx="4250">
                  <c:v>0</c:v>
                </c:pt>
                <c:pt idx="4251">
                  <c:v>0</c:v>
                </c:pt>
                <c:pt idx="4252">
                  <c:v>0</c:v>
                </c:pt>
                <c:pt idx="4253">
                  <c:v>0</c:v>
                </c:pt>
                <c:pt idx="4254">
                  <c:v>0</c:v>
                </c:pt>
                <c:pt idx="4255">
                  <c:v>0</c:v>
                </c:pt>
                <c:pt idx="4256">
                  <c:v>0</c:v>
                </c:pt>
                <c:pt idx="4257">
                  <c:v>0</c:v>
                </c:pt>
                <c:pt idx="4258">
                  <c:v>0</c:v>
                </c:pt>
                <c:pt idx="4259">
                  <c:v>0</c:v>
                </c:pt>
                <c:pt idx="4260">
                  <c:v>0</c:v>
                </c:pt>
                <c:pt idx="4261">
                  <c:v>0</c:v>
                </c:pt>
                <c:pt idx="4262">
                  <c:v>0</c:v>
                </c:pt>
                <c:pt idx="4263">
                  <c:v>0</c:v>
                </c:pt>
                <c:pt idx="4264">
                  <c:v>0</c:v>
                </c:pt>
                <c:pt idx="4265">
                  <c:v>0</c:v>
                </c:pt>
                <c:pt idx="4266">
                  <c:v>0</c:v>
                </c:pt>
                <c:pt idx="4267">
                  <c:v>0</c:v>
                </c:pt>
                <c:pt idx="4268">
                  <c:v>0</c:v>
                </c:pt>
                <c:pt idx="4269">
                  <c:v>0</c:v>
                </c:pt>
                <c:pt idx="4270">
                  <c:v>0</c:v>
                </c:pt>
                <c:pt idx="4271">
                  <c:v>0</c:v>
                </c:pt>
                <c:pt idx="4272">
                  <c:v>0</c:v>
                </c:pt>
                <c:pt idx="4273">
                  <c:v>0</c:v>
                </c:pt>
                <c:pt idx="4274">
                  <c:v>0</c:v>
                </c:pt>
                <c:pt idx="4275">
                  <c:v>0</c:v>
                </c:pt>
                <c:pt idx="4276">
                  <c:v>0</c:v>
                </c:pt>
                <c:pt idx="4277">
                  <c:v>0</c:v>
                </c:pt>
                <c:pt idx="4278">
                  <c:v>0</c:v>
                </c:pt>
                <c:pt idx="4279">
                  <c:v>0</c:v>
                </c:pt>
                <c:pt idx="4280">
                  <c:v>0</c:v>
                </c:pt>
                <c:pt idx="4281">
                  <c:v>0</c:v>
                </c:pt>
                <c:pt idx="4282">
                  <c:v>0</c:v>
                </c:pt>
                <c:pt idx="4283">
                  <c:v>0</c:v>
                </c:pt>
                <c:pt idx="4284">
                  <c:v>0</c:v>
                </c:pt>
                <c:pt idx="4285">
                  <c:v>0</c:v>
                </c:pt>
                <c:pt idx="4286">
                  <c:v>0</c:v>
                </c:pt>
                <c:pt idx="4287">
                  <c:v>0</c:v>
                </c:pt>
                <c:pt idx="4288">
                  <c:v>0</c:v>
                </c:pt>
                <c:pt idx="4289">
                  <c:v>0</c:v>
                </c:pt>
                <c:pt idx="4290">
                  <c:v>0</c:v>
                </c:pt>
                <c:pt idx="4291">
                  <c:v>0</c:v>
                </c:pt>
                <c:pt idx="4292">
                  <c:v>0</c:v>
                </c:pt>
                <c:pt idx="4293">
                  <c:v>0</c:v>
                </c:pt>
                <c:pt idx="4294">
                  <c:v>0</c:v>
                </c:pt>
                <c:pt idx="4295">
                  <c:v>0</c:v>
                </c:pt>
                <c:pt idx="4296">
                  <c:v>0</c:v>
                </c:pt>
                <c:pt idx="4297">
                  <c:v>0</c:v>
                </c:pt>
                <c:pt idx="4298">
                  <c:v>0</c:v>
                </c:pt>
                <c:pt idx="4299">
                  <c:v>0</c:v>
                </c:pt>
                <c:pt idx="4300">
                  <c:v>0</c:v>
                </c:pt>
                <c:pt idx="4301">
                  <c:v>0</c:v>
                </c:pt>
                <c:pt idx="4302">
                  <c:v>0</c:v>
                </c:pt>
                <c:pt idx="4303">
                  <c:v>0</c:v>
                </c:pt>
                <c:pt idx="4304">
                  <c:v>0</c:v>
                </c:pt>
                <c:pt idx="4305">
                  <c:v>0</c:v>
                </c:pt>
                <c:pt idx="4306">
                  <c:v>0</c:v>
                </c:pt>
                <c:pt idx="4307">
                  <c:v>0</c:v>
                </c:pt>
                <c:pt idx="4308">
                  <c:v>0</c:v>
                </c:pt>
                <c:pt idx="4309">
                  <c:v>0</c:v>
                </c:pt>
                <c:pt idx="4310">
                  <c:v>0</c:v>
                </c:pt>
                <c:pt idx="4311">
                  <c:v>0</c:v>
                </c:pt>
                <c:pt idx="4312">
                  <c:v>0</c:v>
                </c:pt>
                <c:pt idx="4313">
                  <c:v>0</c:v>
                </c:pt>
                <c:pt idx="4314">
                  <c:v>0</c:v>
                </c:pt>
                <c:pt idx="4315">
                  <c:v>0</c:v>
                </c:pt>
                <c:pt idx="4316">
                  <c:v>0</c:v>
                </c:pt>
                <c:pt idx="4317">
                  <c:v>0</c:v>
                </c:pt>
                <c:pt idx="4318">
                  <c:v>0</c:v>
                </c:pt>
                <c:pt idx="4319">
                  <c:v>0</c:v>
                </c:pt>
                <c:pt idx="4320">
                  <c:v>0</c:v>
                </c:pt>
                <c:pt idx="4321">
                  <c:v>0</c:v>
                </c:pt>
                <c:pt idx="4322">
                  <c:v>0</c:v>
                </c:pt>
                <c:pt idx="4323">
                  <c:v>0</c:v>
                </c:pt>
                <c:pt idx="4324">
                  <c:v>0</c:v>
                </c:pt>
                <c:pt idx="4325">
                  <c:v>0</c:v>
                </c:pt>
                <c:pt idx="4326">
                  <c:v>0</c:v>
                </c:pt>
                <c:pt idx="4327">
                  <c:v>0</c:v>
                </c:pt>
                <c:pt idx="4328">
                  <c:v>0</c:v>
                </c:pt>
                <c:pt idx="4329">
                  <c:v>0</c:v>
                </c:pt>
                <c:pt idx="4330">
                  <c:v>0</c:v>
                </c:pt>
                <c:pt idx="4331">
                  <c:v>0</c:v>
                </c:pt>
                <c:pt idx="4332">
                  <c:v>0</c:v>
                </c:pt>
                <c:pt idx="4333">
                  <c:v>0</c:v>
                </c:pt>
                <c:pt idx="4334">
                  <c:v>0</c:v>
                </c:pt>
                <c:pt idx="4335">
                  <c:v>0</c:v>
                </c:pt>
                <c:pt idx="4336">
                  <c:v>0</c:v>
                </c:pt>
                <c:pt idx="4337">
                  <c:v>0</c:v>
                </c:pt>
                <c:pt idx="4338">
                  <c:v>0</c:v>
                </c:pt>
                <c:pt idx="4339">
                  <c:v>0</c:v>
                </c:pt>
                <c:pt idx="4340">
                  <c:v>0</c:v>
                </c:pt>
                <c:pt idx="4341">
                  <c:v>0</c:v>
                </c:pt>
                <c:pt idx="4342">
                  <c:v>0</c:v>
                </c:pt>
                <c:pt idx="4343">
                  <c:v>0</c:v>
                </c:pt>
                <c:pt idx="4344">
                  <c:v>0</c:v>
                </c:pt>
                <c:pt idx="4345">
                  <c:v>0</c:v>
                </c:pt>
                <c:pt idx="4346">
                  <c:v>0</c:v>
                </c:pt>
                <c:pt idx="4347">
                  <c:v>0</c:v>
                </c:pt>
                <c:pt idx="4348">
                  <c:v>0</c:v>
                </c:pt>
                <c:pt idx="4349">
                  <c:v>0</c:v>
                </c:pt>
                <c:pt idx="4350">
                  <c:v>0</c:v>
                </c:pt>
                <c:pt idx="4351">
                  <c:v>0</c:v>
                </c:pt>
                <c:pt idx="4352">
                  <c:v>0</c:v>
                </c:pt>
                <c:pt idx="4353">
                  <c:v>0</c:v>
                </c:pt>
                <c:pt idx="4354">
                  <c:v>0</c:v>
                </c:pt>
                <c:pt idx="4355">
                  <c:v>0</c:v>
                </c:pt>
                <c:pt idx="4356">
                  <c:v>0</c:v>
                </c:pt>
                <c:pt idx="4357">
                  <c:v>0</c:v>
                </c:pt>
                <c:pt idx="4358">
                  <c:v>0</c:v>
                </c:pt>
                <c:pt idx="4359">
                  <c:v>0</c:v>
                </c:pt>
                <c:pt idx="4360">
                  <c:v>0</c:v>
                </c:pt>
                <c:pt idx="4361">
                  <c:v>0</c:v>
                </c:pt>
                <c:pt idx="4362">
                  <c:v>0</c:v>
                </c:pt>
                <c:pt idx="4363">
                  <c:v>0</c:v>
                </c:pt>
                <c:pt idx="4364">
                  <c:v>0</c:v>
                </c:pt>
                <c:pt idx="4365">
                  <c:v>0</c:v>
                </c:pt>
                <c:pt idx="4366">
                  <c:v>0</c:v>
                </c:pt>
                <c:pt idx="4367">
                  <c:v>0</c:v>
                </c:pt>
                <c:pt idx="4368">
                  <c:v>0</c:v>
                </c:pt>
                <c:pt idx="4369">
                  <c:v>0</c:v>
                </c:pt>
                <c:pt idx="4370">
                  <c:v>0</c:v>
                </c:pt>
                <c:pt idx="4371">
                  <c:v>0</c:v>
                </c:pt>
                <c:pt idx="4372">
                  <c:v>0</c:v>
                </c:pt>
                <c:pt idx="4373">
                  <c:v>0</c:v>
                </c:pt>
                <c:pt idx="4374">
                  <c:v>0</c:v>
                </c:pt>
                <c:pt idx="4375">
                  <c:v>0</c:v>
                </c:pt>
                <c:pt idx="4376">
                  <c:v>0</c:v>
                </c:pt>
                <c:pt idx="4377">
                  <c:v>0</c:v>
                </c:pt>
                <c:pt idx="4378">
                  <c:v>0</c:v>
                </c:pt>
                <c:pt idx="4379">
                  <c:v>0</c:v>
                </c:pt>
                <c:pt idx="4380">
                  <c:v>0</c:v>
                </c:pt>
                <c:pt idx="4381">
                  <c:v>0</c:v>
                </c:pt>
                <c:pt idx="4382">
                  <c:v>0</c:v>
                </c:pt>
                <c:pt idx="4383">
                  <c:v>0</c:v>
                </c:pt>
                <c:pt idx="4384">
                  <c:v>0</c:v>
                </c:pt>
                <c:pt idx="4385">
                  <c:v>0</c:v>
                </c:pt>
                <c:pt idx="4386">
                  <c:v>0</c:v>
                </c:pt>
                <c:pt idx="4387">
                  <c:v>0</c:v>
                </c:pt>
                <c:pt idx="4388">
                  <c:v>0</c:v>
                </c:pt>
                <c:pt idx="4389">
                  <c:v>0</c:v>
                </c:pt>
                <c:pt idx="4390">
                  <c:v>0</c:v>
                </c:pt>
                <c:pt idx="4391">
                  <c:v>0</c:v>
                </c:pt>
                <c:pt idx="4392">
                  <c:v>0</c:v>
                </c:pt>
                <c:pt idx="4393">
                  <c:v>0</c:v>
                </c:pt>
                <c:pt idx="4394">
                  <c:v>0</c:v>
                </c:pt>
                <c:pt idx="4395">
                  <c:v>0</c:v>
                </c:pt>
                <c:pt idx="4396">
                  <c:v>0</c:v>
                </c:pt>
                <c:pt idx="4397">
                  <c:v>0</c:v>
                </c:pt>
                <c:pt idx="4398">
                  <c:v>0</c:v>
                </c:pt>
                <c:pt idx="4399">
                  <c:v>0</c:v>
                </c:pt>
                <c:pt idx="4400">
                  <c:v>0</c:v>
                </c:pt>
                <c:pt idx="4401">
                  <c:v>0</c:v>
                </c:pt>
                <c:pt idx="4402">
                  <c:v>0</c:v>
                </c:pt>
                <c:pt idx="4403">
                  <c:v>0</c:v>
                </c:pt>
                <c:pt idx="4404">
                  <c:v>0</c:v>
                </c:pt>
                <c:pt idx="4405">
                  <c:v>0</c:v>
                </c:pt>
                <c:pt idx="4406">
                  <c:v>0</c:v>
                </c:pt>
                <c:pt idx="4407">
                  <c:v>0</c:v>
                </c:pt>
                <c:pt idx="4408">
                  <c:v>0</c:v>
                </c:pt>
                <c:pt idx="4409">
                  <c:v>0</c:v>
                </c:pt>
                <c:pt idx="4410">
                  <c:v>0</c:v>
                </c:pt>
                <c:pt idx="4411">
                  <c:v>0</c:v>
                </c:pt>
                <c:pt idx="4412">
                  <c:v>0</c:v>
                </c:pt>
                <c:pt idx="4413">
                  <c:v>0</c:v>
                </c:pt>
                <c:pt idx="4414">
                  <c:v>0</c:v>
                </c:pt>
                <c:pt idx="4415">
                  <c:v>0</c:v>
                </c:pt>
                <c:pt idx="4416">
                  <c:v>0</c:v>
                </c:pt>
                <c:pt idx="4417">
                  <c:v>0</c:v>
                </c:pt>
                <c:pt idx="4418">
                  <c:v>0</c:v>
                </c:pt>
                <c:pt idx="4419">
                  <c:v>0</c:v>
                </c:pt>
                <c:pt idx="4420">
                  <c:v>0</c:v>
                </c:pt>
                <c:pt idx="4421">
                  <c:v>0</c:v>
                </c:pt>
                <c:pt idx="4422">
                  <c:v>0</c:v>
                </c:pt>
                <c:pt idx="4423">
                  <c:v>0</c:v>
                </c:pt>
                <c:pt idx="4424">
                  <c:v>0</c:v>
                </c:pt>
                <c:pt idx="4425">
                  <c:v>0</c:v>
                </c:pt>
                <c:pt idx="4426">
                  <c:v>0</c:v>
                </c:pt>
                <c:pt idx="4427">
                  <c:v>0</c:v>
                </c:pt>
                <c:pt idx="4428">
                  <c:v>0</c:v>
                </c:pt>
                <c:pt idx="4429">
                  <c:v>0</c:v>
                </c:pt>
                <c:pt idx="4430">
                  <c:v>0</c:v>
                </c:pt>
                <c:pt idx="4431">
                  <c:v>0</c:v>
                </c:pt>
                <c:pt idx="4432">
                  <c:v>0</c:v>
                </c:pt>
                <c:pt idx="4433">
                  <c:v>0</c:v>
                </c:pt>
                <c:pt idx="4434">
                  <c:v>0</c:v>
                </c:pt>
                <c:pt idx="4435">
                  <c:v>0</c:v>
                </c:pt>
                <c:pt idx="4436">
                  <c:v>0</c:v>
                </c:pt>
                <c:pt idx="4437">
                  <c:v>0</c:v>
                </c:pt>
                <c:pt idx="4438">
                  <c:v>0</c:v>
                </c:pt>
                <c:pt idx="4439">
                  <c:v>0</c:v>
                </c:pt>
                <c:pt idx="4440">
                  <c:v>0</c:v>
                </c:pt>
                <c:pt idx="4441">
                  <c:v>0</c:v>
                </c:pt>
                <c:pt idx="4442">
                  <c:v>0</c:v>
                </c:pt>
                <c:pt idx="4443">
                  <c:v>0</c:v>
                </c:pt>
                <c:pt idx="4444">
                  <c:v>0</c:v>
                </c:pt>
                <c:pt idx="4445">
                  <c:v>0</c:v>
                </c:pt>
                <c:pt idx="4446">
                  <c:v>0</c:v>
                </c:pt>
                <c:pt idx="4447">
                  <c:v>0</c:v>
                </c:pt>
                <c:pt idx="4448">
                  <c:v>0</c:v>
                </c:pt>
                <c:pt idx="4449">
                  <c:v>0</c:v>
                </c:pt>
                <c:pt idx="4450">
                  <c:v>0</c:v>
                </c:pt>
                <c:pt idx="4451">
                  <c:v>0</c:v>
                </c:pt>
                <c:pt idx="4452">
                  <c:v>0</c:v>
                </c:pt>
                <c:pt idx="4453">
                  <c:v>0</c:v>
                </c:pt>
                <c:pt idx="4454">
                  <c:v>0</c:v>
                </c:pt>
                <c:pt idx="4455">
                  <c:v>0</c:v>
                </c:pt>
                <c:pt idx="4456">
                  <c:v>0</c:v>
                </c:pt>
                <c:pt idx="4457">
                  <c:v>0</c:v>
                </c:pt>
                <c:pt idx="4458">
                  <c:v>0</c:v>
                </c:pt>
                <c:pt idx="4459">
                  <c:v>0</c:v>
                </c:pt>
                <c:pt idx="4460">
                  <c:v>0</c:v>
                </c:pt>
                <c:pt idx="4461">
                  <c:v>0</c:v>
                </c:pt>
                <c:pt idx="4462">
                  <c:v>0</c:v>
                </c:pt>
                <c:pt idx="4463">
                  <c:v>0</c:v>
                </c:pt>
                <c:pt idx="4464">
                  <c:v>0</c:v>
                </c:pt>
                <c:pt idx="4465">
                  <c:v>0</c:v>
                </c:pt>
                <c:pt idx="4466">
                  <c:v>0</c:v>
                </c:pt>
                <c:pt idx="4467">
                  <c:v>0</c:v>
                </c:pt>
                <c:pt idx="4468">
                  <c:v>0</c:v>
                </c:pt>
                <c:pt idx="4469">
                  <c:v>0</c:v>
                </c:pt>
                <c:pt idx="4470">
                  <c:v>0</c:v>
                </c:pt>
                <c:pt idx="4471">
                  <c:v>0</c:v>
                </c:pt>
                <c:pt idx="4472">
                  <c:v>0</c:v>
                </c:pt>
                <c:pt idx="4473">
                  <c:v>0</c:v>
                </c:pt>
                <c:pt idx="4474">
                  <c:v>0</c:v>
                </c:pt>
                <c:pt idx="4475">
                  <c:v>0</c:v>
                </c:pt>
                <c:pt idx="4476">
                  <c:v>0</c:v>
                </c:pt>
                <c:pt idx="4477">
                  <c:v>0</c:v>
                </c:pt>
                <c:pt idx="4478">
                  <c:v>0</c:v>
                </c:pt>
                <c:pt idx="4479">
                  <c:v>0</c:v>
                </c:pt>
                <c:pt idx="4480">
                  <c:v>0</c:v>
                </c:pt>
                <c:pt idx="4481">
                  <c:v>0</c:v>
                </c:pt>
                <c:pt idx="4482">
                  <c:v>0</c:v>
                </c:pt>
                <c:pt idx="4483">
                  <c:v>0</c:v>
                </c:pt>
                <c:pt idx="4484">
                  <c:v>0</c:v>
                </c:pt>
                <c:pt idx="4485">
                  <c:v>0</c:v>
                </c:pt>
                <c:pt idx="4486">
                  <c:v>0</c:v>
                </c:pt>
                <c:pt idx="4487">
                  <c:v>0</c:v>
                </c:pt>
                <c:pt idx="4488">
                  <c:v>0</c:v>
                </c:pt>
                <c:pt idx="4489">
                  <c:v>0</c:v>
                </c:pt>
                <c:pt idx="4490">
                  <c:v>0</c:v>
                </c:pt>
                <c:pt idx="4491">
                  <c:v>0</c:v>
                </c:pt>
                <c:pt idx="4492">
                  <c:v>0</c:v>
                </c:pt>
                <c:pt idx="4493">
                  <c:v>0</c:v>
                </c:pt>
                <c:pt idx="4494">
                  <c:v>0</c:v>
                </c:pt>
                <c:pt idx="4495">
                  <c:v>0</c:v>
                </c:pt>
                <c:pt idx="4496">
                  <c:v>0</c:v>
                </c:pt>
                <c:pt idx="4497">
                  <c:v>0</c:v>
                </c:pt>
                <c:pt idx="4498">
                  <c:v>0</c:v>
                </c:pt>
                <c:pt idx="4499">
                  <c:v>0</c:v>
                </c:pt>
                <c:pt idx="4500">
                  <c:v>0</c:v>
                </c:pt>
                <c:pt idx="4501">
                  <c:v>0</c:v>
                </c:pt>
                <c:pt idx="4502">
                  <c:v>0</c:v>
                </c:pt>
                <c:pt idx="4503">
                  <c:v>0</c:v>
                </c:pt>
                <c:pt idx="4504">
                  <c:v>0</c:v>
                </c:pt>
                <c:pt idx="4505">
                  <c:v>0</c:v>
                </c:pt>
                <c:pt idx="4506">
                  <c:v>0</c:v>
                </c:pt>
                <c:pt idx="4507">
                  <c:v>0</c:v>
                </c:pt>
                <c:pt idx="4508">
                  <c:v>0</c:v>
                </c:pt>
                <c:pt idx="4509">
                  <c:v>0</c:v>
                </c:pt>
                <c:pt idx="4510">
                  <c:v>0</c:v>
                </c:pt>
                <c:pt idx="4511">
                  <c:v>0</c:v>
                </c:pt>
                <c:pt idx="4512">
                  <c:v>0</c:v>
                </c:pt>
                <c:pt idx="4513">
                  <c:v>0</c:v>
                </c:pt>
                <c:pt idx="4514">
                  <c:v>0</c:v>
                </c:pt>
                <c:pt idx="4515">
                  <c:v>0</c:v>
                </c:pt>
                <c:pt idx="4516">
                  <c:v>0</c:v>
                </c:pt>
                <c:pt idx="4517">
                  <c:v>0</c:v>
                </c:pt>
                <c:pt idx="4518">
                  <c:v>0</c:v>
                </c:pt>
                <c:pt idx="4519">
                  <c:v>0</c:v>
                </c:pt>
                <c:pt idx="4520">
                  <c:v>0</c:v>
                </c:pt>
                <c:pt idx="4521">
                  <c:v>0</c:v>
                </c:pt>
                <c:pt idx="4522">
                  <c:v>0</c:v>
                </c:pt>
                <c:pt idx="4523">
                  <c:v>0</c:v>
                </c:pt>
                <c:pt idx="4524">
                  <c:v>0</c:v>
                </c:pt>
                <c:pt idx="4525">
                  <c:v>0</c:v>
                </c:pt>
                <c:pt idx="4526">
                  <c:v>0</c:v>
                </c:pt>
                <c:pt idx="4527">
                  <c:v>0</c:v>
                </c:pt>
                <c:pt idx="4528">
                  <c:v>0</c:v>
                </c:pt>
                <c:pt idx="4529">
                  <c:v>0</c:v>
                </c:pt>
                <c:pt idx="4530">
                  <c:v>0</c:v>
                </c:pt>
                <c:pt idx="4531">
                  <c:v>0</c:v>
                </c:pt>
                <c:pt idx="4532">
                  <c:v>0</c:v>
                </c:pt>
                <c:pt idx="4533">
                  <c:v>0</c:v>
                </c:pt>
                <c:pt idx="4534">
                  <c:v>0</c:v>
                </c:pt>
                <c:pt idx="4535">
                  <c:v>0</c:v>
                </c:pt>
                <c:pt idx="4536">
                  <c:v>0</c:v>
                </c:pt>
                <c:pt idx="4537">
                  <c:v>0</c:v>
                </c:pt>
                <c:pt idx="4538">
                  <c:v>0</c:v>
                </c:pt>
                <c:pt idx="4539">
                  <c:v>0</c:v>
                </c:pt>
                <c:pt idx="4540">
                  <c:v>0</c:v>
                </c:pt>
                <c:pt idx="4541">
                  <c:v>0</c:v>
                </c:pt>
                <c:pt idx="4542">
                  <c:v>0</c:v>
                </c:pt>
                <c:pt idx="4543">
                  <c:v>0</c:v>
                </c:pt>
                <c:pt idx="4544">
                  <c:v>0</c:v>
                </c:pt>
                <c:pt idx="4545">
                  <c:v>0</c:v>
                </c:pt>
                <c:pt idx="4546">
                  <c:v>0</c:v>
                </c:pt>
                <c:pt idx="4547">
                  <c:v>0</c:v>
                </c:pt>
                <c:pt idx="4548">
                  <c:v>0</c:v>
                </c:pt>
                <c:pt idx="4549">
                  <c:v>0</c:v>
                </c:pt>
                <c:pt idx="4550">
                  <c:v>0</c:v>
                </c:pt>
                <c:pt idx="4551">
                  <c:v>0</c:v>
                </c:pt>
                <c:pt idx="4552">
                  <c:v>0</c:v>
                </c:pt>
                <c:pt idx="4553">
                  <c:v>0</c:v>
                </c:pt>
                <c:pt idx="4554">
                  <c:v>0</c:v>
                </c:pt>
                <c:pt idx="4555">
                  <c:v>0</c:v>
                </c:pt>
                <c:pt idx="4556">
                  <c:v>0</c:v>
                </c:pt>
                <c:pt idx="4557">
                  <c:v>0</c:v>
                </c:pt>
                <c:pt idx="4558">
                  <c:v>0</c:v>
                </c:pt>
                <c:pt idx="4559">
                  <c:v>0</c:v>
                </c:pt>
                <c:pt idx="4560">
                  <c:v>0</c:v>
                </c:pt>
                <c:pt idx="4561">
                  <c:v>0</c:v>
                </c:pt>
                <c:pt idx="4562">
                  <c:v>0</c:v>
                </c:pt>
                <c:pt idx="4563">
                  <c:v>0</c:v>
                </c:pt>
                <c:pt idx="4564">
                  <c:v>0</c:v>
                </c:pt>
                <c:pt idx="4565">
                  <c:v>0</c:v>
                </c:pt>
                <c:pt idx="4566">
                  <c:v>0</c:v>
                </c:pt>
                <c:pt idx="4567">
                  <c:v>0</c:v>
                </c:pt>
                <c:pt idx="4568">
                  <c:v>0</c:v>
                </c:pt>
                <c:pt idx="4569">
                  <c:v>0</c:v>
                </c:pt>
                <c:pt idx="4570">
                  <c:v>0</c:v>
                </c:pt>
                <c:pt idx="4571">
                  <c:v>0</c:v>
                </c:pt>
                <c:pt idx="4572">
                  <c:v>0</c:v>
                </c:pt>
                <c:pt idx="4573">
                  <c:v>0</c:v>
                </c:pt>
                <c:pt idx="4574">
                  <c:v>0</c:v>
                </c:pt>
                <c:pt idx="4575">
                  <c:v>0</c:v>
                </c:pt>
                <c:pt idx="4576">
                  <c:v>0</c:v>
                </c:pt>
                <c:pt idx="4577">
                  <c:v>0</c:v>
                </c:pt>
                <c:pt idx="4578">
                  <c:v>0</c:v>
                </c:pt>
                <c:pt idx="4579">
                  <c:v>0</c:v>
                </c:pt>
                <c:pt idx="4580">
                  <c:v>0</c:v>
                </c:pt>
                <c:pt idx="4581">
                  <c:v>0</c:v>
                </c:pt>
                <c:pt idx="4582">
                  <c:v>0</c:v>
                </c:pt>
                <c:pt idx="4583">
                  <c:v>0</c:v>
                </c:pt>
                <c:pt idx="4584">
                  <c:v>0</c:v>
                </c:pt>
                <c:pt idx="4585">
                  <c:v>0</c:v>
                </c:pt>
                <c:pt idx="4586">
                  <c:v>0</c:v>
                </c:pt>
                <c:pt idx="4587">
                  <c:v>0</c:v>
                </c:pt>
                <c:pt idx="4588">
                  <c:v>0</c:v>
                </c:pt>
                <c:pt idx="4589">
                  <c:v>0</c:v>
                </c:pt>
                <c:pt idx="4590">
                  <c:v>0</c:v>
                </c:pt>
                <c:pt idx="4591">
                  <c:v>0</c:v>
                </c:pt>
                <c:pt idx="4592">
                  <c:v>0</c:v>
                </c:pt>
                <c:pt idx="4593">
                  <c:v>0</c:v>
                </c:pt>
                <c:pt idx="4594">
                  <c:v>0</c:v>
                </c:pt>
                <c:pt idx="4595">
                  <c:v>0</c:v>
                </c:pt>
                <c:pt idx="4596">
                  <c:v>0</c:v>
                </c:pt>
                <c:pt idx="4597">
                  <c:v>0</c:v>
                </c:pt>
                <c:pt idx="4598">
                  <c:v>0</c:v>
                </c:pt>
                <c:pt idx="4599">
                  <c:v>0</c:v>
                </c:pt>
                <c:pt idx="4600">
                  <c:v>0</c:v>
                </c:pt>
                <c:pt idx="4601">
                  <c:v>0</c:v>
                </c:pt>
                <c:pt idx="4602">
                  <c:v>0</c:v>
                </c:pt>
                <c:pt idx="4603">
                  <c:v>0</c:v>
                </c:pt>
                <c:pt idx="4604">
                  <c:v>0</c:v>
                </c:pt>
                <c:pt idx="4605">
                  <c:v>0</c:v>
                </c:pt>
                <c:pt idx="4606">
                  <c:v>0</c:v>
                </c:pt>
                <c:pt idx="4607">
                  <c:v>0</c:v>
                </c:pt>
                <c:pt idx="4608">
                  <c:v>0</c:v>
                </c:pt>
                <c:pt idx="4609">
                  <c:v>0</c:v>
                </c:pt>
                <c:pt idx="4610">
                  <c:v>0</c:v>
                </c:pt>
                <c:pt idx="4611">
                  <c:v>0</c:v>
                </c:pt>
                <c:pt idx="4612">
                  <c:v>0</c:v>
                </c:pt>
                <c:pt idx="4613">
                  <c:v>0</c:v>
                </c:pt>
                <c:pt idx="4614">
                  <c:v>0</c:v>
                </c:pt>
                <c:pt idx="4615">
                  <c:v>0</c:v>
                </c:pt>
                <c:pt idx="4616">
                  <c:v>0</c:v>
                </c:pt>
                <c:pt idx="4617">
                  <c:v>0</c:v>
                </c:pt>
                <c:pt idx="4618">
                  <c:v>0</c:v>
                </c:pt>
                <c:pt idx="4619">
                  <c:v>0</c:v>
                </c:pt>
                <c:pt idx="4620">
                  <c:v>0</c:v>
                </c:pt>
                <c:pt idx="4621">
                  <c:v>0</c:v>
                </c:pt>
                <c:pt idx="4622">
                  <c:v>0</c:v>
                </c:pt>
                <c:pt idx="4623">
                  <c:v>0</c:v>
                </c:pt>
                <c:pt idx="4624">
                  <c:v>0</c:v>
                </c:pt>
                <c:pt idx="4625">
                  <c:v>0</c:v>
                </c:pt>
                <c:pt idx="4626">
                  <c:v>0</c:v>
                </c:pt>
                <c:pt idx="4627">
                  <c:v>0</c:v>
                </c:pt>
                <c:pt idx="4628">
                  <c:v>0</c:v>
                </c:pt>
                <c:pt idx="4629">
                  <c:v>0</c:v>
                </c:pt>
                <c:pt idx="4630">
                  <c:v>0</c:v>
                </c:pt>
                <c:pt idx="4631">
                  <c:v>0</c:v>
                </c:pt>
                <c:pt idx="4632">
                  <c:v>0</c:v>
                </c:pt>
                <c:pt idx="4633">
                  <c:v>0</c:v>
                </c:pt>
                <c:pt idx="4634">
                  <c:v>0</c:v>
                </c:pt>
                <c:pt idx="4635">
                  <c:v>0</c:v>
                </c:pt>
                <c:pt idx="4636">
                  <c:v>0</c:v>
                </c:pt>
                <c:pt idx="4637">
                  <c:v>0</c:v>
                </c:pt>
                <c:pt idx="4638">
                  <c:v>0</c:v>
                </c:pt>
                <c:pt idx="4639">
                  <c:v>0</c:v>
                </c:pt>
                <c:pt idx="4640">
                  <c:v>0</c:v>
                </c:pt>
                <c:pt idx="4641">
                  <c:v>0</c:v>
                </c:pt>
                <c:pt idx="4642">
                  <c:v>0</c:v>
                </c:pt>
                <c:pt idx="4643">
                  <c:v>0</c:v>
                </c:pt>
                <c:pt idx="4644">
                  <c:v>0</c:v>
                </c:pt>
                <c:pt idx="4645">
                  <c:v>0</c:v>
                </c:pt>
                <c:pt idx="4646">
                  <c:v>0</c:v>
                </c:pt>
                <c:pt idx="4647">
                  <c:v>0</c:v>
                </c:pt>
                <c:pt idx="4648">
                  <c:v>0</c:v>
                </c:pt>
                <c:pt idx="4649">
                  <c:v>0</c:v>
                </c:pt>
                <c:pt idx="4650">
                  <c:v>0</c:v>
                </c:pt>
                <c:pt idx="4651">
                  <c:v>0</c:v>
                </c:pt>
                <c:pt idx="4652">
                  <c:v>0</c:v>
                </c:pt>
                <c:pt idx="4653">
                  <c:v>0</c:v>
                </c:pt>
                <c:pt idx="4654">
                  <c:v>0</c:v>
                </c:pt>
                <c:pt idx="4655">
                  <c:v>0</c:v>
                </c:pt>
                <c:pt idx="4656">
                  <c:v>0</c:v>
                </c:pt>
                <c:pt idx="4657">
                  <c:v>0</c:v>
                </c:pt>
                <c:pt idx="4658">
                  <c:v>0</c:v>
                </c:pt>
                <c:pt idx="4659">
                  <c:v>0</c:v>
                </c:pt>
                <c:pt idx="4660">
                  <c:v>0</c:v>
                </c:pt>
                <c:pt idx="4661">
                  <c:v>0</c:v>
                </c:pt>
                <c:pt idx="4662">
                  <c:v>0</c:v>
                </c:pt>
                <c:pt idx="4663">
                  <c:v>0</c:v>
                </c:pt>
                <c:pt idx="4664">
                  <c:v>0</c:v>
                </c:pt>
                <c:pt idx="4665">
                  <c:v>0</c:v>
                </c:pt>
                <c:pt idx="4666">
                  <c:v>0</c:v>
                </c:pt>
                <c:pt idx="4667">
                  <c:v>0</c:v>
                </c:pt>
                <c:pt idx="4668">
                  <c:v>0</c:v>
                </c:pt>
                <c:pt idx="4669">
                  <c:v>0</c:v>
                </c:pt>
                <c:pt idx="4670">
                  <c:v>0</c:v>
                </c:pt>
                <c:pt idx="4671">
                  <c:v>0</c:v>
                </c:pt>
                <c:pt idx="4672">
                  <c:v>0</c:v>
                </c:pt>
                <c:pt idx="4673">
                  <c:v>0</c:v>
                </c:pt>
                <c:pt idx="4674">
                  <c:v>0</c:v>
                </c:pt>
                <c:pt idx="4675">
                  <c:v>0</c:v>
                </c:pt>
                <c:pt idx="4676">
                  <c:v>0</c:v>
                </c:pt>
                <c:pt idx="4677">
                  <c:v>0</c:v>
                </c:pt>
                <c:pt idx="4678">
                  <c:v>0</c:v>
                </c:pt>
                <c:pt idx="4679">
                  <c:v>0</c:v>
                </c:pt>
                <c:pt idx="4680">
                  <c:v>0</c:v>
                </c:pt>
                <c:pt idx="4681">
                  <c:v>0</c:v>
                </c:pt>
                <c:pt idx="4682">
                  <c:v>0</c:v>
                </c:pt>
                <c:pt idx="4683">
                  <c:v>0</c:v>
                </c:pt>
                <c:pt idx="4684">
                  <c:v>0</c:v>
                </c:pt>
                <c:pt idx="4685">
                  <c:v>0</c:v>
                </c:pt>
                <c:pt idx="4686">
                  <c:v>0</c:v>
                </c:pt>
                <c:pt idx="4687">
                  <c:v>0</c:v>
                </c:pt>
                <c:pt idx="4688">
                  <c:v>0</c:v>
                </c:pt>
                <c:pt idx="4689">
                  <c:v>0</c:v>
                </c:pt>
                <c:pt idx="4690">
                  <c:v>0</c:v>
                </c:pt>
                <c:pt idx="4691">
                  <c:v>0</c:v>
                </c:pt>
                <c:pt idx="4692">
                  <c:v>0</c:v>
                </c:pt>
                <c:pt idx="4693">
                  <c:v>0</c:v>
                </c:pt>
                <c:pt idx="4694">
                  <c:v>0</c:v>
                </c:pt>
                <c:pt idx="4695">
                  <c:v>0</c:v>
                </c:pt>
                <c:pt idx="4696">
                  <c:v>0</c:v>
                </c:pt>
                <c:pt idx="4697">
                  <c:v>0</c:v>
                </c:pt>
                <c:pt idx="4698">
                  <c:v>0</c:v>
                </c:pt>
                <c:pt idx="4699">
                  <c:v>0</c:v>
                </c:pt>
                <c:pt idx="4700">
                  <c:v>0</c:v>
                </c:pt>
                <c:pt idx="4701">
                  <c:v>0</c:v>
                </c:pt>
                <c:pt idx="4702">
                  <c:v>0</c:v>
                </c:pt>
                <c:pt idx="4703">
                  <c:v>0</c:v>
                </c:pt>
                <c:pt idx="4704">
                  <c:v>0</c:v>
                </c:pt>
                <c:pt idx="4705">
                  <c:v>0</c:v>
                </c:pt>
                <c:pt idx="4706">
                  <c:v>0</c:v>
                </c:pt>
                <c:pt idx="4707">
                  <c:v>0</c:v>
                </c:pt>
                <c:pt idx="4708">
                  <c:v>0</c:v>
                </c:pt>
                <c:pt idx="4709">
                  <c:v>0</c:v>
                </c:pt>
                <c:pt idx="4710">
                  <c:v>0</c:v>
                </c:pt>
                <c:pt idx="4711">
                  <c:v>0</c:v>
                </c:pt>
                <c:pt idx="4712">
                  <c:v>0</c:v>
                </c:pt>
                <c:pt idx="4713">
                  <c:v>0</c:v>
                </c:pt>
                <c:pt idx="4714">
                  <c:v>0</c:v>
                </c:pt>
                <c:pt idx="4715">
                  <c:v>0</c:v>
                </c:pt>
                <c:pt idx="4716">
                  <c:v>0</c:v>
                </c:pt>
                <c:pt idx="4717">
                  <c:v>0</c:v>
                </c:pt>
                <c:pt idx="4718">
                  <c:v>0</c:v>
                </c:pt>
                <c:pt idx="4719">
                  <c:v>0</c:v>
                </c:pt>
                <c:pt idx="4720">
                  <c:v>0</c:v>
                </c:pt>
                <c:pt idx="4721">
                  <c:v>0</c:v>
                </c:pt>
                <c:pt idx="4722">
                  <c:v>0</c:v>
                </c:pt>
                <c:pt idx="4723">
                  <c:v>0</c:v>
                </c:pt>
                <c:pt idx="4724">
                  <c:v>0</c:v>
                </c:pt>
                <c:pt idx="4725">
                  <c:v>0</c:v>
                </c:pt>
                <c:pt idx="4726">
                  <c:v>0</c:v>
                </c:pt>
                <c:pt idx="4727">
                  <c:v>0</c:v>
                </c:pt>
                <c:pt idx="4728">
                  <c:v>0</c:v>
                </c:pt>
                <c:pt idx="4729">
                  <c:v>0</c:v>
                </c:pt>
                <c:pt idx="4730">
                  <c:v>0</c:v>
                </c:pt>
                <c:pt idx="4731">
                  <c:v>0</c:v>
                </c:pt>
                <c:pt idx="4732">
                  <c:v>0</c:v>
                </c:pt>
                <c:pt idx="4733">
                  <c:v>0</c:v>
                </c:pt>
                <c:pt idx="4734">
                  <c:v>0</c:v>
                </c:pt>
                <c:pt idx="4735">
                  <c:v>0</c:v>
                </c:pt>
                <c:pt idx="4736">
                  <c:v>0</c:v>
                </c:pt>
                <c:pt idx="4737">
                  <c:v>0</c:v>
                </c:pt>
                <c:pt idx="4738">
                  <c:v>0</c:v>
                </c:pt>
                <c:pt idx="4739">
                  <c:v>0</c:v>
                </c:pt>
                <c:pt idx="4740">
                  <c:v>0</c:v>
                </c:pt>
                <c:pt idx="4741">
                  <c:v>0</c:v>
                </c:pt>
                <c:pt idx="4742">
                  <c:v>0</c:v>
                </c:pt>
                <c:pt idx="4743">
                  <c:v>0</c:v>
                </c:pt>
                <c:pt idx="4744">
                  <c:v>0</c:v>
                </c:pt>
                <c:pt idx="4745">
                  <c:v>0</c:v>
                </c:pt>
                <c:pt idx="4746">
                  <c:v>0</c:v>
                </c:pt>
                <c:pt idx="4747">
                  <c:v>0</c:v>
                </c:pt>
                <c:pt idx="4748">
                  <c:v>0</c:v>
                </c:pt>
                <c:pt idx="4749">
                  <c:v>0</c:v>
                </c:pt>
                <c:pt idx="4750">
                  <c:v>0</c:v>
                </c:pt>
                <c:pt idx="4751">
                  <c:v>0</c:v>
                </c:pt>
                <c:pt idx="4752">
                  <c:v>0</c:v>
                </c:pt>
                <c:pt idx="4753">
                  <c:v>0</c:v>
                </c:pt>
                <c:pt idx="4754">
                  <c:v>0</c:v>
                </c:pt>
                <c:pt idx="4755">
                  <c:v>0</c:v>
                </c:pt>
                <c:pt idx="4756">
                  <c:v>0</c:v>
                </c:pt>
                <c:pt idx="4757">
                  <c:v>0</c:v>
                </c:pt>
                <c:pt idx="4758">
                  <c:v>0</c:v>
                </c:pt>
                <c:pt idx="4759">
                  <c:v>0</c:v>
                </c:pt>
                <c:pt idx="4760">
                  <c:v>0</c:v>
                </c:pt>
                <c:pt idx="4761">
                  <c:v>0</c:v>
                </c:pt>
                <c:pt idx="4762">
                  <c:v>0</c:v>
                </c:pt>
                <c:pt idx="4763">
                  <c:v>0</c:v>
                </c:pt>
                <c:pt idx="4764">
                  <c:v>0</c:v>
                </c:pt>
                <c:pt idx="4765">
                  <c:v>0</c:v>
                </c:pt>
                <c:pt idx="4766">
                  <c:v>0</c:v>
                </c:pt>
                <c:pt idx="4767">
                  <c:v>0</c:v>
                </c:pt>
                <c:pt idx="4768">
                  <c:v>0</c:v>
                </c:pt>
                <c:pt idx="4769">
                  <c:v>0</c:v>
                </c:pt>
                <c:pt idx="4770">
                  <c:v>0</c:v>
                </c:pt>
                <c:pt idx="4771">
                  <c:v>0</c:v>
                </c:pt>
                <c:pt idx="4772">
                  <c:v>0</c:v>
                </c:pt>
                <c:pt idx="4773">
                  <c:v>0</c:v>
                </c:pt>
                <c:pt idx="4774">
                  <c:v>0</c:v>
                </c:pt>
                <c:pt idx="4775">
                  <c:v>0</c:v>
                </c:pt>
                <c:pt idx="4776">
                  <c:v>0</c:v>
                </c:pt>
                <c:pt idx="4777">
                  <c:v>0</c:v>
                </c:pt>
                <c:pt idx="4778">
                  <c:v>0</c:v>
                </c:pt>
                <c:pt idx="4779">
                  <c:v>0</c:v>
                </c:pt>
                <c:pt idx="4780">
                  <c:v>0</c:v>
                </c:pt>
                <c:pt idx="4781">
                  <c:v>0</c:v>
                </c:pt>
                <c:pt idx="4782">
                  <c:v>0</c:v>
                </c:pt>
                <c:pt idx="4783">
                  <c:v>0</c:v>
                </c:pt>
                <c:pt idx="4784">
                  <c:v>0</c:v>
                </c:pt>
                <c:pt idx="4785">
                  <c:v>0</c:v>
                </c:pt>
                <c:pt idx="4786">
                  <c:v>0</c:v>
                </c:pt>
                <c:pt idx="4787">
                  <c:v>0</c:v>
                </c:pt>
                <c:pt idx="4788">
                  <c:v>0</c:v>
                </c:pt>
                <c:pt idx="4789">
                  <c:v>0</c:v>
                </c:pt>
                <c:pt idx="4790">
                  <c:v>0</c:v>
                </c:pt>
                <c:pt idx="4791">
                  <c:v>0</c:v>
                </c:pt>
                <c:pt idx="4792">
                  <c:v>0</c:v>
                </c:pt>
                <c:pt idx="4793">
                  <c:v>0</c:v>
                </c:pt>
                <c:pt idx="4794">
                  <c:v>0</c:v>
                </c:pt>
                <c:pt idx="4795">
                  <c:v>0</c:v>
                </c:pt>
                <c:pt idx="4796">
                  <c:v>0</c:v>
                </c:pt>
                <c:pt idx="4797">
                  <c:v>0</c:v>
                </c:pt>
                <c:pt idx="4798">
                  <c:v>0</c:v>
                </c:pt>
                <c:pt idx="4799">
                  <c:v>0</c:v>
                </c:pt>
                <c:pt idx="4800">
                  <c:v>0</c:v>
                </c:pt>
                <c:pt idx="4801">
                  <c:v>0</c:v>
                </c:pt>
                <c:pt idx="4802">
                  <c:v>0</c:v>
                </c:pt>
                <c:pt idx="4803">
                  <c:v>0</c:v>
                </c:pt>
                <c:pt idx="4804">
                  <c:v>0</c:v>
                </c:pt>
                <c:pt idx="4805">
                  <c:v>0</c:v>
                </c:pt>
                <c:pt idx="4806">
                  <c:v>0</c:v>
                </c:pt>
                <c:pt idx="4807">
                  <c:v>0</c:v>
                </c:pt>
                <c:pt idx="4808">
                  <c:v>0</c:v>
                </c:pt>
                <c:pt idx="4809">
                  <c:v>0</c:v>
                </c:pt>
                <c:pt idx="4810">
                  <c:v>0</c:v>
                </c:pt>
                <c:pt idx="4811">
                  <c:v>0</c:v>
                </c:pt>
                <c:pt idx="4812">
                  <c:v>0</c:v>
                </c:pt>
                <c:pt idx="4813">
                  <c:v>0</c:v>
                </c:pt>
                <c:pt idx="4814">
                  <c:v>0</c:v>
                </c:pt>
                <c:pt idx="4815">
                  <c:v>0</c:v>
                </c:pt>
                <c:pt idx="4816">
                  <c:v>0</c:v>
                </c:pt>
                <c:pt idx="4817">
                  <c:v>0</c:v>
                </c:pt>
                <c:pt idx="4818">
                  <c:v>0</c:v>
                </c:pt>
                <c:pt idx="4819">
                  <c:v>0</c:v>
                </c:pt>
                <c:pt idx="4820">
                  <c:v>0</c:v>
                </c:pt>
                <c:pt idx="4821">
                  <c:v>0</c:v>
                </c:pt>
                <c:pt idx="4822">
                  <c:v>0</c:v>
                </c:pt>
                <c:pt idx="4823">
                  <c:v>0</c:v>
                </c:pt>
                <c:pt idx="4824">
                  <c:v>0</c:v>
                </c:pt>
                <c:pt idx="4825">
                  <c:v>0</c:v>
                </c:pt>
                <c:pt idx="4826">
                  <c:v>0</c:v>
                </c:pt>
                <c:pt idx="4827">
                  <c:v>0</c:v>
                </c:pt>
                <c:pt idx="4828">
                  <c:v>0</c:v>
                </c:pt>
                <c:pt idx="4829">
                  <c:v>0</c:v>
                </c:pt>
                <c:pt idx="4830">
                  <c:v>0</c:v>
                </c:pt>
                <c:pt idx="4831">
                  <c:v>0</c:v>
                </c:pt>
                <c:pt idx="4832">
                  <c:v>0</c:v>
                </c:pt>
                <c:pt idx="4833">
                  <c:v>0</c:v>
                </c:pt>
                <c:pt idx="4834">
                  <c:v>0</c:v>
                </c:pt>
                <c:pt idx="4835">
                  <c:v>0</c:v>
                </c:pt>
                <c:pt idx="4836">
                  <c:v>0</c:v>
                </c:pt>
                <c:pt idx="4837">
                  <c:v>0</c:v>
                </c:pt>
                <c:pt idx="4838">
                  <c:v>0</c:v>
                </c:pt>
                <c:pt idx="4839">
                  <c:v>0</c:v>
                </c:pt>
                <c:pt idx="4840">
                  <c:v>0</c:v>
                </c:pt>
                <c:pt idx="4841">
                  <c:v>0</c:v>
                </c:pt>
                <c:pt idx="4842">
                  <c:v>0</c:v>
                </c:pt>
                <c:pt idx="4843">
                  <c:v>0</c:v>
                </c:pt>
                <c:pt idx="4844">
                  <c:v>0</c:v>
                </c:pt>
                <c:pt idx="4845">
                  <c:v>0</c:v>
                </c:pt>
                <c:pt idx="4846">
                  <c:v>0</c:v>
                </c:pt>
                <c:pt idx="4847">
                  <c:v>0</c:v>
                </c:pt>
                <c:pt idx="4848">
                  <c:v>0</c:v>
                </c:pt>
                <c:pt idx="4849">
                  <c:v>0</c:v>
                </c:pt>
                <c:pt idx="4850">
                  <c:v>0</c:v>
                </c:pt>
                <c:pt idx="4851">
                  <c:v>0</c:v>
                </c:pt>
                <c:pt idx="4852">
                  <c:v>0</c:v>
                </c:pt>
                <c:pt idx="4853">
                  <c:v>0</c:v>
                </c:pt>
                <c:pt idx="4854">
                  <c:v>0</c:v>
                </c:pt>
                <c:pt idx="4855">
                  <c:v>0</c:v>
                </c:pt>
                <c:pt idx="4856">
                  <c:v>0</c:v>
                </c:pt>
                <c:pt idx="4857">
                  <c:v>0</c:v>
                </c:pt>
                <c:pt idx="4858">
                  <c:v>0</c:v>
                </c:pt>
                <c:pt idx="4859">
                  <c:v>0</c:v>
                </c:pt>
                <c:pt idx="4860">
                  <c:v>0</c:v>
                </c:pt>
                <c:pt idx="4861">
                  <c:v>0</c:v>
                </c:pt>
                <c:pt idx="4862">
                  <c:v>0</c:v>
                </c:pt>
                <c:pt idx="4863">
                  <c:v>0</c:v>
                </c:pt>
                <c:pt idx="4864">
                  <c:v>0</c:v>
                </c:pt>
                <c:pt idx="4865">
                  <c:v>0</c:v>
                </c:pt>
                <c:pt idx="4866">
                  <c:v>0</c:v>
                </c:pt>
                <c:pt idx="4867">
                  <c:v>0</c:v>
                </c:pt>
                <c:pt idx="4868">
                  <c:v>0</c:v>
                </c:pt>
                <c:pt idx="4869">
                  <c:v>0</c:v>
                </c:pt>
                <c:pt idx="4870">
                  <c:v>0</c:v>
                </c:pt>
                <c:pt idx="4871">
                  <c:v>0</c:v>
                </c:pt>
                <c:pt idx="4872">
                  <c:v>0</c:v>
                </c:pt>
                <c:pt idx="4873">
                  <c:v>0</c:v>
                </c:pt>
                <c:pt idx="4874">
                  <c:v>0</c:v>
                </c:pt>
                <c:pt idx="4875">
                  <c:v>0</c:v>
                </c:pt>
                <c:pt idx="4876">
                  <c:v>0</c:v>
                </c:pt>
                <c:pt idx="4877">
                  <c:v>0</c:v>
                </c:pt>
                <c:pt idx="4878">
                  <c:v>0</c:v>
                </c:pt>
                <c:pt idx="4879">
                  <c:v>0</c:v>
                </c:pt>
                <c:pt idx="4880">
                  <c:v>0</c:v>
                </c:pt>
                <c:pt idx="4881">
                  <c:v>0</c:v>
                </c:pt>
                <c:pt idx="4882">
                  <c:v>0</c:v>
                </c:pt>
                <c:pt idx="4883">
                  <c:v>0</c:v>
                </c:pt>
                <c:pt idx="4884">
                  <c:v>0</c:v>
                </c:pt>
                <c:pt idx="4885">
                  <c:v>0</c:v>
                </c:pt>
                <c:pt idx="4886">
                  <c:v>0</c:v>
                </c:pt>
                <c:pt idx="4887">
                  <c:v>0</c:v>
                </c:pt>
                <c:pt idx="4888">
                  <c:v>0</c:v>
                </c:pt>
                <c:pt idx="4889">
                  <c:v>0</c:v>
                </c:pt>
                <c:pt idx="4890">
                  <c:v>0</c:v>
                </c:pt>
                <c:pt idx="4891">
                  <c:v>0</c:v>
                </c:pt>
                <c:pt idx="4892">
                  <c:v>0</c:v>
                </c:pt>
                <c:pt idx="4893">
                  <c:v>0</c:v>
                </c:pt>
                <c:pt idx="4894">
                  <c:v>0</c:v>
                </c:pt>
                <c:pt idx="4895">
                  <c:v>0</c:v>
                </c:pt>
                <c:pt idx="4896">
                  <c:v>0</c:v>
                </c:pt>
                <c:pt idx="4897">
                  <c:v>0</c:v>
                </c:pt>
                <c:pt idx="4898">
                  <c:v>0</c:v>
                </c:pt>
                <c:pt idx="4899">
                  <c:v>0</c:v>
                </c:pt>
                <c:pt idx="4900">
                  <c:v>0</c:v>
                </c:pt>
                <c:pt idx="4901">
                  <c:v>0</c:v>
                </c:pt>
                <c:pt idx="4902">
                  <c:v>0</c:v>
                </c:pt>
                <c:pt idx="4903">
                  <c:v>0</c:v>
                </c:pt>
                <c:pt idx="4904">
                  <c:v>0</c:v>
                </c:pt>
                <c:pt idx="4905">
                  <c:v>0</c:v>
                </c:pt>
                <c:pt idx="4906">
                  <c:v>0</c:v>
                </c:pt>
                <c:pt idx="4907">
                  <c:v>0</c:v>
                </c:pt>
                <c:pt idx="4908">
                  <c:v>0</c:v>
                </c:pt>
                <c:pt idx="4909">
                  <c:v>0</c:v>
                </c:pt>
                <c:pt idx="4910">
                  <c:v>0</c:v>
                </c:pt>
                <c:pt idx="4911">
                  <c:v>0</c:v>
                </c:pt>
                <c:pt idx="4912">
                  <c:v>0</c:v>
                </c:pt>
                <c:pt idx="4913">
                  <c:v>0</c:v>
                </c:pt>
                <c:pt idx="4914">
                  <c:v>0</c:v>
                </c:pt>
                <c:pt idx="4915">
                  <c:v>0</c:v>
                </c:pt>
                <c:pt idx="4916">
                  <c:v>0</c:v>
                </c:pt>
                <c:pt idx="4917">
                  <c:v>0</c:v>
                </c:pt>
                <c:pt idx="4918">
                  <c:v>0</c:v>
                </c:pt>
                <c:pt idx="4919">
                  <c:v>0</c:v>
                </c:pt>
                <c:pt idx="4920">
                  <c:v>0</c:v>
                </c:pt>
                <c:pt idx="4921">
                  <c:v>0</c:v>
                </c:pt>
                <c:pt idx="4922">
                  <c:v>0</c:v>
                </c:pt>
                <c:pt idx="4923">
                  <c:v>0</c:v>
                </c:pt>
                <c:pt idx="4924">
                  <c:v>0</c:v>
                </c:pt>
                <c:pt idx="4925">
                  <c:v>0</c:v>
                </c:pt>
                <c:pt idx="4926">
                  <c:v>0</c:v>
                </c:pt>
                <c:pt idx="4927">
                  <c:v>0</c:v>
                </c:pt>
                <c:pt idx="4928">
                  <c:v>0</c:v>
                </c:pt>
                <c:pt idx="4929">
                  <c:v>0</c:v>
                </c:pt>
                <c:pt idx="4930">
                  <c:v>0</c:v>
                </c:pt>
                <c:pt idx="4931">
                  <c:v>0</c:v>
                </c:pt>
                <c:pt idx="4932">
                  <c:v>0</c:v>
                </c:pt>
                <c:pt idx="4933">
                  <c:v>0</c:v>
                </c:pt>
                <c:pt idx="4934">
                  <c:v>0</c:v>
                </c:pt>
                <c:pt idx="4935">
                  <c:v>0</c:v>
                </c:pt>
                <c:pt idx="4936">
                  <c:v>0</c:v>
                </c:pt>
                <c:pt idx="4937">
                  <c:v>0</c:v>
                </c:pt>
                <c:pt idx="4938">
                  <c:v>0</c:v>
                </c:pt>
                <c:pt idx="4939">
                  <c:v>0</c:v>
                </c:pt>
                <c:pt idx="4940">
                  <c:v>0</c:v>
                </c:pt>
                <c:pt idx="4941">
                  <c:v>0</c:v>
                </c:pt>
                <c:pt idx="4942">
                  <c:v>0</c:v>
                </c:pt>
                <c:pt idx="4943">
                  <c:v>0</c:v>
                </c:pt>
                <c:pt idx="4944">
                  <c:v>0</c:v>
                </c:pt>
                <c:pt idx="4945">
                  <c:v>0</c:v>
                </c:pt>
                <c:pt idx="4946">
                  <c:v>0</c:v>
                </c:pt>
                <c:pt idx="4947">
                  <c:v>0</c:v>
                </c:pt>
                <c:pt idx="4948">
                  <c:v>0</c:v>
                </c:pt>
                <c:pt idx="4949">
                  <c:v>0</c:v>
                </c:pt>
                <c:pt idx="4950">
                  <c:v>0</c:v>
                </c:pt>
                <c:pt idx="4951">
                  <c:v>0</c:v>
                </c:pt>
                <c:pt idx="4952">
                  <c:v>0</c:v>
                </c:pt>
                <c:pt idx="4953">
                  <c:v>0</c:v>
                </c:pt>
                <c:pt idx="4954">
                  <c:v>0</c:v>
                </c:pt>
                <c:pt idx="4955">
                  <c:v>0</c:v>
                </c:pt>
                <c:pt idx="4956">
                  <c:v>0</c:v>
                </c:pt>
                <c:pt idx="4957">
                  <c:v>0</c:v>
                </c:pt>
                <c:pt idx="4958">
                  <c:v>0</c:v>
                </c:pt>
                <c:pt idx="4959">
                  <c:v>0</c:v>
                </c:pt>
                <c:pt idx="4960">
                  <c:v>0</c:v>
                </c:pt>
                <c:pt idx="4961">
                  <c:v>0</c:v>
                </c:pt>
                <c:pt idx="4962">
                  <c:v>0</c:v>
                </c:pt>
                <c:pt idx="4963">
                  <c:v>0</c:v>
                </c:pt>
                <c:pt idx="4964">
                  <c:v>0</c:v>
                </c:pt>
                <c:pt idx="4965">
                  <c:v>0</c:v>
                </c:pt>
                <c:pt idx="4966">
                  <c:v>0</c:v>
                </c:pt>
                <c:pt idx="4967">
                  <c:v>0</c:v>
                </c:pt>
                <c:pt idx="4968">
                  <c:v>0</c:v>
                </c:pt>
                <c:pt idx="4969">
                  <c:v>0</c:v>
                </c:pt>
                <c:pt idx="4970">
                  <c:v>0</c:v>
                </c:pt>
                <c:pt idx="4971">
                  <c:v>0</c:v>
                </c:pt>
                <c:pt idx="4972">
                  <c:v>0</c:v>
                </c:pt>
                <c:pt idx="4973">
                  <c:v>0</c:v>
                </c:pt>
                <c:pt idx="4974">
                  <c:v>0</c:v>
                </c:pt>
                <c:pt idx="4975">
                  <c:v>0</c:v>
                </c:pt>
                <c:pt idx="4976">
                  <c:v>0</c:v>
                </c:pt>
                <c:pt idx="4977">
                  <c:v>0</c:v>
                </c:pt>
                <c:pt idx="4978">
                  <c:v>0</c:v>
                </c:pt>
                <c:pt idx="4979">
                  <c:v>0</c:v>
                </c:pt>
                <c:pt idx="4980">
                  <c:v>0</c:v>
                </c:pt>
                <c:pt idx="4981">
                  <c:v>0</c:v>
                </c:pt>
                <c:pt idx="4982">
                  <c:v>0</c:v>
                </c:pt>
                <c:pt idx="4983">
                  <c:v>0</c:v>
                </c:pt>
                <c:pt idx="4984">
                  <c:v>0</c:v>
                </c:pt>
                <c:pt idx="4985">
                  <c:v>0</c:v>
                </c:pt>
                <c:pt idx="4986">
                  <c:v>0</c:v>
                </c:pt>
                <c:pt idx="4987">
                  <c:v>0</c:v>
                </c:pt>
                <c:pt idx="4988">
                  <c:v>0</c:v>
                </c:pt>
                <c:pt idx="4989">
                  <c:v>0</c:v>
                </c:pt>
                <c:pt idx="4990">
                  <c:v>0</c:v>
                </c:pt>
                <c:pt idx="4991">
                  <c:v>0</c:v>
                </c:pt>
                <c:pt idx="4992">
                  <c:v>0</c:v>
                </c:pt>
                <c:pt idx="4993">
                  <c:v>0</c:v>
                </c:pt>
                <c:pt idx="4994">
                  <c:v>0</c:v>
                </c:pt>
                <c:pt idx="4995">
                  <c:v>0</c:v>
                </c:pt>
                <c:pt idx="4996">
                  <c:v>0</c:v>
                </c:pt>
                <c:pt idx="4997">
                  <c:v>0</c:v>
                </c:pt>
                <c:pt idx="4998">
                  <c:v>0</c:v>
                </c:pt>
                <c:pt idx="4999">
                  <c:v>0</c:v>
                </c:pt>
                <c:pt idx="5000">
                  <c:v>0</c:v>
                </c:pt>
                <c:pt idx="5001">
                  <c:v>0</c:v>
                </c:pt>
                <c:pt idx="5002">
                  <c:v>0</c:v>
                </c:pt>
                <c:pt idx="5003">
                  <c:v>0</c:v>
                </c:pt>
                <c:pt idx="5004">
                  <c:v>0</c:v>
                </c:pt>
                <c:pt idx="5005">
                  <c:v>0</c:v>
                </c:pt>
                <c:pt idx="5006">
                  <c:v>0</c:v>
                </c:pt>
                <c:pt idx="5007">
                  <c:v>0</c:v>
                </c:pt>
                <c:pt idx="5008">
                  <c:v>0</c:v>
                </c:pt>
                <c:pt idx="5009">
                  <c:v>0</c:v>
                </c:pt>
                <c:pt idx="5010">
                  <c:v>0</c:v>
                </c:pt>
                <c:pt idx="5011">
                  <c:v>0</c:v>
                </c:pt>
                <c:pt idx="5012">
                  <c:v>0</c:v>
                </c:pt>
                <c:pt idx="5013">
                  <c:v>0</c:v>
                </c:pt>
                <c:pt idx="5014">
                  <c:v>0</c:v>
                </c:pt>
                <c:pt idx="5015">
                  <c:v>0</c:v>
                </c:pt>
                <c:pt idx="5016">
                  <c:v>0</c:v>
                </c:pt>
                <c:pt idx="5017">
                  <c:v>0</c:v>
                </c:pt>
                <c:pt idx="5018">
                  <c:v>0</c:v>
                </c:pt>
                <c:pt idx="5019">
                  <c:v>0</c:v>
                </c:pt>
                <c:pt idx="5020">
                  <c:v>0</c:v>
                </c:pt>
                <c:pt idx="5021">
                  <c:v>0</c:v>
                </c:pt>
                <c:pt idx="5022">
                  <c:v>0</c:v>
                </c:pt>
                <c:pt idx="5023">
                  <c:v>0</c:v>
                </c:pt>
                <c:pt idx="5024">
                  <c:v>0</c:v>
                </c:pt>
                <c:pt idx="5025">
                  <c:v>0</c:v>
                </c:pt>
                <c:pt idx="5026">
                  <c:v>0</c:v>
                </c:pt>
                <c:pt idx="5027">
                  <c:v>0</c:v>
                </c:pt>
                <c:pt idx="5028">
                  <c:v>0</c:v>
                </c:pt>
                <c:pt idx="5029">
                  <c:v>0</c:v>
                </c:pt>
                <c:pt idx="5030">
                  <c:v>0</c:v>
                </c:pt>
                <c:pt idx="5031">
                  <c:v>0</c:v>
                </c:pt>
                <c:pt idx="5032">
                  <c:v>0</c:v>
                </c:pt>
                <c:pt idx="5033">
                  <c:v>0</c:v>
                </c:pt>
                <c:pt idx="5034">
                  <c:v>0</c:v>
                </c:pt>
                <c:pt idx="5035">
                  <c:v>0</c:v>
                </c:pt>
                <c:pt idx="5036">
                  <c:v>0</c:v>
                </c:pt>
                <c:pt idx="5037">
                  <c:v>0</c:v>
                </c:pt>
                <c:pt idx="5038">
                  <c:v>0</c:v>
                </c:pt>
                <c:pt idx="5039">
                  <c:v>0</c:v>
                </c:pt>
                <c:pt idx="5040">
                  <c:v>0</c:v>
                </c:pt>
                <c:pt idx="5041">
                  <c:v>0</c:v>
                </c:pt>
                <c:pt idx="5042">
                  <c:v>0</c:v>
                </c:pt>
                <c:pt idx="5043">
                  <c:v>0</c:v>
                </c:pt>
                <c:pt idx="5044">
                  <c:v>0</c:v>
                </c:pt>
                <c:pt idx="5045">
                  <c:v>0</c:v>
                </c:pt>
                <c:pt idx="5046">
                  <c:v>0</c:v>
                </c:pt>
                <c:pt idx="5047">
                  <c:v>0</c:v>
                </c:pt>
                <c:pt idx="5048">
                  <c:v>0</c:v>
                </c:pt>
                <c:pt idx="5049">
                  <c:v>0</c:v>
                </c:pt>
                <c:pt idx="5050">
                  <c:v>0</c:v>
                </c:pt>
                <c:pt idx="5051">
                  <c:v>0</c:v>
                </c:pt>
                <c:pt idx="5052">
                  <c:v>0</c:v>
                </c:pt>
                <c:pt idx="5053">
                  <c:v>0</c:v>
                </c:pt>
                <c:pt idx="5054">
                  <c:v>0</c:v>
                </c:pt>
                <c:pt idx="5055">
                  <c:v>0</c:v>
                </c:pt>
                <c:pt idx="5056">
                  <c:v>0</c:v>
                </c:pt>
                <c:pt idx="5057">
                  <c:v>0</c:v>
                </c:pt>
                <c:pt idx="5058">
                  <c:v>0</c:v>
                </c:pt>
                <c:pt idx="5059">
                  <c:v>0</c:v>
                </c:pt>
                <c:pt idx="5060">
                  <c:v>0</c:v>
                </c:pt>
                <c:pt idx="5061">
                  <c:v>0</c:v>
                </c:pt>
                <c:pt idx="5062">
                  <c:v>0</c:v>
                </c:pt>
                <c:pt idx="5063">
                  <c:v>0</c:v>
                </c:pt>
                <c:pt idx="5064">
                  <c:v>0</c:v>
                </c:pt>
                <c:pt idx="5065">
                  <c:v>0</c:v>
                </c:pt>
                <c:pt idx="5066">
                  <c:v>0</c:v>
                </c:pt>
                <c:pt idx="5067">
                  <c:v>0</c:v>
                </c:pt>
                <c:pt idx="5068">
                  <c:v>0</c:v>
                </c:pt>
                <c:pt idx="5069">
                  <c:v>0</c:v>
                </c:pt>
                <c:pt idx="5070">
                  <c:v>0</c:v>
                </c:pt>
                <c:pt idx="5071">
                  <c:v>0</c:v>
                </c:pt>
                <c:pt idx="5072">
                  <c:v>0</c:v>
                </c:pt>
                <c:pt idx="5073">
                  <c:v>0</c:v>
                </c:pt>
                <c:pt idx="5074">
                  <c:v>0</c:v>
                </c:pt>
                <c:pt idx="5075">
                  <c:v>0</c:v>
                </c:pt>
                <c:pt idx="5076">
                  <c:v>0</c:v>
                </c:pt>
                <c:pt idx="5077">
                  <c:v>0</c:v>
                </c:pt>
                <c:pt idx="5078">
                  <c:v>0</c:v>
                </c:pt>
                <c:pt idx="5079">
                  <c:v>0</c:v>
                </c:pt>
                <c:pt idx="5080">
                  <c:v>0</c:v>
                </c:pt>
                <c:pt idx="5081">
                  <c:v>0</c:v>
                </c:pt>
                <c:pt idx="5082">
                  <c:v>0</c:v>
                </c:pt>
                <c:pt idx="5083">
                  <c:v>0</c:v>
                </c:pt>
                <c:pt idx="5084">
                  <c:v>0</c:v>
                </c:pt>
                <c:pt idx="5085">
                  <c:v>0</c:v>
                </c:pt>
                <c:pt idx="5086">
                  <c:v>0</c:v>
                </c:pt>
                <c:pt idx="5087">
                  <c:v>0</c:v>
                </c:pt>
                <c:pt idx="5088">
                  <c:v>0</c:v>
                </c:pt>
                <c:pt idx="5089">
                  <c:v>0</c:v>
                </c:pt>
                <c:pt idx="5090">
                  <c:v>0</c:v>
                </c:pt>
                <c:pt idx="5091">
                  <c:v>0</c:v>
                </c:pt>
                <c:pt idx="5092">
                  <c:v>0</c:v>
                </c:pt>
                <c:pt idx="5093">
                  <c:v>0</c:v>
                </c:pt>
                <c:pt idx="5094">
                  <c:v>0</c:v>
                </c:pt>
                <c:pt idx="5095">
                  <c:v>0</c:v>
                </c:pt>
                <c:pt idx="5096">
                  <c:v>0</c:v>
                </c:pt>
                <c:pt idx="5097">
                  <c:v>0</c:v>
                </c:pt>
                <c:pt idx="5098">
                  <c:v>0</c:v>
                </c:pt>
                <c:pt idx="5099">
                  <c:v>0</c:v>
                </c:pt>
                <c:pt idx="5100">
                  <c:v>0</c:v>
                </c:pt>
                <c:pt idx="5101">
                  <c:v>0</c:v>
                </c:pt>
                <c:pt idx="5102">
                  <c:v>0</c:v>
                </c:pt>
                <c:pt idx="5103">
                  <c:v>0</c:v>
                </c:pt>
                <c:pt idx="5104">
                  <c:v>0</c:v>
                </c:pt>
                <c:pt idx="5105">
                  <c:v>0</c:v>
                </c:pt>
                <c:pt idx="5106">
                  <c:v>0</c:v>
                </c:pt>
                <c:pt idx="5107">
                  <c:v>0</c:v>
                </c:pt>
                <c:pt idx="5108">
                  <c:v>0</c:v>
                </c:pt>
                <c:pt idx="5109">
                  <c:v>0</c:v>
                </c:pt>
                <c:pt idx="5110">
                  <c:v>0</c:v>
                </c:pt>
                <c:pt idx="5111">
                  <c:v>0</c:v>
                </c:pt>
                <c:pt idx="5112">
                  <c:v>0</c:v>
                </c:pt>
                <c:pt idx="5113">
                  <c:v>0</c:v>
                </c:pt>
                <c:pt idx="5114">
                  <c:v>0</c:v>
                </c:pt>
                <c:pt idx="5115">
                  <c:v>0</c:v>
                </c:pt>
                <c:pt idx="5116">
                  <c:v>0</c:v>
                </c:pt>
                <c:pt idx="5117">
                  <c:v>0</c:v>
                </c:pt>
                <c:pt idx="5118">
                  <c:v>0</c:v>
                </c:pt>
                <c:pt idx="5119">
                  <c:v>0</c:v>
                </c:pt>
                <c:pt idx="5120">
                  <c:v>0</c:v>
                </c:pt>
                <c:pt idx="5121">
                  <c:v>0</c:v>
                </c:pt>
                <c:pt idx="5122">
                  <c:v>0</c:v>
                </c:pt>
                <c:pt idx="5123">
                  <c:v>0</c:v>
                </c:pt>
                <c:pt idx="5124">
                  <c:v>0</c:v>
                </c:pt>
                <c:pt idx="5125">
                  <c:v>0</c:v>
                </c:pt>
                <c:pt idx="5126">
                  <c:v>0</c:v>
                </c:pt>
                <c:pt idx="5127">
                  <c:v>0</c:v>
                </c:pt>
                <c:pt idx="5128">
                  <c:v>0</c:v>
                </c:pt>
                <c:pt idx="5129">
                  <c:v>0</c:v>
                </c:pt>
                <c:pt idx="5130">
                  <c:v>0</c:v>
                </c:pt>
                <c:pt idx="5131">
                  <c:v>0</c:v>
                </c:pt>
                <c:pt idx="5132">
                  <c:v>0</c:v>
                </c:pt>
                <c:pt idx="5133">
                  <c:v>0</c:v>
                </c:pt>
                <c:pt idx="5134">
                  <c:v>0</c:v>
                </c:pt>
                <c:pt idx="5135">
                  <c:v>0</c:v>
                </c:pt>
                <c:pt idx="5136">
                  <c:v>0</c:v>
                </c:pt>
                <c:pt idx="5137">
                  <c:v>0</c:v>
                </c:pt>
                <c:pt idx="5138">
                  <c:v>0</c:v>
                </c:pt>
                <c:pt idx="5139">
                  <c:v>0</c:v>
                </c:pt>
                <c:pt idx="5140">
                  <c:v>0</c:v>
                </c:pt>
                <c:pt idx="5141">
                  <c:v>0</c:v>
                </c:pt>
                <c:pt idx="5142">
                  <c:v>0</c:v>
                </c:pt>
                <c:pt idx="5143">
                  <c:v>0</c:v>
                </c:pt>
                <c:pt idx="5144">
                  <c:v>0</c:v>
                </c:pt>
                <c:pt idx="5145">
                  <c:v>0</c:v>
                </c:pt>
                <c:pt idx="5146">
                  <c:v>0</c:v>
                </c:pt>
                <c:pt idx="5147">
                  <c:v>0</c:v>
                </c:pt>
                <c:pt idx="5148">
                  <c:v>0</c:v>
                </c:pt>
                <c:pt idx="5149">
                  <c:v>0</c:v>
                </c:pt>
                <c:pt idx="5150">
                  <c:v>0</c:v>
                </c:pt>
                <c:pt idx="5151">
                  <c:v>0</c:v>
                </c:pt>
                <c:pt idx="5152">
                  <c:v>0</c:v>
                </c:pt>
                <c:pt idx="5153">
                  <c:v>0</c:v>
                </c:pt>
                <c:pt idx="5154">
                  <c:v>0</c:v>
                </c:pt>
                <c:pt idx="5155">
                  <c:v>0</c:v>
                </c:pt>
                <c:pt idx="5156">
                  <c:v>0</c:v>
                </c:pt>
                <c:pt idx="5157">
                  <c:v>0</c:v>
                </c:pt>
                <c:pt idx="5158">
                  <c:v>0</c:v>
                </c:pt>
                <c:pt idx="5159">
                  <c:v>0</c:v>
                </c:pt>
                <c:pt idx="5160">
                  <c:v>0</c:v>
                </c:pt>
                <c:pt idx="5161">
                  <c:v>0</c:v>
                </c:pt>
                <c:pt idx="5162">
                  <c:v>0</c:v>
                </c:pt>
                <c:pt idx="5163">
                  <c:v>0</c:v>
                </c:pt>
                <c:pt idx="5164">
                  <c:v>0</c:v>
                </c:pt>
                <c:pt idx="5165">
                  <c:v>0</c:v>
                </c:pt>
                <c:pt idx="5166">
                  <c:v>0</c:v>
                </c:pt>
                <c:pt idx="5167">
                  <c:v>0</c:v>
                </c:pt>
                <c:pt idx="5168">
                  <c:v>0</c:v>
                </c:pt>
                <c:pt idx="5169">
                  <c:v>0</c:v>
                </c:pt>
                <c:pt idx="5170">
                  <c:v>0</c:v>
                </c:pt>
                <c:pt idx="5171">
                  <c:v>0</c:v>
                </c:pt>
                <c:pt idx="5172">
                  <c:v>0</c:v>
                </c:pt>
                <c:pt idx="5173">
                  <c:v>0</c:v>
                </c:pt>
                <c:pt idx="5174">
                  <c:v>0</c:v>
                </c:pt>
                <c:pt idx="5175">
                  <c:v>0</c:v>
                </c:pt>
                <c:pt idx="5176">
                  <c:v>0</c:v>
                </c:pt>
                <c:pt idx="5177">
                  <c:v>0</c:v>
                </c:pt>
                <c:pt idx="5178">
                  <c:v>0</c:v>
                </c:pt>
                <c:pt idx="5179">
                  <c:v>0</c:v>
                </c:pt>
                <c:pt idx="5180">
                  <c:v>0</c:v>
                </c:pt>
                <c:pt idx="5181">
                  <c:v>0</c:v>
                </c:pt>
                <c:pt idx="5182">
                  <c:v>0</c:v>
                </c:pt>
                <c:pt idx="5183">
                  <c:v>0</c:v>
                </c:pt>
                <c:pt idx="5184">
                  <c:v>0</c:v>
                </c:pt>
                <c:pt idx="5185">
                  <c:v>0</c:v>
                </c:pt>
                <c:pt idx="5186">
                  <c:v>0</c:v>
                </c:pt>
                <c:pt idx="5187">
                  <c:v>0</c:v>
                </c:pt>
                <c:pt idx="5188">
                  <c:v>0</c:v>
                </c:pt>
                <c:pt idx="5189">
                  <c:v>0</c:v>
                </c:pt>
                <c:pt idx="5190">
                  <c:v>0</c:v>
                </c:pt>
                <c:pt idx="5191">
                  <c:v>0</c:v>
                </c:pt>
                <c:pt idx="5192">
                  <c:v>0</c:v>
                </c:pt>
                <c:pt idx="5193">
                  <c:v>0</c:v>
                </c:pt>
                <c:pt idx="5194">
                  <c:v>0</c:v>
                </c:pt>
                <c:pt idx="5195">
                  <c:v>0</c:v>
                </c:pt>
                <c:pt idx="5196">
                  <c:v>0</c:v>
                </c:pt>
                <c:pt idx="5197">
                  <c:v>0</c:v>
                </c:pt>
                <c:pt idx="5198">
                  <c:v>0</c:v>
                </c:pt>
                <c:pt idx="5199">
                  <c:v>0</c:v>
                </c:pt>
                <c:pt idx="5200">
                  <c:v>0</c:v>
                </c:pt>
                <c:pt idx="5201">
                  <c:v>0</c:v>
                </c:pt>
                <c:pt idx="5202">
                  <c:v>0</c:v>
                </c:pt>
                <c:pt idx="5203">
                  <c:v>0</c:v>
                </c:pt>
                <c:pt idx="5204">
                  <c:v>0</c:v>
                </c:pt>
                <c:pt idx="5205">
                  <c:v>0</c:v>
                </c:pt>
                <c:pt idx="5206">
                  <c:v>0</c:v>
                </c:pt>
                <c:pt idx="5207">
                  <c:v>0</c:v>
                </c:pt>
                <c:pt idx="5208">
                  <c:v>0</c:v>
                </c:pt>
                <c:pt idx="5209">
                  <c:v>0</c:v>
                </c:pt>
                <c:pt idx="5210">
                  <c:v>0</c:v>
                </c:pt>
                <c:pt idx="5211">
                  <c:v>0</c:v>
                </c:pt>
                <c:pt idx="5212">
                  <c:v>0</c:v>
                </c:pt>
                <c:pt idx="5213">
                  <c:v>0</c:v>
                </c:pt>
                <c:pt idx="5214">
                  <c:v>0</c:v>
                </c:pt>
                <c:pt idx="5215">
                  <c:v>0</c:v>
                </c:pt>
                <c:pt idx="5216">
                  <c:v>0</c:v>
                </c:pt>
                <c:pt idx="5217">
                  <c:v>0</c:v>
                </c:pt>
                <c:pt idx="5218">
                  <c:v>0</c:v>
                </c:pt>
                <c:pt idx="5219">
                  <c:v>0</c:v>
                </c:pt>
                <c:pt idx="5220">
                  <c:v>0</c:v>
                </c:pt>
                <c:pt idx="5221">
                  <c:v>0</c:v>
                </c:pt>
                <c:pt idx="5222">
                  <c:v>0</c:v>
                </c:pt>
                <c:pt idx="5223">
                  <c:v>0</c:v>
                </c:pt>
                <c:pt idx="5224">
                  <c:v>0</c:v>
                </c:pt>
                <c:pt idx="5225">
                  <c:v>0</c:v>
                </c:pt>
                <c:pt idx="5226">
                  <c:v>0</c:v>
                </c:pt>
                <c:pt idx="5227">
                  <c:v>0</c:v>
                </c:pt>
                <c:pt idx="5228">
                  <c:v>0</c:v>
                </c:pt>
                <c:pt idx="5229">
                  <c:v>0</c:v>
                </c:pt>
                <c:pt idx="5230">
                  <c:v>0</c:v>
                </c:pt>
                <c:pt idx="5231">
                  <c:v>0</c:v>
                </c:pt>
                <c:pt idx="5232">
                  <c:v>0</c:v>
                </c:pt>
                <c:pt idx="5233">
                  <c:v>0</c:v>
                </c:pt>
                <c:pt idx="5234">
                  <c:v>0</c:v>
                </c:pt>
                <c:pt idx="5235">
                  <c:v>0</c:v>
                </c:pt>
                <c:pt idx="5236">
                  <c:v>0</c:v>
                </c:pt>
                <c:pt idx="5237">
                  <c:v>0</c:v>
                </c:pt>
                <c:pt idx="5238">
                  <c:v>0</c:v>
                </c:pt>
                <c:pt idx="5239">
                  <c:v>0</c:v>
                </c:pt>
                <c:pt idx="5240">
                  <c:v>0</c:v>
                </c:pt>
                <c:pt idx="5241">
                  <c:v>0</c:v>
                </c:pt>
                <c:pt idx="5242">
                  <c:v>0</c:v>
                </c:pt>
                <c:pt idx="5243">
                  <c:v>0</c:v>
                </c:pt>
                <c:pt idx="5244">
                  <c:v>0</c:v>
                </c:pt>
                <c:pt idx="5245">
                  <c:v>0</c:v>
                </c:pt>
                <c:pt idx="5246">
                  <c:v>0</c:v>
                </c:pt>
                <c:pt idx="5247">
                  <c:v>0</c:v>
                </c:pt>
                <c:pt idx="5248">
                  <c:v>0</c:v>
                </c:pt>
                <c:pt idx="5249">
                  <c:v>0</c:v>
                </c:pt>
                <c:pt idx="5250">
                  <c:v>0</c:v>
                </c:pt>
                <c:pt idx="5251">
                  <c:v>0</c:v>
                </c:pt>
                <c:pt idx="5252">
                  <c:v>0</c:v>
                </c:pt>
                <c:pt idx="5253">
                  <c:v>0</c:v>
                </c:pt>
                <c:pt idx="5254">
                  <c:v>0</c:v>
                </c:pt>
                <c:pt idx="5255">
                  <c:v>0</c:v>
                </c:pt>
                <c:pt idx="5256">
                  <c:v>0</c:v>
                </c:pt>
                <c:pt idx="5257">
                  <c:v>0</c:v>
                </c:pt>
                <c:pt idx="5258">
                  <c:v>0</c:v>
                </c:pt>
                <c:pt idx="5259">
                  <c:v>0</c:v>
                </c:pt>
                <c:pt idx="5260">
                  <c:v>0</c:v>
                </c:pt>
                <c:pt idx="5261">
                  <c:v>0</c:v>
                </c:pt>
                <c:pt idx="5262">
                  <c:v>0</c:v>
                </c:pt>
                <c:pt idx="5263">
                  <c:v>0</c:v>
                </c:pt>
                <c:pt idx="5264">
                  <c:v>0</c:v>
                </c:pt>
                <c:pt idx="5265">
                  <c:v>0</c:v>
                </c:pt>
                <c:pt idx="5266">
                  <c:v>0</c:v>
                </c:pt>
                <c:pt idx="5267">
                  <c:v>0</c:v>
                </c:pt>
                <c:pt idx="5268">
                  <c:v>0</c:v>
                </c:pt>
                <c:pt idx="5269">
                  <c:v>0</c:v>
                </c:pt>
                <c:pt idx="5270">
                  <c:v>0</c:v>
                </c:pt>
                <c:pt idx="5271">
                  <c:v>0</c:v>
                </c:pt>
                <c:pt idx="5272">
                  <c:v>0</c:v>
                </c:pt>
                <c:pt idx="5273">
                  <c:v>0</c:v>
                </c:pt>
                <c:pt idx="5274">
                  <c:v>0</c:v>
                </c:pt>
                <c:pt idx="5275">
                  <c:v>0</c:v>
                </c:pt>
                <c:pt idx="5276">
                  <c:v>0</c:v>
                </c:pt>
                <c:pt idx="5277">
                  <c:v>0</c:v>
                </c:pt>
                <c:pt idx="5278">
                  <c:v>0</c:v>
                </c:pt>
                <c:pt idx="5279">
                  <c:v>0</c:v>
                </c:pt>
                <c:pt idx="5280">
                  <c:v>0</c:v>
                </c:pt>
                <c:pt idx="5281">
                  <c:v>0</c:v>
                </c:pt>
                <c:pt idx="5282">
                  <c:v>0</c:v>
                </c:pt>
                <c:pt idx="5283">
                  <c:v>0</c:v>
                </c:pt>
                <c:pt idx="5284">
                  <c:v>0</c:v>
                </c:pt>
                <c:pt idx="5285">
                  <c:v>0</c:v>
                </c:pt>
                <c:pt idx="5286">
                  <c:v>0</c:v>
                </c:pt>
                <c:pt idx="5287">
                  <c:v>0</c:v>
                </c:pt>
                <c:pt idx="5288">
                  <c:v>0</c:v>
                </c:pt>
                <c:pt idx="5289">
                  <c:v>0</c:v>
                </c:pt>
                <c:pt idx="5290">
                  <c:v>0</c:v>
                </c:pt>
                <c:pt idx="5291">
                  <c:v>0</c:v>
                </c:pt>
                <c:pt idx="5292">
                  <c:v>0</c:v>
                </c:pt>
                <c:pt idx="5293">
                  <c:v>0</c:v>
                </c:pt>
                <c:pt idx="5294">
                  <c:v>0</c:v>
                </c:pt>
                <c:pt idx="5295">
                  <c:v>0</c:v>
                </c:pt>
                <c:pt idx="5296">
                  <c:v>0</c:v>
                </c:pt>
                <c:pt idx="5297">
                  <c:v>0</c:v>
                </c:pt>
                <c:pt idx="5298">
                  <c:v>0</c:v>
                </c:pt>
                <c:pt idx="5299">
                  <c:v>0</c:v>
                </c:pt>
                <c:pt idx="5300">
                  <c:v>0</c:v>
                </c:pt>
                <c:pt idx="5301">
                  <c:v>0</c:v>
                </c:pt>
                <c:pt idx="5302">
                  <c:v>0</c:v>
                </c:pt>
                <c:pt idx="5303">
                  <c:v>0</c:v>
                </c:pt>
                <c:pt idx="5304">
                  <c:v>0</c:v>
                </c:pt>
                <c:pt idx="5305">
                  <c:v>0</c:v>
                </c:pt>
                <c:pt idx="5306">
                  <c:v>0</c:v>
                </c:pt>
                <c:pt idx="5307">
                  <c:v>0</c:v>
                </c:pt>
                <c:pt idx="5308">
                  <c:v>0</c:v>
                </c:pt>
                <c:pt idx="5309">
                  <c:v>0</c:v>
                </c:pt>
                <c:pt idx="5310">
                  <c:v>0</c:v>
                </c:pt>
                <c:pt idx="5311">
                  <c:v>0</c:v>
                </c:pt>
                <c:pt idx="5312">
                  <c:v>0</c:v>
                </c:pt>
                <c:pt idx="5313">
                  <c:v>0</c:v>
                </c:pt>
                <c:pt idx="5314">
                  <c:v>0</c:v>
                </c:pt>
                <c:pt idx="5315">
                  <c:v>0</c:v>
                </c:pt>
                <c:pt idx="5316">
                  <c:v>0</c:v>
                </c:pt>
                <c:pt idx="5317">
                  <c:v>0</c:v>
                </c:pt>
                <c:pt idx="5318">
                  <c:v>0</c:v>
                </c:pt>
                <c:pt idx="5319">
                  <c:v>0</c:v>
                </c:pt>
                <c:pt idx="5320">
                  <c:v>0</c:v>
                </c:pt>
                <c:pt idx="5321">
                  <c:v>0</c:v>
                </c:pt>
                <c:pt idx="5322">
                  <c:v>0</c:v>
                </c:pt>
                <c:pt idx="5323">
                  <c:v>0</c:v>
                </c:pt>
                <c:pt idx="5324">
                  <c:v>0</c:v>
                </c:pt>
                <c:pt idx="5325">
                  <c:v>0</c:v>
                </c:pt>
                <c:pt idx="5326">
                  <c:v>0</c:v>
                </c:pt>
                <c:pt idx="5327">
                  <c:v>0</c:v>
                </c:pt>
                <c:pt idx="5328">
                  <c:v>0</c:v>
                </c:pt>
                <c:pt idx="5329">
                  <c:v>0</c:v>
                </c:pt>
                <c:pt idx="5330">
                  <c:v>0</c:v>
                </c:pt>
                <c:pt idx="5331">
                  <c:v>0</c:v>
                </c:pt>
                <c:pt idx="5332">
                  <c:v>0</c:v>
                </c:pt>
                <c:pt idx="5333">
                  <c:v>0</c:v>
                </c:pt>
                <c:pt idx="5334">
                  <c:v>0</c:v>
                </c:pt>
                <c:pt idx="5335">
                  <c:v>0</c:v>
                </c:pt>
                <c:pt idx="5336">
                  <c:v>0</c:v>
                </c:pt>
                <c:pt idx="5337">
                  <c:v>0</c:v>
                </c:pt>
                <c:pt idx="5338">
                  <c:v>0</c:v>
                </c:pt>
                <c:pt idx="5339">
                  <c:v>0</c:v>
                </c:pt>
                <c:pt idx="5340">
                  <c:v>0</c:v>
                </c:pt>
                <c:pt idx="5341">
                  <c:v>0</c:v>
                </c:pt>
                <c:pt idx="5342">
                  <c:v>0</c:v>
                </c:pt>
                <c:pt idx="5343">
                  <c:v>0</c:v>
                </c:pt>
                <c:pt idx="5344">
                  <c:v>0</c:v>
                </c:pt>
                <c:pt idx="5345">
                  <c:v>0</c:v>
                </c:pt>
                <c:pt idx="5346">
                  <c:v>0</c:v>
                </c:pt>
                <c:pt idx="5347">
                  <c:v>0</c:v>
                </c:pt>
                <c:pt idx="5348">
                  <c:v>0</c:v>
                </c:pt>
                <c:pt idx="5349">
                  <c:v>0</c:v>
                </c:pt>
                <c:pt idx="5350">
                  <c:v>0</c:v>
                </c:pt>
                <c:pt idx="5351">
                  <c:v>0</c:v>
                </c:pt>
                <c:pt idx="5352">
                  <c:v>0</c:v>
                </c:pt>
                <c:pt idx="5353">
                  <c:v>0</c:v>
                </c:pt>
                <c:pt idx="5354">
                  <c:v>0</c:v>
                </c:pt>
                <c:pt idx="5355">
                  <c:v>0</c:v>
                </c:pt>
                <c:pt idx="5356">
                  <c:v>0</c:v>
                </c:pt>
                <c:pt idx="5357">
                  <c:v>0</c:v>
                </c:pt>
                <c:pt idx="5358">
                  <c:v>0</c:v>
                </c:pt>
                <c:pt idx="5359">
                  <c:v>0</c:v>
                </c:pt>
                <c:pt idx="5360">
                  <c:v>0</c:v>
                </c:pt>
                <c:pt idx="5361">
                  <c:v>0</c:v>
                </c:pt>
                <c:pt idx="5362">
                  <c:v>0</c:v>
                </c:pt>
                <c:pt idx="5363">
                  <c:v>0</c:v>
                </c:pt>
                <c:pt idx="5364">
                  <c:v>0</c:v>
                </c:pt>
                <c:pt idx="5365">
                  <c:v>0</c:v>
                </c:pt>
                <c:pt idx="5366">
                  <c:v>0</c:v>
                </c:pt>
                <c:pt idx="5367">
                  <c:v>0</c:v>
                </c:pt>
                <c:pt idx="5368">
                  <c:v>0</c:v>
                </c:pt>
                <c:pt idx="5369">
                  <c:v>0</c:v>
                </c:pt>
                <c:pt idx="5370">
                  <c:v>0</c:v>
                </c:pt>
                <c:pt idx="5371">
                  <c:v>0</c:v>
                </c:pt>
                <c:pt idx="5372">
                  <c:v>0</c:v>
                </c:pt>
                <c:pt idx="5373">
                  <c:v>0</c:v>
                </c:pt>
                <c:pt idx="5374">
                  <c:v>0</c:v>
                </c:pt>
                <c:pt idx="5375">
                  <c:v>0</c:v>
                </c:pt>
                <c:pt idx="5376">
                  <c:v>0</c:v>
                </c:pt>
                <c:pt idx="5377">
                  <c:v>0</c:v>
                </c:pt>
                <c:pt idx="5378">
                  <c:v>0</c:v>
                </c:pt>
                <c:pt idx="5379">
                  <c:v>0</c:v>
                </c:pt>
                <c:pt idx="5380">
                  <c:v>0</c:v>
                </c:pt>
                <c:pt idx="5381">
                  <c:v>0</c:v>
                </c:pt>
                <c:pt idx="5382">
                  <c:v>0</c:v>
                </c:pt>
                <c:pt idx="5383">
                  <c:v>0</c:v>
                </c:pt>
                <c:pt idx="5384">
                  <c:v>0</c:v>
                </c:pt>
                <c:pt idx="5385">
                  <c:v>0</c:v>
                </c:pt>
                <c:pt idx="5386">
                  <c:v>0</c:v>
                </c:pt>
                <c:pt idx="5387">
                  <c:v>0</c:v>
                </c:pt>
                <c:pt idx="5388">
                  <c:v>0</c:v>
                </c:pt>
                <c:pt idx="5389">
                  <c:v>0</c:v>
                </c:pt>
                <c:pt idx="5390">
                  <c:v>0</c:v>
                </c:pt>
                <c:pt idx="5391">
                  <c:v>0</c:v>
                </c:pt>
                <c:pt idx="5392">
                  <c:v>0</c:v>
                </c:pt>
                <c:pt idx="5393">
                  <c:v>0</c:v>
                </c:pt>
                <c:pt idx="5394">
                  <c:v>0</c:v>
                </c:pt>
                <c:pt idx="5395">
                  <c:v>0</c:v>
                </c:pt>
                <c:pt idx="5396">
                  <c:v>0</c:v>
                </c:pt>
                <c:pt idx="5397">
                  <c:v>0</c:v>
                </c:pt>
                <c:pt idx="5398">
                  <c:v>0</c:v>
                </c:pt>
                <c:pt idx="5399">
                  <c:v>0</c:v>
                </c:pt>
                <c:pt idx="5400">
                  <c:v>0</c:v>
                </c:pt>
                <c:pt idx="5401">
                  <c:v>0</c:v>
                </c:pt>
                <c:pt idx="5402">
                  <c:v>0</c:v>
                </c:pt>
                <c:pt idx="5403">
                  <c:v>0</c:v>
                </c:pt>
                <c:pt idx="5404">
                  <c:v>0</c:v>
                </c:pt>
                <c:pt idx="5405">
                  <c:v>0</c:v>
                </c:pt>
                <c:pt idx="5406">
                  <c:v>0</c:v>
                </c:pt>
                <c:pt idx="5407">
                  <c:v>0</c:v>
                </c:pt>
                <c:pt idx="5408">
                  <c:v>0</c:v>
                </c:pt>
                <c:pt idx="5409">
                  <c:v>0</c:v>
                </c:pt>
                <c:pt idx="5410">
                  <c:v>0</c:v>
                </c:pt>
                <c:pt idx="5411">
                  <c:v>0</c:v>
                </c:pt>
                <c:pt idx="5412">
                  <c:v>0</c:v>
                </c:pt>
                <c:pt idx="5413">
                  <c:v>1</c:v>
                </c:pt>
                <c:pt idx="5414">
                  <c:v>1</c:v>
                </c:pt>
                <c:pt idx="5415">
                  <c:v>1</c:v>
                </c:pt>
                <c:pt idx="5416">
                  <c:v>1</c:v>
                </c:pt>
                <c:pt idx="5417">
                  <c:v>1</c:v>
                </c:pt>
                <c:pt idx="5418">
                  <c:v>1</c:v>
                </c:pt>
                <c:pt idx="5419">
                  <c:v>1</c:v>
                </c:pt>
                <c:pt idx="5420">
                  <c:v>1</c:v>
                </c:pt>
                <c:pt idx="5421">
                  <c:v>1</c:v>
                </c:pt>
                <c:pt idx="5422">
                  <c:v>1</c:v>
                </c:pt>
                <c:pt idx="5423">
                  <c:v>1</c:v>
                </c:pt>
                <c:pt idx="5424">
                  <c:v>1</c:v>
                </c:pt>
                <c:pt idx="5425">
                  <c:v>1</c:v>
                </c:pt>
                <c:pt idx="5426">
                  <c:v>1</c:v>
                </c:pt>
                <c:pt idx="5427">
                  <c:v>1</c:v>
                </c:pt>
                <c:pt idx="5428">
                  <c:v>1</c:v>
                </c:pt>
                <c:pt idx="5429">
                  <c:v>1</c:v>
                </c:pt>
                <c:pt idx="5430">
                  <c:v>1</c:v>
                </c:pt>
                <c:pt idx="5431">
                  <c:v>1</c:v>
                </c:pt>
                <c:pt idx="5432">
                  <c:v>1</c:v>
                </c:pt>
                <c:pt idx="5433">
                  <c:v>1</c:v>
                </c:pt>
                <c:pt idx="5434">
                  <c:v>1</c:v>
                </c:pt>
                <c:pt idx="5435">
                  <c:v>1</c:v>
                </c:pt>
                <c:pt idx="5436">
                  <c:v>1</c:v>
                </c:pt>
                <c:pt idx="5437">
                  <c:v>1</c:v>
                </c:pt>
                <c:pt idx="5438">
                  <c:v>1</c:v>
                </c:pt>
                <c:pt idx="5439">
                  <c:v>1</c:v>
                </c:pt>
                <c:pt idx="5440">
                  <c:v>1</c:v>
                </c:pt>
                <c:pt idx="5441">
                  <c:v>1</c:v>
                </c:pt>
                <c:pt idx="5442">
                  <c:v>1</c:v>
                </c:pt>
                <c:pt idx="5443">
                  <c:v>1</c:v>
                </c:pt>
                <c:pt idx="5444">
                  <c:v>1</c:v>
                </c:pt>
                <c:pt idx="5445">
                  <c:v>1</c:v>
                </c:pt>
                <c:pt idx="5446">
                  <c:v>1</c:v>
                </c:pt>
                <c:pt idx="5447">
                  <c:v>1</c:v>
                </c:pt>
                <c:pt idx="5448">
                  <c:v>1</c:v>
                </c:pt>
                <c:pt idx="5449">
                  <c:v>1</c:v>
                </c:pt>
                <c:pt idx="5450">
                  <c:v>1</c:v>
                </c:pt>
                <c:pt idx="5451">
                  <c:v>1</c:v>
                </c:pt>
                <c:pt idx="5452">
                  <c:v>1</c:v>
                </c:pt>
                <c:pt idx="5453">
                  <c:v>1</c:v>
                </c:pt>
                <c:pt idx="5454">
                  <c:v>1</c:v>
                </c:pt>
                <c:pt idx="5455">
                  <c:v>1</c:v>
                </c:pt>
                <c:pt idx="5456">
                  <c:v>1</c:v>
                </c:pt>
                <c:pt idx="5457">
                  <c:v>1</c:v>
                </c:pt>
                <c:pt idx="5458">
                  <c:v>1</c:v>
                </c:pt>
                <c:pt idx="5459">
                  <c:v>1</c:v>
                </c:pt>
                <c:pt idx="5460">
                  <c:v>1</c:v>
                </c:pt>
                <c:pt idx="5461">
                  <c:v>1</c:v>
                </c:pt>
                <c:pt idx="5462">
                  <c:v>1</c:v>
                </c:pt>
                <c:pt idx="5463">
                  <c:v>1</c:v>
                </c:pt>
                <c:pt idx="5464">
                  <c:v>1</c:v>
                </c:pt>
                <c:pt idx="5465">
                  <c:v>1</c:v>
                </c:pt>
                <c:pt idx="5466">
                  <c:v>1</c:v>
                </c:pt>
                <c:pt idx="5467">
                  <c:v>1</c:v>
                </c:pt>
                <c:pt idx="5468">
                  <c:v>1</c:v>
                </c:pt>
                <c:pt idx="5469">
                  <c:v>1</c:v>
                </c:pt>
                <c:pt idx="5470">
                  <c:v>1</c:v>
                </c:pt>
                <c:pt idx="5471">
                  <c:v>1</c:v>
                </c:pt>
                <c:pt idx="5472">
                  <c:v>1</c:v>
                </c:pt>
                <c:pt idx="5473">
                  <c:v>1</c:v>
                </c:pt>
                <c:pt idx="5474">
                  <c:v>1</c:v>
                </c:pt>
                <c:pt idx="5475">
                  <c:v>1</c:v>
                </c:pt>
                <c:pt idx="5476">
                  <c:v>1</c:v>
                </c:pt>
                <c:pt idx="5477">
                  <c:v>1</c:v>
                </c:pt>
                <c:pt idx="5478">
                  <c:v>0</c:v>
                </c:pt>
                <c:pt idx="5479">
                  <c:v>0</c:v>
                </c:pt>
                <c:pt idx="5480">
                  <c:v>0</c:v>
                </c:pt>
                <c:pt idx="5481">
                  <c:v>0</c:v>
                </c:pt>
                <c:pt idx="5482">
                  <c:v>0</c:v>
                </c:pt>
                <c:pt idx="5483">
                  <c:v>0</c:v>
                </c:pt>
                <c:pt idx="5484">
                  <c:v>0</c:v>
                </c:pt>
                <c:pt idx="5485">
                  <c:v>0</c:v>
                </c:pt>
                <c:pt idx="5486">
                  <c:v>0</c:v>
                </c:pt>
                <c:pt idx="5487">
                  <c:v>0</c:v>
                </c:pt>
                <c:pt idx="5488">
                  <c:v>0</c:v>
                </c:pt>
                <c:pt idx="5489">
                  <c:v>0</c:v>
                </c:pt>
                <c:pt idx="5490">
                  <c:v>0</c:v>
                </c:pt>
                <c:pt idx="5491">
                  <c:v>0</c:v>
                </c:pt>
                <c:pt idx="5492">
                  <c:v>0</c:v>
                </c:pt>
                <c:pt idx="5493">
                  <c:v>0</c:v>
                </c:pt>
                <c:pt idx="5494">
                  <c:v>0</c:v>
                </c:pt>
                <c:pt idx="5495">
                  <c:v>0</c:v>
                </c:pt>
                <c:pt idx="5496">
                  <c:v>0</c:v>
                </c:pt>
                <c:pt idx="5497">
                  <c:v>0</c:v>
                </c:pt>
                <c:pt idx="5498">
                  <c:v>0</c:v>
                </c:pt>
                <c:pt idx="5499">
                  <c:v>0</c:v>
                </c:pt>
                <c:pt idx="5500">
                  <c:v>0</c:v>
                </c:pt>
                <c:pt idx="5501">
                  <c:v>0</c:v>
                </c:pt>
                <c:pt idx="5502">
                  <c:v>0</c:v>
                </c:pt>
                <c:pt idx="5503">
                  <c:v>0</c:v>
                </c:pt>
                <c:pt idx="5504">
                  <c:v>0</c:v>
                </c:pt>
                <c:pt idx="5505">
                  <c:v>0</c:v>
                </c:pt>
                <c:pt idx="5506">
                  <c:v>0</c:v>
                </c:pt>
                <c:pt idx="5507">
                  <c:v>0</c:v>
                </c:pt>
                <c:pt idx="5508">
                  <c:v>0</c:v>
                </c:pt>
                <c:pt idx="5509">
                  <c:v>0</c:v>
                </c:pt>
                <c:pt idx="5510">
                  <c:v>0</c:v>
                </c:pt>
                <c:pt idx="5511">
                  <c:v>0</c:v>
                </c:pt>
                <c:pt idx="5512">
                  <c:v>0</c:v>
                </c:pt>
                <c:pt idx="5513">
                  <c:v>0</c:v>
                </c:pt>
                <c:pt idx="5514">
                  <c:v>0</c:v>
                </c:pt>
                <c:pt idx="5515">
                  <c:v>0</c:v>
                </c:pt>
                <c:pt idx="5516">
                  <c:v>0</c:v>
                </c:pt>
                <c:pt idx="5517">
                  <c:v>0</c:v>
                </c:pt>
                <c:pt idx="5518">
                  <c:v>0</c:v>
                </c:pt>
                <c:pt idx="5519">
                  <c:v>0</c:v>
                </c:pt>
                <c:pt idx="5520">
                  <c:v>0</c:v>
                </c:pt>
                <c:pt idx="5521">
                  <c:v>0</c:v>
                </c:pt>
                <c:pt idx="5522">
                  <c:v>0</c:v>
                </c:pt>
                <c:pt idx="5523">
                  <c:v>0</c:v>
                </c:pt>
                <c:pt idx="5524">
                  <c:v>0</c:v>
                </c:pt>
                <c:pt idx="5525">
                  <c:v>0</c:v>
                </c:pt>
                <c:pt idx="5526">
                  <c:v>0</c:v>
                </c:pt>
                <c:pt idx="5527">
                  <c:v>0</c:v>
                </c:pt>
                <c:pt idx="5528">
                  <c:v>0</c:v>
                </c:pt>
                <c:pt idx="5529">
                  <c:v>0</c:v>
                </c:pt>
                <c:pt idx="5530">
                  <c:v>0</c:v>
                </c:pt>
                <c:pt idx="5531">
                  <c:v>0</c:v>
                </c:pt>
                <c:pt idx="5532">
                  <c:v>0</c:v>
                </c:pt>
                <c:pt idx="5533">
                  <c:v>0</c:v>
                </c:pt>
                <c:pt idx="5534">
                  <c:v>0</c:v>
                </c:pt>
                <c:pt idx="5535">
                  <c:v>0</c:v>
                </c:pt>
                <c:pt idx="5536">
                  <c:v>0</c:v>
                </c:pt>
                <c:pt idx="5537">
                  <c:v>0</c:v>
                </c:pt>
                <c:pt idx="5538">
                  <c:v>0</c:v>
                </c:pt>
                <c:pt idx="5539">
                  <c:v>0</c:v>
                </c:pt>
                <c:pt idx="5540">
                  <c:v>0</c:v>
                </c:pt>
                <c:pt idx="5541">
                  <c:v>0</c:v>
                </c:pt>
                <c:pt idx="5542">
                  <c:v>0</c:v>
                </c:pt>
                <c:pt idx="5543">
                  <c:v>0</c:v>
                </c:pt>
                <c:pt idx="5544">
                  <c:v>0</c:v>
                </c:pt>
                <c:pt idx="5545">
                  <c:v>0</c:v>
                </c:pt>
                <c:pt idx="5546">
                  <c:v>0</c:v>
                </c:pt>
                <c:pt idx="5547">
                  <c:v>0</c:v>
                </c:pt>
                <c:pt idx="5548">
                  <c:v>0</c:v>
                </c:pt>
                <c:pt idx="5549">
                  <c:v>0</c:v>
                </c:pt>
                <c:pt idx="5550">
                  <c:v>0</c:v>
                </c:pt>
                <c:pt idx="5551">
                  <c:v>0</c:v>
                </c:pt>
                <c:pt idx="5552">
                  <c:v>0</c:v>
                </c:pt>
                <c:pt idx="5553">
                  <c:v>0</c:v>
                </c:pt>
                <c:pt idx="5554">
                  <c:v>0</c:v>
                </c:pt>
                <c:pt idx="5555">
                  <c:v>0</c:v>
                </c:pt>
                <c:pt idx="5556">
                  <c:v>0</c:v>
                </c:pt>
                <c:pt idx="5557">
                  <c:v>0</c:v>
                </c:pt>
                <c:pt idx="5558">
                  <c:v>0</c:v>
                </c:pt>
                <c:pt idx="5559">
                  <c:v>0</c:v>
                </c:pt>
                <c:pt idx="5560">
                  <c:v>0</c:v>
                </c:pt>
                <c:pt idx="5561">
                  <c:v>0</c:v>
                </c:pt>
                <c:pt idx="5562">
                  <c:v>0</c:v>
                </c:pt>
                <c:pt idx="5563">
                  <c:v>0</c:v>
                </c:pt>
                <c:pt idx="5564">
                  <c:v>0</c:v>
                </c:pt>
                <c:pt idx="5565">
                  <c:v>0</c:v>
                </c:pt>
                <c:pt idx="5566">
                  <c:v>0</c:v>
                </c:pt>
                <c:pt idx="5567">
                  <c:v>0</c:v>
                </c:pt>
                <c:pt idx="5568">
                  <c:v>0</c:v>
                </c:pt>
                <c:pt idx="5569">
                  <c:v>0</c:v>
                </c:pt>
                <c:pt idx="5570">
                  <c:v>0</c:v>
                </c:pt>
                <c:pt idx="5571">
                  <c:v>0</c:v>
                </c:pt>
                <c:pt idx="5572">
                  <c:v>0</c:v>
                </c:pt>
                <c:pt idx="5573">
                  <c:v>0</c:v>
                </c:pt>
                <c:pt idx="5574">
                  <c:v>0</c:v>
                </c:pt>
                <c:pt idx="5575">
                  <c:v>0</c:v>
                </c:pt>
                <c:pt idx="5576">
                  <c:v>0</c:v>
                </c:pt>
                <c:pt idx="5577">
                  <c:v>0</c:v>
                </c:pt>
                <c:pt idx="5578">
                  <c:v>0</c:v>
                </c:pt>
                <c:pt idx="5579">
                  <c:v>0</c:v>
                </c:pt>
                <c:pt idx="5580">
                  <c:v>0</c:v>
                </c:pt>
                <c:pt idx="5581">
                  <c:v>0</c:v>
                </c:pt>
                <c:pt idx="5582">
                  <c:v>0</c:v>
                </c:pt>
                <c:pt idx="5583">
                  <c:v>0</c:v>
                </c:pt>
                <c:pt idx="5584">
                  <c:v>0</c:v>
                </c:pt>
                <c:pt idx="5585">
                  <c:v>0</c:v>
                </c:pt>
                <c:pt idx="5586">
                  <c:v>0</c:v>
                </c:pt>
                <c:pt idx="5587">
                  <c:v>0</c:v>
                </c:pt>
                <c:pt idx="5588">
                  <c:v>0</c:v>
                </c:pt>
                <c:pt idx="5589">
                  <c:v>0</c:v>
                </c:pt>
                <c:pt idx="5590">
                  <c:v>0</c:v>
                </c:pt>
                <c:pt idx="5591">
                  <c:v>0</c:v>
                </c:pt>
                <c:pt idx="5592">
                  <c:v>0</c:v>
                </c:pt>
                <c:pt idx="5593">
                  <c:v>0</c:v>
                </c:pt>
                <c:pt idx="5594">
                  <c:v>0</c:v>
                </c:pt>
                <c:pt idx="5595">
                  <c:v>0</c:v>
                </c:pt>
                <c:pt idx="5596">
                  <c:v>0</c:v>
                </c:pt>
                <c:pt idx="5597">
                  <c:v>0</c:v>
                </c:pt>
                <c:pt idx="5598">
                  <c:v>0</c:v>
                </c:pt>
                <c:pt idx="5599">
                  <c:v>0</c:v>
                </c:pt>
                <c:pt idx="5600">
                  <c:v>0</c:v>
                </c:pt>
                <c:pt idx="5601">
                  <c:v>0</c:v>
                </c:pt>
                <c:pt idx="5602">
                  <c:v>0</c:v>
                </c:pt>
                <c:pt idx="5603">
                  <c:v>0</c:v>
                </c:pt>
                <c:pt idx="5604">
                  <c:v>0</c:v>
                </c:pt>
                <c:pt idx="5605">
                  <c:v>0</c:v>
                </c:pt>
                <c:pt idx="5606">
                  <c:v>0</c:v>
                </c:pt>
                <c:pt idx="5607">
                  <c:v>0</c:v>
                </c:pt>
                <c:pt idx="5608">
                  <c:v>0</c:v>
                </c:pt>
                <c:pt idx="5609">
                  <c:v>0</c:v>
                </c:pt>
                <c:pt idx="5610">
                  <c:v>0</c:v>
                </c:pt>
                <c:pt idx="5611">
                  <c:v>0</c:v>
                </c:pt>
                <c:pt idx="5612">
                  <c:v>0</c:v>
                </c:pt>
                <c:pt idx="5613">
                  <c:v>0</c:v>
                </c:pt>
                <c:pt idx="5614">
                  <c:v>0</c:v>
                </c:pt>
                <c:pt idx="5615">
                  <c:v>0</c:v>
                </c:pt>
                <c:pt idx="5616">
                  <c:v>0</c:v>
                </c:pt>
                <c:pt idx="5617">
                  <c:v>0</c:v>
                </c:pt>
                <c:pt idx="5618">
                  <c:v>0</c:v>
                </c:pt>
                <c:pt idx="5619">
                  <c:v>0</c:v>
                </c:pt>
                <c:pt idx="5620">
                  <c:v>0</c:v>
                </c:pt>
                <c:pt idx="5621">
                  <c:v>0</c:v>
                </c:pt>
                <c:pt idx="5622">
                  <c:v>0</c:v>
                </c:pt>
                <c:pt idx="5623">
                  <c:v>0</c:v>
                </c:pt>
                <c:pt idx="5624">
                  <c:v>0</c:v>
                </c:pt>
                <c:pt idx="5625">
                  <c:v>0</c:v>
                </c:pt>
                <c:pt idx="5626">
                  <c:v>0</c:v>
                </c:pt>
                <c:pt idx="5627">
                  <c:v>0</c:v>
                </c:pt>
                <c:pt idx="5628">
                  <c:v>0</c:v>
                </c:pt>
                <c:pt idx="5629">
                  <c:v>0</c:v>
                </c:pt>
                <c:pt idx="5630">
                  <c:v>0</c:v>
                </c:pt>
                <c:pt idx="5631">
                  <c:v>0</c:v>
                </c:pt>
                <c:pt idx="5632">
                  <c:v>0</c:v>
                </c:pt>
                <c:pt idx="5633">
                  <c:v>0</c:v>
                </c:pt>
                <c:pt idx="5634">
                  <c:v>0</c:v>
                </c:pt>
                <c:pt idx="5635">
                  <c:v>0</c:v>
                </c:pt>
                <c:pt idx="5636">
                  <c:v>0</c:v>
                </c:pt>
                <c:pt idx="5637">
                  <c:v>0</c:v>
                </c:pt>
                <c:pt idx="5638">
                  <c:v>0</c:v>
                </c:pt>
                <c:pt idx="5639">
                  <c:v>0</c:v>
                </c:pt>
                <c:pt idx="5640">
                  <c:v>0</c:v>
                </c:pt>
                <c:pt idx="5641">
                  <c:v>0</c:v>
                </c:pt>
                <c:pt idx="5642">
                  <c:v>0</c:v>
                </c:pt>
                <c:pt idx="5643">
                  <c:v>0</c:v>
                </c:pt>
                <c:pt idx="5644">
                  <c:v>0</c:v>
                </c:pt>
                <c:pt idx="5645">
                  <c:v>0</c:v>
                </c:pt>
                <c:pt idx="5646">
                  <c:v>0</c:v>
                </c:pt>
                <c:pt idx="5647">
                  <c:v>0</c:v>
                </c:pt>
                <c:pt idx="5648">
                  <c:v>0</c:v>
                </c:pt>
                <c:pt idx="5649">
                  <c:v>0</c:v>
                </c:pt>
                <c:pt idx="5650">
                  <c:v>0</c:v>
                </c:pt>
                <c:pt idx="5651">
                  <c:v>0</c:v>
                </c:pt>
                <c:pt idx="5652">
                  <c:v>0</c:v>
                </c:pt>
                <c:pt idx="5653">
                  <c:v>0</c:v>
                </c:pt>
                <c:pt idx="5654">
                  <c:v>0</c:v>
                </c:pt>
                <c:pt idx="5655">
                  <c:v>0</c:v>
                </c:pt>
                <c:pt idx="5656">
                  <c:v>0</c:v>
                </c:pt>
                <c:pt idx="5657">
                  <c:v>0</c:v>
                </c:pt>
                <c:pt idx="5658">
                  <c:v>0</c:v>
                </c:pt>
                <c:pt idx="5659">
                  <c:v>0</c:v>
                </c:pt>
                <c:pt idx="5660">
                  <c:v>0</c:v>
                </c:pt>
                <c:pt idx="5661">
                  <c:v>0</c:v>
                </c:pt>
                <c:pt idx="5662">
                  <c:v>0</c:v>
                </c:pt>
                <c:pt idx="5663">
                  <c:v>0</c:v>
                </c:pt>
                <c:pt idx="5664">
                  <c:v>0</c:v>
                </c:pt>
                <c:pt idx="5665">
                  <c:v>0</c:v>
                </c:pt>
                <c:pt idx="5666">
                  <c:v>0</c:v>
                </c:pt>
                <c:pt idx="5667">
                  <c:v>0</c:v>
                </c:pt>
                <c:pt idx="5668">
                  <c:v>0</c:v>
                </c:pt>
                <c:pt idx="5669">
                  <c:v>0</c:v>
                </c:pt>
                <c:pt idx="5670">
                  <c:v>0</c:v>
                </c:pt>
                <c:pt idx="5671">
                  <c:v>0</c:v>
                </c:pt>
                <c:pt idx="5672">
                  <c:v>0</c:v>
                </c:pt>
                <c:pt idx="5673">
                  <c:v>0</c:v>
                </c:pt>
                <c:pt idx="5674">
                  <c:v>0</c:v>
                </c:pt>
                <c:pt idx="5675">
                  <c:v>0</c:v>
                </c:pt>
                <c:pt idx="5676">
                  <c:v>0</c:v>
                </c:pt>
                <c:pt idx="5677">
                  <c:v>0</c:v>
                </c:pt>
                <c:pt idx="5678">
                  <c:v>0</c:v>
                </c:pt>
                <c:pt idx="5679">
                  <c:v>0</c:v>
                </c:pt>
                <c:pt idx="5680">
                  <c:v>0</c:v>
                </c:pt>
                <c:pt idx="5681">
                  <c:v>0</c:v>
                </c:pt>
                <c:pt idx="5682">
                  <c:v>0</c:v>
                </c:pt>
                <c:pt idx="5683">
                  <c:v>0</c:v>
                </c:pt>
                <c:pt idx="5684">
                  <c:v>0</c:v>
                </c:pt>
                <c:pt idx="5685">
                  <c:v>0</c:v>
                </c:pt>
                <c:pt idx="5686">
                  <c:v>0</c:v>
                </c:pt>
                <c:pt idx="5687">
                  <c:v>0</c:v>
                </c:pt>
                <c:pt idx="5688">
                  <c:v>0</c:v>
                </c:pt>
                <c:pt idx="5689">
                  <c:v>0</c:v>
                </c:pt>
                <c:pt idx="5690">
                  <c:v>0</c:v>
                </c:pt>
                <c:pt idx="5691">
                  <c:v>0</c:v>
                </c:pt>
                <c:pt idx="5692">
                  <c:v>0</c:v>
                </c:pt>
                <c:pt idx="5693">
                  <c:v>0</c:v>
                </c:pt>
                <c:pt idx="5694">
                  <c:v>0</c:v>
                </c:pt>
                <c:pt idx="5695">
                  <c:v>0</c:v>
                </c:pt>
                <c:pt idx="5696">
                  <c:v>0</c:v>
                </c:pt>
                <c:pt idx="5697">
                  <c:v>0</c:v>
                </c:pt>
                <c:pt idx="5698">
                  <c:v>0</c:v>
                </c:pt>
                <c:pt idx="5699">
                  <c:v>0</c:v>
                </c:pt>
                <c:pt idx="5700">
                  <c:v>0</c:v>
                </c:pt>
                <c:pt idx="5701">
                  <c:v>0</c:v>
                </c:pt>
                <c:pt idx="5702">
                  <c:v>0</c:v>
                </c:pt>
                <c:pt idx="5703">
                  <c:v>0</c:v>
                </c:pt>
                <c:pt idx="5704">
                  <c:v>0</c:v>
                </c:pt>
                <c:pt idx="5705">
                  <c:v>0</c:v>
                </c:pt>
                <c:pt idx="5706">
                  <c:v>0</c:v>
                </c:pt>
                <c:pt idx="5707">
                  <c:v>0</c:v>
                </c:pt>
                <c:pt idx="5708">
                  <c:v>0</c:v>
                </c:pt>
                <c:pt idx="5709">
                  <c:v>0</c:v>
                </c:pt>
                <c:pt idx="5710">
                  <c:v>0</c:v>
                </c:pt>
                <c:pt idx="5711">
                  <c:v>0</c:v>
                </c:pt>
                <c:pt idx="5712">
                  <c:v>0</c:v>
                </c:pt>
                <c:pt idx="5713">
                  <c:v>0</c:v>
                </c:pt>
                <c:pt idx="5714">
                  <c:v>0</c:v>
                </c:pt>
                <c:pt idx="5715">
                  <c:v>0</c:v>
                </c:pt>
                <c:pt idx="5716">
                  <c:v>0</c:v>
                </c:pt>
                <c:pt idx="5717">
                  <c:v>0</c:v>
                </c:pt>
                <c:pt idx="5718">
                  <c:v>0</c:v>
                </c:pt>
                <c:pt idx="5719">
                  <c:v>0</c:v>
                </c:pt>
                <c:pt idx="5720">
                  <c:v>0</c:v>
                </c:pt>
                <c:pt idx="5721">
                  <c:v>0</c:v>
                </c:pt>
                <c:pt idx="5722">
                  <c:v>0</c:v>
                </c:pt>
                <c:pt idx="5723">
                  <c:v>0</c:v>
                </c:pt>
                <c:pt idx="5724">
                  <c:v>0</c:v>
                </c:pt>
                <c:pt idx="5725">
                  <c:v>0</c:v>
                </c:pt>
                <c:pt idx="5726">
                  <c:v>0</c:v>
                </c:pt>
                <c:pt idx="5727">
                  <c:v>0</c:v>
                </c:pt>
                <c:pt idx="5728">
                  <c:v>0</c:v>
                </c:pt>
                <c:pt idx="5729">
                  <c:v>0</c:v>
                </c:pt>
                <c:pt idx="5730">
                  <c:v>0</c:v>
                </c:pt>
                <c:pt idx="5731">
                  <c:v>0</c:v>
                </c:pt>
                <c:pt idx="5732">
                  <c:v>0</c:v>
                </c:pt>
                <c:pt idx="5733">
                  <c:v>0</c:v>
                </c:pt>
                <c:pt idx="5734">
                  <c:v>0</c:v>
                </c:pt>
                <c:pt idx="5735">
                  <c:v>0</c:v>
                </c:pt>
                <c:pt idx="5736">
                  <c:v>0</c:v>
                </c:pt>
                <c:pt idx="5737">
                  <c:v>0</c:v>
                </c:pt>
                <c:pt idx="5738">
                  <c:v>0</c:v>
                </c:pt>
                <c:pt idx="5739">
                  <c:v>0</c:v>
                </c:pt>
                <c:pt idx="5740">
                  <c:v>0</c:v>
                </c:pt>
                <c:pt idx="5741">
                  <c:v>0</c:v>
                </c:pt>
                <c:pt idx="5742">
                  <c:v>0</c:v>
                </c:pt>
                <c:pt idx="5743">
                  <c:v>0</c:v>
                </c:pt>
                <c:pt idx="5744">
                  <c:v>0</c:v>
                </c:pt>
                <c:pt idx="5745">
                  <c:v>0</c:v>
                </c:pt>
                <c:pt idx="5746">
                  <c:v>0</c:v>
                </c:pt>
                <c:pt idx="5747">
                  <c:v>0</c:v>
                </c:pt>
                <c:pt idx="5748">
                  <c:v>0</c:v>
                </c:pt>
                <c:pt idx="5749">
                  <c:v>0</c:v>
                </c:pt>
                <c:pt idx="5750">
                  <c:v>0</c:v>
                </c:pt>
                <c:pt idx="5751">
                  <c:v>0</c:v>
                </c:pt>
                <c:pt idx="5752">
                  <c:v>0</c:v>
                </c:pt>
                <c:pt idx="5753">
                  <c:v>0</c:v>
                </c:pt>
                <c:pt idx="5754">
                  <c:v>0</c:v>
                </c:pt>
                <c:pt idx="5755">
                  <c:v>0</c:v>
                </c:pt>
                <c:pt idx="5756">
                  <c:v>0</c:v>
                </c:pt>
                <c:pt idx="5757">
                  <c:v>0</c:v>
                </c:pt>
                <c:pt idx="5758">
                  <c:v>0</c:v>
                </c:pt>
                <c:pt idx="5759">
                  <c:v>0</c:v>
                </c:pt>
                <c:pt idx="5760">
                  <c:v>0</c:v>
                </c:pt>
                <c:pt idx="5761">
                  <c:v>0</c:v>
                </c:pt>
                <c:pt idx="5762">
                  <c:v>0</c:v>
                </c:pt>
                <c:pt idx="5763">
                  <c:v>0</c:v>
                </c:pt>
                <c:pt idx="5764">
                  <c:v>0</c:v>
                </c:pt>
                <c:pt idx="5765">
                  <c:v>0</c:v>
                </c:pt>
                <c:pt idx="5766">
                  <c:v>0</c:v>
                </c:pt>
                <c:pt idx="5767">
                  <c:v>0</c:v>
                </c:pt>
                <c:pt idx="5768">
                  <c:v>0</c:v>
                </c:pt>
                <c:pt idx="5769">
                  <c:v>0</c:v>
                </c:pt>
                <c:pt idx="5770">
                  <c:v>0</c:v>
                </c:pt>
                <c:pt idx="5771">
                  <c:v>0</c:v>
                </c:pt>
                <c:pt idx="5772">
                  <c:v>0</c:v>
                </c:pt>
                <c:pt idx="5773">
                  <c:v>0</c:v>
                </c:pt>
                <c:pt idx="5774">
                  <c:v>0</c:v>
                </c:pt>
                <c:pt idx="5775">
                  <c:v>0</c:v>
                </c:pt>
                <c:pt idx="5776">
                  <c:v>0</c:v>
                </c:pt>
                <c:pt idx="5777">
                  <c:v>0</c:v>
                </c:pt>
                <c:pt idx="5778">
                  <c:v>0</c:v>
                </c:pt>
                <c:pt idx="5779">
                  <c:v>0</c:v>
                </c:pt>
                <c:pt idx="5780">
                  <c:v>0</c:v>
                </c:pt>
                <c:pt idx="5781">
                  <c:v>0</c:v>
                </c:pt>
                <c:pt idx="5782">
                  <c:v>0</c:v>
                </c:pt>
                <c:pt idx="5783">
                  <c:v>0</c:v>
                </c:pt>
                <c:pt idx="5784">
                  <c:v>0</c:v>
                </c:pt>
                <c:pt idx="5785">
                  <c:v>0</c:v>
                </c:pt>
                <c:pt idx="5786">
                  <c:v>0</c:v>
                </c:pt>
                <c:pt idx="5787">
                  <c:v>0</c:v>
                </c:pt>
                <c:pt idx="5788">
                  <c:v>0</c:v>
                </c:pt>
                <c:pt idx="5789">
                  <c:v>0</c:v>
                </c:pt>
                <c:pt idx="5790">
                  <c:v>0</c:v>
                </c:pt>
                <c:pt idx="5791">
                  <c:v>0</c:v>
                </c:pt>
                <c:pt idx="5792">
                  <c:v>0</c:v>
                </c:pt>
                <c:pt idx="5793">
                  <c:v>0</c:v>
                </c:pt>
                <c:pt idx="5794">
                  <c:v>0</c:v>
                </c:pt>
                <c:pt idx="5795">
                  <c:v>0</c:v>
                </c:pt>
                <c:pt idx="5796">
                  <c:v>0</c:v>
                </c:pt>
                <c:pt idx="5797">
                  <c:v>0</c:v>
                </c:pt>
                <c:pt idx="5798">
                  <c:v>0</c:v>
                </c:pt>
                <c:pt idx="5799">
                  <c:v>0</c:v>
                </c:pt>
                <c:pt idx="5800">
                  <c:v>0</c:v>
                </c:pt>
                <c:pt idx="5801">
                  <c:v>0</c:v>
                </c:pt>
                <c:pt idx="5802">
                  <c:v>0</c:v>
                </c:pt>
                <c:pt idx="5803">
                  <c:v>0</c:v>
                </c:pt>
                <c:pt idx="5804">
                  <c:v>0</c:v>
                </c:pt>
                <c:pt idx="5805">
                  <c:v>0</c:v>
                </c:pt>
                <c:pt idx="5806">
                  <c:v>0</c:v>
                </c:pt>
                <c:pt idx="5807">
                  <c:v>0</c:v>
                </c:pt>
                <c:pt idx="5808">
                  <c:v>0</c:v>
                </c:pt>
                <c:pt idx="5809">
                  <c:v>0</c:v>
                </c:pt>
                <c:pt idx="5810">
                  <c:v>0</c:v>
                </c:pt>
                <c:pt idx="5811">
                  <c:v>0</c:v>
                </c:pt>
                <c:pt idx="5812">
                  <c:v>0</c:v>
                </c:pt>
                <c:pt idx="5813">
                  <c:v>0</c:v>
                </c:pt>
                <c:pt idx="5814">
                  <c:v>0</c:v>
                </c:pt>
                <c:pt idx="5815">
                  <c:v>0</c:v>
                </c:pt>
                <c:pt idx="5816">
                  <c:v>0</c:v>
                </c:pt>
                <c:pt idx="5817">
                  <c:v>0</c:v>
                </c:pt>
                <c:pt idx="5818">
                  <c:v>0</c:v>
                </c:pt>
                <c:pt idx="5819">
                  <c:v>0</c:v>
                </c:pt>
                <c:pt idx="5820">
                  <c:v>0</c:v>
                </c:pt>
                <c:pt idx="5821">
                  <c:v>0</c:v>
                </c:pt>
                <c:pt idx="5822">
                  <c:v>0</c:v>
                </c:pt>
                <c:pt idx="5823">
                  <c:v>0</c:v>
                </c:pt>
                <c:pt idx="5824">
                  <c:v>0</c:v>
                </c:pt>
                <c:pt idx="5825">
                  <c:v>0</c:v>
                </c:pt>
                <c:pt idx="5826">
                  <c:v>0</c:v>
                </c:pt>
                <c:pt idx="5827">
                  <c:v>0</c:v>
                </c:pt>
                <c:pt idx="5828">
                  <c:v>0</c:v>
                </c:pt>
                <c:pt idx="5829">
                  <c:v>0</c:v>
                </c:pt>
                <c:pt idx="5830">
                  <c:v>0</c:v>
                </c:pt>
                <c:pt idx="5831">
                  <c:v>0</c:v>
                </c:pt>
                <c:pt idx="5832">
                  <c:v>0</c:v>
                </c:pt>
                <c:pt idx="5833">
                  <c:v>0</c:v>
                </c:pt>
                <c:pt idx="5834">
                  <c:v>0</c:v>
                </c:pt>
                <c:pt idx="5835">
                  <c:v>0</c:v>
                </c:pt>
                <c:pt idx="5836">
                  <c:v>0</c:v>
                </c:pt>
                <c:pt idx="5837">
                  <c:v>0</c:v>
                </c:pt>
                <c:pt idx="5838">
                  <c:v>0</c:v>
                </c:pt>
                <c:pt idx="5839">
                  <c:v>0</c:v>
                </c:pt>
                <c:pt idx="5840">
                  <c:v>0</c:v>
                </c:pt>
                <c:pt idx="5841">
                  <c:v>0</c:v>
                </c:pt>
                <c:pt idx="5842">
                  <c:v>0</c:v>
                </c:pt>
                <c:pt idx="5843">
                  <c:v>0</c:v>
                </c:pt>
                <c:pt idx="5844">
                  <c:v>0</c:v>
                </c:pt>
                <c:pt idx="5845">
                  <c:v>0</c:v>
                </c:pt>
                <c:pt idx="5846">
                  <c:v>0</c:v>
                </c:pt>
                <c:pt idx="5847">
                  <c:v>0</c:v>
                </c:pt>
                <c:pt idx="5848">
                  <c:v>0</c:v>
                </c:pt>
                <c:pt idx="5849">
                  <c:v>0</c:v>
                </c:pt>
                <c:pt idx="5850">
                  <c:v>0</c:v>
                </c:pt>
                <c:pt idx="5851">
                  <c:v>0</c:v>
                </c:pt>
                <c:pt idx="5852">
                  <c:v>0</c:v>
                </c:pt>
                <c:pt idx="5853">
                  <c:v>0</c:v>
                </c:pt>
                <c:pt idx="5854">
                  <c:v>0</c:v>
                </c:pt>
                <c:pt idx="5855">
                  <c:v>0</c:v>
                </c:pt>
                <c:pt idx="5856">
                  <c:v>0</c:v>
                </c:pt>
                <c:pt idx="5857">
                  <c:v>0</c:v>
                </c:pt>
                <c:pt idx="5858">
                  <c:v>0</c:v>
                </c:pt>
                <c:pt idx="5859">
                  <c:v>0</c:v>
                </c:pt>
                <c:pt idx="5860">
                  <c:v>0</c:v>
                </c:pt>
                <c:pt idx="5861">
                  <c:v>0</c:v>
                </c:pt>
                <c:pt idx="5862">
                  <c:v>0</c:v>
                </c:pt>
                <c:pt idx="5863">
                  <c:v>0</c:v>
                </c:pt>
                <c:pt idx="5864">
                  <c:v>0</c:v>
                </c:pt>
                <c:pt idx="5865">
                  <c:v>0</c:v>
                </c:pt>
                <c:pt idx="5866">
                  <c:v>0</c:v>
                </c:pt>
                <c:pt idx="5867">
                  <c:v>0</c:v>
                </c:pt>
                <c:pt idx="5868">
                  <c:v>0</c:v>
                </c:pt>
                <c:pt idx="5869">
                  <c:v>0</c:v>
                </c:pt>
                <c:pt idx="5870">
                  <c:v>0</c:v>
                </c:pt>
                <c:pt idx="5871">
                  <c:v>0</c:v>
                </c:pt>
                <c:pt idx="5872">
                  <c:v>0</c:v>
                </c:pt>
                <c:pt idx="5873">
                  <c:v>0</c:v>
                </c:pt>
                <c:pt idx="5874">
                  <c:v>0</c:v>
                </c:pt>
                <c:pt idx="5875">
                  <c:v>0</c:v>
                </c:pt>
                <c:pt idx="5876">
                  <c:v>0</c:v>
                </c:pt>
                <c:pt idx="5877">
                  <c:v>0</c:v>
                </c:pt>
                <c:pt idx="5878">
                  <c:v>0</c:v>
                </c:pt>
                <c:pt idx="5879">
                  <c:v>0</c:v>
                </c:pt>
                <c:pt idx="5880">
                  <c:v>0</c:v>
                </c:pt>
                <c:pt idx="5881">
                  <c:v>0</c:v>
                </c:pt>
                <c:pt idx="5882">
                  <c:v>0</c:v>
                </c:pt>
                <c:pt idx="5883">
                  <c:v>0</c:v>
                </c:pt>
                <c:pt idx="5884">
                  <c:v>0</c:v>
                </c:pt>
                <c:pt idx="5885">
                  <c:v>0</c:v>
                </c:pt>
                <c:pt idx="5886">
                  <c:v>0</c:v>
                </c:pt>
                <c:pt idx="5887">
                  <c:v>0</c:v>
                </c:pt>
                <c:pt idx="5888">
                  <c:v>0</c:v>
                </c:pt>
                <c:pt idx="5889">
                  <c:v>0</c:v>
                </c:pt>
                <c:pt idx="5890">
                  <c:v>0</c:v>
                </c:pt>
                <c:pt idx="5891">
                  <c:v>0</c:v>
                </c:pt>
                <c:pt idx="5892">
                  <c:v>0</c:v>
                </c:pt>
                <c:pt idx="5893">
                  <c:v>0</c:v>
                </c:pt>
                <c:pt idx="5894">
                  <c:v>0</c:v>
                </c:pt>
                <c:pt idx="5895">
                  <c:v>0</c:v>
                </c:pt>
                <c:pt idx="5896">
                  <c:v>0</c:v>
                </c:pt>
                <c:pt idx="5897">
                  <c:v>0</c:v>
                </c:pt>
                <c:pt idx="5898">
                  <c:v>0</c:v>
                </c:pt>
                <c:pt idx="5899">
                  <c:v>0</c:v>
                </c:pt>
                <c:pt idx="5900">
                  <c:v>0</c:v>
                </c:pt>
                <c:pt idx="5901">
                  <c:v>0</c:v>
                </c:pt>
                <c:pt idx="5902">
                  <c:v>0</c:v>
                </c:pt>
                <c:pt idx="5903">
                  <c:v>0</c:v>
                </c:pt>
                <c:pt idx="5904">
                  <c:v>0</c:v>
                </c:pt>
                <c:pt idx="5905">
                  <c:v>0</c:v>
                </c:pt>
                <c:pt idx="5906">
                  <c:v>0</c:v>
                </c:pt>
                <c:pt idx="5907">
                  <c:v>0</c:v>
                </c:pt>
                <c:pt idx="5908">
                  <c:v>0</c:v>
                </c:pt>
                <c:pt idx="5909">
                  <c:v>0</c:v>
                </c:pt>
                <c:pt idx="5910">
                  <c:v>0</c:v>
                </c:pt>
                <c:pt idx="5911">
                  <c:v>0</c:v>
                </c:pt>
                <c:pt idx="5912">
                  <c:v>0</c:v>
                </c:pt>
                <c:pt idx="5913">
                  <c:v>0</c:v>
                </c:pt>
                <c:pt idx="5914">
                  <c:v>0</c:v>
                </c:pt>
                <c:pt idx="5915">
                  <c:v>0</c:v>
                </c:pt>
                <c:pt idx="5916">
                  <c:v>0</c:v>
                </c:pt>
                <c:pt idx="5917">
                  <c:v>0</c:v>
                </c:pt>
                <c:pt idx="5918">
                  <c:v>0</c:v>
                </c:pt>
                <c:pt idx="5919">
                  <c:v>0</c:v>
                </c:pt>
                <c:pt idx="5920">
                  <c:v>0</c:v>
                </c:pt>
                <c:pt idx="5921">
                  <c:v>0</c:v>
                </c:pt>
                <c:pt idx="5922">
                  <c:v>0</c:v>
                </c:pt>
                <c:pt idx="5923">
                  <c:v>0</c:v>
                </c:pt>
                <c:pt idx="5924">
                  <c:v>0</c:v>
                </c:pt>
                <c:pt idx="5925">
                  <c:v>0</c:v>
                </c:pt>
                <c:pt idx="5926">
                  <c:v>0</c:v>
                </c:pt>
                <c:pt idx="5927">
                  <c:v>0</c:v>
                </c:pt>
                <c:pt idx="5928">
                  <c:v>0</c:v>
                </c:pt>
                <c:pt idx="5929">
                  <c:v>0</c:v>
                </c:pt>
                <c:pt idx="5930">
                  <c:v>0</c:v>
                </c:pt>
                <c:pt idx="5931">
                  <c:v>0</c:v>
                </c:pt>
                <c:pt idx="5932">
                  <c:v>0</c:v>
                </c:pt>
                <c:pt idx="5933">
                  <c:v>0</c:v>
                </c:pt>
                <c:pt idx="5934">
                  <c:v>0</c:v>
                </c:pt>
                <c:pt idx="5935">
                  <c:v>0</c:v>
                </c:pt>
                <c:pt idx="5936">
                  <c:v>0</c:v>
                </c:pt>
                <c:pt idx="5937">
                  <c:v>0</c:v>
                </c:pt>
                <c:pt idx="5938">
                  <c:v>0</c:v>
                </c:pt>
                <c:pt idx="5939">
                  <c:v>0</c:v>
                </c:pt>
                <c:pt idx="5940">
                  <c:v>0</c:v>
                </c:pt>
                <c:pt idx="5941">
                  <c:v>0</c:v>
                </c:pt>
                <c:pt idx="5942">
                  <c:v>0</c:v>
                </c:pt>
                <c:pt idx="5943">
                  <c:v>0</c:v>
                </c:pt>
                <c:pt idx="5944">
                  <c:v>0</c:v>
                </c:pt>
                <c:pt idx="5945">
                  <c:v>0</c:v>
                </c:pt>
                <c:pt idx="5946">
                  <c:v>0</c:v>
                </c:pt>
                <c:pt idx="5947">
                  <c:v>0</c:v>
                </c:pt>
                <c:pt idx="5948">
                  <c:v>0</c:v>
                </c:pt>
                <c:pt idx="5949">
                  <c:v>0</c:v>
                </c:pt>
                <c:pt idx="5950">
                  <c:v>0</c:v>
                </c:pt>
                <c:pt idx="5951">
                  <c:v>0</c:v>
                </c:pt>
                <c:pt idx="5952">
                  <c:v>0</c:v>
                </c:pt>
                <c:pt idx="5953">
                  <c:v>0</c:v>
                </c:pt>
                <c:pt idx="5954">
                  <c:v>0</c:v>
                </c:pt>
                <c:pt idx="5955">
                  <c:v>0</c:v>
                </c:pt>
                <c:pt idx="5956">
                  <c:v>0</c:v>
                </c:pt>
                <c:pt idx="5957">
                  <c:v>0</c:v>
                </c:pt>
                <c:pt idx="5958">
                  <c:v>0</c:v>
                </c:pt>
                <c:pt idx="5959">
                  <c:v>0</c:v>
                </c:pt>
                <c:pt idx="5960">
                  <c:v>0</c:v>
                </c:pt>
                <c:pt idx="5961">
                  <c:v>0</c:v>
                </c:pt>
                <c:pt idx="5962">
                  <c:v>0</c:v>
                </c:pt>
                <c:pt idx="5963">
                  <c:v>0</c:v>
                </c:pt>
                <c:pt idx="5964">
                  <c:v>0</c:v>
                </c:pt>
                <c:pt idx="5965">
                  <c:v>0</c:v>
                </c:pt>
                <c:pt idx="5966">
                  <c:v>0</c:v>
                </c:pt>
                <c:pt idx="5967">
                  <c:v>0</c:v>
                </c:pt>
                <c:pt idx="5968">
                  <c:v>0</c:v>
                </c:pt>
                <c:pt idx="5969">
                  <c:v>0</c:v>
                </c:pt>
                <c:pt idx="5970">
                  <c:v>0</c:v>
                </c:pt>
                <c:pt idx="5971">
                  <c:v>0</c:v>
                </c:pt>
                <c:pt idx="5972">
                  <c:v>0</c:v>
                </c:pt>
                <c:pt idx="5973">
                  <c:v>0</c:v>
                </c:pt>
                <c:pt idx="5974">
                  <c:v>0</c:v>
                </c:pt>
                <c:pt idx="5975">
                  <c:v>0</c:v>
                </c:pt>
                <c:pt idx="5976">
                  <c:v>0</c:v>
                </c:pt>
                <c:pt idx="5977">
                  <c:v>0</c:v>
                </c:pt>
                <c:pt idx="5978">
                  <c:v>0</c:v>
                </c:pt>
                <c:pt idx="5979">
                  <c:v>0</c:v>
                </c:pt>
                <c:pt idx="5980">
                  <c:v>0</c:v>
                </c:pt>
                <c:pt idx="5981">
                  <c:v>0</c:v>
                </c:pt>
                <c:pt idx="5982">
                  <c:v>0</c:v>
                </c:pt>
                <c:pt idx="5983">
                  <c:v>0</c:v>
                </c:pt>
                <c:pt idx="5984">
                  <c:v>0</c:v>
                </c:pt>
                <c:pt idx="5985">
                  <c:v>0</c:v>
                </c:pt>
                <c:pt idx="5986">
                  <c:v>0</c:v>
                </c:pt>
                <c:pt idx="5987">
                  <c:v>0</c:v>
                </c:pt>
                <c:pt idx="5988">
                  <c:v>0</c:v>
                </c:pt>
                <c:pt idx="5989">
                  <c:v>0</c:v>
                </c:pt>
                <c:pt idx="5990">
                  <c:v>0</c:v>
                </c:pt>
                <c:pt idx="5991">
                  <c:v>0</c:v>
                </c:pt>
                <c:pt idx="5992">
                  <c:v>0</c:v>
                </c:pt>
                <c:pt idx="5993">
                  <c:v>0</c:v>
                </c:pt>
                <c:pt idx="5994">
                  <c:v>0</c:v>
                </c:pt>
                <c:pt idx="5995">
                  <c:v>0</c:v>
                </c:pt>
                <c:pt idx="5996">
                  <c:v>0</c:v>
                </c:pt>
                <c:pt idx="5997">
                  <c:v>0</c:v>
                </c:pt>
                <c:pt idx="5998">
                  <c:v>0</c:v>
                </c:pt>
                <c:pt idx="5999">
                  <c:v>0</c:v>
                </c:pt>
                <c:pt idx="6000">
                  <c:v>0</c:v>
                </c:pt>
                <c:pt idx="6001">
                  <c:v>0</c:v>
                </c:pt>
                <c:pt idx="6002">
                  <c:v>0</c:v>
                </c:pt>
                <c:pt idx="6003">
                  <c:v>0</c:v>
                </c:pt>
                <c:pt idx="6004">
                  <c:v>0</c:v>
                </c:pt>
                <c:pt idx="6005">
                  <c:v>0</c:v>
                </c:pt>
                <c:pt idx="6006">
                  <c:v>0</c:v>
                </c:pt>
                <c:pt idx="6007">
                  <c:v>0</c:v>
                </c:pt>
                <c:pt idx="6008">
                  <c:v>0</c:v>
                </c:pt>
                <c:pt idx="6009">
                  <c:v>0</c:v>
                </c:pt>
                <c:pt idx="6010">
                  <c:v>0</c:v>
                </c:pt>
                <c:pt idx="6011">
                  <c:v>0</c:v>
                </c:pt>
                <c:pt idx="6012">
                  <c:v>0</c:v>
                </c:pt>
                <c:pt idx="6013">
                  <c:v>0</c:v>
                </c:pt>
                <c:pt idx="6014">
                  <c:v>0</c:v>
                </c:pt>
                <c:pt idx="6015">
                  <c:v>0</c:v>
                </c:pt>
                <c:pt idx="6016">
                  <c:v>0</c:v>
                </c:pt>
                <c:pt idx="6017">
                  <c:v>0</c:v>
                </c:pt>
                <c:pt idx="6018">
                  <c:v>0</c:v>
                </c:pt>
                <c:pt idx="6019">
                  <c:v>0</c:v>
                </c:pt>
                <c:pt idx="6020">
                  <c:v>0</c:v>
                </c:pt>
                <c:pt idx="6021">
                  <c:v>0</c:v>
                </c:pt>
                <c:pt idx="6022">
                  <c:v>0</c:v>
                </c:pt>
                <c:pt idx="6023">
                  <c:v>0</c:v>
                </c:pt>
                <c:pt idx="6024">
                  <c:v>0</c:v>
                </c:pt>
                <c:pt idx="6025">
                  <c:v>0</c:v>
                </c:pt>
                <c:pt idx="6026">
                  <c:v>0</c:v>
                </c:pt>
                <c:pt idx="6027">
                  <c:v>0</c:v>
                </c:pt>
                <c:pt idx="6028">
                  <c:v>0</c:v>
                </c:pt>
                <c:pt idx="6029">
                  <c:v>0</c:v>
                </c:pt>
                <c:pt idx="6030">
                  <c:v>0</c:v>
                </c:pt>
                <c:pt idx="6031">
                  <c:v>0</c:v>
                </c:pt>
                <c:pt idx="6032">
                  <c:v>0</c:v>
                </c:pt>
                <c:pt idx="6033">
                  <c:v>0</c:v>
                </c:pt>
                <c:pt idx="6034">
                  <c:v>0</c:v>
                </c:pt>
                <c:pt idx="6035">
                  <c:v>0</c:v>
                </c:pt>
                <c:pt idx="6036">
                  <c:v>0</c:v>
                </c:pt>
                <c:pt idx="6037">
                  <c:v>0</c:v>
                </c:pt>
                <c:pt idx="6038">
                  <c:v>0</c:v>
                </c:pt>
                <c:pt idx="6039">
                  <c:v>0</c:v>
                </c:pt>
                <c:pt idx="6040">
                  <c:v>0</c:v>
                </c:pt>
                <c:pt idx="6041">
                  <c:v>0</c:v>
                </c:pt>
                <c:pt idx="6042">
                  <c:v>0</c:v>
                </c:pt>
                <c:pt idx="6043">
                  <c:v>0</c:v>
                </c:pt>
                <c:pt idx="6044">
                  <c:v>0</c:v>
                </c:pt>
                <c:pt idx="6045">
                  <c:v>0</c:v>
                </c:pt>
                <c:pt idx="6046">
                  <c:v>0</c:v>
                </c:pt>
                <c:pt idx="6047">
                  <c:v>0</c:v>
                </c:pt>
                <c:pt idx="6048">
                  <c:v>0</c:v>
                </c:pt>
                <c:pt idx="6049">
                  <c:v>0</c:v>
                </c:pt>
                <c:pt idx="6050">
                  <c:v>0</c:v>
                </c:pt>
                <c:pt idx="6051">
                  <c:v>0</c:v>
                </c:pt>
                <c:pt idx="6052">
                  <c:v>0</c:v>
                </c:pt>
                <c:pt idx="6053">
                  <c:v>0</c:v>
                </c:pt>
                <c:pt idx="6054">
                  <c:v>0</c:v>
                </c:pt>
                <c:pt idx="6055">
                  <c:v>0</c:v>
                </c:pt>
                <c:pt idx="6056">
                  <c:v>0</c:v>
                </c:pt>
                <c:pt idx="6057">
                  <c:v>0</c:v>
                </c:pt>
                <c:pt idx="6058">
                  <c:v>0</c:v>
                </c:pt>
                <c:pt idx="6059">
                  <c:v>0</c:v>
                </c:pt>
                <c:pt idx="6060">
                  <c:v>0</c:v>
                </c:pt>
                <c:pt idx="6061">
                  <c:v>0</c:v>
                </c:pt>
                <c:pt idx="6062">
                  <c:v>0</c:v>
                </c:pt>
                <c:pt idx="6063">
                  <c:v>0</c:v>
                </c:pt>
                <c:pt idx="6064">
                  <c:v>0</c:v>
                </c:pt>
                <c:pt idx="6065">
                  <c:v>0</c:v>
                </c:pt>
                <c:pt idx="6066">
                  <c:v>0</c:v>
                </c:pt>
                <c:pt idx="6067">
                  <c:v>0</c:v>
                </c:pt>
                <c:pt idx="6068">
                  <c:v>0</c:v>
                </c:pt>
                <c:pt idx="6069">
                  <c:v>0</c:v>
                </c:pt>
                <c:pt idx="6070">
                  <c:v>0</c:v>
                </c:pt>
                <c:pt idx="6071">
                  <c:v>0</c:v>
                </c:pt>
                <c:pt idx="6072">
                  <c:v>0</c:v>
                </c:pt>
                <c:pt idx="6073">
                  <c:v>0</c:v>
                </c:pt>
                <c:pt idx="6074">
                  <c:v>0</c:v>
                </c:pt>
                <c:pt idx="6075">
                  <c:v>0</c:v>
                </c:pt>
                <c:pt idx="6076">
                  <c:v>0</c:v>
                </c:pt>
                <c:pt idx="6077">
                  <c:v>0</c:v>
                </c:pt>
                <c:pt idx="6078">
                  <c:v>0</c:v>
                </c:pt>
                <c:pt idx="6079">
                  <c:v>0</c:v>
                </c:pt>
                <c:pt idx="6080">
                  <c:v>0</c:v>
                </c:pt>
                <c:pt idx="6081">
                  <c:v>0</c:v>
                </c:pt>
                <c:pt idx="6082">
                  <c:v>0</c:v>
                </c:pt>
                <c:pt idx="6083">
                  <c:v>0</c:v>
                </c:pt>
                <c:pt idx="6084">
                  <c:v>0</c:v>
                </c:pt>
                <c:pt idx="6085">
                  <c:v>0</c:v>
                </c:pt>
                <c:pt idx="6086">
                  <c:v>0</c:v>
                </c:pt>
                <c:pt idx="6087">
                  <c:v>0</c:v>
                </c:pt>
                <c:pt idx="6088">
                  <c:v>0</c:v>
                </c:pt>
                <c:pt idx="6089">
                  <c:v>0</c:v>
                </c:pt>
                <c:pt idx="6090">
                  <c:v>0</c:v>
                </c:pt>
                <c:pt idx="6091">
                  <c:v>0</c:v>
                </c:pt>
                <c:pt idx="6092">
                  <c:v>0</c:v>
                </c:pt>
                <c:pt idx="6093">
                  <c:v>0</c:v>
                </c:pt>
                <c:pt idx="6094">
                  <c:v>0</c:v>
                </c:pt>
                <c:pt idx="6095">
                  <c:v>0</c:v>
                </c:pt>
                <c:pt idx="6096">
                  <c:v>0</c:v>
                </c:pt>
                <c:pt idx="6097">
                  <c:v>0</c:v>
                </c:pt>
                <c:pt idx="6098">
                  <c:v>0</c:v>
                </c:pt>
                <c:pt idx="6099">
                  <c:v>0</c:v>
                </c:pt>
                <c:pt idx="6100">
                  <c:v>0</c:v>
                </c:pt>
                <c:pt idx="6101">
                  <c:v>0</c:v>
                </c:pt>
                <c:pt idx="6102">
                  <c:v>0</c:v>
                </c:pt>
                <c:pt idx="6103">
                  <c:v>0</c:v>
                </c:pt>
                <c:pt idx="6104">
                  <c:v>0</c:v>
                </c:pt>
                <c:pt idx="6105">
                  <c:v>0</c:v>
                </c:pt>
                <c:pt idx="6106">
                  <c:v>0</c:v>
                </c:pt>
                <c:pt idx="6107">
                  <c:v>0</c:v>
                </c:pt>
                <c:pt idx="6108">
                  <c:v>0</c:v>
                </c:pt>
                <c:pt idx="6109">
                  <c:v>0</c:v>
                </c:pt>
                <c:pt idx="6110">
                  <c:v>0</c:v>
                </c:pt>
                <c:pt idx="6111">
                  <c:v>0</c:v>
                </c:pt>
                <c:pt idx="6112">
                  <c:v>0</c:v>
                </c:pt>
                <c:pt idx="6113">
                  <c:v>0</c:v>
                </c:pt>
                <c:pt idx="6114">
                  <c:v>0</c:v>
                </c:pt>
                <c:pt idx="6115">
                  <c:v>0</c:v>
                </c:pt>
                <c:pt idx="6116">
                  <c:v>0</c:v>
                </c:pt>
                <c:pt idx="6117">
                  <c:v>0</c:v>
                </c:pt>
                <c:pt idx="6118">
                  <c:v>0</c:v>
                </c:pt>
                <c:pt idx="6119">
                  <c:v>0</c:v>
                </c:pt>
                <c:pt idx="6120">
                  <c:v>0</c:v>
                </c:pt>
                <c:pt idx="6121">
                  <c:v>0</c:v>
                </c:pt>
                <c:pt idx="6122">
                  <c:v>0</c:v>
                </c:pt>
                <c:pt idx="6123">
                  <c:v>0</c:v>
                </c:pt>
                <c:pt idx="6124">
                  <c:v>0</c:v>
                </c:pt>
                <c:pt idx="6125">
                  <c:v>0</c:v>
                </c:pt>
                <c:pt idx="6126">
                  <c:v>0</c:v>
                </c:pt>
                <c:pt idx="6127">
                  <c:v>0</c:v>
                </c:pt>
                <c:pt idx="6128">
                  <c:v>0</c:v>
                </c:pt>
                <c:pt idx="6129">
                  <c:v>0</c:v>
                </c:pt>
                <c:pt idx="6130">
                  <c:v>0</c:v>
                </c:pt>
                <c:pt idx="6131">
                  <c:v>0</c:v>
                </c:pt>
                <c:pt idx="6132">
                  <c:v>0</c:v>
                </c:pt>
                <c:pt idx="6133">
                  <c:v>0</c:v>
                </c:pt>
                <c:pt idx="6134">
                  <c:v>0</c:v>
                </c:pt>
                <c:pt idx="6135">
                  <c:v>0</c:v>
                </c:pt>
                <c:pt idx="6136">
                  <c:v>0</c:v>
                </c:pt>
                <c:pt idx="6137">
                  <c:v>0</c:v>
                </c:pt>
                <c:pt idx="6138">
                  <c:v>0</c:v>
                </c:pt>
                <c:pt idx="6139">
                  <c:v>0</c:v>
                </c:pt>
                <c:pt idx="6140">
                  <c:v>0</c:v>
                </c:pt>
                <c:pt idx="6141">
                  <c:v>0</c:v>
                </c:pt>
                <c:pt idx="6142">
                  <c:v>0</c:v>
                </c:pt>
                <c:pt idx="6143">
                  <c:v>0</c:v>
                </c:pt>
                <c:pt idx="6144">
                  <c:v>0</c:v>
                </c:pt>
                <c:pt idx="6145">
                  <c:v>0</c:v>
                </c:pt>
                <c:pt idx="6146">
                  <c:v>0</c:v>
                </c:pt>
                <c:pt idx="6147">
                  <c:v>0</c:v>
                </c:pt>
                <c:pt idx="6148">
                  <c:v>0</c:v>
                </c:pt>
                <c:pt idx="6149">
                  <c:v>0</c:v>
                </c:pt>
                <c:pt idx="6150">
                  <c:v>0</c:v>
                </c:pt>
                <c:pt idx="6151">
                  <c:v>0</c:v>
                </c:pt>
                <c:pt idx="6152">
                  <c:v>0</c:v>
                </c:pt>
                <c:pt idx="6153">
                  <c:v>0</c:v>
                </c:pt>
                <c:pt idx="6154">
                  <c:v>0</c:v>
                </c:pt>
                <c:pt idx="6155">
                  <c:v>0</c:v>
                </c:pt>
                <c:pt idx="6156">
                  <c:v>0</c:v>
                </c:pt>
                <c:pt idx="6157">
                  <c:v>0</c:v>
                </c:pt>
                <c:pt idx="6158">
                  <c:v>0</c:v>
                </c:pt>
                <c:pt idx="6159">
                  <c:v>0</c:v>
                </c:pt>
                <c:pt idx="6160">
                  <c:v>0</c:v>
                </c:pt>
                <c:pt idx="6161">
                  <c:v>0</c:v>
                </c:pt>
                <c:pt idx="6162">
                  <c:v>0</c:v>
                </c:pt>
                <c:pt idx="6163">
                  <c:v>0</c:v>
                </c:pt>
                <c:pt idx="6164">
                  <c:v>0</c:v>
                </c:pt>
                <c:pt idx="6165">
                  <c:v>0</c:v>
                </c:pt>
                <c:pt idx="6166">
                  <c:v>0</c:v>
                </c:pt>
                <c:pt idx="6167">
                  <c:v>0</c:v>
                </c:pt>
                <c:pt idx="6168">
                  <c:v>0</c:v>
                </c:pt>
                <c:pt idx="6169">
                  <c:v>0</c:v>
                </c:pt>
                <c:pt idx="6170">
                  <c:v>0</c:v>
                </c:pt>
                <c:pt idx="6171">
                  <c:v>0</c:v>
                </c:pt>
                <c:pt idx="6172">
                  <c:v>0</c:v>
                </c:pt>
                <c:pt idx="6173">
                  <c:v>0</c:v>
                </c:pt>
                <c:pt idx="6174">
                  <c:v>0</c:v>
                </c:pt>
                <c:pt idx="6175">
                  <c:v>0</c:v>
                </c:pt>
                <c:pt idx="6176">
                  <c:v>0</c:v>
                </c:pt>
                <c:pt idx="6177">
                  <c:v>0</c:v>
                </c:pt>
                <c:pt idx="6178">
                  <c:v>0</c:v>
                </c:pt>
                <c:pt idx="6179">
                  <c:v>0</c:v>
                </c:pt>
                <c:pt idx="6180">
                  <c:v>0</c:v>
                </c:pt>
                <c:pt idx="6181">
                  <c:v>0</c:v>
                </c:pt>
                <c:pt idx="6182">
                  <c:v>0</c:v>
                </c:pt>
                <c:pt idx="6183">
                  <c:v>0</c:v>
                </c:pt>
                <c:pt idx="6184">
                  <c:v>0</c:v>
                </c:pt>
                <c:pt idx="6185">
                  <c:v>0</c:v>
                </c:pt>
                <c:pt idx="6186">
                  <c:v>0</c:v>
                </c:pt>
                <c:pt idx="6187">
                  <c:v>0</c:v>
                </c:pt>
                <c:pt idx="6188">
                  <c:v>0</c:v>
                </c:pt>
                <c:pt idx="6189">
                  <c:v>0</c:v>
                </c:pt>
                <c:pt idx="6190">
                  <c:v>0</c:v>
                </c:pt>
                <c:pt idx="6191">
                  <c:v>0</c:v>
                </c:pt>
                <c:pt idx="6192">
                  <c:v>0</c:v>
                </c:pt>
                <c:pt idx="6193">
                  <c:v>0</c:v>
                </c:pt>
                <c:pt idx="6194">
                  <c:v>0</c:v>
                </c:pt>
                <c:pt idx="6195">
                  <c:v>0</c:v>
                </c:pt>
                <c:pt idx="6196">
                  <c:v>0</c:v>
                </c:pt>
                <c:pt idx="6197">
                  <c:v>0</c:v>
                </c:pt>
                <c:pt idx="6198">
                  <c:v>0</c:v>
                </c:pt>
                <c:pt idx="6199">
                  <c:v>0</c:v>
                </c:pt>
                <c:pt idx="6200">
                  <c:v>0</c:v>
                </c:pt>
                <c:pt idx="6201">
                  <c:v>0</c:v>
                </c:pt>
                <c:pt idx="6202">
                  <c:v>0</c:v>
                </c:pt>
                <c:pt idx="6203">
                  <c:v>0</c:v>
                </c:pt>
                <c:pt idx="6204">
                  <c:v>0</c:v>
                </c:pt>
                <c:pt idx="6205">
                  <c:v>0</c:v>
                </c:pt>
                <c:pt idx="6206">
                  <c:v>0</c:v>
                </c:pt>
                <c:pt idx="6207">
                  <c:v>0</c:v>
                </c:pt>
                <c:pt idx="6208">
                  <c:v>0</c:v>
                </c:pt>
                <c:pt idx="6209">
                  <c:v>0</c:v>
                </c:pt>
                <c:pt idx="6210">
                  <c:v>0</c:v>
                </c:pt>
                <c:pt idx="6211">
                  <c:v>0</c:v>
                </c:pt>
                <c:pt idx="6212">
                  <c:v>0</c:v>
                </c:pt>
                <c:pt idx="6213">
                  <c:v>0</c:v>
                </c:pt>
                <c:pt idx="6214">
                  <c:v>0</c:v>
                </c:pt>
                <c:pt idx="6215">
                  <c:v>0</c:v>
                </c:pt>
                <c:pt idx="6216">
                  <c:v>0</c:v>
                </c:pt>
                <c:pt idx="6217">
                  <c:v>0</c:v>
                </c:pt>
                <c:pt idx="6218">
                  <c:v>0</c:v>
                </c:pt>
                <c:pt idx="6219">
                  <c:v>0</c:v>
                </c:pt>
                <c:pt idx="6220">
                  <c:v>0</c:v>
                </c:pt>
                <c:pt idx="6221">
                  <c:v>0</c:v>
                </c:pt>
                <c:pt idx="6222">
                  <c:v>0</c:v>
                </c:pt>
                <c:pt idx="6223">
                  <c:v>0</c:v>
                </c:pt>
                <c:pt idx="6224">
                  <c:v>0</c:v>
                </c:pt>
                <c:pt idx="6225">
                  <c:v>0</c:v>
                </c:pt>
                <c:pt idx="6226">
                  <c:v>0</c:v>
                </c:pt>
                <c:pt idx="6227">
                  <c:v>0</c:v>
                </c:pt>
                <c:pt idx="6228">
                  <c:v>0</c:v>
                </c:pt>
                <c:pt idx="6229">
                  <c:v>0</c:v>
                </c:pt>
                <c:pt idx="6230">
                  <c:v>0</c:v>
                </c:pt>
                <c:pt idx="6231">
                  <c:v>0</c:v>
                </c:pt>
                <c:pt idx="6232">
                  <c:v>0</c:v>
                </c:pt>
                <c:pt idx="6233">
                  <c:v>0</c:v>
                </c:pt>
                <c:pt idx="6234">
                  <c:v>0</c:v>
                </c:pt>
                <c:pt idx="6235">
                  <c:v>0</c:v>
                </c:pt>
                <c:pt idx="6236">
                  <c:v>0</c:v>
                </c:pt>
                <c:pt idx="6237">
                  <c:v>0</c:v>
                </c:pt>
                <c:pt idx="6238">
                  <c:v>0</c:v>
                </c:pt>
                <c:pt idx="6239">
                  <c:v>0</c:v>
                </c:pt>
                <c:pt idx="6240">
                  <c:v>0</c:v>
                </c:pt>
                <c:pt idx="6241">
                  <c:v>0</c:v>
                </c:pt>
                <c:pt idx="6242">
                  <c:v>0</c:v>
                </c:pt>
                <c:pt idx="6243">
                  <c:v>0</c:v>
                </c:pt>
                <c:pt idx="6244">
                  <c:v>0</c:v>
                </c:pt>
                <c:pt idx="6245">
                  <c:v>0</c:v>
                </c:pt>
                <c:pt idx="6246">
                  <c:v>0</c:v>
                </c:pt>
                <c:pt idx="6247">
                  <c:v>0</c:v>
                </c:pt>
                <c:pt idx="6248">
                  <c:v>0</c:v>
                </c:pt>
                <c:pt idx="6249">
                  <c:v>0</c:v>
                </c:pt>
                <c:pt idx="6250">
                  <c:v>0</c:v>
                </c:pt>
                <c:pt idx="6251">
                  <c:v>0</c:v>
                </c:pt>
                <c:pt idx="6252">
                  <c:v>0</c:v>
                </c:pt>
                <c:pt idx="6253">
                  <c:v>0</c:v>
                </c:pt>
                <c:pt idx="6254">
                  <c:v>0</c:v>
                </c:pt>
                <c:pt idx="6255">
                  <c:v>0</c:v>
                </c:pt>
                <c:pt idx="6256">
                  <c:v>0</c:v>
                </c:pt>
                <c:pt idx="6257">
                  <c:v>0</c:v>
                </c:pt>
                <c:pt idx="6258">
                  <c:v>0</c:v>
                </c:pt>
                <c:pt idx="6259">
                  <c:v>0</c:v>
                </c:pt>
                <c:pt idx="6260">
                  <c:v>0</c:v>
                </c:pt>
                <c:pt idx="6261">
                  <c:v>0</c:v>
                </c:pt>
                <c:pt idx="6262">
                  <c:v>0</c:v>
                </c:pt>
                <c:pt idx="6263">
                  <c:v>0</c:v>
                </c:pt>
                <c:pt idx="6264">
                  <c:v>0</c:v>
                </c:pt>
                <c:pt idx="6265">
                  <c:v>0</c:v>
                </c:pt>
                <c:pt idx="6266">
                  <c:v>0</c:v>
                </c:pt>
                <c:pt idx="6267">
                  <c:v>0</c:v>
                </c:pt>
                <c:pt idx="6268">
                  <c:v>0</c:v>
                </c:pt>
                <c:pt idx="6269">
                  <c:v>0</c:v>
                </c:pt>
                <c:pt idx="6270">
                  <c:v>0</c:v>
                </c:pt>
                <c:pt idx="6271">
                  <c:v>0</c:v>
                </c:pt>
                <c:pt idx="6272">
                  <c:v>0</c:v>
                </c:pt>
                <c:pt idx="6273">
                  <c:v>0</c:v>
                </c:pt>
                <c:pt idx="6274">
                  <c:v>0</c:v>
                </c:pt>
                <c:pt idx="6275">
                  <c:v>0</c:v>
                </c:pt>
                <c:pt idx="6276">
                  <c:v>0</c:v>
                </c:pt>
                <c:pt idx="6277">
                  <c:v>0</c:v>
                </c:pt>
                <c:pt idx="6278">
                  <c:v>0</c:v>
                </c:pt>
                <c:pt idx="6279">
                  <c:v>0</c:v>
                </c:pt>
                <c:pt idx="6280">
                  <c:v>0</c:v>
                </c:pt>
                <c:pt idx="6281">
                  <c:v>0</c:v>
                </c:pt>
                <c:pt idx="6282">
                  <c:v>0</c:v>
                </c:pt>
                <c:pt idx="6283">
                  <c:v>0</c:v>
                </c:pt>
                <c:pt idx="6284">
                  <c:v>0</c:v>
                </c:pt>
                <c:pt idx="6285">
                  <c:v>0</c:v>
                </c:pt>
                <c:pt idx="6286">
                  <c:v>0</c:v>
                </c:pt>
                <c:pt idx="6287">
                  <c:v>0</c:v>
                </c:pt>
                <c:pt idx="6288">
                  <c:v>0</c:v>
                </c:pt>
                <c:pt idx="6289">
                  <c:v>0</c:v>
                </c:pt>
                <c:pt idx="6290">
                  <c:v>0</c:v>
                </c:pt>
                <c:pt idx="6291">
                  <c:v>0</c:v>
                </c:pt>
                <c:pt idx="6292">
                  <c:v>0</c:v>
                </c:pt>
                <c:pt idx="6293">
                  <c:v>0</c:v>
                </c:pt>
                <c:pt idx="6294">
                  <c:v>0</c:v>
                </c:pt>
                <c:pt idx="6295">
                  <c:v>0</c:v>
                </c:pt>
                <c:pt idx="6296">
                  <c:v>0</c:v>
                </c:pt>
                <c:pt idx="6297">
                  <c:v>0</c:v>
                </c:pt>
                <c:pt idx="6298">
                  <c:v>0</c:v>
                </c:pt>
                <c:pt idx="6299">
                  <c:v>0</c:v>
                </c:pt>
                <c:pt idx="6300">
                  <c:v>0</c:v>
                </c:pt>
                <c:pt idx="6301">
                  <c:v>0</c:v>
                </c:pt>
                <c:pt idx="6302">
                  <c:v>0</c:v>
                </c:pt>
                <c:pt idx="6303">
                  <c:v>0</c:v>
                </c:pt>
                <c:pt idx="6304">
                  <c:v>0</c:v>
                </c:pt>
                <c:pt idx="6305">
                  <c:v>0</c:v>
                </c:pt>
                <c:pt idx="6306">
                  <c:v>0</c:v>
                </c:pt>
                <c:pt idx="6307">
                  <c:v>0</c:v>
                </c:pt>
                <c:pt idx="6308">
                  <c:v>0</c:v>
                </c:pt>
                <c:pt idx="6309">
                  <c:v>0</c:v>
                </c:pt>
                <c:pt idx="6310">
                  <c:v>0</c:v>
                </c:pt>
                <c:pt idx="6311">
                  <c:v>0</c:v>
                </c:pt>
                <c:pt idx="6312">
                  <c:v>0</c:v>
                </c:pt>
                <c:pt idx="6313">
                  <c:v>0</c:v>
                </c:pt>
                <c:pt idx="6314">
                  <c:v>0</c:v>
                </c:pt>
                <c:pt idx="6315">
                  <c:v>0</c:v>
                </c:pt>
                <c:pt idx="6316">
                  <c:v>0</c:v>
                </c:pt>
                <c:pt idx="6317">
                  <c:v>0</c:v>
                </c:pt>
                <c:pt idx="6318">
                  <c:v>0</c:v>
                </c:pt>
                <c:pt idx="6319">
                  <c:v>0</c:v>
                </c:pt>
                <c:pt idx="6320">
                  <c:v>0</c:v>
                </c:pt>
                <c:pt idx="6321">
                  <c:v>0</c:v>
                </c:pt>
                <c:pt idx="6322">
                  <c:v>0</c:v>
                </c:pt>
                <c:pt idx="6323">
                  <c:v>0</c:v>
                </c:pt>
                <c:pt idx="6324">
                  <c:v>0</c:v>
                </c:pt>
                <c:pt idx="6325">
                  <c:v>0</c:v>
                </c:pt>
                <c:pt idx="6326">
                  <c:v>0</c:v>
                </c:pt>
                <c:pt idx="6327">
                  <c:v>0</c:v>
                </c:pt>
                <c:pt idx="6328">
                  <c:v>0</c:v>
                </c:pt>
                <c:pt idx="6329">
                  <c:v>0</c:v>
                </c:pt>
                <c:pt idx="6330">
                  <c:v>0</c:v>
                </c:pt>
                <c:pt idx="6331">
                  <c:v>0</c:v>
                </c:pt>
                <c:pt idx="6332">
                  <c:v>0</c:v>
                </c:pt>
                <c:pt idx="6333">
                  <c:v>0</c:v>
                </c:pt>
                <c:pt idx="6334">
                  <c:v>0</c:v>
                </c:pt>
                <c:pt idx="6335">
                  <c:v>0</c:v>
                </c:pt>
                <c:pt idx="6336">
                  <c:v>0</c:v>
                </c:pt>
                <c:pt idx="6337">
                  <c:v>0</c:v>
                </c:pt>
                <c:pt idx="6338">
                  <c:v>0</c:v>
                </c:pt>
                <c:pt idx="6339">
                  <c:v>0</c:v>
                </c:pt>
                <c:pt idx="6340">
                  <c:v>0</c:v>
                </c:pt>
                <c:pt idx="6341">
                  <c:v>0</c:v>
                </c:pt>
                <c:pt idx="6342">
                  <c:v>0</c:v>
                </c:pt>
                <c:pt idx="6343">
                  <c:v>0</c:v>
                </c:pt>
                <c:pt idx="6344">
                  <c:v>0</c:v>
                </c:pt>
                <c:pt idx="6345">
                  <c:v>0</c:v>
                </c:pt>
                <c:pt idx="6346">
                  <c:v>0</c:v>
                </c:pt>
                <c:pt idx="6347">
                  <c:v>0</c:v>
                </c:pt>
                <c:pt idx="6348">
                  <c:v>0</c:v>
                </c:pt>
                <c:pt idx="6349">
                  <c:v>0</c:v>
                </c:pt>
                <c:pt idx="6350">
                  <c:v>0</c:v>
                </c:pt>
                <c:pt idx="6351">
                  <c:v>0</c:v>
                </c:pt>
                <c:pt idx="6352">
                  <c:v>0</c:v>
                </c:pt>
                <c:pt idx="6353">
                  <c:v>0</c:v>
                </c:pt>
                <c:pt idx="6354">
                  <c:v>0</c:v>
                </c:pt>
                <c:pt idx="6355">
                  <c:v>0</c:v>
                </c:pt>
                <c:pt idx="6356">
                  <c:v>0</c:v>
                </c:pt>
                <c:pt idx="6357">
                  <c:v>0</c:v>
                </c:pt>
                <c:pt idx="6358">
                  <c:v>0</c:v>
                </c:pt>
                <c:pt idx="6359">
                  <c:v>0</c:v>
                </c:pt>
                <c:pt idx="6360">
                  <c:v>0</c:v>
                </c:pt>
                <c:pt idx="6361">
                  <c:v>0</c:v>
                </c:pt>
                <c:pt idx="6362">
                  <c:v>0</c:v>
                </c:pt>
                <c:pt idx="6363">
                  <c:v>0</c:v>
                </c:pt>
                <c:pt idx="6364">
                  <c:v>0</c:v>
                </c:pt>
                <c:pt idx="6365">
                  <c:v>0</c:v>
                </c:pt>
                <c:pt idx="6366">
                  <c:v>0</c:v>
                </c:pt>
                <c:pt idx="6367">
                  <c:v>0</c:v>
                </c:pt>
                <c:pt idx="6368">
                  <c:v>0</c:v>
                </c:pt>
                <c:pt idx="6369">
                  <c:v>0</c:v>
                </c:pt>
                <c:pt idx="6370">
                  <c:v>0</c:v>
                </c:pt>
                <c:pt idx="6371">
                  <c:v>0</c:v>
                </c:pt>
                <c:pt idx="6372">
                  <c:v>0</c:v>
                </c:pt>
                <c:pt idx="6373">
                  <c:v>0</c:v>
                </c:pt>
                <c:pt idx="6374">
                  <c:v>0</c:v>
                </c:pt>
                <c:pt idx="6375">
                  <c:v>0</c:v>
                </c:pt>
                <c:pt idx="6376">
                  <c:v>0</c:v>
                </c:pt>
                <c:pt idx="6377">
                  <c:v>0</c:v>
                </c:pt>
                <c:pt idx="6378">
                  <c:v>0</c:v>
                </c:pt>
                <c:pt idx="6379">
                  <c:v>0</c:v>
                </c:pt>
                <c:pt idx="6380">
                  <c:v>0</c:v>
                </c:pt>
                <c:pt idx="6381">
                  <c:v>0</c:v>
                </c:pt>
                <c:pt idx="6382">
                  <c:v>0</c:v>
                </c:pt>
                <c:pt idx="6383">
                  <c:v>0</c:v>
                </c:pt>
                <c:pt idx="6384">
                  <c:v>0</c:v>
                </c:pt>
                <c:pt idx="6385">
                  <c:v>0</c:v>
                </c:pt>
                <c:pt idx="6386">
                  <c:v>0</c:v>
                </c:pt>
                <c:pt idx="6387">
                  <c:v>0</c:v>
                </c:pt>
                <c:pt idx="6388">
                  <c:v>0</c:v>
                </c:pt>
                <c:pt idx="6389">
                  <c:v>0</c:v>
                </c:pt>
                <c:pt idx="6390">
                  <c:v>0</c:v>
                </c:pt>
                <c:pt idx="6391">
                  <c:v>0</c:v>
                </c:pt>
                <c:pt idx="6392">
                  <c:v>0</c:v>
                </c:pt>
                <c:pt idx="6393">
                  <c:v>0</c:v>
                </c:pt>
                <c:pt idx="6394">
                  <c:v>0</c:v>
                </c:pt>
                <c:pt idx="6395">
                  <c:v>0</c:v>
                </c:pt>
                <c:pt idx="6396">
                  <c:v>0</c:v>
                </c:pt>
                <c:pt idx="6397">
                  <c:v>0</c:v>
                </c:pt>
                <c:pt idx="6398">
                  <c:v>0</c:v>
                </c:pt>
                <c:pt idx="6399">
                  <c:v>0</c:v>
                </c:pt>
                <c:pt idx="6400">
                  <c:v>0</c:v>
                </c:pt>
                <c:pt idx="6401">
                  <c:v>0</c:v>
                </c:pt>
                <c:pt idx="6402">
                  <c:v>0</c:v>
                </c:pt>
                <c:pt idx="6403">
                  <c:v>0</c:v>
                </c:pt>
                <c:pt idx="6404">
                  <c:v>0</c:v>
                </c:pt>
                <c:pt idx="6405">
                  <c:v>0</c:v>
                </c:pt>
                <c:pt idx="6406">
                  <c:v>0</c:v>
                </c:pt>
                <c:pt idx="6407">
                  <c:v>0</c:v>
                </c:pt>
                <c:pt idx="6408">
                  <c:v>0</c:v>
                </c:pt>
                <c:pt idx="6409">
                  <c:v>0</c:v>
                </c:pt>
                <c:pt idx="6410">
                  <c:v>0</c:v>
                </c:pt>
                <c:pt idx="6411">
                  <c:v>0</c:v>
                </c:pt>
                <c:pt idx="6412">
                  <c:v>0</c:v>
                </c:pt>
                <c:pt idx="6413">
                  <c:v>0</c:v>
                </c:pt>
                <c:pt idx="6414">
                  <c:v>0</c:v>
                </c:pt>
                <c:pt idx="6415">
                  <c:v>0</c:v>
                </c:pt>
                <c:pt idx="6416">
                  <c:v>0</c:v>
                </c:pt>
                <c:pt idx="6417">
                  <c:v>0</c:v>
                </c:pt>
                <c:pt idx="6418">
                  <c:v>0</c:v>
                </c:pt>
                <c:pt idx="6419">
                  <c:v>0</c:v>
                </c:pt>
                <c:pt idx="6420">
                  <c:v>0</c:v>
                </c:pt>
                <c:pt idx="6421">
                  <c:v>0</c:v>
                </c:pt>
                <c:pt idx="6422">
                  <c:v>0</c:v>
                </c:pt>
                <c:pt idx="6423">
                  <c:v>0</c:v>
                </c:pt>
                <c:pt idx="6424">
                  <c:v>0</c:v>
                </c:pt>
                <c:pt idx="6425">
                  <c:v>0</c:v>
                </c:pt>
                <c:pt idx="6426">
                  <c:v>0</c:v>
                </c:pt>
                <c:pt idx="6427">
                  <c:v>0</c:v>
                </c:pt>
                <c:pt idx="6428">
                  <c:v>0</c:v>
                </c:pt>
                <c:pt idx="6429">
                  <c:v>0</c:v>
                </c:pt>
                <c:pt idx="6430">
                  <c:v>0</c:v>
                </c:pt>
                <c:pt idx="6431">
                  <c:v>0</c:v>
                </c:pt>
                <c:pt idx="6432">
                  <c:v>0</c:v>
                </c:pt>
                <c:pt idx="6433">
                  <c:v>0</c:v>
                </c:pt>
                <c:pt idx="6434">
                  <c:v>0</c:v>
                </c:pt>
                <c:pt idx="6435">
                  <c:v>0</c:v>
                </c:pt>
                <c:pt idx="6436">
                  <c:v>0</c:v>
                </c:pt>
                <c:pt idx="6437">
                  <c:v>0</c:v>
                </c:pt>
                <c:pt idx="6438">
                  <c:v>0</c:v>
                </c:pt>
                <c:pt idx="6439">
                  <c:v>0</c:v>
                </c:pt>
                <c:pt idx="6440">
                  <c:v>0</c:v>
                </c:pt>
                <c:pt idx="6441">
                  <c:v>0</c:v>
                </c:pt>
                <c:pt idx="6442">
                  <c:v>0</c:v>
                </c:pt>
                <c:pt idx="6443">
                  <c:v>0</c:v>
                </c:pt>
                <c:pt idx="6444">
                  <c:v>0</c:v>
                </c:pt>
                <c:pt idx="6445">
                  <c:v>0</c:v>
                </c:pt>
                <c:pt idx="6446">
                  <c:v>0</c:v>
                </c:pt>
                <c:pt idx="6447">
                  <c:v>0</c:v>
                </c:pt>
                <c:pt idx="6448">
                  <c:v>0</c:v>
                </c:pt>
                <c:pt idx="6449">
                  <c:v>0</c:v>
                </c:pt>
                <c:pt idx="6450">
                  <c:v>0</c:v>
                </c:pt>
                <c:pt idx="6451">
                  <c:v>0</c:v>
                </c:pt>
                <c:pt idx="6452">
                  <c:v>0</c:v>
                </c:pt>
                <c:pt idx="6453">
                  <c:v>0</c:v>
                </c:pt>
                <c:pt idx="6454">
                  <c:v>0</c:v>
                </c:pt>
                <c:pt idx="6455">
                  <c:v>0</c:v>
                </c:pt>
                <c:pt idx="6456">
                  <c:v>0</c:v>
                </c:pt>
                <c:pt idx="6457">
                  <c:v>0</c:v>
                </c:pt>
                <c:pt idx="6458">
                  <c:v>0</c:v>
                </c:pt>
                <c:pt idx="6459">
                  <c:v>0</c:v>
                </c:pt>
                <c:pt idx="6460">
                  <c:v>0</c:v>
                </c:pt>
                <c:pt idx="6461">
                  <c:v>0</c:v>
                </c:pt>
                <c:pt idx="6462">
                  <c:v>0</c:v>
                </c:pt>
                <c:pt idx="6463">
                  <c:v>0</c:v>
                </c:pt>
                <c:pt idx="6464">
                  <c:v>0</c:v>
                </c:pt>
                <c:pt idx="6465">
                  <c:v>0</c:v>
                </c:pt>
                <c:pt idx="6466">
                  <c:v>0</c:v>
                </c:pt>
                <c:pt idx="6467">
                  <c:v>0</c:v>
                </c:pt>
                <c:pt idx="6468">
                  <c:v>0</c:v>
                </c:pt>
                <c:pt idx="6469">
                  <c:v>0</c:v>
                </c:pt>
                <c:pt idx="6470">
                  <c:v>0</c:v>
                </c:pt>
                <c:pt idx="6471">
                  <c:v>0</c:v>
                </c:pt>
                <c:pt idx="6472">
                  <c:v>0</c:v>
                </c:pt>
                <c:pt idx="6473">
                  <c:v>0</c:v>
                </c:pt>
                <c:pt idx="6474">
                  <c:v>0</c:v>
                </c:pt>
                <c:pt idx="6475">
                  <c:v>0</c:v>
                </c:pt>
                <c:pt idx="6476">
                  <c:v>0</c:v>
                </c:pt>
                <c:pt idx="6477">
                  <c:v>0</c:v>
                </c:pt>
                <c:pt idx="6478">
                  <c:v>0</c:v>
                </c:pt>
                <c:pt idx="6479">
                  <c:v>0</c:v>
                </c:pt>
                <c:pt idx="6480">
                  <c:v>0</c:v>
                </c:pt>
                <c:pt idx="6481">
                  <c:v>0</c:v>
                </c:pt>
                <c:pt idx="6482">
                  <c:v>0</c:v>
                </c:pt>
                <c:pt idx="6483">
                  <c:v>0</c:v>
                </c:pt>
                <c:pt idx="6484">
                  <c:v>0</c:v>
                </c:pt>
                <c:pt idx="6485">
                  <c:v>0</c:v>
                </c:pt>
                <c:pt idx="6486">
                  <c:v>0</c:v>
                </c:pt>
                <c:pt idx="6487">
                  <c:v>0</c:v>
                </c:pt>
                <c:pt idx="6488">
                  <c:v>0</c:v>
                </c:pt>
                <c:pt idx="6489">
                  <c:v>0</c:v>
                </c:pt>
                <c:pt idx="6490">
                  <c:v>0</c:v>
                </c:pt>
                <c:pt idx="6491">
                  <c:v>0</c:v>
                </c:pt>
                <c:pt idx="6492">
                  <c:v>0</c:v>
                </c:pt>
                <c:pt idx="6493">
                  <c:v>0</c:v>
                </c:pt>
                <c:pt idx="6494">
                  <c:v>0</c:v>
                </c:pt>
                <c:pt idx="6495">
                  <c:v>0</c:v>
                </c:pt>
                <c:pt idx="6496">
                  <c:v>0</c:v>
                </c:pt>
                <c:pt idx="6497">
                  <c:v>0</c:v>
                </c:pt>
                <c:pt idx="6498">
                  <c:v>0</c:v>
                </c:pt>
                <c:pt idx="6499">
                  <c:v>0</c:v>
                </c:pt>
                <c:pt idx="6500">
                  <c:v>0</c:v>
                </c:pt>
                <c:pt idx="6501">
                  <c:v>0</c:v>
                </c:pt>
                <c:pt idx="6502">
                  <c:v>0</c:v>
                </c:pt>
                <c:pt idx="6503">
                  <c:v>0</c:v>
                </c:pt>
                <c:pt idx="6504">
                  <c:v>0</c:v>
                </c:pt>
                <c:pt idx="6505">
                  <c:v>0</c:v>
                </c:pt>
                <c:pt idx="6506">
                  <c:v>0</c:v>
                </c:pt>
                <c:pt idx="6507">
                  <c:v>0</c:v>
                </c:pt>
                <c:pt idx="6508">
                  <c:v>0</c:v>
                </c:pt>
                <c:pt idx="6509">
                  <c:v>0</c:v>
                </c:pt>
                <c:pt idx="6510">
                  <c:v>0</c:v>
                </c:pt>
                <c:pt idx="6511">
                  <c:v>0</c:v>
                </c:pt>
                <c:pt idx="6512">
                  <c:v>0</c:v>
                </c:pt>
                <c:pt idx="6513">
                  <c:v>0</c:v>
                </c:pt>
                <c:pt idx="6514">
                  <c:v>0</c:v>
                </c:pt>
                <c:pt idx="6515">
                  <c:v>0</c:v>
                </c:pt>
                <c:pt idx="6516">
                  <c:v>0</c:v>
                </c:pt>
                <c:pt idx="6517">
                  <c:v>0</c:v>
                </c:pt>
                <c:pt idx="6518">
                  <c:v>0</c:v>
                </c:pt>
                <c:pt idx="6519">
                  <c:v>0</c:v>
                </c:pt>
                <c:pt idx="6520">
                  <c:v>0</c:v>
                </c:pt>
                <c:pt idx="6521">
                  <c:v>0</c:v>
                </c:pt>
                <c:pt idx="6522">
                  <c:v>0</c:v>
                </c:pt>
                <c:pt idx="6523">
                  <c:v>0</c:v>
                </c:pt>
                <c:pt idx="6524">
                  <c:v>0</c:v>
                </c:pt>
                <c:pt idx="6525">
                  <c:v>0</c:v>
                </c:pt>
                <c:pt idx="6526">
                  <c:v>0</c:v>
                </c:pt>
                <c:pt idx="6527">
                  <c:v>0</c:v>
                </c:pt>
                <c:pt idx="6528">
                  <c:v>0</c:v>
                </c:pt>
                <c:pt idx="6529">
                  <c:v>0</c:v>
                </c:pt>
                <c:pt idx="6530">
                  <c:v>0</c:v>
                </c:pt>
                <c:pt idx="6531">
                  <c:v>0</c:v>
                </c:pt>
                <c:pt idx="6532">
                  <c:v>0</c:v>
                </c:pt>
                <c:pt idx="6533">
                  <c:v>0</c:v>
                </c:pt>
                <c:pt idx="6534">
                  <c:v>0</c:v>
                </c:pt>
                <c:pt idx="6535">
                  <c:v>0</c:v>
                </c:pt>
                <c:pt idx="6536">
                  <c:v>0</c:v>
                </c:pt>
                <c:pt idx="6537">
                  <c:v>0</c:v>
                </c:pt>
                <c:pt idx="6538">
                  <c:v>0</c:v>
                </c:pt>
                <c:pt idx="6539">
                  <c:v>0</c:v>
                </c:pt>
                <c:pt idx="6540">
                  <c:v>0</c:v>
                </c:pt>
                <c:pt idx="6541">
                  <c:v>0</c:v>
                </c:pt>
                <c:pt idx="6542">
                  <c:v>0</c:v>
                </c:pt>
                <c:pt idx="6543">
                  <c:v>0</c:v>
                </c:pt>
                <c:pt idx="6544">
                  <c:v>0</c:v>
                </c:pt>
                <c:pt idx="6545">
                  <c:v>0</c:v>
                </c:pt>
                <c:pt idx="6546">
                  <c:v>0</c:v>
                </c:pt>
                <c:pt idx="6547">
                  <c:v>0</c:v>
                </c:pt>
                <c:pt idx="6548">
                  <c:v>0</c:v>
                </c:pt>
                <c:pt idx="6549">
                  <c:v>0</c:v>
                </c:pt>
                <c:pt idx="6550">
                  <c:v>0</c:v>
                </c:pt>
                <c:pt idx="6551">
                  <c:v>0</c:v>
                </c:pt>
                <c:pt idx="6552">
                  <c:v>0</c:v>
                </c:pt>
                <c:pt idx="6553">
                  <c:v>0</c:v>
                </c:pt>
                <c:pt idx="6554">
                  <c:v>0</c:v>
                </c:pt>
                <c:pt idx="6555">
                  <c:v>0</c:v>
                </c:pt>
                <c:pt idx="6556">
                  <c:v>0</c:v>
                </c:pt>
                <c:pt idx="6557">
                  <c:v>0</c:v>
                </c:pt>
                <c:pt idx="6558">
                  <c:v>0</c:v>
                </c:pt>
                <c:pt idx="6559">
                  <c:v>0</c:v>
                </c:pt>
                <c:pt idx="6560">
                  <c:v>0</c:v>
                </c:pt>
                <c:pt idx="6561">
                  <c:v>0</c:v>
                </c:pt>
                <c:pt idx="6562">
                  <c:v>0</c:v>
                </c:pt>
                <c:pt idx="6563">
                  <c:v>0</c:v>
                </c:pt>
                <c:pt idx="6564">
                  <c:v>0</c:v>
                </c:pt>
                <c:pt idx="6565">
                  <c:v>0</c:v>
                </c:pt>
                <c:pt idx="6566">
                  <c:v>0</c:v>
                </c:pt>
                <c:pt idx="6567">
                  <c:v>0</c:v>
                </c:pt>
                <c:pt idx="6568">
                  <c:v>0</c:v>
                </c:pt>
                <c:pt idx="6569">
                  <c:v>0</c:v>
                </c:pt>
                <c:pt idx="6570">
                  <c:v>0</c:v>
                </c:pt>
                <c:pt idx="6571">
                  <c:v>0</c:v>
                </c:pt>
                <c:pt idx="6572">
                  <c:v>0</c:v>
                </c:pt>
                <c:pt idx="6573">
                  <c:v>0</c:v>
                </c:pt>
                <c:pt idx="6574">
                  <c:v>0</c:v>
                </c:pt>
                <c:pt idx="6575">
                  <c:v>0</c:v>
                </c:pt>
                <c:pt idx="6576">
                  <c:v>0</c:v>
                </c:pt>
                <c:pt idx="6577">
                  <c:v>0</c:v>
                </c:pt>
                <c:pt idx="6578">
                  <c:v>0</c:v>
                </c:pt>
                <c:pt idx="6579">
                  <c:v>0</c:v>
                </c:pt>
                <c:pt idx="6580">
                  <c:v>0</c:v>
                </c:pt>
                <c:pt idx="6581">
                  <c:v>0</c:v>
                </c:pt>
                <c:pt idx="6582">
                  <c:v>0</c:v>
                </c:pt>
                <c:pt idx="6583">
                  <c:v>0</c:v>
                </c:pt>
                <c:pt idx="6584">
                  <c:v>0</c:v>
                </c:pt>
                <c:pt idx="6585">
                  <c:v>0</c:v>
                </c:pt>
                <c:pt idx="6586">
                  <c:v>0</c:v>
                </c:pt>
                <c:pt idx="6587">
                  <c:v>0</c:v>
                </c:pt>
                <c:pt idx="6588">
                  <c:v>0</c:v>
                </c:pt>
                <c:pt idx="6589">
                  <c:v>0</c:v>
                </c:pt>
                <c:pt idx="6590">
                  <c:v>0</c:v>
                </c:pt>
                <c:pt idx="6591">
                  <c:v>0</c:v>
                </c:pt>
                <c:pt idx="6592">
                  <c:v>0</c:v>
                </c:pt>
                <c:pt idx="6593">
                  <c:v>0</c:v>
                </c:pt>
                <c:pt idx="6594">
                  <c:v>0</c:v>
                </c:pt>
                <c:pt idx="6595">
                  <c:v>0</c:v>
                </c:pt>
                <c:pt idx="6596">
                  <c:v>0</c:v>
                </c:pt>
                <c:pt idx="6597">
                  <c:v>0</c:v>
                </c:pt>
                <c:pt idx="6598">
                  <c:v>0</c:v>
                </c:pt>
                <c:pt idx="6599">
                  <c:v>0</c:v>
                </c:pt>
                <c:pt idx="6600">
                  <c:v>0</c:v>
                </c:pt>
                <c:pt idx="6601">
                  <c:v>0</c:v>
                </c:pt>
                <c:pt idx="6602">
                  <c:v>0</c:v>
                </c:pt>
                <c:pt idx="6603">
                  <c:v>0</c:v>
                </c:pt>
                <c:pt idx="6604">
                  <c:v>0</c:v>
                </c:pt>
                <c:pt idx="6605">
                  <c:v>0</c:v>
                </c:pt>
                <c:pt idx="6606">
                  <c:v>0</c:v>
                </c:pt>
                <c:pt idx="6607">
                  <c:v>0</c:v>
                </c:pt>
                <c:pt idx="6608">
                  <c:v>0</c:v>
                </c:pt>
                <c:pt idx="6609">
                  <c:v>0</c:v>
                </c:pt>
                <c:pt idx="6610">
                  <c:v>0</c:v>
                </c:pt>
                <c:pt idx="6611">
                  <c:v>0</c:v>
                </c:pt>
                <c:pt idx="6612">
                  <c:v>0</c:v>
                </c:pt>
                <c:pt idx="6613">
                  <c:v>0</c:v>
                </c:pt>
                <c:pt idx="6614">
                  <c:v>0</c:v>
                </c:pt>
                <c:pt idx="6615">
                  <c:v>0</c:v>
                </c:pt>
                <c:pt idx="6616">
                  <c:v>0</c:v>
                </c:pt>
                <c:pt idx="6617">
                  <c:v>0</c:v>
                </c:pt>
                <c:pt idx="6618">
                  <c:v>0</c:v>
                </c:pt>
                <c:pt idx="6619">
                  <c:v>0</c:v>
                </c:pt>
                <c:pt idx="6620">
                  <c:v>0</c:v>
                </c:pt>
                <c:pt idx="6621">
                  <c:v>0</c:v>
                </c:pt>
                <c:pt idx="6622">
                  <c:v>0</c:v>
                </c:pt>
                <c:pt idx="6623">
                  <c:v>0</c:v>
                </c:pt>
                <c:pt idx="6624">
                  <c:v>0</c:v>
                </c:pt>
                <c:pt idx="6625">
                  <c:v>0</c:v>
                </c:pt>
                <c:pt idx="6626">
                  <c:v>0</c:v>
                </c:pt>
                <c:pt idx="6627">
                  <c:v>0</c:v>
                </c:pt>
                <c:pt idx="6628">
                  <c:v>0</c:v>
                </c:pt>
                <c:pt idx="6629">
                  <c:v>0</c:v>
                </c:pt>
                <c:pt idx="6630">
                  <c:v>0</c:v>
                </c:pt>
                <c:pt idx="6631">
                  <c:v>0</c:v>
                </c:pt>
                <c:pt idx="6632">
                  <c:v>0</c:v>
                </c:pt>
                <c:pt idx="6633">
                  <c:v>0</c:v>
                </c:pt>
                <c:pt idx="6634">
                  <c:v>0</c:v>
                </c:pt>
                <c:pt idx="6635">
                  <c:v>0</c:v>
                </c:pt>
                <c:pt idx="6636">
                  <c:v>0</c:v>
                </c:pt>
                <c:pt idx="6637">
                  <c:v>0</c:v>
                </c:pt>
                <c:pt idx="6638">
                  <c:v>0</c:v>
                </c:pt>
                <c:pt idx="6639">
                  <c:v>0</c:v>
                </c:pt>
                <c:pt idx="6640">
                  <c:v>0</c:v>
                </c:pt>
                <c:pt idx="6641">
                  <c:v>0</c:v>
                </c:pt>
                <c:pt idx="6642">
                  <c:v>0</c:v>
                </c:pt>
                <c:pt idx="6643">
                  <c:v>0</c:v>
                </c:pt>
                <c:pt idx="6644">
                  <c:v>0</c:v>
                </c:pt>
                <c:pt idx="6645">
                  <c:v>0</c:v>
                </c:pt>
                <c:pt idx="6646">
                  <c:v>0</c:v>
                </c:pt>
                <c:pt idx="6647">
                  <c:v>0</c:v>
                </c:pt>
                <c:pt idx="6648">
                  <c:v>0</c:v>
                </c:pt>
                <c:pt idx="6649">
                  <c:v>0</c:v>
                </c:pt>
                <c:pt idx="6650">
                  <c:v>0</c:v>
                </c:pt>
                <c:pt idx="6651">
                  <c:v>0</c:v>
                </c:pt>
                <c:pt idx="6652">
                  <c:v>0</c:v>
                </c:pt>
                <c:pt idx="6653">
                  <c:v>0</c:v>
                </c:pt>
                <c:pt idx="6654">
                  <c:v>0</c:v>
                </c:pt>
                <c:pt idx="6655">
                  <c:v>0</c:v>
                </c:pt>
                <c:pt idx="6656">
                  <c:v>0</c:v>
                </c:pt>
                <c:pt idx="6657">
                  <c:v>0</c:v>
                </c:pt>
                <c:pt idx="6658">
                  <c:v>0</c:v>
                </c:pt>
                <c:pt idx="6659">
                  <c:v>0</c:v>
                </c:pt>
                <c:pt idx="6660">
                  <c:v>0</c:v>
                </c:pt>
                <c:pt idx="6661">
                  <c:v>0</c:v>
                </c:pt>
                <c:pt idx="6662">
                  <c:v>0</c:v>
                </c:pt>
                <c:pt idx="6663">
                  <c:v>0</c:v>
                </c:pt>
                <c:pt idx="6664">
                  <c:v>0</c:v>
                </c:pt>
                <c:pt idx="6665">
                  <c:v>0</c:v>
                </c:pt>
                <c:pt idx="6666">
                  <c:v>0</c:v>
                </c:pt>
                <c:pt idx="6667">
                  <c:v>0</c:v>
                </c:pt>
                <c:pt idx="6668">
                  <c:v>0</c:v>
                </c:pt>
                <c:pt idx="6669">
                  <c:v>0</c:v>
                </c:pt>
                <c:pt idx="6670">
                  <c:v>0</c:v>
                </c:pt>
                <c:pt idx="6671">
                  <c:v>0</c:v>
                </c:pt>
                <c:pt idx="6672">
                  <c:v>0</c:v>
                </c:pt>
                <c:pt idx="6673">
                  <c:v>0</c:v>
                </c:pt>
                <c:pt idx="6674">
                  <c:v>0</c:v>
                </c:pt>
                <c:pt idx="6675">
                  <c:v>0</c:v>
                </c:pt>
                <c:pt idx="6676">
                  <c:v>0</c:v>
                </c:pt>
                <c:pt idx="6677">
                  <c:v>0</c:v>
                </c:pt>
                <c:pt idx="6678">
                  <c:v>0</c:v>
                </c:pt>
                <c:pt idx="6679">
                  <c:v>0</c:v>
                </c:pt>
                <c:pt idx="6680">
                  <c:v>0</c:v>
                </c:pt>
                <c:pt idx="6681">
                  <c:v>0</c:v>
                </c:pt>
                <c:pt idx="6682">
                  <c:v>0</c:v>
                </c:pt>
                <c:pt idx="6683">
                  <c:v>0</c:v>
                </c:pt>
                <c:pt idx="6684">
                  <c:v>0</c:v>
                </c:pt>
                <c:pt idx="6685">
                  <c:v>0</c:v>
                </c:pt>
                <c:pt idx="6686">
                  <c:v>0</c:v>
                </c:pt>
                <c:pt idx="6687">
                  <c:v>0</c:v>
                </c:pt>
                <c:pt idx="6688">
                  <c:v>0</c:v>
                </c:pt>
                <c:pt idx="6689">
                  <c:v>0</c:v>
                </c:pt>
                <c:pt idx="6690">
                  <c:v>0</c:v>
                </c:pt>
                <c:pt idx="6691">
                  <c:v>0</c:v>
                </c:pt>
                <c:pt idx="6692">
                  <c:v>0</c:v>
                </c:pt>
                <c:pt idx="6693">
                  <c:v>0</c:v>
                </c:pt>
                <c:pt idx="6694">
                  <c:v>0</c:v>
                </c:pt>
                <c:pt idx="6695">
                  <c:v>0</c:v>
                </c:pt>
                <c:pt idx="6696">
                  <c:v>0</c:v>
                </c:pt>
                <c:pt idx="6697">
                  <c:v>0</c:v>
                </c:pt>
                <c:pt idx="6698">
                  <c:v>0</c:v>
                </c:pt>
                <c:pt idx="6699">
                  <c:v>0</c:v>
                </c:pt>
                <c:pt idx="6700">
                  <c:v>0</c:v>
                </c:pt>
                <c:pt idx="6701">
                  <c:v>0</c:v>
                </c:pt>
                <c:pt idx="6702">
                  <c:v>0</c:v>
                </c:pt>
                <c:pt idx="6703">
                  <c:v>0</c:v>
                </c:pt>
                <c:pt idx="6704">
                  <c:v>0</c:v>
                </c:pt>
                <c:pt idx="6705">
                  <c:v>0</c:v>
                </c:pt>
                <c:pt idx="6706">
                  <c:v>0</c:v>
                </c:pt>
                <c:pt idx="6707">
                  <c:v>0</c:v>
                </c:pt>
                <c:pt idx="6708">
                  <c:v>0</c:v>
                </c:pt>
                <c:pt idx="6709">
                  <c:v>0</c:v>
                </c:pt>
                <c:pt idx="6710">
                  <c:v>0</c:v>
                </c:pt>
                <c:pt idx="6711">
                  <c:v>0</c:v>
                </c:pt>
                <c:pt idx="6712">
                  <c:v>0</c:v>
                </c:pt>
                <c:pt idx="6713">
                  <c:v>0</c:v>
                </c:pt>
                <c:pt idx="6714">
                  <c:v>0</c:v>
                </c:pt>
                <c:pt idx="6715">
                  <c:v>0</c:v>
                </c:pt>
                <c:pt idx="6716">
                  <c:v>0</c:v>
                </c:pt>
                <c:pt idx="6717">
                  <c:v>0</c:v>
                </c:pt>
                <c:pt idx="6718">
                  <c:v>0</c:v>
                </c:pt>
                <c:pt idx="6719">
                  <c:v>0</c:v>
                </c:pt>
                <c:pt idx="6720">
                  <c:v>0</c:v>
                </c:pt>
                <c:pt idx="6721">
                  <c:v>0</c:v>
                </c:pt>
                <c:pt idx="6722">
                  <c:v>0</c:v>
                </c:pt>
                <c:pt idx="6723">
                  <c:v>0</c:v>
                </c:pt>
                <c:pt idx="6724">
                  <c:v>0</c:v>
                </c:pt>
                <c:pt idx="6725">
                  <c:v>0</c:v>
                </c:pt>
                <c:pt idx="6726">
                  <c:v>0</c:v>
                </c:pt>
                <c:pt idx="6727">
                  <c:v>0</c:v>
                </c:pt>
                <c:pt idx="6728">
                  <c:v>0</c:v>
                </c:pt>
                <c:pt idx="6729">
                  <c:v>0</c:v>
                </c:pt>
                <c:pt idx="6730">
                  <c:v>0</c:v>
                </c:pt>
                <c:pt idx="6731">
                  <c:v>0</c:v>
                </c:pt>
                <c:pt idx="6732">
                  <c:v>0</c:v>
                </c:pt>
                <c:pt idx="6733">
                  <c:v>0</c:v>
                </c:pt>
                <c:pt idx="6734">
                  <c:v>0</c:v>
                </c:pt>
                <c:pt idx="6735">
                  <c:v>0</c:v>
                </c:pt>
                <c:pt idx="6736">
                  <c:v>0</c:v>
                </c:pt>
                <c:pt idx="6737">
                  <c:v>0</c:v>
                </c:pt>
                <c:pt idx="6738">
                  <c:v>0</c:v>
                </c:pt>
                <c:pt idx="6739">
                  <c:v>0</c:v>
                </c:pt>
                <c:pt idx="6740">
                  <c:v>0</c:v>
                </c:pt>
                <c:pt idx="6741">
                  <c:v>0</c:v>
                </c:pt>
                <c:pt idx="6742">
                  <c:v>0</c:v>
                </c:pt>
                <c:pt idx="6743">
                  <c:v>0</c:v>
                </c:pt>
                <c:pt idx="6744">
                  <c:v>0</c:v>
                </c:pt>
                <c:pt idx="6745">
                  <c:v>0</c:v>
                </c:pt>
                <c:pt idx="6746">
                  <c:v>0</c:v>
                </c:pt>
                <c:pt idx="6747">
                  <c:v>0</c:v>
                </c:pt>
                <c:pt idx="6748">
                  <c:v>0</c:v>
                </c:pt>
                <c:pt idx="6749">
                  <c:v>0</c:v>
                </c:pt>
                <c:pt idx="6750">
                  <c:v>0</c:v>
                </c:pt>
                <c:pt idx="6751">
                  <c:v>0</c:v>
                </c:pt>
                <c:pt idx="6752">
                  <c:v>0</c:v>
                </c:pt>
                <c:pt idx="6753">
                  <c:v>0</c:v>
                </c:pt>
                <c:pt idx="6754">
                  <c:v>0</c:v>
                </c:pt>
                <c:pt idx="6755">
                  <c:v>0</c:v>
                </c:pt>
                <c:pt idx="6756">
                  <c:v>0</c:v>
                </c:pt>
                <c:pt idx="6757">
                  <c:v>0</c:v>
                </c:pt>
                <c:pt idx="6758">
                  <c:v>0</c:v>
                </c:pt>
                <c:pt idx="6759">
                  <c:v>0</c:v>
                </c:pt>
                <c:pt idx="6760">
                  <c:v>0</c:v>
                </c:pt>
                <c:pt idx="6761">
                  <c:v>0</c:v>
                </c:pt>
                <c:pt idx="6762">
                  <c:v>0</c:v>
                </c:pt>
                <c:pt idx="6763">
                  <c:v>0</c:v>
                </c:pt>
                <c:pt idx="6764">
                  <c:v>0</c:v>
                </c:pt>
                <c:pt idx="6765">
                  <c:v>0</c:v>
                </c:pt>
                <c:pt idx="6766">
                  <c:v>0</c:v>
                </c:pt>
                <c:pt idx="6767">
                  <c:v>0</c:v>
                </c:pt>
                <c:pt idx="6768">
                  <c:v>0</c:v>
                </c:pt>
                <c:pt idx="6769">
                  <c:v>0</c:v>
                </c:pt>
                <c:pt idx="6770">
                  <c:v>0</c:v>
                </c:pt>
                <c:pt idx="6771">
                  <c:v>0</c:v>
                </c:pt>
                <c:pt idx="6772">
                  <c:v>0</c:v>
                </c:pt>
                <c:pt idx="6773">
                  <c:v>0</c:v>
                </c:pt>
                <c:pt idx="6774">
                  <c:v>0</c:v>
                </c:pt>
                <c:pt idx="6775">
                  <c:v>0</c:v>
                </c:pt>
                <c:pt idx="6776">
                  <c:v>0</c:v>
                </c:pt>
                <c:pt idx="6777">
                  <c:v>0</c:v>
                </c:pt>
                <c:pt idx="6778">
                  <c:v>0</c:v>
                </c:pt>
                <c:pt idx="6779">
                  <c:v>0</c:v>
                </c:pt>
                <c:pt idx="6780">
                  <c:v>0</c:v>
                </c:pt>
                <c:pt idx="6781">
                  <c:v>0</c:v>
                </c:pt>
                <c:pt idx="6782">
                  <c:v>0</c:v>
                </c:pt>
                <c:pt idx="6783">
                  <c:v>0</c:v>
                </c:pt>
                <c:pt idx="6784">
                  <c:v>0</c:v>
                </c:pt>
                <c:pt idx="6785">
                  <c:v>0</c:v>
                </c:pt>
                <c:pt idx="6786">
                  <c:v>0</c:v>
                </c:pt>
                <c:pt idx="6787">
                  <c:v>0</c:v>
                </c:pt>
                <c:pt idx="6788">
                  <c:v>0</c:v>
                </c:pt>
                <c:pt idx="6789">
                  <c:v>0</c:v>
                </c:pt>
                <c:pt idx="6790">
                  <c:v>0</c:v>
                </c:pt>
                <c:pt idx="6791">
                  <c:v>0</c:v>
                </c:pt>
                <c:pt idx="6792">
                  <c:v>0</c:v>
                </c:pt>
                <c:pt idx="6793">
                  <c:v>0</c:v>
                </c:pt>
                <c:pt idx="6794">
                  <c:v>0</c:v>
                </c:pt>
                <c:pt idx="6795">
                  <c:v>0</c:v>
                </c:pt>
                <c:pt idx="6796">
                  <c:v>0</c:v>
                </c:pt>
                <c:pt idx="6797">
                  <c:v>0</c:v>
                </c:pt>
                <c:pt idx="6798">
                  <c:v>0</c:v>
                </c:pt>
                <c:pt idx="6799">
                  <c:v>0</c:v>
                </c:pt>
                <c:pt idx="6800">
                  <c:v>0</c:v>
                </c:pt>
                <c:pt idx="6801">
                  <c:v>0</c:v>
                </c:pt>
                <c:pt idx="6802">
                  <c:v>0</c:v>
                </c:pt>
                <c:pt idx="6803">
                  <c:v>0</c:v>
                </c:pt>
                <c:pt idx="6804">
                  <c:v>0</c:v>
                </c:pt>
                <c:pt idx="6805">
                  <c:v>0</c:v>
                </c:pt>
                <c:pt idx="6806">
                  <c:v>0</c:v>
                </c:pt>
                <c:pt idx="6807">
                  <c:v>0</c:v>
                </c:pt>
                <c:pt idx="6808">
                  <c:v>0</c:v>
                </c:pt>
                <c:pt idx="6809">
                  <c:v>0</c:v>
                </c:pt>
                <c:pt idx="6810">
                  <c:v>0</c:v>
                </c:pt>
                <c:pt idx="6811">
                  <c:v>0</c:v>
                </c:pt>
                <c:pt idx="6812">
                  <c:v>0</c:v>
                </c:pt>
                <c:pt idx="6813">
                  <c:v>0</c:v>
                </c:pt>
                <c:pt idx="6814">
                  <c:v>0</c:v>
                </c:pt>
                <c:pt idx="6815">
                  <c:v>0</c:v>
                </c:pt>
                <c:pt idx="6816">
                  <c:v>0</c:v>
                </c:pt>
                <c:pt idx="6817">
                  <c:v>0</c:v>
                </c:pt>
                <c:pt idx="6818">
                  <c:v>0</c:v>
                </c:pt>
                <c:pt idx="6819">
                  <c:v>0</c:v>
                </c:pt>
                <c:pt idx="6820">
                  <c:v>0</c:v>
                </c:pt>
                <c:pt idx="6821">
                  <c:v>0</c:v>
                </c:pt>
                <c:pt idx="6822">
                  <c:v>0</c:v>
                </c:pt>
                <c:pt idx="6823">
                  <c:v>0</c:v>
                </c:pt>
                <c:pt idx="6824">
                  <c:v>0</c:v>
                </c:pt>
                <c:pt idx="6825">
                  <c:v>0</c:v>
                </c:pt>
                <c:pt idx="6826">
                  <c:v>0</c:v>
                </c:pt>
                <c:pt idx="6827">
                  <c:v>0</c:v>
                </c:pt>
                <c:pt idx="6828">
                  <c:v>0</c:v>
                </c:pt>
                <c:pt idx="6829">
                  <c:v>0</c:v>
                </c:pt>
                <c:pt idx="6830">
                  <c:v>0</c:v>
                </c:pt>
                <c:pt idx="6831">
                  <c:v>0</c:v>
                </c:pt>
                <c:pt idx="6832">
                  <c:v>0</c:v>
                </c:pt>
                <c:pt idx="6833">
                  <c:v>0</c:v>
                </c:pt>
                <c:pt idx="6834">
                  <c:v>0</c:v>
                </c:pt>
                <c:pt idx="6835">
                  <c:v>0</c:v>
                </c:pt>
                <c:pt idx="6836">
                  <c:v>0</c:v>
                </c:pt>
                <c:pt idx="6837">
                  <c:v>0</c:v>
                </c:pt>
                <c:pt idx="6838">
                  <c:v>0</c:v>
                </c:pt>
                <c:pt idx="6839">
                  <c:v>0</c:v>
                </c:pt>
                <c:pt idx="6840">
                  <c:v>0</c:v>
                </c:pt>
                <c:pt idx="6841">
                  <c:v>0</c:v>
                </c:pt>
                <c:pt idx="6842">
                  <c:v>0</c:v>
                </c:pt>
                <c:pt idx="6843">
                  <c:v>0</c:v>
                </c:pt>
                <c:pt idx="6844">
                  <c:v>0</c:v>
                </c:pt>
                <c:pt idx="6845">
                  <c:v>0</c:v>
                </c:pt>
                <c:pt idx="6846">
                  <c:v>0</c:v>
                </c:pt>
                <c:pt idx="6847">
                  <c:v>0</c:v>
                </c:pt>
                <c:pt idx="6848">
                  <c:v>0</c:v>
                </c:pt>
                <c:pt idx="6849">
                  <c:v>0</c:v>
                </c:pt>
                <c:pt idx="6850">
                  <c:v>0</c:v>
                </c:pt>
                <c:pt idx="6851">
                  <c:v>0</c:v>
                </c:pt>
                <c:pt idx="6852">
                  <c:v>0</c:v>
                </c:pt>
                <c:pt idx="6853">
                  <c:v>0</c:v>
                </c:pt>
                <c:pt idx="6854">
                  <c:v>0</c:v>
                </c:pt>
                <c:pt idx="6855">
                  <c:v>0</c:v>
                </c:pt>
                <c:pt idx="6856">
                  <c:v>0</c:v>
                </c:pt>
                <c:pt idx="6857">
                  <c:v>0</c:v>
                </c:pt>
                <c:pt idx="6858">
                  <c:v>0</c:v>
                </c:pt>
                <c:pt idx="6859">
                  <c:v>0</c:v>
                </c:pt>
                <c:pt idx="6860">
                  <c:v>0</c:v>
                </c:pt>
                <c:pt idx="6861">
                  <c:v>0</c:v>
                </c:pt>
                <c:pt idx="6862">
                  <c:v>0</c:v>
                </c:pt>
                <c:pt idx="6863">
                  <c:v>0</c:v>
                </c:pt>
                <c:pt idx="6864">
                  <c:v>0</c:v>
                </c:pt>
                <c:pt idx="6865">
                  <c:v>0</c:v>
                </c:pt>
                <c:pt idx="6866">
                  <c:v>0</c:v>
                </c:pt>
                <c:pt idx="6867">
                  <c:v>0</c:v>
                </c:pt>
                <c:pt idx="6868">
                  <c:v>0</c:v>
                </c:pt>
                <c:pt idx="6869">
                  <c:v>0</c:v>
                </c:pt>
                <c:pt idx="6870">
                  <c:v>0</c:v>
                </c:pt>
                <c:pt idx="6871">
                  <c:v>0</c:v>
                </c:pt>
                <c:pt idx="6872">
                  <c:v>0</c:v>
                </c:pt>
                <c:pt idx="6873">
                  <c:v>0</c:v>
                </c:pt>
                <c:pt idx="6874">
                  <c:v>0</c:v>
                </c:pt>
                <c:pt idx="6875">
                  <c:v>0</c:v>
                </c:pt>
                <c:pt idx="6876">
                  <c:v>0</c:v>
                </c:pt>
                <c:pt idx="6877">
                  <c:v>0</c:v>
                </c:pt>
                <c:pt idx="6878">
                  <c:v>0</c:v>
                </c:pt>
                <c:pt idx="6879">
                  <c:v>0</c:v>
                </c:pt>
                <c:pt idx="6880">
                  <c:v>0</c:v>
                </c:pt>
                <c:pt idx="6881">
                  <c:v>0</c:v>
                </c:pt>
                <c:pt idx="6882">
                  <c:v>0</c:v>
                </c:pt>
                <c:pt idx="6883">
                  <c:v>0</c:v>
                </c:pt>
                <c:pt idx="6884">
                  <c:v>0</c:v>
                </c:pt>
                <c:pt idx="6885">
                  <c:v>0</c:v>
                </c:pt>
                <c:pt idx="6886">
                  <c:v>0</c:v>
                </c:pt>
                <c:pt idx="6887">
                  <c:v>0</c:v>
                </c:pt>
                <c:pt idx="6888">
                  <c:v>0</c:v>
                </c:pt>
                <c:pt idx="6889">
                  <c:v>0</c:v>
                </c:pt>
                <c:pt idx="6890">
                  <c:v>0</c:v>
                </c:pt>
                <c:pt idx="6891">
                  <c:v>0</c:v>
                </c:pt>
                <c:pt idx="6892">
                  <c:v>0</c:v>
                </c:pt>
                <c:pt idx="6893">
                  <c:v>0</c:v>
                </c:pt>
                <c:pt idx="6894">
                  <c:v>0</c:v>
                </c:pt>
                <c:pt idx="6895">
                  <c:v>0</c:v>
                </c:pt>
                <c:pt idx="6896">
                  <c:v>0</c:v>
                </c:pt>
                <c:pt idx="6897">
                  <c:v>0</c:v>
                </c:pt>
                <c:pt idx="6898">
                  <c:v>0</c:v>
                </c:pt>
                <c:pt idx="6899">
                  <c:v>0</c:v>
                </c:pt>
                <c:pt idx="6900">
                  <c:v>0</c:v>
                </c:pt>
                <c:pt idx="6901">
                  <c:v>0</c:v>
                </c:pt>
                <c:pt idx="6902">
                  <c:v>0</c:v>
                </c:pt>
                <c:pt idx="6903">
                  <c:v>0</c:v>
                </c:pt>
                <c:pt idx="6904">
                  <c:v>0</c:v>
                </c:pt>
                <c:pt idx="6905">
                  <c:v>0</c:v>
                </c:pt>
                <c:pt idx="6906">
                  <c:v>0</c:v>
                </c:pt>
                <c:pt idx="6907">
                  <c:v>0</c:v>
                </c:pt>
                <c:pt idx="6908">
                  <c:v>0</c:v>
                </c:pt>
                <c:pt idx="6909">
                  <c:v>0</c:v>
                </c:pt>
                <c:pt idx="6910">
                  <c:v>0</c:v>
                </c:pt>
                <c:pt idx="6911">
                  <c:v>0</c:v>
                </c:pt>
                <c:pt idx="6912">
                  <c:v>0</c:v>
                </c:pt>
                <c:pt idx="6913">
                  <c:v>0</c:v>
                </c:pt>
                <c:pt idx="6914">
                  <c:v>0</c:v>
                </c:pt>
                <c:pt idx="6915">
                  <c:v>0</c:v>
                </c:pt>
                <c:pt idx="6916">
                  <c:v>0</c:v>
                </c:pt>
                <c:pt idx="6917">
                  <c:v>0</c:v>
                </c:pt>
                <c:pt idx="6918">
                  <c:v>0</c:v>
                </c:pt>
                <c:pt idx="6919">
                  <c:v>0</c:v>
                </c:pt>
                <c:pt idx="6920">
                  <c:v>0</c:v>
                </c:pt>
                <c:pt idx="6921">
                  <c:v>0</c:v>
                </c:pt>
                <c:pt idx="6922">
                  <c:v>0</c:v>
                </c:pt>
                <c:pt idx="6923">
                  <c:v>0</c:v>
                </c:pt>
                <c:pt idx="6924">
                  <c:v>0</c:v>
                </c:pt>
                <c:pt idx="6925">
                  <c:v>0</c:v>
                </c:pt>
                <c:pt idx="6926">
                  <c:v>0</c:v>
                </c:pt>
                <c:pt idx="6927">
                  <c:v>0</c:v>
                </c:pt>
                <c:pt idx="6928">
                  <c:v>0</c:v>
                </c:pt>
                <c:pt idx="6929">
                  <c:v>0</c:v>
                </c:pt>
                <c:pt idx="6930">
                  <c:v>0</c:v>
                </c:pt>
                <c:pt idx="6931">
                  <c:v>0</c:v>
                </c:pt>
                <c:pt idx="6932">
                  <c:v>0</c:v>
                </c:pt>
                <c:pt idx="6933">
                  <c:v>0</c:v>
                </c:pt>
                <c:pt idx="6934">
                  <c:v>0</c:v>
                </c:pt>
                <c:pt idx="6935">
                  <c:v>0</c:v>
                </c:pt>
                <c:pt idx="6936">
                  <c:v>0</c:v>
                </c:pt>
                <c:pt idx="6937">
                  <c:v>0</c:v>
                </c:pt>
                <c:pt idx="6938">
                  <c:v>0</c:v>
                </c:pt>
                <c:pt idx="6939">
                  <c:v>0</c:v>
                </c:pt>
                <c:pt idx="6940">
                  <c:v>0</c:v>
                </c:pt>
                <c:pt idx="6941">
                  <c:v>0</c:v>
                </c:pt>
                <c:pt idx="6942">
                  <c:v>0</c:v>
                </c:pt>
                <c:pt idx="6943">
                  <c:v>0</c:v>
                </c:pt>
                <c:pt idx="6944">
                  <c:v>0</c:v>
                </c:pt>
                <c:pt idx="6945">
                  <c:v>0</c:v>
                </c:pt>
                <c:pt idx="6946">
                  <c:v>0</c:v>
                </c:pt>
                <c:pt idx="6947">
                  <c:v>0</c:v>
                </c:pt>
                <c:pt idx="6948">
                  <c:v>0</c:v>
                </c:pt>
                <c:pt idx="6949">
                  <c:v>0</c:v>
                </c:pt>
                <c:pt idx="6950">
                  <c:v>0</c:v>
                </c:pt>
                <c:pt idx="6951">
                  <c:v>0</c:v>
                </c:pt>
                <c:pt idx="6952">
                  <c:v>0</c:v>
                </c:pt>
                <c:pt idx="6953">
                  <c:v>0</c:v>
                </c:pt>
                <c:pt idx="6954">
                  <c:v>0</c:v>
                </c:pt>
                <c:pt idx="6955">
                  <c:v>0</c:v>
                </c:pt>
                <c:pt idx="6956">
                  <c:v>0</c:v>
                </c:pt>
                <c:pt idx="6957">
                  <c:v>0</c:v>
                </c:pt>
                <c:pt idx="6958">
                  <c:v>0</c:v>
                </c:pt>
                <c:pt idx="6959">
                  <c:v>0</c:v>
                </c:pt>
                <c:pt idx="6960">
                  <c:v>0</c:v>
                </c:pt>
                <c:pt idx="6961">
                  <c:v>0</c:v>
                </c:pt>
                <c:pt idx="6962">
                  <c:v>0</c:v>
                </c:pt>
                <c:pt idx="6963">
                  <c:v>0</c:v>
                </c:pt>
                <c:pt idx="6964">
                  <c:v>0</c:v>
                </c:pt>
                <c:pt idx="6965">
                  <c:v>0</c:v>
                </c:pt>
                <c:pt idx="6966">
                  <c:v>0</c:v>
                </c:pt>
                <c:pt idx="6967">
                  <c:v>0</c:v>
                </c:pt>
                <c:pt idx="6968">
                  <c:v>0</c:v>
                </c:pt>
                <c:pt idx="6969">
                  <c:v>0</c:v>
                </c:pt>
                <c:pt idx="6970">
                  <c:v>0</c:v>
                </c:pt>
                <c:pt idx="6971">
                  <c:v>0</c:v>
                </c:pt>
                <c:pt idx="6972">
                  <c:v>0</c:v>
                </c:pt>
                <c:pt idx="6973">
                  <c:v>0</c:v>
                </c:pt>
                <c:pt idx="6974">
                  <c:v>0</c:v>
                </c:pt>
                <c:pt idx="6975">
                  <c:v>0</c:v>
                </c:pt>
                <c:pt idx="6976">
                  <c:v>0</c:v>
                </c:pt>
                <c:pt idx="6977">
                  <c:v>0</c:v>
                </c:pt>
                <c:pt idx="6978">
                  <c:v>0</c:v>
                </c:pt>
                <c:pt idx="6979">
                  <c:v>0</c:v>
                </c:pt>
                <c:pt idx="6980">
                  <c:v>0</c:v>
                </c:pt>
                <c:pt idx="6981">
                  <c:v>0</c:v>
                </c:pt>
                <c:pt idx="6982">
                  <c:v>0</c:v>
                </c:pt>
                <c:pt idx="6983">
                  <c:v>0</c:v>
                </c:pt>
                <c:pt idx="6984">
                  <c:v>0</c:v>
                </c:pt>
                <c:pt idx="6985">
                  <c:v>0</c:v>
                </c:pt>
                <c:pt idx="6986">
                  <c:v>0</c:v>
                </c:pt>
                <c:pt idx="6987">
                  <c:v>0</c:v>
                </c:pt>
                <c:pt idx="6988">
                  <c:v>0</c:v>
                </c:pt>
                <c:pt idx="6989">
                  <c:v>0</c:v>
                </c:pt>
                <c:pt idx="6990">
                  <c:v>0</c:v>
                </c:pt>
                <c:pt idx="6991">
                  <c:v>0</c:v>
                </c:pt>
                <c:pt idx="6992">
                  <c:v>0</c:v>
                </c:pt>
                <c:pt idx="6993">
                  <c:v>0</c:v>
                </c:pt>
                <c:pt idx="6994">
                  <c:v>0</c:v>
                </c:pt>
                <c:pt idx="6995">
                  <c:v>0</c:v>
                </c:pt>
                <c:pt idx="6996">
                  <c:v>0</c:v>
                </c:pt>
              </c:numCache>
            </c:numRef>
          </c:val>
          <c:smooth val="0"/>
          <c:extLst>
            <c:ext xmlns:c16="http://schemas.microsoft.com/office/drawing/2014/chart" uri="{C3380CC4-5D6E-409C-BE32-E72D297353CC}">
              <c16:uniqueId val="{00000000-0AED-3E4A-81E3-78C09792B83D}"/>
            </c:ext>
          </c:extLst>
        </c:ser>
        <c:ser>
          <c:idx val="1"/>
          <c:order val="1"/>
          <c:tx>
            <c:strRef>
              <c:f>'Q8)Regression Equation'!$J$4</c:f>
              <c:strCache>
                <c:ptCount val="1"/>
                <c:pt idx="0">
                  <c:v>Regression Equation</c:v>
                </c:pt>
              </c:strCache>
            </c:strRef>
          </c:tx>
          <c:spPr>
            <a:ln w="28575" cap="rnd">
              <a:solidFill>
                <a:schemeClr val="accent2"/>
              </a:solidFill>
              <a:round/>
            </a:ln>
            <a:effectLst/>
          </c:spPr>
          <c:marker>
            <c:symbol val="none"/>
          </c:marker>
          <c:val>
            <c:numRef>
              <c:f>'Q8)Regression Equation'!$J$5:$J$7001</c:f>
              <c:numCache>
                <c:formatCode>General</c:formatCode>
                <c:ptCount val="6997"/>
                <c:pt idx="0">
                  <c:v>3.7604457779520768E-2</c:v>
                </c:pt>
                <c:pt idx="1">
                  <c:v>2.4964635669256489E-2</c:v>
                </c:pt>
                <c:pt idx="2">
                  <c:v>-7.1243301197150182E-3</c:v>
                </c:pt>
                <c:pt idx="3">
                  <c:v>-6.9490620679698604E-3</c:v>
                </c:pt>
                <c:pt idx="4">
                  <c:v>-7.0051012185075312E-3</c:v>
                </c:pt>
                <c:pt idx="5">
                  <c:v>-6.6963219898203861E-3</c:v>
                </c:pt>
                <c:pt idx="6">
                  <c:v>-6.60887687234592E-3</c:v>
                </c:pt>
                <c:pt idx="7">
                  <c:v>-6.6523679056827122E-3</c:v>
                </c:pt>
                <c:pt idx="8">
                  <c:v>-6.6972593281509028E-3</c:v>
                </c:pt>
                <c:pt idx="9">
                  <c:v>-6.7544637244131393E-3</c:v>
                </c:pt>
                <c:pt idx="10">
                  <c:v>-6.7928514945392524E-3</c:v>
                </c:pt>
                <c:pt idx="11">
                  <c:v>-6.7626194040350937E-3</c:v>
                </c:pt>
                <c:pt idx="12">
                  <c:v>-6.5772481554825799E-3</c:v>
                </c:pt>
                <c:pt idx="13">
                  <c:v>-6.5874636168777954E-3</c:v>
                </c:pt>
                <c:pt idx="14">
                  <c:v>-6.6439403203329547E-3</c:v>
                </c:pt>
                <c:pt idx="15">
                  <c:v>-6.6046864549445129E-3</c:v>
                </c:pt>
                <c:pt idx="16">
                  <c:v>-6.2298892127843463E-3</c:v>
                </c:pt>
                <c:pt idx="17">
                  <c:v>-6.1348978449387156E-3</c:v>
                </c:pt>
                <c:pt idx="18">
                  <c:v>-6.0916772894828337E-3</c:v>
                </c:pt>
                <c:pt idx="19">
                  <c:v>-6.0587906898296401E-3</c:v>
                </c:pt>
                <c:pt idx="20">
                  <c:v>-6.2904403183597002E-3</c:v>
                </c:pt>
                <c:pt idx="21">
                  <c:v>-6.4169483559345349E-3</c:v>
                </c:pt>
                <c:pt idx="22">
                  <c:v>-6.3949446189628676E-3</c:v>
                </c:pt>
                <c:pt idx="23">
                  <c:v>-6.3801411353747841E-3</c:v>
                </c:pt>
                <c:pt idx="24">
                  <c:v>-6.4658159546942687E-3</c:v>
                </c:pt>
                <c:pt idx="25">
                  <c:v>-6.6075585907125886E-3</c:v>
                </c:pt>
                <c:pt idx="26">
                  <c:v>-6.6796348837659027E-3</c:v>
                </c:pt>
                <c:pt idx="27">
                  <c:v>-6.6788218670729522E-3</c:v>
                </c:pt>
                <c:pt idx="28">
                  <c:v>-6.6502446920453295E-3</c:v>
                </c:pt>
                <c:pt idx="29">
                  <c:v>-6.6243757908817499E-3</c:v>
                </c:pt>
                <c:pt idx="30">
                  <c:v>-6.5767665657946962E-3</c:v>
                </c:pt>
                <c:pt idx="31">
                  <c:v>-6.809670168500986E-3</c:v>
                </c:pt>
                <c:pt idx="32">
                  <c:v>-7.1971622894475224E-3</c:v>
                </c:pt>
                <c:pt idx="33">
                  <c:v>-7.6157815534662531E-3</c:v>
                </c:pt>
                <c:pt idx="34">
                  <c:v>-8.0297710489150471E-3</c:v>
                </c:pt>
                <c:pt idx="35">
                  <c:v>-8.2631167377605307E-3</c:v>
                </c:pt>
                <c:pt idx="36">
                  <c:v>-8.3149703511875891E-3</c:v>
                </c:pt>
                <c:pt idx="37">
                  <c:v>-8.0763673592076438E-3</c:v>
                </c:pt>
                <c:pt idx="38">
                  <c:v>-8.0275154372030331E-3</c:v>
                </c:pt>
                <c:pt idx="39">
                  <c:v>-8.0496273522068888E-3</c:v>
                </c:pt>
                <c:pt idx="40">
                  <c:v>-8.1100946274012195E-3</c:v>
                </c:pt>
                <c:pt idx="41">
                  <c:v>-8.0235748147795098E-3</c:v>
                </c:pt>
                <c:pt idx="42">
                  <c:v>-8.8071258304361702E-3</c:v>
                </c:pt>
                <c:pt idx="43">
                  <c:v>-8.1390786740577394E-3</c:v>
                </c:pt>
                <c:pt idx="44">
                  <c:v>-8.0410703860433926E-3</c:v>
                </c:pt>
                <c:pt idx="45">
                  <c:v>-8.324293821829875E-3</c:v>
                </c:pt>
                <c:pt idx="46">
                  <c:v>-8.4644254783087479E-3</c:v>
                </c:pt>
                <c:pt idx="47">
                  <c:v>-8.3064117091139061E-3</c:v>
                </c:pt>
                <c:pt idx="48">
                  <c:v>-8.3061271696391499E-3</c:v>
                </c:pt>
                <c:pt idx="49">
                  <c:v>-8.3024483541154614E-3</c:v>
                </c:pt>
                <c:pt idx="50">
                  <c:v>-8.3026659372927025E-3</c:v>
                </c:pt>
                <c:pt idx="51">
                  <c:v>-8.2444647936681797E-3</c:v>
                </c:pt>
                <c:pt idx="52">
                  <c:v>-8.1593990329926949E-3</c:v>
                </c:pt>
                <c:pt idx="53">
                  <c:v>-8.0374047147444075E-3</c:v>
                </c:pt>
                <c:pt idx="54">
                  <c:v>-8.0820386346066742E-3</c:v>
                </c:pt>
                <c:pt idx="55">
                  <c:v>-8.1691740095165971E-3</c:v>
                </c:pt>
                <c:pt idx="56">
                  <c:v>-8.1507010746913935E-3</c:v>
                </c:pt>
                <c:pt idx="57">
                  <c:v>-8.4110594520189538E-3</c:v>
                </c:pt>
                <c:pt idx="58">
                  <c:v>-8.4149010727093652E-3</c:v>
                </c:pt>
                <c:pt idx="59">
                  <c:v>-8.3699090787961207E-3</c:v>
                </c:pt>
                <c:pt idx="60">
                  <c:v>-8.1891958862658053E-3</c:v>
                </c:pt>
                <c:pt idx="61">
                  <c:v>-8.1859424025505743E-3</c:v>
                </c:pt>
                <c:pt idx="62">
                  <c:v>-8.0691983911450101E-3</c:v>
                </c:pt>
                <c:pt idx="63">
                  <c:v>-7.9141044902506681E-3</c:v>
                </c:pt>
                <c:pt idx="64">
                  <c:v>-7.9432577805351057E-3</c:v>
                </c:pt>
                <c:pt idx="65">
                  <c:v>-7.9268349055569981E-3</c:v>
                </c:pt>
                <c:pt idx="66">
                  <c:v>-7.9553033788181179E-3</c:v>
                </c:pt>
                <c:pt idx="67">
                  <c:v>-8.0952709032231316E-3</c:v>
                </c:pt>
                <c:pt idx="68">
                  <c:v>-8.1083296301120936E-3</c:v>
                </c:pt>
                <c:pt idx="69">
                  <c:v>-8.0704958705692456E-3</c:v>
                </c:pt>
                <c:pt idx="70">
                  <c:v>-8.028923461376616E-3</c:v>
                </c:pt>
                <c:pt idx="71">
                  <c:v>-8.0810613265462072E-3</c:v>
                </c:pt>
                <c:pt idx="72">
                  <c:v>-7.9481015933146101E-3</c:v>
                </c:pt>
                <c:pt idx="73">
                  <c:v>-8.4943688009367045E-3</c:v>
                </c:pt>
                <c:pt idx="74">
                  <c:v>-8.5476926339369975E-3</c:v>
                </c:pt>
                <c:pt idx="75">
                  <c:v>-8.5967853980830726E-3</c:v>
                </c:pt>
                <c:pt idx="76">
                  <c:v>-8.6091152907931921E-3</c:v>
                </c:pt>
                <c:pt idx="77">
                  <c:v>-8.7952860741105175E-3</c:v>
                </c:pt>
                <c:pt idx="78">
                  <c:v>-8.8102577451509047E-3</c:v>
                </c:pt>
                <c:pt idx="79">
                  <c:v>-8.740542910491058E-3</c:v>
                </c:pt>
                <c:pt idx="80">
                  <c:v>-8.7579048800263057E-3</c:v>
                </c:pt>
                <c:pt idx="81">
                  <c:v>-8.7676208136995993E-3</c:v>
                </c:pt>
                <c:pt idx="82">
                  <c:v>-8.8491859325016374E-3</c:v>
                </c:pt>
                <c:pt idx="83">
                  <c:v>-8.9188198891110709E-3</c:v>
                </c:pt>
                <c:pt idx="84">
                  <c:v>-9.0486098878082375E-3</c:v>
                </c:pt>
                <c:pt idx="85">
                  <c:v>-8.248349231821616E-3</c:v>
                </c:pt>
                <c:pt idx="86">
                  <c:v>-8.2679112673667791E-3</c:v>
                </c:pt>
                <c:pt idx="87">
                  <c:v>-8.2619759112916597E-3</c:v>
                </c:pt>
                <c:pt idx="88">
                  <c:v>-8.2540057209412529E-3</c:v>
                </c:pt>
                <c:pt idx="89">
                  <c:v>-8.094509109127913E-3</c:v>
                </c:pt>
                <c:pt idx="90">
                  <c:v>-8.3289212709500293E-3</c:v>
                </c:pt>
                <c:pt idx="91">
                  <c:v>-8.3065310481070746E-3</c:v>
                </c:pt>
                <c:pt idx="92">
                  <c:v>-8.4020538048515253E-3</c:v>
                </c:pt>
                <c:pt idx="93">
                  <c:v>-8.2070289508735204E-3</c:v>
                </c:pt>
                <c:pt idx="94">
                  <c:v>-8.0107884424560176E-3</c:v>
                </c:pt>
                <c:pt idx="95">
                  <c:v>-8.0645280792961283E-3</c:v>
                </c:pt>
                <c:pt idx="96">
                  <c:v>-8.0296360602787938E-3</c:v>
                </c:pt>
                <c:pt idx="97">
                  <c:v>-7.9928598790169995E-3</c:v>
                </c:pt>
                <c:pt idx="98">
                  <c:v>-7.8649911868999972E-3</c:v>
                </c:pt>
                <c:pt idx="99">
                  <c:v>-7.8960584124585405E-3</c:v>
                </c:pt>
                <c:pt idx="100">
                  <c:v>-7.737919867708205E-3</c:v>
                </c:pt>
                <c:pt idx="101">
                  <c:v>-7.6727779357529235E-3</c:v>
                </c:pt>
                <c:pt idx="102">
                  <c:v>-7.7462778364034094E-3</c:v>
                </c:pt>
                <c:pt idx="103">
                  <c:v>-7.9200055803926965E-3</c:v>
                </c:pt>
                <c:pt idx="104">
                  <c:v>-7.8913656576327269E-3</c:v>
                </c:pt>
                <c:pt idx="105">
                  <c:v>-7.7422374236393744E-3</c:v>
                </c:pt>
                <c:pt idx="106">
                  <c:v>-7.7228500297789535E-3</c:v>
                </c:pt>
                <c:pt idx="107">
                  <c:v>-7.5530321673198519E-3</c:v>
                </c:pt>
                <c:pt idx="108">
                  <c:v>-7.4621778474908418E-3</c:v>
                </c:pt>
                <c:pt idx="109">
                  <c:v>-7.3915425153020589E-3</c:v>
                </c:pt>
                <c:pt idx="110">
                  <c:v>-7.3814324362935918E-3</c:v>
                </c:pt>
                <c:pt idx="111">
                  <c:v>-7.4380494350857187E-3</c:v>
                </c:pt>
                <c:pt idx="112">
                  <c:v>-7.4419441218307137E-3</c:v>
                </c:pt>
                <c:pt idx="113">
                  <c:v>-7.4778426971728838E-3</c:v>
                </c:pt>
                <c:pt idx="114">
                  <c:v>-7.4823877100340342E-3</c:v>
                </c:pt>
                <c:pt idx="115">
                  <c:v>-8.2221745759286664E-3</c:v>
                </c:pt>
                <c:pt idx="116">
                  <c:v>-8.1019882641081963E-3</c:v>
                </c:pt>
                <c:pt idx="117">
                  <c:v>-8.0726492977186877E-3</c:v>
                </c:pt>
                <c:pt idx="118">
                  <c:v>-8.0937364322110905E-3</c:v>
                </c:pt>
                <c:pt idx="119">
                  <c:v>-8.373190358214988E-3</c:v>
                </c:pt>
                <c:pt idx="120">
                  <c:v>-8.4316713047018661E-3</c:v>
                </c:pt>
                <c:pt idx="121">
                  <c:v>-8.4998207577781371E-3</c:v>
                </c:pt>
                <c:pt idx="122">
                  <c:v>-8.7209695347310705E-3</c:v>
                </c:pt>
                <c:pt idx="123">
                  <c:v>-8.6950305574299072E-3</c:v>
                </c:pt>
                <c:pt idx="124">
                  <c:v>-8.8155457294416609E-3</c:v>
                </c:pt>
                <c:pt idx="125">
                  <c:v>-8.5949465996568129E-3</c:v>
                </c:pt>
                <c:pt idx="126">
                  <c:v>-8.4300015383941829E-3</c:v>
                </c:pt>
                <c:pt idx="127">
                  <c:v>-8.3541846196358606E-3</c:v>
                </c:pt>
                <c:pt idx="128">
                  <c:v>-8.4004373985978511E-3</c:v>
                </c:pt>
                <c:pt idx="129">
                  <c:v>-7.9816513425390034E-3</c:v>
                </c:pt>
                <c:pt idx="130">
                  <c:v>-7.9754890248201031E-3</c:v>
                </c:pt>
                <c:pt idx="131">
                  <c:v>-8.0673826252946647E-3</c:v>
                </c:pt>
                <c:pt idx="132">
                  <c:v>-8.1246356028461496E-3</c:v>
                </c:pt>
                <c:pt idx="133">
                  <c:v>-8.0845506457748531E-3</c:v>
                </c:pt>
                <c:pt idx="134">
                  <c:v>-8.0772245111254623E-3</c:v>
                </c:pt>
                <c:pt idx="135">
                  <c:v>-7.5917126671086917E-3</c:v>
                </c:pt>
                <c:pt idx="136">
                  <c:v>-7.4468264333239853E-3</c:v>
                </c:pt>
                <c:pt idx="137">
                  <c:v>-7.5335658315846699E-3</c:v>
                </c:pt>
                <c:pt idx="138">
                  <c:v>-7.5568673321215708E-3</c:v>
                </c:pt>
                <c:pt idx="139">
                  <c:v>-7.6940953807262133E-3</c:v>
                </c:pt>
                <c:pt idx="140">
                  <c:v>-7.6608576268238741E-3</c:v>
                </c:pt>
                <c:pt idx="141">
                  <c:v>-7.6151532138970498E-3</c:v>
                </c:pt>
                <c:pt idx="142">
                  <c:v>-7.5174045641142736E-3</c:v>
                </c:pt>
                <c:pt idx="143">
                  <c:v>-7.5070526251516719E-3</c:v>
                </c:pt>
                <c:pt idx="144">
                  <c:v>-7.3274414183147453E-3</c:v>
                </c:pt>
                <c:pt idx="145">
                  <c:v>-7.2306475379707138E-3</c:v>
                </c:pt>
                <c:pt idx="146">
                  <c:v>-7.0776443019012741E-3</c:v>
                </c:pt>
                <c:pt idx="147">
                  <c:v>-7.1149294048062379E-3</c:v>
                </c:pt>
                <c:pt idx="148">
                  <c:v>-6.9736987060773047E-3</c:v>
                </c:pt>
                <c:pt idx="149">
                  <c:v>-6.9224119463557844E-3</c:v>
                </c:pt>
                <c:pt idx="150">
                  <c:v>-6.8523926929100918E-3</c:v>
                </c:pt>
                <c:pt idx="151">
                  <c:v>-6.7559387924850381E-3</c:v>
                </c:pt>
                <c:pt idx="152">
                  <c:v>-6.7103927897818119E-3</c:v>
                </c:pt>
                <c:pt idx="153">
                  <c:v>-6.973168991520424E-3</c:v>
                </c:pt>
                <c:pt idx="154">
                  <c:v>-6.9980549547948743E-3</c:v>
                </c:pt>
                <c:pt idx="155">
                  <c:v>-7.1355750697271016E-3</c:v>
                </c:pt>
                <c:pt idx="156">
                  <c:v>-7.2193369462136472E-3</c:v>
                </c:pt>
                <c:pt idx="157">
                  <c:v>-7.2874998543378403E-3</c:v>
                </c:pt>
                <c:pt idx="158">
                  <c:v>-7.2783298357662115E-3</c:v>
                </c:pt>
                <c:pt idx="159">
                  <c:v>-7.4407283277501887E-3</c:v>
                </c:pt>
                <c:pt idx="160">
                  <c:v>-7.5154980390525631E-3</c:v>
                </c:pt>
                <c:pt idx="161">
                  <c:v>-7.4036708873635709E-3</c:v>
                </c:pt>
                <c:pt idx="162">
                  <c:v>-7.3599612366519775E-3</c:v>
                </c:pt>
                <c:pt idx="163">
                  <c:v>-7.353493690847623E-3</c:v>
                </c:pt>
                <c:pt idx="164">
                  <c:v>-7.3435766658434846E-3</c:v>
                </c:pt>
                <c:pt idx="165">
                  <c:v>-8.1464163432247265E-3</c:v>
                </c:pt>
                <c:pt idx="166">
                  <c:v>-7.9929603168839864E-3</c:v>
                </c:pt>
                <c:pt idx="167">
                  <c:v>-5.9074066438921753E-3</c:v>
                </c:pt>
                <c:pt idx="168">
                  <c:v>-5.8477338705749254E-3</c:v>
                </c:pt>
                <c:pt idx="169">
                  <c:v>-5.8775336276328683E-3</c:v>
                </c:pt>
                <c:pt idx="170">
                  <c:v>-5.8518616328014821E-3</c:v>
                </c:pt>
                <c:pt idx="171">
                  <c:v>-5.8516513728801411E-3</c:v>
                </c:pt>
                <c:pt idx="172">
                  <c:v>-5.8741977575265843E-3</c:v>
                </c:pt>
                <c:pt idx="173">
                  <c:v>-5.8325413963470933E-3</c:v>
                </c:pt>
                <c:pt idx="174">
                  <c:v>-5.8842369799215373E-3</c:v>
                </c:pt>
                <c:pt idx="175">
                  <c:v>-5.8359919380195314E-3</c:v>
                </c:pt>
                <c:pt idx="176">
                  <c:v>-6.0060058069680367E-3</c:v>
                </c:pt>
                <c:pt idx="177">
                  <c:v>-5.9735578479785329E-3</c:v>
                </c:pt>
                <c:pt idx="178">
                  <c:v>-6.018432496930186E-3</c:v>
                </c:pt>
                <c:pt idx="179">
                  <c:v>-6.0354812196702582E-3</c:v>
                </c:pt>
                <c:pt idx="180">
                  <c:v>-5.0554602590625435E-3</c:v>
                </c:pt>
                <c:pt idx="181">
                  <c:v>-5.1058814034838276E-3</c:v>
                </c:pt>
                <c:pt idx="182">
                  <c:v>-5.1823471316923796E-3</c:v>
                </c:pt>
                <c:pt idx="183">
                  <c:v>-5.3060782044567923E-3</c:v>
                </c:pt>
                <c:pt idx="184">
                  <c:v>-5.27194176360585E-3</c:v>
                </c:pt>
                <c:pt idx="185">
                  <c:v>-5.2660917886610441E-3</c:v>
                </c:pt>
                <c:pt idx="186">
                  <c:v>-5.3233970973292225E-3</c:v>
                </c:pt>
                <c:pt idx="187">
                  <c:v>-5.3661789574380994E-3</c:v>
                </c:pt>
                <c:pt idx="188">
                  <c:v>-5.50133880414185E-3</c:v>
                </c:pt>
                <c:pt idx="189">
                  <c:v>-5.6350861777693479E-3</c:v>
                </c:pt>
                <c:pt idx="190">
                  <c:v>-5.6921441865699952E-3</c:v>
                </c:pt>
                <c:pt idx="191">
                  <c:v>-5.650148394651484E-3</c:v>
                </c:pt>
                <c:pt idx="192">
                  <c:v>-5.7097748517517229E-3</c:v>
                </c:pt>
                <c:pt idx="193">
                  <c:v>-5.5638433616556028E-3</c:v>
                </c:pt>
                <c:pt idx="194">
                  <c:v>-5.4536005617761719E-3</c:v>
                </c:pt>
                <c:pt idx="195">
                  <c:v>-5.6248568389732851E-3</c:v>
                </c:pt>
                <c:pt idx="196">
                  <c:v>-5.6482480904147536E-3</c:v>
                </c:pt>
                <c:pt idx="197">
                  <c:v>-7.1851047621392045E-3</c:v>
                </c:pt>
                <c:pt idx="198">
                  <c:v>-7.2544288176224232E-3</c:v>
                </c:pt>
                <c:pt idx="199">
                  <c:v>-7.1930346381487674E-3</c:v>
                </c:pt>
                <c:pt idx="200">
                  <c:v>-7.2941398080770886E-3</c:v>
                </c:pt>
                <c:pt idx="201">
                  <c:v>-7.2547107210390923E-3</c:v>
                </c:pt>
                <c:pt idx="202">
                  <c:v>-7.1900571827594418E-3</c:v>
                </c:pt>
                <c:pt idx="203">
                  <c:v>-6.4784837422774723E-3</c:v>
                </c:pt>
                <c:pt idx="204">
                  <c:v>-6.4827182151891583E-3</c:v>
                </c:pt>
                <c:pt idx="205">
                  <c:v>-6.6725382492078119E-3</c:v>
                </c:pt>
                <c:pt idx="206">
                  <c:v>-6.7202309329756089E-3</c:v>
                </c:pt>
                <c:pt idx="207">
                  <c:v>-6.5486832165715892E-3</c:v>
                </c:pt>
                <c:pt idx="208">
                  <c:v>-6.4910722671111974E-3</c:v>
                </c:pt>
                <c:pt idx="209">
                  <c:v>-6.4728018392338979E-3</c:v>
                </c:pt>
                <c:pt idx="210">
                  <c:v>-7.4944108242772176E-3</c:v>
                </c:pt>
                <c:pt idx="211">
                  <c:v>-6.5490172724799066E-3</c:v>
                </c:pt>
                <c:pt idx="212">
                  <c:v>-6.5372243317107512E-3</c:v>
                </c:pt>
                <c:pt idx="213">
                  <c:v>-6.1152646851211937E-3</c:v>
                </c:pt>
                <c:pt idx="214">
                  <c:v>-6.1243186398828864E-3</c:v>
                </c:pt>
                <c:pt idx="215">
                  <c:v>-6.1306537318111982E-3</c:v>
                </c:pt>
                <c:pt idx="216">
                  <c:v>-6.1645359427706572E-3</c:v>
                </c:pt>
                <c:pt idx="217">
                  <c:v>-6.086747311393987E-3</c:v>
                </c:pt>
                <c:pt idx="218">
                  <c:v>-6.0629680097177173E-3</c:v>
                </c:pt>
                <c:pt idx="219">
                  <c:v>-5.8745900453981235E-3</c:v>
                </c:pt>
                <c:pt idx="220">
                  <c:v>-5.6397529738036667E-3</c:v>
                </c:pt>
                <c:pt idx="221">
                  <c:v>-5.5820991334220322E-3</c:v>
                </c:pt>
                <c:pt idx="222">
                  <c:v>-5.5516054307096236E-3</c:v>
                </c:pt>
                <c:pt idx="223">
                  <c:v>-5.5049195071804986E-3</c:v>
                </c:pt>
                <c:pt idx="224">
                  <c:v>-5.482992143013515E-3</c:v>
                </c:pt>
                <c:pt idx="225">
                  <c:v>-5.4371590578745459E-3</c:v>
                </c:pt>
                <c:pt idx="226">
                  <c:v>-5.4253266790297875E-3</c:v>
                </c:pt>
                <c:pt idx="227">
                  <c:v>-5.4463649143178128E-3</c:v>
                </c:pt>
                <c:pt idx="228">
                  <c:v>-5.4093152189192565E-3</c:v>
                </c:pt>
                <c:pt idx="229">
                  <c:v>-5.4482146260233649E-3</c:v>
                </c:pt>
                <c:pt idx="230">
                  <c:v>-5.4545044784740891E-3</c:v>
                </c:pt>
                <c:pt idx="231">
                  <c:v>-5.3123638925332249E-3</c:v>
                </c:pt>
                <c:pt idx="232">
                  <c:v>-5.3944254611616458E-3</c:v>
                </c:pt>
                <c:pt idx="233">
                  <c:v>-5.8274383277117005E-3</c:v>
                </c:pt>
                <c:pt idx="234">
                  <c:v>-5.8042286065100399E-3</c:v>
                </c:pt>
                <c:pt idx="235">
                  <c:v>-5.8104659225964948E-3</c:v>
                </c:pt>
                <c:pt idx="236">
                  <c:v>-5.9913821725649276E-3</c:v>
                </c:pt>
                <c:pt idx="237">
                  <c:v>-6.0517312272815368E-3</c:v>
                </c:pt>
                <c:pt idx="238">
                  <c:v>-6.0880469745694154E-3</c:v>
                </c:pt>
                <c:pt idx="239">
                  <c:v>-6.0547818942879384E-3</c:v>
                </c:pt>
                <c:pt idx="240">
                  <c:v>-6.089028540730089E-3</c:v>
                </c:pt>
                <c:pt idx="241">
                  <c:v>-6.79934808511323E-3</c:v>
                </c:pt>
                <c:pt idx="242">
                  <c:v>-6.7891400093172552E-3</c:v>
                </c:pt>
                <c:pt idx="243">
                  <c:v>-7.1671591695746792E-3</c:v>
                </c:pt>
                <c:pt idx="244">
                  <c:v>-7.1528663380923873E-3</c:v>
                </c:pt>
                <c:pt idx="245">
                  <c:v>-7.151144174738157E-3</c:v>
                </c:pt>
                <c:pt idx="246">
                  <c:v>-7.1328170412140552E-3</c:v>
                </c:pt>
                <c:pt idx="247">
                  <c:v>-7.2549163996521093E-3</c:v>
                </c:pt>
                <c:pt idx="248">
                  <c:v>-7.2386634170427087E-3</c:v>
                </c:pt>
                <c:pt idx="249">
                  <c:v>-7.4397638431204687E-3</c:v>
                </c:pt>
                <c:pt idx="250">
                  <c:v>-7.5952002619655195E-3</c:v>
                </c:pt>
                <c:pt idx="251">
                  <c:v>-7.6385168179152483E-3</c:v>
                </c:pt>
                <c:pt idx="252">
                  <c:v>-7.9420213544464831E-3</c:v>
                </c:pt>
                <c:pt idx="253">
                  <c:v>-8.0967947865755452E-3</c:v>
                </c:pt>
                <c:pt idx="254">
                  <c:v>-8.0436622748908636E-3</c:v>
                </c:pt>
                <c:pt idx="255">
                  <c:v>-7.8844975092475476E-3</c:v>
                </c:pt>
                <c:pt idx="256">
                  <c:v>-7.8395692542472632E-3</c:v>
                </c:pt>
                <c:pt idx="257">
                  <c:v>-7.8591960753016631E-3</c:v>
                </c:pt>
                <c:pt idx="258">
                  <c:v>-7.8842090693942938E-3</c:v>
                </c:pt>
                <c:pt idx="259">
                  <c:v>-7.8953804650889643E-3</c:v>
                </c:pt>
                <c:pt idx="260">
                  <c:v>-8.1932192113206362E-3</c:v>
                </c:pt>
                <c:pt idx="261">
                  <c:v>-8.3992111114627593E-3</c:v>
                </c:pt>
                <c:pt idx="262">
                  <c:v>-8.3865953780063382E-3</c:v>
                </c:pt>
                <c:pt idx="263">
                  <c:v>-8.5933653275092094E-3</c:v>
                </c:pt>
                <c:pt idx="264">
                  <c:v>-8.5938326991672909E-3</c:v>
                </c:pt>
                <c:pt idx="265">
                  <c:v>-8.5820089142552656E-3</c:v>
                </c:pt>
                <c:pt idx="266">
                  <c:v>-8.4926531739169357E-3</c:v>
                </c:pt>
                <c:pt idx="267">
                  <c:v>-8.7203143648274563E-3</c:v>
                </c:pt>
                <c:pt idx="268">
                  <c:v>-8.9295066930089213E-3</c:v>
                </c:pt>
                <c:pt idx="269">
                  <c:v>-9.2413346471926627E-3</c:v>
                </c:pt>
                <c:pt idx="270">
                  <c:v>-9.3096947176715406E-3</c:v>
                </c:pt>
                <c:pt idx="271">
                  <c:v>-9.345775369758242E-3</c:v>
                </c:pt>
                <c:pt idx="272">
                  <c:v>-9.3518504920233319E-3</c:v>
                </c:pt>
                <c:pt idx="273">
                  <c:v>-8.9219526225815596E-3</c:v>
                </c:pt>
                <c:pt idx="274">
                  <c:v>-8.8186796673415668E-3</c:v>
                </c:pt>
                <c:pt idx="275">
                  <c:v>-8.8319182159135902E-3</c:v>
                </c:pt>
                <c:pt idx="276">
                  <c:v>-8.7603150098464512E-3</c:v>
                </c:pt>
                <c:pt idx="277">
                  <c:v>-8.7387646421658374E-3</c:v>
                </c:pt>
                <c:pt idx="278">
                  <c:v>-8.5159036907930218E-3</c:v>
                </c:pt>
                <c:pt idx="279">
                  <c:v>-8.8287718584078214E-3</c:v>
                </c:pt>
                <c:pt idx="280">
                  <c:v>-8.7529582337353244E-3</c:v>
                </c:pt>
                <c:pt idx="281">
                  <c:v>-8.559451750398522E-3</c:v>
                </c:pt>
                <c:pt idx="282">
                  <c:v>-8.4650922983085276E-3</c:v>
                </c:pt>
                <c:pt idx="283">
                  <c:v>-8.3030836720234986E-3</c:v>
                </c:pt>
                <c:pt idx="284">
                  <c:v>-8.3405609495784717E-3</c:v>
                </c:pt>
                <c:pt idx="285">
                  <c:v>-8.4048045906332056E-3</c:v>
                </c:pt>
                <c:pt idx="286">
                  <c:v>-8.3850722933429423E-3</c:v>
                </c:pt>
                <c:pt idx="287">
                  <c:v>-8.4774392138448132E-3</c:v>
                </c:pt>
                <c:pt idx="288">
                  <c:v>-8.5008046731091386E-3</c:v>
                </c:pt>
                <c:pt idx="289">
                  <c:v>-8.4836286398965212E-3</c:v>
                </c:pt>
                <c:pt idx="290">
                  <c:v>-8.371335998437637E-3</c:v>
                </c:pt>
                <c:pt idx="291">
                  <c:v>-8.1543779311189623E-3</c:v>
                </c:pt>
                <c:pt idx="292">
                  <c:v>-8.1547412234168667E-3</c:v>
                </c:pt>
                <c:pt idx="293">
                  <c:v>-8.1244622927447302E-3</c:v>
                </c:pt>
                <c:pt idx="294">
                  <c:v>-8.1182854229719416E-3</c:v>
                </c:pt>
                <c:pt idx="295">
                  <c:v>-8.1203457521998295E-3</c:v>
                </c:pt>
                <c:pt idx="296">
                  <c:v>-8.1935372484093494E-3</c:v>
                </c:pt>
                <c:pt idx="297">
                  <c:v>-8.0901131218834629E-3</c:v>
                </c:pt>
                <c:pt idx="298">
                  <c:v>-7.9191667347179792E-3</c:v>
                </c:pt>
                <c:pt idx="299">
                  <c:v>-7.9357764894695225E-3</c:v>
                </c:pt>
                <c:pt idx="300">
                  <c:v>-7.9336703743612576E-3</c:v>
                </c:pt>
                <c:pt idx="301">
                  <c:v>-7.7899973608161486E-3</c:v>
                </c:pt>
                <c:pt idx="302">
                  <c:v>-7.738544499154924E-3</c:v>
                </c:pt>
                <c:pt idx="303">
                  <c:v>-7.918321988138596E-3</c:v>
                </c:pt>
                <c:pt idx="304">
                  <c:v>-8.0642922455807474E-3</c:v>
                </c:pt>
                <c:pt idx="305">
                  <c:v>-7.9352887990997538E-3</c:v>
                </c:pt>
                <c:pt idx="306">
                  <c:v>-7.9378991901725721E-3</c:v>
                </c:pt>
                <c:pt idx="307">
                  <c:v>-7.9451748160059739E-3</c:v>
                </c:pt>
                <c:pt idx="308">
                  <c:v>-8.0540502430364227E-3</c:v>
                </c:pt>
                <c:pt idx="309">
                  <c:v>-8.0865207439810814E-3</c:v>
                </c:pt>
                <c:pt idx="310">
                  <c:v>-8.2177822035565239E-3</c:v>
                </c:pt>
                <c:pt idx="311">
                  <c:v>-8.0677415748106173E-3</c:v>
                </c:pt>
                <c:pt idx="312">
                  <c:v>-8.2800260968871886E-3</c:v>
                </c:pt>
                <c:pt idx="313">
                  <c:v>-8.3337869008236129E-3</c:v>
                </c:pt>
                <c:pt idx="314">
                  <c:v>-8.4012025180026026E-3</c:v>
                </c:pt>
                <c:pt idx="315">
                  <c:v>-8.4329062264541614E-3</c:v>
                </c:pt>
                <c:pt idx="316">
                  <c:v>-8.1233943318029869E-3</c:v>
                </c:pt>
                <c:pt idx="317">
                  <c:v>-8.0891204954104158E-3</c:v>
                </c:pt>
                <c:pt idx="318">
                  <c:v>-8.0564314096403002E-3</c:v>
                </c:pt>
                <c:pt idx="319">
                  <c:v>-8.0123434827683495E-3</c:v>
                </c:pt>
                <c:pt idx="320">
                  <c:v>-8.0889566389557091E-3</c:v>
                </c:pt>
                <c:pt idx="321">
                  <c:v>-7.4830851511211004E-3</c:v>
                </c:pt>
                <c:pt idx="322">
                  <c:v>-7.1358004204736224E-3</c:v>
                </c:pt>
                <c:pt idx="323">
                  <c:v>-6.6184805219263844E-3</c:v>
                </c:pt>
                <c:pt idx="324">
                  <c:v>-6.2611924175161376E-3</c:v>
                </c:pt>
                <c:pt idx="325">
                  <c:v>-5.5139892812915278E-3</c:v>
                </c:pt>
                <c:pt idx="326">
                  <c:v>-5.3825886095756753E-3</c:v>
                </c:pt>
                <c:pt idx="327">
                  <c:v>-5.4515465515642654E-3</c:v>
                </c:pt>
                <c:pt idx="328">
                  <c:v>-5.2194434373092216E-3</c:v>
                </c:pt>
                <c:pt idx="329">
                  <c:v>-4.9940359265435112E-3</c:v>
                </c:pt>
                <c:pt idx="330">
                  <c:v>-4.9124282037936277E-3</c:v>
                </c:pt>
                <c:pt idx="331">
                  <c:v>-4.7788261085232563E-3</c:v>
                </c:pt>
                <c:pt idx="332">
                  <c:v>-4.8133059484003985E-3</c:v>
                </c:pt>
                <c:pt idx="333">
                  <c:v>-4.7786188094701768E-3</c:v>
                </c:pt>
                <c:pt idx="334">
                  <c:v>-4.0980916777006333E-3</c:v>
                </c:pt>
                <c:pt idx="335">
                  <c:v>-4.1472103607619049E-3</c:v>
                </c:pt>
                <c:pt idx="336">
                  <c:v>-3.9122589219038259E-3</c:v>
                </c:pt>
                <c:pt idx="337">
                  <c:v>-3.6857335073538153E-3</c:v>
                </c:pt>
                <c:pt idx="338">
                  <c:v>-3.5926820668329366E-3</c:v>
                </c:pt>
                <c:pt idx="339">
                  <c:v>-3.5270336579074722E-3</c:v>
                </c:pt>
                <c:pt idx="340">
                  <c:v>-3.5336155411974483E-3</c:v>
                </c:pt>
                <c:pt idx="341">
                  <c:v>-3.4198365134847138E-3</c:v>
                </c:pt>
                <c:pt idx="342">
                  <c:v>-3.2389932077554993E-3</c:v>
                </c:pt>
                <c:pt idx="343">
                  <c:v>-3.3320063016404802E-3</c:v>
                </c:pt>
                <c:pt idx="344">
                  <c:v>-3.4887931520080732E-3</c:v>
                </c:pt>
                <c:pt idx="345">
                  <c:v>-3.3660617750821929E-3</c:v>
                </c:pt>
                <c:pt idx="346">
                  <c:v>-3.5507980368824753E-3</c:v>
                </c:pt>
                <c:pt idx="347">
                  <c:v>-3.7131695398525625E-3</c:v>
                </c:pt>
                <c:pt idx="348">
                  <c:v>-3.7728016875598468E-3</c:v>
                </c:pt>
                <c:pt idx="349">
                  <c:v>-3.9461796839923013E-3</c:v>
                </c:pt>
                <c:pt idx="350">
                  <c:v>-4.8757194249456921E-3</c:v>
                </c:pt>
                <c:pt idx="351">
                  <c:v>-4.8862652522555367E-3</c:v>
                </c:pt>
                <c:pt idx="352">
                  <c:v>-4.9099262439161306E-3</c:v>
                </c:pt>
                <c:pt idx="353">
                  <c:v>-5.0396286577694578E-3</c:v>
                </c:pt>
                <c:pt idx="354">
                  <c:v>-5.1402326289036598E-3</c:v>
                </c:pt>
                <c:pt idx="355">
                  <c:v>-5.4243292684332109E-3</c:v>
                </c:pt>
                <c:pt idx="356">
                  <c:v>-5.3254734319871343E-3</c:v>
                </c:pt>
                <c:pt idx="357">
                  <c:v>-5.2608679436314983E-3</c:v>
                </c:pt>
                <c:pt idx="358">
                  <c:v>-5.2948142900256928E-3</c:v>
                </c:pt>
                <c:pt idx="359">
                  <c:v>-5.4342557653163049E-3</c:v>
                </c:pt>
                <c:pt idx="360">
                  <c:v>-5.4381275038833101E-3</c:v>
                </c:pt>
                <c:pt idx="361">
                  <c:v>-5.5711178498115601E-3</c:v>
                </c:pt>
                <c:pt idx="362">
                  <c:v>-5.5715194669572355E-3</c:v>
                </c:pt>
                <c:pt idx="363">
                  <c:v>-5.4478712322080722E-3</c:v>
                </c:pt>
                <c:pt idx="364">
                  <c:v>-5.8841242339051861E-3</c:v>
                </c:pt>
                <c:pt idx="365">
                  <c:v>-5.8475464223578166E-3</c:v>
                </c:pt>
                <c:pt idx="366">
                  <c:v>-6.2716826218180057E-3</c:v>
                </c:pt>
                <c:pt idx="367">
                  <c:v>-6.2719835349148018E-3</c:v>
                </c:pt>
                <c:pt idx="368">
                  <c:v>-6.3430455513383242E-3</c:v>
                </c:pt>
                <c:pt idx="369">
                  <c:v>-6.6345499489138537E-3</c:v>
                </c:pt>
                <c:pt idx="370">
                  <c:v>-6.6340331861335072E-3</c:v>
                </c:pt>
                <c:pt idx="371">
                  <c:v>-6.6092889566416822E-3</c:v>
                </c:pt>
                <c:pt idx="372">
                  <c:v>-6.5319995805944659E-3</c:v>
                </c:pt>
                <c:pt idx="373">
                  <c:v>-6.5286927209510393E-3</c:v>
                </c:pt>
                <c:pt idx="374">
                  <c:v>-6.4758855604169436E-3</c:v>
                </c:pt>
                <c:pt idx="375">
                  <c:v>-6.9924120652878896E-3</c:v>
                </c:pt>
                <c:pt idx="376">
                  <c:v>-6.9048097325856688E-3</c:v>
                </c:pt>
                <c:pt idx="377">
                  <c:v>-6.86034390523083E-3</c:v>
                </c:pt>
                <c:pt idx="378">
                  <c:v>-7.0604467897151611E-3</c:v>
                </c:pt>
                <c:pt idx="379">
                  <c:v>-7.079345376590461E-3</c:v>
                </c:pt>
                <c:pt idx="380">
                  <c:v>-7.0541458897737663E-3</c:v>
                </c:pt>
                <c:pt idx="381">
                  <c:v>-7.049706947370794E-3</c:v>
                </c:pt>
                <c:pt idx="382">
                  <c:v>-7.0558512932479226E-3</c:v>
                </c:pt>
                <c:pt idx="383">
                  <c:v>-7.0816615070894637E-3</c:v>
                </c:pt>
                <c:pt idx="384">
                  <c:v>-7.0039121467370836E-3</c:v>
                </c:pt>
                <c:pt idx="385">
                  <c:v>-7.0207633561057484E-3</c:v>
                </c:pt>
                <c:pt idx="386">
                  <c:v>-6.9843412514665037E-3</c:v>
                </c:pt>
                <c:pt idx="387">
                  <c:v>-6.7078249924645205E-3</c:v>
                </c:pt>
                <c:pt idx="388">
                  <c:v>-6.8998516131211574E-3</c:v>
                </c:pt>
                <c:pt idx="389">
                  <c:v>-6.9420173051928059E-3</c:v>
                </c:pt>
                <c:pt idx="390">
                  <c:v>-6.8571265963207392E-3</c:v>
                </c:pt>
                <c:pt idx="391">
                  <c:v>-6.2084533686825568E-3</c:v>
                </c:pt>
                <c:pt idx="392">
                  <c:v>-5.8060887080649626E-3</c:v>
                </c:pt>
                <c:pt idx="393">
                  <c:v>-5.6597372600149026E-3</c:v>
                </c:pt>
                <c:pt idx="394">
                  <c:v>-5.5964914749790616E-3</c:v>
                </c:pt>
                <c:pt idx="395">
                  <c:v>-5.575125922827588E-3</c:v>
                </c:pt>
                <c:pt idx="396">
                  <c:v>-5.471462868420254E-3</c:v>
                </c:pt>
                <c:pt idx="397">
                  <c:v>-5.460170762602785E-3</c:v>
                </c:pt>
                <c:pt idx="398">
                  <c:v>-5.6640345540015487E-3</c:v>
                </c:pt>
                <c:pt idx="399">
                  <c:v>-5.6058521848856959E-3</c:v>
                </c:pt>
                <c:pt idx="400">
                  <c:v>-5.5973918527890028E-3</c:v>
                </c:pt>
                <c:pt idx="401">
                  <c:v>-5.7174189627831259E-3</c:v>
                </c:pt>
                <c:pt idx="402">
                  <c:v>-6.0320640714452275E-3</c:v>
                </c:pt>
                <c:pt idx="403">
                  <c:v>-6.049962473891079E-3</c:v>
                </c:pt>
                <c:pt idx="404">
                  <c:v>-6.0838096088623667E-3</c:v>
                </c:pt>
                <c:pt idx="405">
                  <c:v>-6.3047170495579528E-3</c:v>
                </c:pt>
                <c:pt idx="406">
                  <c:v>-6.5243644711137751E-3</c:v>
                </c:pt>
                <c:pt idx="407">
                  <c:v>-6.3084301343342966E-3</c:v>
                </c:pt>
                <c:pt idx="408">
                  <c:v>-6.3275061150343736E-3</c:v>
                </c:pt>
                <c:pt idx="409">
                  <c:v>-6.4831370194006026E-3</c:v>
                </c:pt>
                <c:pt idx="410">
                  <c:v>-6.5346463640638093E-3</c:v>
                </c:pt>
                <c:pt idx="411">
                  <c:v>-6.2231453085391302E-3</c:v>
                </c:pt>
                <c:pt idx="412">
                  <c:v>-6.2397527157340479E-3</c:v>
                </c:pt>
                <c:pt idx="413">
                  <c:v>-6.4371771818292484E-3</c:v>
                </c:pt>
                <c:pt idx="414">
                  <c:v>-6.1378435183741366E-3</c:v>
                </c:pt>
                <c:pt idx="415">
                  <c:v>-6.2370017330450889E-3</c:v>
                </c:pt>
                <c:pt idx="416">
                  <c:v>-6.456577256851853E-3</c:v>
                </c:pt>
                <c:pt idx="417">
                  <c:v>-6.9850143450151531E-3</c:v>
                </c:pt>
                <c:pt idx="418">
                  <c:v>-7.1214837834120952E-3</c:v>
                </c:pt>
                <c:pt idx="419">
                  <c:v>-7.3291406317511562E-3</c:v>
                </c:pt>
                <c:pt idx="420">
                  <c:v>-7.9034017298015326E-3</c:v>
                </c:pt>
                <c:pt idx="421">
                  <c:v>-7.8427589204009031E-3</c:v>
                </c:pt>
                <c:pt idx="422">
                  <c:v>-7.6209945422896714E-3</c:v>
                </c:pt>
                <c:pt idx="423">
                  <c:v>-7.8077346030814903E-3</c:v>
                </c:pt>
                <c:pt idx="424">
                  <c:v>-7.8164603082368674E-3</c:v>
                </c:pt>
                <c:pt idx="425">
                  <c:v>-7.8477973940251633E-3</c:v>
                </c:pt>
                <c:pt idx="426">
                  <c:v>-7.8527317784435127E-3</c:v>
                </c:pt>
                <c:pt idx="427">
                  <c:v>-7.9259554810150908E-3</c:v>
                </c:pt>
                <c:pt idx="428">
                  <c:v>-7.988696876943157E-3</c:v>
                </c:pt>
                <c:pt idx="429">
                  <c:v>-8.0195262468835543E-3</c:v>
                </c:pt>
                <c:pt idx="430">
                  <c:v>-7.8020394508672092E-3</c:v>
                </c:pt>
                <c:pt idx="431">
                  <c:v>-7.7966587699253645E-3</c:v>
                </c:pt>
                <c:pt idx="432">
                  <c:v>-7.791907832623516E-3</c:v>
                </c:pt>
                <c:pt idx="433">
                  <c:v>-7.7837336405663605E-3</c:v>
                </c:pt>
                <c:pt idx="434">
                  <c:v>-7.8043005124733269E-3</c:v>
                </c:pt>
                <c:pt idx="435">
                  <c:v>-7.286468814352228E-3</c:v>
                </c:pt>
                <c:pt idx="436">
                  <c:v>-7.2873001899792103E-3</c:v>
                </c:pt>
                <c:pt idx="437">
                  <c:v>-7.5644633231352933E-3</c:v>
                </c:pt>
                <c:pt idx="438">
                  <c:v>-6.4585487833469834E-3</c:v>
                </c:pt>
                <c:pt idx="439">
                  <c:v>-6.4520256372507844E-3</c:v>
                </c:pt>
                <c:pt idx="440">
                  <c:v>-6.6154374279370244E-3</c:v>
                </c:pt>
                <c:pt idx="441">
                  <c:v>-6.8009679114521748E-3</c:v>
                </c:pt>
                <c:pt idx="442">
                  <c:v>-6.9667425185021047E-3</c:v>
                </c:pt>
                <c:pt idx="443">
                  <c:v>-6.7832475445429056E-3</c:v>
                </c:pt>
                <c:pt idx="444">
                  <c:v>-6.9871002088516569E-3</c:v>
                </c:pt>
                <c:pt idx="445">
                  <c:v>-6.988742316233235E-3</c:v>
                </c:pt>
                <c:pt idx="446">
                  <c:v>-6.8237987266646354E-3</c:v>
                </c:pt>
                <c:pt idx="447">
                  <c:v>-6.8833095671726914E-3</c:v>
                </c:pt>
                <c:pt idx="448">
                  <c:v>-6.8498373096708247E-3</c:v>
                </c:pt>
                <c:pt idx="449">
                  <c:v>-6.8139833606404195E-3</c:v>
                </c:pt>
                <c:pt idx="450">
                  <c:v>-6.8047619242427278E-3</c:v>
                </c:pt>
                <c:pt idx="451">
                  <c:v>-6.9751489173137541E-3</c:v>
                </c:pt>
                <c:pt idx="452">
                  <c:v>-7.1523521559849271E-3</c:v>
                </c:pt>
                <c:pt idx="453">
                  <c:v>-7.0865066778542365E-3</c:v>
                </c:pt>
                <c:pt idx="454">
                  <c:v>-6.5584622221201731E-3</c:v>
                </c:pt>
                <c:pt idx="455">
                  <c:v>-6.5016515831475066E-3</c:v>
                </c:pt>
                <c:pt idx="456">
                  <c:v>-6.4864001928823661E-3</c:v>
                </c:pt>
                <c:pt idx="457">
                  <c:v>-6.4709286405384963E-3</c:v>
                </c:pt>
                <c:pt idx="458">
                  <c:v>-6.3970121705507659E-3</c:v>
                </c:pt>
                <c:pt idx="459">
                  <c:v>-6.3302761954112437E-3</c:v>
                </c:pt>
                <c:pt idx="460">
                  <c:v>-6.3219214645432184E-3</c:v>
                </c:pt>
                <c:pt idx="461">
                  <c:v>-6.2574403121751047E-3</c:v>
                </c:pt>
                <c:pt idx="462">
                  <c:v>-6.2822030105506837E-3</c:v>
                </c:pt>
                <c:pt idx="463">
                  <c:v>-6.361515658033794E-3</c:v>
                </c:pt>
                <c:pt idx="464">
                  <c:v>-6.3840660284167272E-3</c:v>
                </c:pt>
                <c:pt idx="465">
                  <c:v>-6.7256475128254067E-3</c:v>
                </c:pt>
                <c:pt idx="466">
                  <c:v>-6.5664344262467899E-3</c:v>
                </c:pt>
                <c:pt idx="467">
                  <c:v>-6.3444618177096969E-3</c:v>
                </c:pt>
                <c:pt idx="468">
                  <c:v>-7.2821675017849981E-3</c:v>
                </c:pt>
                <c:pt idx="469">
                  <c:v>-7.1086117764099935E-3</c:v>
                </c:pt>
                <c:pt idx="470">
                  <c:v>-6.9973309243018811E-3</c:v>
                </c:pt>
                <c:pt idx="471">
                  <c:v>-7.0604341088272935E-3</c:v>
                </c:pt>
                <c:pt idx="472">
                  <c:v>-7.0500982734026923E-3</c:v>
                </c:pt>
                <c:pt idx="473">
                  <c:v>-7.2066167815527868E-3</c:v>
                </c:pt>
                <c:pt idx="474">
                  <c:v>-7.1589783840744561E-3</c:v>
                </c:pt>
                <c:pt idx="475">
                  <c:v>-7.0093943655913284E-3</c:v>
                </c:pt>
                <c:pt idx="476">
                  <c:v>-7.1501172048825815E-3</c:v>
                </c:pt>
                <c:pt idx="477">
                  <c:v>-7.0314800708784486E-3</c:v>
                </c:pt>
                <c:pt idx="478">
                  <c:v>-7.0279769162113663E-3</c:v>
                </c:pt>
                <c:pt idx="479">
                  <c:v>-6.4133655171683419E-3</c:v>
                </c:pt>
                <c:pt idx="480">
                  <c:v>-6.3510263592232719E-3</c:v>
                </c:pt>
                <c:pt idx="481">
                  <c:v>-6.3136216405902815E-3</c:v>
                </c:pt>
                <c:pt idx="482">
                  <c:v>-6.307925321841221E-3</c:v>
                </c:pt>
                <c:pt idx="483">
                  <c:v>-6.2734845118578141E-3</c:v>
                </c:pt>
                <c:pt idx="484">
                  <c:v>-6.9914465442840164E-3</c:v>
                </c:pt>
                <c:pt idx="485">
                  <c:v>-6.9370021384053829E-3</c:v>
                </c:pt>
                <c:pt idx="486">
                  <c:v>-6.9691324267089211E-3</c:v>
                </c:pt>
                <c:pt idx="487">
                  <c:v>-6.8392555579835377E-3</c:v>
                </c:pt>
                <c:pt idx="488">
                  <c:v>-6.9180765287501908E-3</c:v>
                </c:pt>
                <c:pt idx="489">
                  <c:v>-6.9806480990876113E-3</c:v>
                </c:pt>
                <c:pt idx="490">
                  <c:v>-6.9085585969421012E-3</c:v>
                </c:pt>
                <c:pt idx="491">
                  <c:v>-6.941830062520242E-3</c:v>
                </c:pt>
                <c:pt idx="492">
                  <c:v>-7.0479261046735341E-3</c:v>
                </c:pt>
                <c:pt idx="493">
                  <c:v>-6.200712199006685E-3</c:v>
                </c:pt>
                <c:pt idx="494">
                  <c:v>-6.0757153009471689E-3</c:v>
                </c:pt>
                <c:pt idx="495">
                  <c:v>-6.0056832574876956E-3</c:v>
                </c:pt>
                <c:pt idx="496">
                  <c:v>-5.8250790413598838E-3</c:v>
                </c:pt>
                <c:pt idx="497">
                  <c:v>-5.7918464296770602E-3</c:v>
                </c:pt>
                <c:pt idx="498">
                  <c:v>-5.9801235827328511E-3</c:v>
                </c:pt>
                <c:pt idx="499">
                  <c:v>-6.1930698064984174E-3</c:v>
                </c:pt>
                <c:pt idx="500">
                  <c:v>-6.2182566419455186E-3</c:v>
                </c:pt>
                <c:pt idx="501">
                  <c:v>-6.2223686447453524E-3</c:v>
                </c:pt>
                <c:pt idx="502">
                  <c:v>-6.0811063269865309E-3</c:v>
                </c:pt>
                <c:pt idx="503">
                  <c:v>-5.9607304124473662E-3</c:v>
                </c:pt>
                <c:pt idx="504">
                  <c:v>-5.9502608489618927E-3</c:v>
                </c:pt>
                <c:pt idx="505">
                  <c:v>-6.0855116791332002E-3</c:v>
                </c:pt>
                <c:pt idx="506">
                  <c:v>-6.1044294089078275E-3</c:v>
                </c:pt>
                <c:pt idx="507">
                  <c:v>-6.0494572369352408E-3</c:v>
                </c:pt>
                <c:pt idx="508">
                  <c:v>-6.1431335604169787E-3</c:v>
                </c:pt>
                <c:pt idx="509">
                  <c:v>-6.6041764425878481E-3</c:v>
                </c:pt>
                <c:pt idx="510">
                  <c:v>-6.4771347709047609E-3</c:v>
                </c:pt>
                <c:pt idx="511">
                  <c:v>-6.4380043874644197E-3</c:v>
                </c:pt>
                <c:pt idx="512">
                  <c:v>-6.4572296812780627E-3</c:v>
                </c:pt>
                <c:pt idx="513">
                  <c:v>-6.4519088779871709E-3</c:v>
                </c:pt>
                <c:pt idx="514">
                  <c:v>-6.5162542545663376E-3</c:v>
                </c:pt>
                <c:pt idx="515">
                  <c:v>-6.6218513612623835E-3</c:v>
                </c:pt>
                <c:pt idx="516">
                  <c:v>-6.6165353311091E-3</c:v>
                </c:pt>
                <c:pt idx="517">
                  <c:v>-6.4467759676950448E-3</c:v>
                </c:pt>
                <c:pt idx="518">
                  <c:v>-6.2353675219127425E-3</c:v>
                </c:pt>
                <c:pt idx="519">
                  <c:v>-5.7493195585275282E-3</c:v>
                </c:pt>
                <c:pt idx="520">
                  <c:v>-5.731940638022251E-3</c:v>
                </c:pt>
                <c:pt idx="521">
                  <c:v>-5.6605079470816765E-3</c:v>
                </c:pt>
                <c:pt idx="522">
                  <c:v>-5.6423440410995349E-3</c:v>
                </c:pt>
                <c:pt idx="523">
                  <c:v>-6.1901660154975646E-3</c:v>
                </c:pt>
                <c:pt idx="524">
                  <c:v>-6.2934262662796463E-3</c:v>
                </c:pt>
                <c:pt idx="525">
                  <c:v>-6.167604496268313E-3</c:v>
                </c:pt>
                <c:pt idx="526">
                  <c:v>-6.362077958369493E-3</c:v>
                </c:pt>
                <c:pt idx="527">
                  <c:v>-6.4729521711854475E-3</c:v>
                </c:pt>
                <c:pt idx="528">
                  <c:v>-6.3284131465038036E-3</c:v>
                </c:pt>
                <c:pt idx="529">
                  <c:v>-6.3230788765405244E-3</c:v>
                </c:pt>
                <c:pt idx="530">
                  <c:v>-5.2795081942092932E-3</c:v>
                </c:pt>
                <c:pt idx="531">
                  <c:v>-5.292520299933815E-3</c:v>
                </c:pt>
                <c:pt idx="532">
                  <c:v>-5.2832067019407672E-3</c:v>
                </c:pt>
                <c:pt idx="533">
                  <c:v>-4.9540374890540226E-3</c:v>
                </c:pt>
                <c:pt idx="534">
                  <c:v>-4.8526520896013826E-3</c:v>
                </c:pt>
                <c:pt idx="535">
                  <c:v>-4.8306689613179122E-3</c:v>
                </c:pt>
                <c:pt idx="536">
                  <c:v>-4.7433763371501642E-3</c:v>
                </c:pt>
                <c:pt idx="537">
                  <c:v>-4.7599303864730158E-3</c:v>
                </c:pt>
                <c:pt idx="538">
                  <c:v>-4.7655924077898877E-3</c:v>
                </c:pt>
                <c:pt idx="539">
                  <c:v>-4.7725600331378001E-3</c:v>
                </c:pt>
                <c:pt idx="540">
                  <c:v>-4.8683690818894093E-3</c:v>
                </c:pt>
                <c:pt idx="541">
                  <c:v>-4.9342302696667624E-3</c:v>
                </c:pt>
                <c:pt idx="542">
                  <c:v>-5.0215784015197797E-3</c:v>
                </c:pt>
                <c:pt idx="543">
                  <c:v>-5.0304059576326329E-3</c:v>
                </c:pt>
                <c:pt idx="544">
                  <c:v>-4.9379838156258498E-3</c:v>
                </c:pt>
                <c:pt idx="545">
                  <c:v>-4.851916757777866E-3</c:v>
                </c:pt>
                <c:pt idx="546">
                  <c:v>-4.8466748652787536E-3</c:v>
                </c:pt>
                <c:pt idx="547">
                  <c:v>-5.0131297432360975E-3</c:v>
                </c:pt>
                <c:pt idx="548">
                  <c:v>-5.1241064190788305E-3</c:v>
                </c:pt>
                <c:pt idx="549">
                  <c:v>-5.5106877325449884E-3</c:v>
                </c:pt>
                <c:pt idx="550">
                  <c:v>-5.4636414128596735E-3</c:v>
                </c:pt>
                <c:pt idx="551">
                  <c:v>-5.4864349732973196E-3</c:v>
                </c:pt>
                <c:pt idx="552">
                  <c:v>-5.4075597047633112E-3</c:v>
                </c:pt>
                <c:pt idx="553">
                  <c:v>-5.5334771548628432E-3</c:v>
                </c:pt>
                <c:pt idx="554">
                  <c:v>-5.590440026072915E-3</c:v>
                </c:pt>
                <c:pt idx="555">
                  <c:v>-5.627364388496381E-3</c:v>
                </c:pt>
                <c:pt idx="556">
                  <c:v>-5.648961527089962E-3</c:v>
                </c:pt>
                <c:pt idx="557">
                  <c:v>-5.529036996257241E-3</c:v>
                </c:pt>
                <c:pt idx="558">
                  <c:v>-5.5647950694223654E-3</c:v>
                </c:pt>
                <c:pt idx="559">
                  <c:v>-5.5247580371887576E-3</c:v>
                </c:pt>
                <c:pt idx="560">
                  <c:v>-6.7918244397245963E-3</c:v>
                </c:pt>
                <c:pt idx="561">
                  <c:v>-6.7400214115120368E-3</c:v>
                </c:pt>
                <c:pt idx="562">
                  <c:v>-6.757135639498155E-3</c:v>
                </c:pt>
                <c:pt idx="563">
                  <c:v>-7.5802298429643086E-3</c:v>
                </c:pt>
                <c:pt idx="564">
                  <c:v>-7.6382369751662946E-3</c:v>
                </c:pt>
                <c:pt idx="565">
                  <c:v>-7.8329734021519246E-3</c:v>
                </c:pt>
                <c:pt idx="566">
                  <c:v>-7.8475237887232381E-3</c:v>
                </c:pt>
                <c:pt idx="567">
                  <c:v>-7.8681441219977232E-3</c:v>
                </c:pt>
                <c:pt idx="568">
                  <c:v>-7.940413947833732E-3</c:v>
                </c:pt>
                <c:pt idx="569">
                  <c:v>-7.9961246012944034E-3</c:v>
                </c:pt>
                <c:pt idx="570">
                  <c:v>-7.7798476949065718E-3</c:v>
                </c:pt>
                <c:pt idx="571">
                  <c:v>-7.5945374824366455E-3</c:v>
                </c:pt>
                <c:pt idx="572">
                  <c:v>-7.5454187992911037E-3</c:v>
                </c:pt>
                <c:pt idx="573">
                  <c:v>-7.5811247254460789E-3</c:v>
                </c:pt>
                <c:pt idx="574">
                  <c:v>-7.1098437313097144E-3</c:v>
                </c:pt>
                <c:pt idx="575">
                  <c:v>-7.0867796691721019E-3</c:v>
                </c:pt>
                <c:pt idx="576">
                  <c:v>-7.1757983061417428E-3</c:v>
                </c:pt>
                <c:pt idx="577">
                  <c:v>-7.1702207579418956E-3</c:v>
                </c:pt>
                <c:pt idx="578">
                  <c:v>-7.1769464344552843E-3</c:v>
                </c:pt>
                <c:pt idx="579">
                  <c:v>-7.1497332795194598E-3</c:v>
                </c:pt>
                <c:pt idx="580">
                  <c:v>-7.2617946063810055E-3</c:v>
                </c:pt>
                <c:pt idx="581">
                  <c:v>-7.338177196833392E-3</c:v>
                </c:pt>
                <c:pt idx="582">
                  <c:v>-7.3872855040678321E-3</c:v>
                </c:pt>
                <c:pt idx="583">
                  <c:v>-7.3892060607482941E-3</c:v>
                </c:pt>
                <c:pt idx="584">
                  <c:v>-7.3540997909273507E-3</c:v>
                </c:pt>
                <c:pt idx="585">
                  <c:v>-7.3131691763476305E-3</c:v>
                </c:pt>
                <c:pt idx="586">
                  <c:v>-7.2558387709969674E-3</c:v>
                </c:pt>
                <c:pt idx="587">
                  <c:v>-7.6367257123887847E-3</c:v>
                </c:pt>
                <c:pt idx="588">
                  <c:v>-5.8582492520270991E-3</c:v>
                </c:pt>
                <c:pt idx="589">
                  <c:v>-5.9061889064677495E-3</c:v>
                </c:pt>
                <c:pt idx="590">
                  <c:v>-5.6996054154552118E-3</c:v>
                </c:pt>
                <c:pt idx="591">
                  <c:v>-5.7282968062218366E-3</c:v>
                </c:pt>
                <c:pt idx="592">
                  <c:v>-5.795602136372837E-3</c:v>
                </c:pt>
                <c:pt idx="593">
                  <c:v>-5.7923034696765732E-3</c:v>
                </c:pt>
                <c:pt idx="594">
                  <c:v>-5.7659557634750147E-3</c:v>
                </c:pt>
                <c:pt idx="595">
                  <c:v>-5.6966845391218301E-3</c:v>
                </c:pt>
                <c:pt idx="596">
                  <c:v>-5.7080267275901615E-3</c:v>
                </c:pt>
                <c:pt idx="597">
                  <c:v>-5.7728062226566484E-3</c:v>
                </c:pt>
                <c:pt idx="598">
                  <c:v>-5.5198657764754227E-3</c:v>
                </c:pt>
                <c:pt idx="599">
                  <c:v>-5.4983522288820051E-3</c:v>
                </c:pt>
                <c:pt idx="600">
                  <c:v>-5.2699488743012746E-3</c:v>
                </c:pt>
                <c:pt idx="601">
                  <c:v>-5.3157871593154339E-3</c:v>
                </c:pt>
                <c:pt idx="602">
                  <c:v>-4.7862636869753887E-3</c:v>
                </c:pt>
                <c:pt idx="603">
                  <c:v>-4.6848312574250556E-3</c:v>
                </c:pt>
                <c:pt idx="604">
                  <c:v>-5.0270238164726744E-3</c:v>
                </c:pt>
                <c:pt idx="605">
                  <c:v>-5.136698190908567E-3</c:v>
                </c:pt>
                <c:pt idx="606">
                  <c:v>-5.1704895160912308E-3</c:v>
                </c:pt>
                <c:pt idx="607">
                  <c:v>-5.1300615350045511E-3</c:v>
                </c:pt>
                <c:pt idx="608">
                  <c:v>-5.0412436197227618E-3</c:v>
                </c:pt>
                <c:pt idx="609">
                  <c:v>-4.9484763347132192E-3</c:v>
                </c:pt>
                <c:pt idx="610">
                  <c:v>-4.9798939909623773E-3</c:v>
                </c:pt>
                <c:pt idx="611">
                  <c:v>-5.0222995463740875E-3</c:v>
                </c:pt>
                <c:pt idx="612">
                  <c:v>-5.0345419565594376E-3</c:v>
                </c:pt>
                <c:pt idx="613">
                  <c:v>-5.0791967565221377E-3</c:v>
                </c:pt>
                <c:pt idx="614">
                  <c:v>-5.0879138822549404E-3</c:v>
                </c:pt>
                <c:pt idx="615">
                  <c:v>-5.2396683573500621E-3</c:v>
                </c:pt>
                <c:pt idx="616">
                  <c:v>-5.1896032633783184E-3</c:v>
                </c:pt>
                <c:pt idx="617">
                  <c:v>-5.154906411728848E-3</c:v>
                </c:pt>
                <c:pt idx="618">
                  <c:v>-6.2447521541972488E-3</c:v>
                </c:pt>
                <c:pt idx="619">
                  <c:v>-6.1048753068537083E-3</c:v>
                </c:pt>
                <c:pt idx="620">
                  <c:v>-6.1597061332313236E-3</c:v>
                </c:pt>
                <c:pt idx="621">
                  <c:v>-6.0846762414977686E-3</c:v>
                </c:pt>
                <c:pt idx="622">
                  <c:v>-6.0915134629411557E-3</c:v>
                </c:pt>
                <c:pt idx="623">
                  <c:v>-6.0429356201553161E-3</c:v>
                </c:pt>
                <c:pt idx="624">
                  <c:v>-5.983700555465603E-3</c:v>
                </c:pt>
                <c:pt idx="625">
                  <c:v>-5.1684307080449368E-3</c:v>
                </c:pt>
                <c:pt idx="626">
                  <c:v>-3.6010922819792717E-3</c:v>
                </c:pt>
                <c:pt idx="627">
                  <c:v>-3.48040530315827E-3</c:v>
                </c:pt>
                <c:pt idx="628">
                  <c:v>-3.5180009547863943E-3</c:v>
                </c:pt>
                <c:pt idx="629">
                  <c:v>-3.4304741374951812E-3</c:v>
                </c:pt>
                <c:pt idx="630">
                  <c:v>-3.4194431928023031E-3</c:v>
                </c:pt>
                <c:pt idx="631">
                  <c:v>-3.3466873113733135E-3</c:v>
                </c:pt>
                <c:pt idx="632">
                  <c:v>-3.8422495221107876E-3</c:v>
                </c:pt>
                <c:pt idx="633">
                  <c:v>-3.8471810219566412E-3</c:v>
                </c:pt>
                <c:pt idx="634">
                  <c:v>-3.8468094223613192E-3</c:v>
                </c:pt>
                <c:pt idx="635">
                  <c:v>-3.8446334426047463E-3</c:v>
                </c:pt>
                <c:pt idx="636">
                  <c:v>-3.8546261079388782E-3</c:v>
                </c:pt>
                <c:pt idx="637">
                  <c:v>-3.9084180761271778E-3</c:v>
                </c:pt>
                <c:pt idx="638">
                  <c:v>-4.0246431689621425E-3</c:v>
                </c:pt>
                <c:pt idx="639">
                  <c:v>-4.0206948316144995E-3</c:v>
                </c:pt>
                <c:pt idx="640">
                  <c:v>-4.0157485817592618E-3</c:v>
                </c:pt>
                <c:pt idx="641">
                  <c:v>-3.9587201578653829E-3</c:v>
                </c:pt>
                <c:pt idx="642">
                  <c:v>-3.9703077733725424E-3</c:v>
                </c:pt>
                <c:pt idx="643">
                  <c:v>-3.9506513451549301E-3</c:v>
                </c:pt>
                <c:pt idx="644">
                  <c:v>-4.1212510762191363E-3</c:v>
                </c:pt>
                <c:pt idx="645">
                  <c:v>-3.8806383569177875E-3</c:v>
                </c:pt>
                <c:pt idx="646">
                  <c:v>-3.8882025866682698E-3</c:v>
                </c:pt>
                <c:pt idx="647">
                  <c:v>-3.8899235559862293E-3</c:v>
                </c:pt>
                <c:pt idx="648">
                  <c:v>-3.9966182217984914E-3</c:v>
                </c:pt>
                <c:pt idx="649">
                  <c:v>-4.0002666832840792E-3</c:v>
                </c:pt>
                <c:pt idx="650">
                  <c:v>-4.0627834803208911E-3</c:v>
                </c:pt>
                <c:pt idx="651">
                  <c:v>-4.1170425956894349E-3</c:v>
                </c:pt>
                <c:pt idx="652">
                  <c:v>-3.6649621264666036E-3</c:v>
                </c:pt>
                <c:pt idx="653">
                  <c:v>-3.7045837840695497E-3</c:v>
                </c:pt>
                <c:pt idx="654">
                  <c:v>-3.7645116284573277E-3</c:v>
                </c:pt>
                <c:pt idx="655">
                  <c:v>-4.6169448999021888E-3</c:v>
                </c:pt>
                <c:pt idx="656">
                  <c:v>-6.9601417509364584E-3</c:v>
                </c:pt>
                <c:pt idx="657">
                  <c:v>-7.0177288297925237E-3</c:v>
                </c:pt>
                <c:pt idx="658">
                  <c:v>-7.0333129849176265E-3</c:v>
                </c:pt>
                <c:pt idx="659">
                  <c:v>-6.9837495532832613E-3</c:v>
                </c:pt>
                <c:pt idx="660">
                  <c:v>-7.1273878864918112E-3</c:v>
                </c:pt>
                <c:pt idx="661">
                  <c:v>-7.1801824878257618E-3</c:v>
                </c:pt>
                <c:pt idx="662">
                  <c:v>-7.2194922683586574E-3</c:v>
                </c:pt>
                <c:pt idx="663">
                  <c:v>-6.8405539008230135E-3</c:v>
                </c:pt>
                <c:pt idx="664">
                  <c:v>-6.97855421327747E-3</c:v>
                </c:pt>
                <c:pt idx="665">
                  <c:v>-6.8886843597017683E-3</c:v>
                </c:pt>
                <c:pt idx="666">
                  <c:v>-6.8163051270361784E-3</c:v>
                </c:pt>
                <c:pt idx="667">
                  <c:v>-6.6123994919384853E-3</c:v>
                </c:pt>
                <c:pt idx="668">
                  <c:v>-6.4964502278931965E-3</c:v>
                </c:pt>
                <c:pt idx="669">
                  <c:v>-6.5169610148726144E-3</c:v>
                </c:pt>
                <c:pt idx="670">
                  <c:v>-6.4144039456793707E-3</c:v>
                </c:pt>
                <c:pt idx="671">
                  <c:v>-6.4372800385944671E-3</c:v>
                </c:pt>
                <c:pt idx="672">
                  <c:v>-6.5163931692588783E-3</c:v>
                </c:pt>
                <c:pt idx="673">
                  <c:v>-6.1561743407657493E-3</c:v>
                </c:pt>
                <c:pt idx="674">
                  <c:v>-5.9973717234562303E-3</c:v>
                </c:pt>
                <c:pt idx="675">
                  <c:v>-6.1313220821601535E-3</c:v>
                </c:pt>
                <c:pt idx="676">
                  <c:v>-5.8928690719494666E-3</c:v>
                </c:pt>
                <c:pt idx="677">
                  <c:v>-6.041823690962571E-3</c:v>
                </c:pt>
                <c:pt idx="678">
                  <c:v>-6.0459630116069408E-3</c:v>
                </c:pt>
                <c:pt idx="679">
                  <c:v>-5.4531808871801099E-3</c:v>
                </c:pt>
                <c:pt idx="680">
                  <c:v>-5.3015541887269585E-3</c:v>
                </c:pt>
                <c:pt idx="681">
                  <c:v>-5.1858400077820534E-3</c:v>
                </c:pt>
                <c:pt idx="682">
                  <c:v>-4.3814489546563067E-3</c:v>
                </c:pt>
                <c:pt idx="683">
                  <c:v>-4.2697158642594334E-3</c:v>
                </c:pt>
                <c:pt idx="684">
                  <c:v>-4.2707775777160849E-3</c:v>
                </c:pt>
                <c:pt idx="685">
                  <c:v>-4.1493846791931608E-3</c:v>
                </c:pt>
                <c:pt idx="686">
                  <c:v>-4.2030414645377757E-3</c:v>
                </c:pt>
                <c:pt idx="687">
                  <c:v>-4.2331768849913059E-3</c:v>
                </c:pt>
                <c:pt idx="688">
                  <c:v>-4.3269278661783907E-3</c:v>
                </c:pt>
                <c:pt idx="689">
                  <c:v>-4.4796684529605432E-3</c:v>
                </c:pt>
                <c:pt idx="690">
                  <c:v>-4.6417662773875455E-3</c:v>
                </c:pt>
                <c:pt idx="691">
                  <c:v>-4.6586591015129238E-3</c:v>
                </c:pt>
                <c:pt idx="692">
                  <c:v>-4.6325630317922192E-3</c:v>
                </c:pt>
                <c:pt idx="693">
                  <c:v>-4.7667745181037818E-3</c:v>
                </c:pt>
                <c:pt idx="694">
                  <c:v>-4.6912792398543374E-3</c:v>
                </c:pt>
                <c:pt idx="695">
                  <c:v>-4.6167014033137877E-3</c:v>
                </c:pt>
                <c:pt idx="696">
                  <c:v>-4.6011032621576693E-3</c:v>
                </c:pt>
                <c:pt idx="697">
                  <c:v>-4.6015440139815095E-3</c:v>
                </c:pt>
                <c:pt idx="698">
                  <c:v>-4.5952119191114658E-3</c:v>
                </c:pt>
                <c:pt idx="699">
                  <c:v>-4.5965220657359224E-3</c:v>
                </c:pt>
                <c:pt idx="700">
                  <c:v>-4.636537818296621E-3</c:v>
                </c:pt>
                <c:pt idx="701">
                  <c:v>-4.7357333395835078E-3</c:v>
                </c:pt>
                <c:pt idx="702">
                  <c:v>-4.7214008528405314E-3</c:v>
                </c:pt>
                <c:pt idx="703">
                  <c:v>-4.4712815326465385E-3</c:v>
                </c:pt>
                <c:pt idx="704">
                  <c:v>-4.3871503434516571E-3</c:v>
                </c:pt>
                <c:pt idx="705">
                  <c:v>-4.4542976773317075E-3</c:v>
                </c:pt>
                <c:pt idx="706">
                  <c:v>-4.5161232673704178E-3</c:v>
                </c:pt>
                <c:pt idx="707">
                  <c:v>-4.2746897732169366E-3</c:v>
                </c:pt>
                <c:pt idx="708">
                  <c:v>-4.1256933040543144E-3</c:v>
                </c:pt>
                <c:pt idx="709">
                  <c:v>-4.5938672522256724E-3</c:v>
                </c:pt>
                <c:pt idx="710">
                  <c:v>-4.71375058585107E-3</c:v>
                </c:pt>
                <c:pt idx="711">
                  <c:v>-4.7257546162037915E-3</c:v>
                </c:pt>
                <c:pt idx="712">
                  <c:v>-5.9440035620908207E-3</c:v>
                </c:pt>
                <c:pt idx="713">
                  <c:v>-6.0863397522539324E-3</c:v>
                </c:pt>
                <c:pt idx="714">
                  <c:v>-6.084682450136116E-3</c:v>
                </c:pt>
                <c:pt idx="715">
                  <c:v>-6.1030388398779353E-3</c:v>
                </c:pt>
                <c:pt idx="716">
                  <c:v>-6.1182920715198682E-3</c:v>
                </c:pt>
                <c:pt idx="717">
                  <c:v>-6.1599706491380123E-3</c:v>
                </c:pt>
                <c:pt idx="718">
                  <c:v>-5.9866375423528895E-3</c:v>
                </c:pt>
                <c:pt idx="719">
                  <c:v>-5.9963078338204807E-3</c:v>
                </c:pt>
                <c:pt idx="720">
                  <c:v>-5.9340253707246384E-3</c:v>
                </c:pt>
                <c:pt idx="721">
                  <c:v>-5.9937287800713264E-3</c:v>
                </c:pt>
                <c:pt idx="722">
                  <c:v>-6.0229176289281613E-3</c:v>
                </c:pt>
                <c:pt idx="723">
                  <c:v>-6.03229791655402E-3</c:v>
                </c:pt>
                <c:pt idx="724">
                  <c:v>-6.0311823425588905E-3</c:v>
                </c:pt>
                <c:pt idx="725">
                  <c:v>-6.0428115065834682E-3</c:v>
                </c:pt>
                <c:pt idx="726">
                  <c:v>-6.006000660688883E-3</c:v>
                </c:pt>
                <c:pt idx="727">
                  <c:v>-5.2321722269494959E-3</c:v>
                </c:pt>
                <c:pt idx="728">
                  <c:v>-5.3319962204415906E-3</c:v>
                </c:pt>
                <c:pt idx="729">
                  <c:v>-4.9610841406110568E-3</c:v>
                </c:pt>
                <c:pt idx="730">
                  <c:v>-4.8643525770407751E-3</c:v>
                </c:pt>
                <c:pt idx="731">
                  <c:v>-4.8252033499712414E-3</c:v>
                </c:pt>
                <c:pt idx="732">
                  <c:v>-4.8373643839978841E-3</c:v>
                </c:pt>
                <c:pt idx="733">
                  <c:v>-5.3571048053289994E-3</c:v>
                </c:pt>
                <c:pt idx="734">
                  <c:v>-5.4340960965254311E-3</c:v>
                </c:pt>
                <c:pt idx="735">
                  <c:v>-5.4591070624579706E-3</c:v>
                </c:pt>
                <c:pt idx="736">
                  <c:v>-5.4921602403780155E-3</c:v>
                </c:pt>
                <c:pt idx="737">
                  <c:v>-5.8011941696478123E-3</c:v>
                </c:pt>
                <c:pt idx="738">
                  <c:v>-5.8877018411777511E-3</c:v>
                </c:pt>
                <c:pt idx="739">
                  <c:v>-5.991516560357118E-3</c:v>
                </c:pt>
                <c:pt idx="740">
                  <c:v>-5.8795838031952454E-3</c:v>
                </c:pt>
                <c:pt idx="741">
                  <c:v>-6.0468013536237285E-3</c:v>
                </c:pt>
                <c:pt idx="742">
                  <c:v>-6.0765261972407121E-3</c:v>
                </c:pt>
                <c:pt idx="743">
                  <c:v>-6.0559781384821034E-3</c:v>
                </c:pt>
                <c:pt idx="744">
                  <c:v>-5.966339862045424E-3</c:v>
                </c:pt>
                <c:pt idx="745">
                  <c:v>-6.0337416931171978E-3</c:v>
                </c:pt>
                <c:pt idx="746">
                  <c:v>-6.0562825310282687E-3</c:v>
                </c:pt>
                <c:pt idx="747">
                  <c:v>-5.8580419119600817E-3</c:v>
                </c:pt>
                <c:pt idx="748">
                  <c:v>-6.1462307957273919E-3</c:v>
                </c:pt>
                <c:pt idx="749">
                  <c:v>-6.1947124463044264E-3</c:v>
                </c:pt>
                <c:pt idx="750">
                  <c:v>-6.24482018882713E-3</c:v>
                </c:pt>
                <c:pt idx="751">
                  <c:v>-6.2758939092633611E-3</c:v>
                </c:pt>
                <c:pt idx="752">
                  <c:v>-6.3012989114882186E-3</c:v>
                </c:pt>
                <c:pt idx="753">
                  <c:v>-6.2992694957093231E-3</c:v>
                </c:pt>
                <c:pt idx="754">
                  <c:v>-6.0104517747339922E-3</c:v>
                </c:pt>
                <c:pt idx="755">
                  <c:v>-5.9308920398065861E-3</c:v>
                </c:pt>
                <c:pt idx="756">
                  <c:v>-6.0424330491916159E-3</c:v>
                </c:pt>
                <c:pt idx="757">
                  <c:v>-7.1703287554277543E-3</c:v>
                </c:pt>
                <c:pt idx="758">
                  <c:v>-7.2414817486661665E-3</c:v>
                </c:pt>
                <c:pt idx="759">
                  <c:v>-7.7879899737926059E-3</c:v>
                </c:pt>
                <c:pt idx="760">
                  <c:v>-7.8560240503816429E-3</c:v>
                </c:pt>
                <c:pt idx="761">
                  <c:v>-7.9539603268494567E-3</c:v>
                </c:pt>
                <c:pt idx="762">
                  <c:v>-5.4357578102641364E-3</c:v>
                </c:pt>
                <c:pt idx="763">
                  <c:v>-5.4775598342891993E-3</c:v>
                </c:pt>
                <c:pt idx="764">
                  <c:v>-5.5347078702282634E-3</c:v>
                </c:pt>
                <c:pt idx="765">
                  <c:v>-5.5686687484679384E-3</c:v>
                </c:pt>
                <c:pt idx="766">
                  <c:v>-5.6711698967702425E-3</c:v>
                </c:pt>
                <c:pt idx="767">
                  <c:v>-5.8244602891555884E-3</c:v>
                </c:pt>
                <c:pt idx="768">
                  <c:v>-5.874566767826354E-3</c:v>
                </c:pt>
                <c:pt idx="769">
                  <c:v>-5.7699905485367924E-3</c:v>
                </c:pt>
                <c:pt idx="770">
                  <c:v>-5.922817779699413E-3</c:v>
                </c:pt>
                <c:pt idx="771">
                  <c:v>-5.8684112240322767E-3</c:v>
                </c:pt>
                <c:pt idx="772">
                  <c:v>-5.7838607392864897E-3</c:v>
                </c:pt>
                <c:pt idx="773">
                  <c:v>-5.7981859865610455E-3</c:v>
                </c:pt>
                <c:pt idx="774">
                  <c:v>-5.9450931446177555E-3</c:v>
                </c:pt>
                <c:pt idx="775">
                  <c:v>-5.8025254480842548E-3</c:v>
                </c:pt>
                <c:pt idx="776">
                  <c:v>-5.8102828733390989E-3</c:v>
                </c:pt>
                <c:pt idx="777">
                  <c:v>-5.8256565077995665E-3</c:v>
                </c:pt>
                <c:pt idx="778">
                  <c:v>-5.7953557089727055E-3</c:v>
                </c:pt>
                <c:pt idx="779">
                  <c:v>-4.37977775476351E-3</c:v>
                </c:pt>
                <c:pt idx="780">
                  <c:v>-4.3826484352162288E-3</c:v>
                </c:pt>
                <c:pt idx="781">
                  <c:v>-4.4179788092979615E-3</c:v>
                </c:pt>
                <c:pt idx="782">
                  <c:v>-4.2569914306898188E-3</c:v>
                </c:pt>
                <c:pt idx="783">
                  <c:v>-4.1432217006178787E-3</c:v>
                </c:pt>
                <c:pt idx="784">
                  <c:v>-4.2990554779965447E-3</c:v>
                </c:pt>
                <c:pt idx="785">
                  <c:v>-4.2957497935864879E-3</c:v>
                </c:pt>
                <c:pt idx="786">
                  <c:v>-4.2045144141415226E-3</c:v>
                </c:pt>
                <c:pt idx="787">
                  <c:v>-4.155508820848865E-3</c:v>
                </c:pt>
                <c:pt idx="788">
                  <c:v>-4.1406591181045466E-3</c:v>
                </c:pt>
                <c:pt idx="789">
                  <c:v>-4.0515310953013941E-3</c:v>
                </c:pt>
                <c:pt idx="790">
                  <c:v>-4.0625775115815336E-3</c:v>
                </c:pt>
                <c:pt idx="791">
                  <c:v>-3.9273115823223684E-3</c:v>
                </c:pt>
                <c:pt idx="792">
                  <c:v>-5.6118184968216933E-3</c:v>
                </c:pt>
                <c:pt idx="793">
                  <c:v>-5.540678277473959E-3</c:v>
                </c:pt>
                <c:pt idx="794">
                  <c:v>-5.4212697364702384E-3</c:v>
                </c:pt>
                <c:pt idx="795">
                  <c:v>-5.4859209738815154E-3</c:v>
                </c:pt>
                <c:pt idx="796">
                  <c:v>-5.4678523210178742E-3</c:v>
                </c:pt>
                <c:pt idx="797">
                  <c:v>-4.7586861703059029E-3</c:v>
                </c:pt>
                <c:pt idx="798">
                  <c:v>-4.6596847905963721E-3</c:v>
                </c:pt>
                <c:pt idx="799">
                  <c:v>-4.0877049833872338E-3</c:v>
                </c:pt>
                <c:pt idx="800">
                  <c:v>-3.9538536309640365E-3</c:v>
                </c:pt>
                <c:pt idx="801">
                  <c:v>-4.000443608369382E-3</c:v>
                </c:pt>
                <c:pt idx="802">
                  <c:v>-4.0407493033894817E-3</c:v>
                </c:pt>
                <c:pt idx="803">
                  <c:v>-4.0508683718315942E-3</c:v>
                </c:pt>
                <c:pt idx="804">
                  <c:v>-3.9820097888104665E-3</c:v>
                </c:pt>
                <c:pt idx="805">
                  <c:v>-4.0529035644461444E-3</c:v>
                </c:pt>
                <c:pt idx="806">
                  <c:v>-3.9942705392600909E-3</c:v>
                </c:pt>
                <c:pt idx="807">
                  <c:v>-4.0327092657995254E-3</c:v>
                </c:pt>
                <c:pt idx="808">
                  <c:v>-4.1240850649098791E-3</c:v>
                </c:pt>
                <c:pt idx="809">
                  <c:v>-5.4344870978744342E-3</c:v>
                </c:pt>
                <c:pt idx="810">
                  <c:v>-5.3050206273023573E-3</c:v>
                </c:pt>
                <c:pt idx="811">
                  <c:v>-5.3090235436686235E-3</c:v>
                </c:pt>
                <c:pt idx="812">
                  <c:v>-5.5513514998590374E-3</c:v>
                </c:pt>
                <c:pt idx="813">
                  <c:v>-5.6510898439462356E-3</c:v>
                </c:pt>
                <c:pt idx="814">
                  <c:v>-5.62435153608904E-3</c:v>
                </c:pt>
                <c:pt idx="815">
                  <c:v>-5.7528491299593219E-3</c:v>
                </c:pt>
                <c:pt idx="816">
                  <c:v>-5.7486970449466303E-3</c:v>
                </c:pt>
                <c:pt idx="817">
                  <c:v>-5.6633198224322378E-3</c:v>
                </c:pt>
                <c:pt idx="818">
                  <c:v>-5.6463486565668892E-3</c:v>
                </c:pt>
                <c:pt idx="819">
                  <c:v>-5.788989527825434E-3</c:v>
                </c:pt>
                <c:pt idx="820">
                  <c:v>-5.7521164739256459E-3</c:v>
                </c:pt>
                <c:pt idx="821">
                  <c:v>-5.8620967188668998E-3</c:v>
                </c:pt>
                <c:pt idx="822">
                  <c:v>-5.8457647912461223E-3</c:v>
                </c:pt>
                <c:pt idx="823">
                  <c:v>-5.8738322382181924E-3</c:v>
                </c:pt>
                <c:pt idx="824">
                  <c:v>-6.00819672314706E-3</c:v>
                </c:pt>
                <c:pt idx="825">
                  <c:v>-6.0436930987309186E-3</c:v>
                </c:pt>
                <c:pt idx="826">
                  <c:v>-5.9369671907431526E-3</c:v>
                </c:pt>
                <c:pt idx="827">
                  <c:v>-6.7869468168454718E-3</c:v>
                </c:pt>
                <c:pt idx="828">
                  <c:v>-6.8450291381441618E-3</c:v>
                </c:pt>
                <c:pt idx="829">
                  <c:v>-8.4041101772381922E-3</c:v>
                </c:pt>
                <c:pt idx="830">
                  <c:v>-7.9378000321179767E-3</c:v>
                </c:pt>
                <c:pt idx="831">
                  <c:v>-7.9433418726753829E-3</c:v>
                </c:pt>
                <c:pt idx="832">
                  <c:v>-7.9224466860434595E-3</c:v>
                </c:pt>
                <c:pt idx="833">
                  <c:v>-7.9200438900551839E-3</c:v>
                </c:pt>
                <c:pt idx="834">
                  <c:v>-7.9232837084664519E-3</c:v>
                </c:pt>
                <c:pt idx="835">
                  <c:v>-7.9501636715754269E-3</c:v>
                </c:pt>
                <c:pt idx="836">
                  <c:v>-7.8369264903850704E-3</c:v>
                </c:pt>
                <c:pt idx="837">
                  <c:v>-7.247970972604211E-3</c:v>
                </c:pt>
                <c:pt idx="838">
                  <c:v>-7.243072520898391E-3</c:v>
                </c:pt>
                <c:pt idx="839">
                  <c:v>-7.3972853341114026E-3</c:v>
                </c:pt>
                <c:pt idx="840">
                  <c:v>-7.5085834098066531E-3</c:v>
                </c:pt>
                <c:pt idx="841">
                  <c:v>-7.2925116760077617E-3</c:v>
                </c:pt>
                <c:pt idx="842">
                  <c:v>-7.166776658536194E-3</c:v>
                </c:pt>
                <c:pt idx="843">
                  <c:v>-6.813783639712202E-3</c:v>
                </c:pt>
                <c:pt idx="844">
                  <c:v>-6.8679983819621756E-3</c:v>
                </c:pt>
                <c:pt idx="845">
                  <c:v>-6.7457403538711182E-3</c:v>
                </c:pt>
                <c:pt idx="846">
                  <c:v>-6.8622547158959674E-3</c:v>
                </c:pt>
                <c:pt idx="847">
                  <c:v>-6.9344889089224052E-3</c:v>
                </c:pt>
                <c:pt idx="848">
                  <c:v>-6.8791970554192431E-3</c:v>
                </c:pt>
                <c:pt idx="849">
                  <c:v>-6.7605461511086639E-3</c:v>
                </c:pt>
                <c:pt idx="850">
                  <c:v>-6.6250083783348512E-3</c:v>
                </c:pt>
                <c:pt idx="851">
                  <c:v>-6.6244378884882365E-3</c:v>
                </c:pt>
                <c:pt idx="852">
                  <c:v>-6.5926766268425713E-3</c:v>
                </c:pt>
                <c:pt idx="853">
                  <c:v>-6.5879127177809133E-3</c:v>
                </c:pt>
                <c:pt idx="854">
                  <c:v>-6.4750752389388985E-3</c:v>
                </c:pt>
                <c:pt idx="855">
                  <c:v>-6.2856165892025296E-3</c:v>
                </c:pt>
                <c:pt idx="856">
                  <c:v>-6.2994100995263915E-3</c:v>
                </c:pt>
                <c:pt idx="857">
                  <c:v>-6.144320066202069E-3</c:v>
                </c:pt>
                <c:pt idx="858">
                  <c:v>-6.1417483559622794E-3</c:v>
                </c:pt>
                <c:pt idx="859">
                  <c:v>-6.1205273590087808E-3</c:v>
                </c:pt>
                <c:pt idx="860">
                  <c:v>-6.4861854561947749E-3</c:v>
                </c:pt>
                <c:pt idx="861">
                  <c:v>-6.5540919733566372E-3</c:v>
                </c:pt>
                <c:pt idx="862">
                  <c:v>-6.3433961797932249E-3</c:v>
                </c:pt>
                <c:pt idx="863">
                  <c:v>-6.3041351717782962E-3</c:v>
                </c:pt>
                <c:pt idx="864">
                  <c:v>-6.3449083173929242E-3</c:v>
                </c:pt>
                <c:pt idx="865">
                  <c:v>-6.2624691560458504E-3</c:v>
                </c:pt>
                <c:pt idx="866">
                  <c:v>-6.2731556981710972E-3</c:v>
                </c:pt>
                <c:pt idx="867">
                  <c:v>-6.6901196279151882E-3</c:v>
                </c:pt>
                <c:pt idx="868">
                  <c:v>-6.6017709658178405E-3</c:v>
                </c:pt>
                <c:pt idx="869">
                  <c:v>-6.5104648018205515E-3</c:v>
                </c:pt>
                <c:pt idx="870">
                  <c:v>-6.5118922958193395E-3</c:v>
                </c:pt>
                <c:pt idx="871">
                  <c:v>-6.6996161391799629E-3</c:v>
                </c:pt>
                <c:pt idx="872">
                  <c:v>-6.7350026133708666E-3</c:v>
                </c:pt>
                <c:pt idx="873">
                  <c:v>-7.2514801575845212E-3</c:v>
                </c:pt>
                <c:pt idx="874">
                  <c:v>-7.2496750395176796E-3</c:v>
                </c:pt>
                <c:pt idx="875">
                  <c:v>-7.3170386502890072E-3</c:v>
                </c:pt>
                <c:pt idx="876">
                  <c:v>-6.6587893628307976E-3</c:v>
                </c:pt>
                <c:pt idx="877">
                  <c:v>-6.6728499993057291E-3</c:v>
                </c:pt>
                <c:pt idx="878">
                  <c:v>-6.6705877108686829E-3</c:v>
                </c:pt>
                <c:pt idx="879">
                  <c:v>-6.6053724212318593E-3</c:v>
                </c:pt>
                <c:pt idx="880">
                  <c:v>-6.6906681230907939E-3</c:v>
                </c:pt>
                <c:pt idx="881">
                  <c:v>-6.6193341240750776E-3</c:v>
                </c:pt>
                <c:pt idx="882">
                  <c:v>-6.5962604597382887E-3</c:v>
                </c:pt>
                <c:pt idx="883">
                  <c:v>-6.597724296990513E-3</c:v>
                </c:pt>
                <c:pt idx="884">
                  <c:v>-6.6513399001369485E-3</c:v>
                </c:pt>
                <c:pt idx="885">
                  <c:v>-6.78666064881838E-3</c:v>
                </c:pt>
                <c:pt idx="886">
                  <c:v>-6.8171063190558736E-3</c:v>
                </c:pt>
                <c:pt idx="887">
                  <c:v>-7.1510524846246388E-3</c:v>
                </c:pt>
                <c:pt idx="888">
                  <c:v>-7.1719121228959399E-3</c:v>
                </c:pt>
                <c:pt idx="889">
                  <c:v>-7.1250682230348571E-3</c:v>
                </c:pt>
                <c:pt idx="890">
                  <c:v>-6.9294526793230171E-3</c:v>
                </c:pt>
                <c:pt idx="891">
                  <c:v>-6.8608543970066702E-3</c:v>
                </c:pt>
                <c:pt idx="892">
                  <c:v>-7.2099528619204278E-3</c:v>
                </c:pt>
                <c:pt idx="893">
                  <c:v>-6.9169566664746326E-3</c:v>
                </c:pt>
                <c:pt idx="894">
                  <c:v>-6.9572686491362274E-3</c:v>
                </c:pt>
                <c:pt idx="895">
                  <c:v>-6.932032664429686E-3</c:v>
                </c:pt>
                <c:pt idx="896">
                  <c:v>-6.907738639053293E-3</c:v>
                </c:pt>
                <c:pt idx="897">
                  <c:v>-6.9137194162821394E-3</c:v>
                </c:pt>
                <c:pt idx="898">
                  <c:v>-6.4236621415333824E-3</c:v>
                </c:pt>
                <c:pt idx="899">
                  <c:v>-6.4927996765524821E-3</c:v>
                </c:pt>
                <c:pt idx="900">
                  <c:v>-6.4835150448719365E-3</c:v>
                </c:pt>
                <c:pt idx="901">
                  <c:v>-6.5719544352172594E-3</c:v>
                </c:pt>
                <c:pt idx="902">
                  <c:v>-6.2701174484309646E-3</c:v>
                </c:pt>
                <c:pt idx="903">
                  <c:v>-6.2253891809076001E-3</c:v>
                </c:pt>
                <c:pt idx="904">
                  <c:v>-5.9232547130166529E-3</c:v>
                </c:pt>
                <c:pt idx="905">
                  <c:v>-5.8463927752844709E-3</c:v>
                </c:pt>
                <c:pt idx="906">
                  <c:v>-6.5627950773237496E-3</c:v>
                </c:pt>
                <c:pt idx="907">
                  <c:v>-6.514689562098868E-3</c:v>
                </c:pt>
                <c:pt idx="908">
                  <c:v>-6.4512639966193301E-3</c:v>
                </c:pt>
                <c:pt idx="909">
                  <c:v>-6.5222281675382122E-3</c:v>
                </c:pt>
                <c:pt idx="910">
                  <c:v>-6.6426710039583772E-3</c:v>
                </c:pt>
                <c:pt idx="911">
                  <c:v>-6.6723317605232842E-3</c:v>
                </c:pt>
                <c:pt idx="912">
                  <c:v>-6.5234124527290185E-3</c:v>
                </c:pt>
                <c:pt idx="913">
                  <c:v>-6.5325588791594709E-3</c:v>
                </c:pt>
                <c:pt idx="914">
                  <c:v>-6.4937726125820485E-3</c:v>
                </c:pt>
                <c:pt idx="915">
                  <c:v>-6.5019332123679857E-3</c:v>
                </c:pt>
                <c:pt idx="916">
                  <c:v>-6.4545122987026884E-3</c:v>
                </c:pt>
                <c:pt idx="917">
                  <c:v>-6.3998303518016881E-3</c:v>
                </c:pt>
                <c:pt idx="918">
                  <c:v>-6.5230475007494407E-3</c:v>
                </c:pt>
                <c:pt idx="919">
                  <c:v>-6.579863927975378E-3</c:v>
                </c:pt>
                <c:pt idx="920">
                  <c:v>-6.6417560214778182E-3</c:v>
                </c:pt>
                <c:pt idx="921">
                  <c:v>-6.7333838867114568E-3</c:v>
                </c:pt>
                <c:pt idx="922">
                  <c:v>-6.6942472931806659E-3</c:v>
                </c:pt>
                <c:pt idx="923">
                  <c:v>-6.844659370454708E-3</c:v>
                </c:pt>
                <c:pt idx="924">
                  <c:v>-6.9530262419049927E-3</c:v>
                </c:pt>
                <c:pt idx="925">
                  <c:v>-6.8677980361772657E-3</c:v>
                </c:pt>
                <c:pt idx="926">
                  <c:v>-6.8555223062449731E-3</c:v>
                </c:pt>
                <c:pt idx="927">
                  <c:v>-6.8487726991910605E-3</c:v>
                </c:pt>
                <c:pt idx="928">
                  <c:v>-7.2083070438711183E-3</c:v>
                </c:pt>
                <c:pt idx="929">
                  <c:v>-7.0756608355681573E-3</c:v>
                </c:pt>
                <c:pt idx="930">
                  <c:v>-7.099832817786267E-3</c:v>
                </c:pt>
                <c:pt idx="931">
                  <c:v>-7.0039158103268918E-3</c:v>
                </c:pt>
                <c:pt idx="932">
                  <c:v>-7.2430151212841323E-3</c:v>
                </c:pt>
                <c:pt idx="933">
                  <c:v>-7.2001601951784729E-3</c:v>
                </c:pt>
                <c:pt idx="934">
                  <c:v>-7.5946374214767602E-3</c:v>
                </c:pt>
                <c:pt idx="935">
                  <c:v>-7.5681293850065447E-3</c:v>
                </c:pt>
                <c:pt idx="936">
                  <c:v>-7.5510351299624169E-3</c:v>
                </c:pt>
                <c:pt idx="937">
                  <c:v>-7.6230152742074566E-3</c:v>
                </c:pt>
                <c:pt idx="938">
                  <c:v>-7.7841997218292781E-3</c:v>
                </c:pt>
                <c:pt idx="939">
                  <c:v>-7.8756787606181992E-3</c:v>
                </c:pt>
                <c:pt idx="940">
                  <c:v>-7.914516425447932E-3</c:v>
                </c:pt>
                <c:pt idx="941">
                  <c:v>-8.0492292087939957E-3</c:v>
                </c:pt>
                <c:pt idx="942">
                  <c:v>-8.1584395203184099E-3</c:v>
                </c:pt>
                <c:pt idx="943">
                  <c:v>-8.1521701055480358E-3</c:v>
                </c:pt>
                <c:pt idx="944">
                  <c:v>-8.3016689525575726E-3</c:v>
                </c:pt>
                <c:pt idx="945">
                  <c:v>-8.5270221617389681E-3</c:v>
                </c:pt>
                <c:pt idx="946">
                  <c:v>-8.565032922582462E-3</c:v>
                </c:pt>
                <c:pt idx="947">
                  <c:v>-8.449244584052407E-3</c:v>
                </c:pt>
                <c:pt idx="948">
                  <c:v>-8.4147704132132243E-3</c:v>
                </c:pt>
                <c:pt idx="949">
                  <c:v>-8.6271841938618636E-3</c:v>
                </c:pt>
                <c:pt idx="950">
                  <c:v>-8.6293079562418315E-3</c:v>
                </c:pt>
                <c:pt idx="951">
                  <c:v>-7.5060853402975749E-3</c:v>
                </c:pt>
                <c:pt idx="952">
                  <c:v>-7.4351549573921857E-3</c:v>
                </c:pt>
                <c:pt idx="953">
                  <c:v>-7.2853013521563849E-3</c:v>
                </c:pt>
                <c:pt idx="954">
                  <c:v>-7.2157109537741588E-3</c:v>
                </c:pt>
                <c:pt idx="955">
                  <c:v>-7.373262566559847E-3</c:v>
                </c:pt>
                <c:pt idx="956">
                  <c:v>-7.4433173566181782E-3</c:v>
                </c:pt>
                <c:pt idx="957">
                  <c:v>-7.6991296453088609E-3</c:v>
                </c:pt>
                <c:pt idx="958">
                  <c:v>-7.7413657847206592E-3</c:v>
                </c:pt>
                <c:pt idx="959">
                  <c:v>-7.9749223826978601E-3</c:v>
                </c:pt>
                <c:pt idx="960">
                  <c:v>-7.9681471295797376E-3</c:v>
                </c:pt>
                <c:pt idx="961">
                  <c:v>-8.0165865645656677E-3</c:v>
                </c:pt>
                <c:pt idx="962">
                  <c:v>-8.0725544660129964E-3</c:v>
                </c:pt>
                <c:pt idx="963">
                  <c:v>-8.141334316378741E-3</c:v>
                </c:pt>
                <c:pt idx="964">
                  <c:v>-7.3499735460518384E-3</c:v>
                </c:pt>
                <c:pt idx="965">
                  <c:v>-7.3874201644457934E-3</c:v>
                </c:pt>
                <c:pt idx="966">
                  <c:v>-7.3736435589283663E-3</c:v>
                </c:pt>
                <c:pt idx="967">
                  <c:v>-7.349099142449445E-3</c:v>
                </c:pt>
                <c:pt idx="968">
                  <c:v>-7.3287823625350565E-3</c:v>
                </c:pt>
                <c:pt idx="969">
                  <c:v>-7.3221464706641898E-3</c:v>
                </c:pt>
                <c:pt idx="970">
                  <c:v>-7.2938399803872608E-3</c:v>
                </c:pt>
                <c:pt idx="971">
                  <c:v>-7.2866157334286205E-3</c:v>
                </c:pt>
                <c:pt idx="972">
                  <c:v>-7.2155322019417248E-3</c:v>
                </c:pt>
                <c:pt idx="973">
                  <c:v>-7.1636326229304282E-3</c:v>
                </c:pt>
                <c:pt idx="974">
                  <c:v>-7.193561118720636E-3</c:v>
                </c:pt>
                <c:pt idx="975">
                  <c:v>-7.0511296951302508E-3</c:v>
                </c:pt>
                <c:pt idx="976">
                  <c:v>-7.0356224162210056E-3</c:v>
                </c:pt>
                <c:pt idx="977">
                  <c:v>-7.0865385244508429E-3</c:v>
                </c:pt>
                <c:pt idx="978">
                  <c:v>-6.9297302135099157E-3</c:v>
                </c:pt>
                <c:pt idx="979">
                  <c:v>-6.8908729266520556E-3</c:v>
                </c:pt>
                <c:pt idx="980">
                  <c:v>-6.8900702496992742E-3</c:v>
                </c:pt>
                <c:pt idx="981">
                  <c:v>-7.7840441406312267E-3</c:v>
                </c:pt>
                <c:pt idx="982">
                  <c:v>-7.8215575211855702E-3</c:v>
                </c:pt>
                <c:pt idx="983">
                  <c:v>-8.0017159774791388E-3</c:v>
                </c:pt>
                <c:pt idx="984">
                  <c:v>-8.0749265879530956E-3</c:v>
                </c:pt>
                <c:pt idx="985">
                  <c:v>-8.0971271899942399E-3</c:v>
                </c:pt>
                <c:pt idx="986">
                  <c:v>-8.086766841562551E-3</c:v>
                </c:pt>
                <c:pt idx="987">
                  <c:v>-8.1035006072873589E-3</c:v>
                </c:pt>
                <c:pt idx="988">
                  <c:v>-7.5659129031298853E-3</c:v>
                </c:pt>
                <c:pt idx="989">
                  <c:v>-7.6626982506264553E-3</c:v>
                </c:pt>
                <c:pt idx="990">
                  <c:v>-7.6886906504437177E-3</c:v>
                </c:pt>
                <c:pt idx="991">
                  <c:v>-7.6985493467540723E-3</c:v>
                </c:pt>
                <c:pt idx="992">
                  <c:v>-7.5117043269095508E-3</c:v>
                </c:pt>
                <c:pt idx="993">
                  <c:v>-7.4903345024515851E-3</c:v>
                </c:pt>
                <c:pt idx="994">
                  <c:v>-7.9773329800722353E-3</c:v>
                </c:pt>
                <c:pt idx="995">
                  <c:v>-7.9801075534572576E-3</c:v>
                </c:pt>
                <c:pt idx="996">
                  <c:v>-7.959191185594048E-3</c:v>
                </c:pt>
                <c:pt idx="997">
                  <c:v>-7.9682799172811972E-3</c:v>
                </c:pt>
                <c:pt idx="998">
                  <c:v>-7.8132994459875343E-3</c:v>
                </c:pt>
                <c:pt idx="999">
                  <c:v>-7.7884583933097084E-3</c:v>
                </c:pt>
                <c:pt idx="1000">
                  <c:v>-7.6078542685722025E-3</c:v>
                </c:pt>
                <c:pt idx="1001">
                  <c:v>-7.4751929002778664E-3</c:v>
                </c:pt>
                <c:pt idx="1002">
                  <c:v>-7.5932450131259988E-3</c:v>
                </c:pt>
                <c:pt idx="1003">
                  <c:v>-7.7324220972884066E-3</c:v>
                </c:pt>
                <c:pt idx="1004">
                  <c:v>-7.5976450001968478E-3</c:v>
                </c:pt>
                <c:pt idx="1005">
                  <c:v>-7.6172462395972884E-3</c:v>
                </c:pt>
                <c:pt idx="1006">
                  <c:v>-7.6917784466703542E-3</c:v>
                </c:pt>
                <c:pt idx="1007">
                  <c:v>-7.8701784750067789E-3</c:v>
                </c:pt>
                <c:pt idx="1008">
                  <c:v>-7.9834912634304013E-3</c:v>
                </c:pt>
                <c:pt idx="1009">
                  <c:v>-7.9866180497284341E-3</c:v>
                </c:pt>
                <c:pt idx="1010">
                  <c:v>-7.9871149581443781E-3</c:v>
                </c:pt>
                <c:pt idx="1011">
                  <c:v>-8.1265570203525456E-3</c:v>
                </c:pt>
                <c:pt idx="1012">
                  <c:v>-8.1242039553790172E-3</c:v>
                </c:pt>
                <c:pt idx="1013">
                  <c:v>-8.1269406398612708E-3</c:v>
                </c:pt>
                <c:pt idx="1014">
                  <c:v>-8.191399557590455E-3</c:v>
                </c:pt>
                <c:pt idx="1015">
                  <c:v>-8.1960359494539052E-3</c:v>
                </c:pt>
                <c:pt idx="1016">
                  <c:v>-8.1316867870551111E-3</c:v>
                </c:pt>
                <c:pt idx="1017">
                  <c:v>-8.1389650788061402E-3</c:v>
                </c:pt>
                <c:pt idx="1018">
                  <c:v>-8.5087883623358312E-3</c:v>
                </c:pt>
                <c:pt idx="1019">
                  <c:v>-8.3956595406605196E-3</c:v>
                </c:pt>
                <c:pt idx="1020">
                  <c:v>-8.2352941985903393E-3</c:v>
                </c:pt>
                <c:pt idx="1021">
                  <c:v>-7.9132720764252887E-3</c:v>
                </c:pt>
                <c:pt idx="1022">
                  <c:v>-8.0509216991890582E-3</c:v>
                </c:pt>
                <c:pt idx="1023">
                  <c:v>-7.2322454447375922E-3</c:v>
                </c:pt>
                <c:pt idx="1024">
                  <c:v>-7.2433908444925303E-3</c:v>
                </c:pt>
                <c:pt idx="1025">
                  <c:v>-6.2549121983597545E-3</c:v>
                </c:pt>
                <c:pt idx="1026">
                  <c:v>-6.2798297025787441E-3</c:v>
                </c:pt>
                <c:pt idx="1027">
                  <c:v>-6.2773411639591263E-3</c:v>
                </c:pt>
                <c:pt idx="1028">
                  <c:v>-6.2664549097713419E-3</c:v>
                </c:pt>
                <c:pt idx="1029">
                  <c:v>-6.3055767353379071E-3</c:v>
                </c:pt>
                <c:pt idx="1030">
                  <c:v>-6.0541253399282171E-3</c:v>
                </c:pt>
                <c:pt idx="1031">
                  <c:v>-6.1951730491566076E-3</c:v>
                </c:pt>
                <c:pt idx="1032">
                  <c:v>-6.2334714130543927E-3</c:v>
                </c:pt>
                <c:pt idx="1033">
                  <c:v>-6.1429816658471678E-3</c:v>
                </c:pt>
                <c:pt idx="1034">
                  <c:v>-6.2042003408623253E-3</c:v>
                </c:pt>
                <c:pt idx="1035">
                  <c:v>-6.2451843222383089E-3</c:v>
                </c:pt>
                <c:pt idx="1036">
                  <c:v>-6.2088915840983706E-3</c:v>
                </c:pt>
                <c:pt idx="1037">
                  <c:v>-6.0593658566718538E-3</c:v>
                </c:pt>
                <c:pt idx="1038">
                  <c:v>-5.8936074632554517E-3</c:v>
                </c:pt>
                <c:pt idx="1039">
                  <c:v>-5.9936632490808529E-3</c:v>
                </c:pt>
                <c:pt idx="1040">
                  <c:v>-6.0317984837405178E-3</c:v>
                </c:pt>
                <c:pt idx="1041">
                  <c:v>-5.9932064273650913E-3</c:v>
                </c:pt>
                <c:pt idx="1042">
                  <c:v>-5.9428866801691325E-3</c:v>
                </c:pt>
                <c:pt idx="1043">
                  <c:v>-5.9233791175675021E-3</c:v>
                </c:pt>
                <c:pt idx="1044">
                  <c:v>-5.8940870066626749E-3</c:v>
                </c:pt>
                <c:pt idx="1045">
                  <c:v>-5.8971166584889153E-3</c:v>
                </c:pt>
                <c:pt idx="1046">
                  <c:v>-5.7848741088198452E-3</c:v>
                </c:pt>
                <c:pt idx="1047">
                  <c:v>-5.7923512566958905E-3</c:v>
                </c:pt>
                <c:pt idx="1048">
                  <c:v>-5.7342930186384481E-3</c:v>
                </c:pt>
                <c:pt idx="1049">
                  <c:v>-5.4046318733538745E-3</c:v>
                </c:pt>
                <c:pt idx="1050">
                  <c:v>-5.5244048261918442E-3</c:v>
                </c:pt>
                <c:pt idx="1051">
                  <c:v>-5.5113293148840907E-3</c:v>
                </c:pt>
                <c:pt idx="1052">
                  <c:v>-5.360208076336654E-3</c:v>
                </c:pt>
                <c:pt idx="1053">
                  <c:v>-5.8115126335052079E-3</c:v>
                </c:pt>
                <c:pt idx="1054">
                  <c:v>-5.9222570310210549E-3</c:v>
                </c:pt>
                <c:pt idx="1055">
                  <c:v>-6.5625136594081868E-3</c:v>
                </c:pt>
                <c:pt idx="1056">
                  <c:v>-6.5642464388982885E-3</c:v>
                </c:pt>
                <c:pt idx="1057">
                  <c:v>-6.6163045501581317E-3</c:v>
                </c:pt>
                <c:pt idx="1058">
                  <c:v>-6.3347071392251776E-3</c:v>
                </c:pt>
                <c:pt idx="1059">
                  <c:v>-6.1682747064556575E-3</c:v>
                </c:pt>
                <c:pt idx="1060">
                  <c:v>-6.4323922118312074E-3</c:v>
                </c:pt>
                <c:pt idx="1061">
                  <c:v>-6.4794961120347655E-3</c:v>
                </c:pt>
                <c:pt idx="1062">
                  <c:v>-6.4021497197839288E-3</c:v>
                </c:pt>
                <c:pt idx="1063">
                  <c:v>-6.540077169674724E-3</c:v>
                </c:pt>
                <c:pt idx="1064">
                  <c:v>-6.5368308549309442E-3</c:v>
                </c:pt>
                <c:pt idx="1065">
                  <c:v>-6.5260596592665874E-3</c:v>
                </c:pt>
                <c:pt idx="1066">
                  <c:v>-6.5511470174469729E-3</c:v>
                </c:pt>
                <c:pt idx="1067">
                  <c:v>-6.6699123272618921E-3</c:v>
                </c:pt>
                <c:pt idx="1068">
                  <c:v>-6.834675701772595E-3</c:v>
                </c:pt>
                <c:pt idx="1069">
                  <c:v>-6.8213953768255431E-3</c:v>
                </c:pt>
                <c:pt idx="1070">
                  <c:v>-6.7840970237410562E-3</c:v>
                </c:pt>
                <c:pt idx="1071">
                  <c:v>-6.8016258829734933E-3</c:v>
                </c:pt>
                <c:pt idx="1072">
                  <c:v>-6.8313221749486943E-3</c:v>
                </c:pt>
                <c:pt idx="1073">
                  <c:v>-6.7755540965018088E-3</c:v>
                </c:pt>
                <c:pt idx="1074">
                  <c:v>-6.6304938366465969E-3</c:v>
                </c:pt>
                <c:pt idx="1075">
                  <c:v>-6.4671994659381274E-3</c:v>
                </c:pt>
                <c:pt idx="1076">
                  <c:v>-6.6056847961637483E-3</c:v>
                </c:pt>
                <c:pt idx="1077">
                  <c:v>-6.2648384644478283E-3</c:v>
                </c:pt>
                <c:pt idx="1078">
                  <c:v>-6.3309340367580071E-3</c:v>
                </c:pt>
                <c:pt idx="1079">
                  <c:v>-6.6366984311374399E-3</c:v>
                </c:pt>
                <c:pt idx="1080">
                  <c:v>-6.7044363374644551E-3</c:v>
                </c:pt>
                <c:pt idx="1081">
                  <c:v>-6.8109069393493859E-3</c:v>
                </c:pt>
                <c:pt idx="1082">
                  <c:v>-6.6920856158433784E-3</c:v>
                </c:pt>
                <c:pt idx="1083">
                  <c:v>-6.6809057528273638E-3</c:v>
                </c:pt>
                <c:pt idx="1084">
                  <c:v>-6.4030016197988669E-3</c:v>
                </c:pt>
                <c:pt idx="1085">
                  <c:v>-6.5360732707134342E-3</c:v>
                </c:pt>
                <c:pt idx="1086">
                  <c:v>-6.4721392387533791E-3</c:v>
                </c:pt>
                <c:pt idx="1087">
                  <c:v>-6.4267917491655285E-3</c:v>
                </c:pt>
                <c:pt idx="1088">
                  <c:v>-6.5832318024363311E-3</c:v>
                </c:pt>
                <c:pt idx="1089">
                  <c:v>-6.7596050175034155E-3</c:v>
                </c:pt>
                <c:pt idx="1090">
                  <c:v>-6.8071304297254052E-3</c:v>
                </c:pt>
                <c:pt idx="1091">
                  <c:v>-6.8163412970147332E-3</c:v>
                </c:pt>
                <c:pt idx="1092">
                  <c:v>-6.7848755476642491E-3</c:v>
                </c:pt>
                <c:pt idx="1093">
                  <c:v>-6.5730912871888201E-3</c:v>
                </c:pt>
                <c:pt idx="1094">
                  <c:v>-6.3925695812175626E-3</c:v>
                </c:pt>
                <c:pt idx="1095">
                  <c:v>-6.3778409835747989E-3</c:v>
                </c:pt>
                <c:pt idx="1096">
                  <c:v>-6.4175949460026889E-3</c:v>
                </c:pt>
                <c:pt idx="1097">
                  <c:v>-6.4013060318875471E-3</c:v>
                </c:pt>
                <c:pt idx="1098">
                  <c:v>-6.2571389711606187E-3</c:v>
                </c:pt>
                <c:pt idx="1099">
                  <c:v>-6.3500570812658284E-3</c:v>
                </c:pt>
                <c:pt idx="1100">
                  <c:v>-6.1616280658766797E-3</c:v>
                </c:pt>
                <c:pt idx="1101">
                  <c:v>-6.056095183664228E-3</c:v>
                </c:pt>
                <c:pt idx="1102">
                  <c:v>-6.0597001668682661E-3</c:v>
                </c:pt>
                <c:pt idx="1103">
                  <c:v>-5.9458253656702849E-3</c:v>
                </c:pt>
                <c:pt idx="1104">
                  <c:v>-6.1230137918709361E-3</c:v>
                </c:pt>
                <c:pt idx="1105">
                  <c:v>-6.2675833593185256E-3</c:v>
                </c:pt>
                <c:pt idx="1106">
                  <c:v>-6.3073778188246464E-3</c:v>
                </c:pt>
                <c:pt idx="1107">
                  <c:v>-6.7314408020422095E-3</c:v>
                </c:pt>
                <c:pt idx="1108">
                  <c:v>-6.7409970771376412E-3</c:v>
                </c:pt>
                <c:pt idx="1109">
                  <c:v>-6.8971527543273802E-3</c:v>
                </c:pt>
                <c:pt idx="1110">
                  <c:v>-6.8946229066495345E-3</c:v>
                </c:pt>
                <c:pt idx="1111">
                  <c:v>-6.9726933546468443E-3</c:v>
                </c:pt>
                <c:pt idx="1112">
                  <c:v>-7.3756504408757292E-3</c:v>
                </c:pt>
                <c:pt idx="1113">
                  <c:v>-7.4358134388794375E-3</c:v>
                </c:pt>
                <c:pt idx="1114">
                  <c:v>-7.9335477670204671E-3</c:v>
                </c:pt>
                <c:pt idx="1115">
                  <c:v>-7.9422647263655225E-3</c:v>
                </c:pt>
                <c:pt idx="1116">
                  <c:v>-7.9320569768533619E-3</c:v>
                </c:pt>
                <c:pt idx="1117">
                  <c:v>-8.054634025101301E-3</c:v>
                </c:pt>
                <c:pt idx="1118">
                  <c:v>-8.215865777586798E-3</c:v>
                </c:pt>
                <c:pt idx="1119">
                  <c:v>-8.2251412439930151E-3</c:v>
                </c:pt>
                <c:pt idx="1120">
                  <c:v>-8.1844392978452415E-3</c:v>
                </c:pt>
                <c:pt idx="1121">
                  <c:v>-1.5381021130994758E-2</c:v>
                </c:pt>
                <c:pt idx="1122">
                  <c:v>-1.8210210746042121E-2</c:v>
                </c:pt>
                <c:pt idx="1123">
                  <c:v>-2.0673970776150272E-2</c:v>
                </c:pt>
                <c:pt idx="1124">
                  <c:v>-2.243078449105073E-2</c:v>
                </c:pt>
                <c:pt idx="1125">
                  <c:v>-2.3693222603412764E-2</c:v>
                </c:pt>
                <c:pt idx="1126">
                  <c:v>-2.4717525507699387E-2</c:v>
                </c:pt>
                <c:pt idx="1127">
                  <c:v>-2.5783239259567905E-2</c:v>
                </c:pt>
                <c:pt idx="1128">
                  <c:v>-2.6483054067505542E-2</c:v>
                </c:pt>
                <c:pt idx="1129">
                  <c:v>-2.7002824519558162E-2</c:v>
                </c:pt>
                <c:pt idx="1130">
                  <c:v>-2.7742366127175448E-2</c:v>
                </c:pt>
                <c:pt idx="1131">
                  <c:v>-2.8319935385755148E-2</c:v>
                </c:pt>
                <c:pt idx="1132">
                  <c:v>-2.8680369724062516E-2</c:v>
                </c:pt>
                <c:pt idx="1133">
                  <c:v>-2.9159480546160507E-2</c:v>
                </c:pt>
                <c:pt idx="1134">
                  <c:v>-2.9286221502778424E-2</c:v>
                </c:pt>
                <c:pt idx="1135">
                  <c:v>-2.9357843993555705E-2</c:v>
                </c:pt>
                <c:pt idx="1136">
                  <c:v>-2.9335412496390365E-2</c:v>
                </c:pt>
                <c:pt idx="1137">
                  <c:v>-2.9143144829191593E-2</c:v>
                </c:pt>
                <c:pt idx="1138">
                  <c:v>-2.8903796282169297E-2</c:v>
                </c:pt>
                <c:pt idx="1139">
                  <c:v>-2.8906706394348315E-2</c:v>
                </c:pt>
                <c:pt idx="1140">
                  <c:v>-2.8532139247508609E-2</c:v>
                </c:pt>
                <c:pt idx="1141">
                  <c:v>-2.7980313605746175E-2</c:v>
                </c:pt>
                <c:pt idx="1142">
                  <c:v>-2.7303593319672921E-2</c:v>
                </c:pt>
                <c:pt idx="1143">
                  <c:v>-2.6526543273228682E-2</c:v>
                </c:pt>
                <c:pt idx="1144">
                  <c:v>-2.5616832622119508E-2</c:v>
                </c:pt>
                <c:pt idx="1145">
                  <c:v>-2.4476026953337261E-2</c:v>
                </c:pt>
                <c:pt idx="1146">
                  <c:v>-2.3401429152308077E-2</c:v>
                </c:pt>
                <c:pt idx="1147">
                  <c:v>-2.186765855526878E-2</c:v>
                </c:pt>
                <c:pt idx="1148">
                  <c:v>-1.9813002787818414E-2</c:v>
                </c:pt>
                <c:pt idx="1149">
                  <c:v>-1.7022030592159558E-2</c:v>
                </c:pt>
                <c:pt idx="1150">
                  <c:v>-9.9795558829359719E-3</c:v>
                </c:pt>
                <c:pt idx="1151">
                  <c:v>-8.9389001504683215E-3</c:v>
                </c:pt>
                <c:pt idx="1152">
                  <c:v>-8.8905955480717384E-3</c:v>
                </c:pt>
                <c:pt idx="1153">
                  <c:v>-8.8976107255494541E-3</c:v>
                </c:pt>
                <c:pt idx="1154">
                  <c:v>-8.882093180980339E-3</c:v>
                </c:pt>
                <c:pt idx="1155">
                  <c:v>-8.9324746174850676E-3</c:v>
                </c:pt>
                <c:pt idx="1156">
                  <c:v>-9.0158499430501478E-3</c:v>
                </c:pt>
                <c:pt idx="1157">
                  <c:v>-9.0706629413516114E-3</c:v>
                </c:pt>
                <c:pt idx="1158">
                  <c:v>-9.2180079142197852E-3</c:v>
                </c:pt>
                <c:pt idx="1159">
                  <c:v>-9.2981036505577173E-3</c:v>
                </c:pt>
                <c:pt idx="1160">
                  <c:v>-9.307117209675652E-3</c:v>
                </c:pt>
                <c:pt idx="1161">
                  <c:v>-9.1011197404240358E-3</c:v>
                </c:pt>
                <c:pt idx="1162">
                  <c:v>-9.025764747967728E-3</c:v>
                </c:pt>
                <c:pt idx="1163">
                  <c:v>-8.9951563281834707E-3</c:v>
                </c:pt>
                <c:pt idx="1164">
                  <c:v>-8.8236676564388515E-3</c:v>
                </c:pt>
                <c:pt idx="1165">
                  <c:v>-8.6993549714270806E-3</c:v>
                </c:pt>
                <c:pt idx="1166">
                  <c:v>-8.5441543797859718E-3</c:v>
                </c:pt>
                <c:pt idx="1167">
                  <c:v>-8.5618537250348459E-3</c:v>
                </c:pt>
                <c:pt idx="1168">
                  <c:v>-8.4260852660577382E-3</c:v>
                </c:pt>
                <c:pt idx="1169">
                  <c:v>-8.269845995455034E-3</c:v>
                </c:pt>
                <c:pt idx="1170">
                  <c:v>-8.2456841220062867E-3</c:v>
                </c:pt>
                <c:pt idx="1171">
                  <c:v>-8.1873717039750923E-3</c:v>
                </c:pt>
                <c:pt idx="1172">
                  <c:v>-8.1972652835092617E-3</c:v>
                </c:pt>
                <c:pt idx="1173">
                  <c:v>-8.07429425026715E-3</c:v>
                </c:pt>
                <c:pt idx="1174">
                  <c:v>-8.0965259307463379E-3</c:v>
                </c:pt>
                <c:pt idx="1175">
                  <c:v>-8.0038679832174948E-3</c:v>
                </c:pt>
                <c:pt idx="1176">
                  <c:v>-7.9196782011702015E-3</c:v>
                </c:pt>
                <c:pt idx="1177">
                  <c:v>-7.8900079843447386E-3</c:v>
                </c:pt>
                <c:pt idx="1178">
                  <c:v>-7.9050158850677496E-3</c:v>
                </c:pt>
                <c:pt idx="1179">
                  <c:v>-7.9072093572212822E-3</c:v>
                </c:pt>
                <c:pt idx="1180">
                  <c:v>-7.9016642878815373E-3</c:v>
                </c:pt>
                <c:pt idx="1181">
                  <c:v>-8.7226430250797043E-3</c:v>
                </c:pt>
                <c:pt idx="1182">
                  <c:v>-7.3257111864790401E-3</c:v>
                </c:pt>
                <c:pt idx="1183">
                  <c:v>-7.3235197643585015E-3</c:v>
                </c:pt>
                <c:pt idx="1184">
                  <c:v>-7.1888073597291928E-3</c:v>
                </c:pt>
                <c:pt idx="1185">
                  <c:v>-7.0689389388477056E-3</c:v>
                </c:pt>
                <c:pt idx="1186">
                  <c:v>-6.9773164026359748E-3</c:v>
                </c:pt>
                <c:pt idx="1187">
                  <c:v>-6.9719130356004824E-3</c:v>
                </c:pt>
                <c:pt idx="1188">
                  <c:v>-6.2950575778472281E-3</c:v>
                </c:pt>
                <c:pt idx="1189">
                  <c:v>-6.2214861951961527E-3</c:v>
                </c:pt>
                <c:pt idx="1190">
                  <c:v>-6.216950508950091E-3</c:v>
                </c:pt>
                <c:pt idx="1191">
                  <c:v>-6.3304575454828189E-3</c:v>
                </c:pt>
                <c:pt idx="1192">
                  <c:v>-6.4042450060217701E-3</c:v>
                </c:pt>
                <c:pt idx="1193">
                  <c:v>-6.4034807902387881E-3</c:v>
                </c:pt>
                <c:pt idx="1194">
                  <c:v>-6.4076791952252972E-3</c:v>
                </c:pt>
                <c:pt idx="1195">
                  <c:v>-6.3813758918222704E-3</c:v>
                </c:pt>
                <c:pt idx="1196">
                  <c:v>-6.3991122612694308E-3</c:v>
                </c:pt>
                <c:pt idx="1197">
                  <c:v>-6.2429336713694904E-3</c:v>
                </c:pt>
                <c:pt idx="1198">
                  <c:v>-6.2269871138235303E-3</c:v>
                </c:pt>
                <c:pt idx="1199">
                  <c:v>-6.2728770383220986E-3</c:v>
                </c:pt>
                <c:pt idx="1200">
                  <c:v>-6.1252701503388077E-3</c:v>
                </c:pt>
                <c:pt idx="1201">
                  <c:v>-6.0105052716158784E-3</c:v>
                </c:pt>
                <c:pt idx="1202">
                  <c:v>-5.9209425513307799E-3</c:v>
                </c:pt>
                <c:pt idx="1203">
                  <c:v>-6.028616145407022E-3</c:v>
                </c:pt>
                <c:pt idx="1204">
                  <c:v>-5.9978160528229374E-3</c:v>
                </c:pt>
                <c:pt idx="1205">
                  <c:v>-6.1024734872519703E-3</c:v>
                </c:pt>
                <c:pt idx="1206">
                  <c:v>-6.2489640610467901E-3</c:v>
                </c:pt>
                <c:pt idx="1207">
                  <c:v>-6.3239168071157698E-3</c:v>
                </c:pt>
                <c:pt idx="1208">
                  <c:v>-6.3277507173201573E-3</c:v>
                </c:pt>
                <c:pt idx="1209">
                  <c:v>-6.3015883010990124E-3</c:v>
                </c:pt>
                <c:pt idx="1210">
                  <c:v>-6.2579961666072064E-3</c:v>
                </c:pt>
                <c:pt idx="1211">
                  <c:v>-6.1484591317819805E-3</c:v>
                </c:pt>
                <c:pt idx="1212">
                  <c:v>-6.9723571630065703E-3</c:v>
                </c:pt>
                <c:pt idx="1213">
                  <c:v>-6.9473216388315851E-3</c:v>
                </c:pt>
                <c:pt idx="1214">
                  <c:v>-6.9556324396523378E-3</c:v>
                </c:pt>
                <c:pt idx="1215">
                  <c:v>-5.9211979073867443E-3</c:v>
                </c:pt>
                <c:pt idx="1216">
                  <c:v>-2.1884536772606034E-3</c:v>
                </c:pt>
                <c:pt idx="1217">
                  <c:v>-1.6987477116107621E-3</c:v>
                </c:pt>
                <c:pt idx="1218">
                  <c:v>-1.80775125305533E-3</c:v>
                </c:pt>
                <c:pt idx="1219">
                  <c:v>-1.9380766381600391E-3</c:v>
                </c:pt>
                <c:pt idx="1220">
                  <c:v>-1.9622374867523593E-3</c:v>
                </c:pt>
                <c:pt idx="1221">
                  <c:v>-1.9932368883960241E-3</c:v>
                </c:pt>
                <c:pt idx="1222">
                  <c:v>-1.9998568923472633E-3</c:v>
                </c:pt>
                <c:pt idx="1223">
                  <c:v>-1.8858050964703083E-3</c:v>
                </c:pt>
                <c:pt idx="1224">
                  <c:v>-2.0346759224207228E-3</c:v>
                </c:pt>
                <c:pt idx="1225">
                  <c:v>-1.9263551089871538E-3</c:v>
                </c:pt>
                <c:pt idx="1226">
                  <c:v>-1.7656318244475035E-3</c:v>
                </c:pt>
                <c:pt idx="1227">
                  <c:v>-1.8157166406253169E-3</c:v>
                </c:pt>
                <c:pt idx="1228">
                  <c:v>-1.8392019930523178E-3</c:v>
                </c:pt>
                <c:pt idx="1229">
                  <c:v>-1.4057271750693226E-3</c:v>
                </c:pt>
                <c:pt idx="1230">
                  <c:v>-1.4308759979158817E-3</c:v>
                </c:pt>
                <c:pt idx="1231">
                  <c:v>-1.5647790354581161E-3</c:v>
                </c:pt>
                <c:pt idx="1232">
                  <c:v>-1.4964571508211972E-3</c:v>
                </c:pt>
                <c:pt idx="1233">
                  <c:v>-1.5547438392669363E-3</c:v>
                </c:pt>
                <c:pt idx="1234">
                  <c:v>-5.6876603546098144E-4</c:v>
                </c:pt>
                <c:pt idx="1235">
                  <c:v>-6.2764079106071916E-4</c:v>
                </c:pt>
                <c:pt idx="1236">
                  <c:v>-6.6567112944183014E-4</c:v>
                </c:pt>
                <c:pt idx="1237">
                  <c:v>-5.4864724338770168E-4</c:v>
                </c:pt>
                <c:pt idx="1238">
                  <c:v>-4.2273611251787691E-4</c:v>
                </c:pt>
                <c:pt idx="1239">
                  <c:v>-3.4959147511381614E-4</c:v>
                </c:pt>
                <c:pt idx="1240">
                  <c:v>-4.2532465874528004E-4</c:v>
                </c:pt>
                <c:pt idx="1241">
                  <c:v>-2.6765361141187043E-4</c:v>
                </c:pt>
                <c:pt idx="1242">
                  <c:v>1.1117586088426733E-3</c:v>
                </c:pt>
                <c:pt idx="1243">
                  <c:v>1.2466519476931458E-3</c:v>
                </c:pt>
                <c:pt idx="1244">
                  <c:v>1.0812901867681031E-3</c:v>
                </c:pt>
                <c:pt idx="1245">
                  <c:v>8.4248556326116213E-4</c:v>
                </c:pt>
                <c:pt idx="1246">
                  <c:v>-1.1075438005395243E-3</c:v>
                </c:pt>
                <c:pt idx="1247">
                  <c:v>-1.4918247693709013E-3</c:v>
                </c:pt>
                <c:pt idx="1248">
                  <c:v>-1.6533861601553852E-3</c:v>
                </c:pt>
                <c:pt idx="1249">
                  <c:v>-1.5848181168463173E-3</c:v>
                </c:pt>
                <c:pt idx="1250">
                  <c:v>-1.5040939217908743E-3</c:v>
                </c:pt>
                <c:pt idx="1251">
                  <c:v>-1.4493697551350281E-3</c:v>
                </c:pt>
                <c:pt idx="1252">
                  <c:v>-1.4281633405492395E-3</c:v>
                </c:pt>
                <c:pt idx="1253">
                  <c:v>-1.5492706732427881E-3</c:v>
                </c:pt>
                <c:pt idx="1254">
                  <c:v>-1.5416355664062582E-3</c:v>
                </c:pt>
                <c:pt idx="1255">
                  <c:v>-1.6430835834039415E-3</c:v>
                </c:pt>
                <c:pt idx="1256">
                  <c:v>-1.7309438628883671E-3</c:v>
                </c:pt>
                <c:pt idx="1257">
                  <c:v>-1.7580900786296795E-3</c:v>
                </c:pt>
                <c:pt idx="1258">
                  <c:v>-1.7395210332013574E-3</c:v>
                </c:pt>
                <c:pt idx="1259">
                  <c:v>-2.1319845006884473E-3</c:v>
                </c:pt>
                <c:pt idx="1260">
                  <c:v>-1.5894812819408233E-3</c:v>
                </c:pt>
                <c:pt idx="1261">
                  <c:v>-1.4328374903453834E-3</c:v>
                </c:pt>
                <c:pt idx="1262">
                  <c:v>-1.5544952033526502E-3</c:v>
                </c:pt>
                <c:pt idx="1263">
                  <c:v>-1.2092553709176466E-3</c:v>
                </c:pt>
                <c:pt idx="1264">
                  <c:v>-2.202978051624116E-3</c:v>
                </c:pt>
                <c:pt idx="1265">
                  <c:v>-2.072062384338276E-3</c:v>
                </c:pt>
                <c:pt idx="1266">
                  <c:v>-2.0320665471159956E-3</c:v>
                </c:pt>
                <c:pt idx="1267">
                  <c:v>-2.2126991706355667E-3</c:v>
                </c:pt>
                <c:pt idx="1268">
                  <c:v>-2.184544025122314E-3</c:v>
                </c:pt>
                <c:pt idx="1269">
                  <c:v>-2.3455305528629795E-3</c:v>
                </c:pt>
                <c:pt idx="1270">
                  <c:v>-2.1215398256026335E-3</c:v>
                </c:pt>
                <c:pt idx="1271">
                  <c:v>-2.4683033666725428E-3</c:v>
                </c:pt>
                <c:pt idx="1272">
                  <c:v>-5.3019848979097492E-3</c:v>
                </c:pt>
                <c:pt idx="1273">
                  <c:v>-5.3845567979696161E-3</c:v>
                </c:pt>
                <c:pt idx="1274">
                  <c:v>-5.2883039248580472E-3</c:v>
                </c:pt>
                <c:pt idx="1275">
                  <c:v>-5.3194320622091578E-3</c:v>
                </c:pt>
                <c:pt idx="1276">
                  <c:v>-5.3863636305645276E-3</c:v>
                </c:pt>
                <c:pt idx="1277">
                  <c:v>-5.2961344624320814E-3</c:v>
                </c:pt>
                <c:pt idx="1278">
                  <c:v>-5.2622861859712494E-3</c:v>
                </c:pt>
                <c:pt idx="1279">
                  <c:v>-4.5746653630865958E-3</c:v>
                </c:pt>
                <c:pt idx="1280">
                  <c:v>-4.4730961493040372E-3</c:v>
                </c:pt>
                <c:pt idx="1281">
                  <c:v>-4.5176102588710704E-3</c:v>
                </c:pt>
                <c:pt idx="1282">
                  <c:v>-3.6918462532739057E-3</c:v>
                </c:pt>
                <c:pt idx="1283">
                  <c:v>-3.731864099668138E-3</c:v>
                </c:pt>
                <c:pt idx="1284">
                  <c:v>-3.7188729364678822E-3</c:v>
                </c:pt>
                <c:pt idx="1285">
                  <c:v>-3.7285092815631023E-3</c:v>
                </c:pt>
                <c:pt idx="1286">
                  <c:v>-3.6208598040362045E-3</c:v>
                </c:pt>
                <c:pt idx="1287">
                  <c:v>-3.6192025597628161E-3</c:v>
                </c:pt>
                <c:pt idx="1288">
                  <c:v>-3.4374335806207201E-3</c:v>
                </c:pt>
                <c:pt idx="1289">
                  <c:v>-3.4084184264414966E-3</c:v>
                </c:pt>
                <c:pt idx="1290">
                  <c:v>-3.9440783068860757E-3</c:v>
                </c:pt>
                <c:pt idx="1291">
                  <c:v>-3.9465657727674255E-3</c:v>
                </c:pt>
                <c:pt idx="1292">
                  <c:v>-3.7860188641980555E-3</c:v>
                </c:pt>
                <c:pt idx="1293">
                  <c:v>-4.26723033873227E-3</c:v>
                </c:pt>
                <c:pt idx="1294">
                  <c:v>-3.2036816055749911E-3</c:v>
                </c:pt>
                <c:pt idx="1295">
                  <c:v>-2.6949738728889901E-3</c:v>
                </c:pt>
                <c:pt idx="1296">
                  <c:v>-2.7523127128876394E-3</c:v>
                </c:pt>
                <c:pt idx="1297">
                  <c:v>-2.5890619151029137E-3</c:v>
                </c:pt>
                <c:pt idx="1298">
                  <c:v>-2.6057466406385257E-3</c:v>
                </c:pt>
                <c:pt idx="1299">
                  <c:v>-2.4757826819284505E-3</c:v>
                </c:pt>
                <c:pt idx="1300">
                  <c:v>-1.5978215982887217E-3</c:v>
                </c:pt>
                <c:pt idx="1301">
                  <c:v>-1.635884563225656E-3</c:v>
                </c:pt>
                <c:pt idx="1302">
                  <c:v>-1.6901529590140525E-3</c:v>
                </c:pt>
                <c:pt idx="1303">
                  <c:v>-1.7229540014683485E-3</c:v>
                </c:pt>
                <c:pt idx="1304">
                  <c:v>-1.7269372399149486E-3</c:v>
                </c:pt>
                <c:pt idx="1305">
                  <c:v>-1.6060102290805841E-3</c:v>
                </c:pt>
                <c:pt idx="1306">
                  <c:v>-1.5657090698211994E-3</c:v>
                </c:pt>
                <c:pt idx="1307">
                  <c:v>-1.1474072580861545E-3</c:v>
                </c:pt>
                <c:pt idx="1308">
                  <c:v>-4.9306152023682881E-4</c:v>
                </c:pt>
                <c:pt idx="1309">
                  <c:v>-8.0785830646294514E-4</c:v>
                </c:pt>
                <c:pt idx="1310">
                  <c:v>-5.573874010828244E-4</c:v>
                </c:pt>
                <c:pt idx="1311">
                  <c:v>-5.3251001933716027E-4</c:v>
                </c:pt>
                <c:pt idx="1312">
                  <c:v>-9.4528235152148941E-4</c:v>
                </c:pt>
                <c:pt idx="1313">
                  <c:v>-9.4019864135102757E-4</c:v>
                </c:pt>
                <c:pt idx="1314">
                  <c:v>-9.4019352062954011E-4</c:v>
                </c:pt>
                <c:pt idx="1315">
                  <c:v>-7.9296226763721049E-4</c:v>
                </c:pt>
                <c:pt idx="1316">
                  <c:v>-8.0058221638938491E-4</c:v>
                </c:pt>
                <c:pt idx="1317">
                  <c:v>-7.8087631954561199E-4</c:v>
                </c:pt>
                <c:pt idx="1318">
                  <c:v>-9.7462600520733557E-4</c:v>
                </c:pt>
                <c:pt idx="1319">
                  <c:v>-9.8387537526348733E-4</c:v>
                </c:pt>
                <c:pt idx="1320">
                  <c:v>-1.124826056506394E-3</c:v>
                </c:pt>
                <c:pt idx="1321">
                  <c:v>-1.1773205649426265E-3</c:v>
                </c:pt>
                <c:pt idx="1322">
                  <c:v>-1.3849541471013145E-3</c:v>
                </c:pt>
                <c:pt idx="1323">
                  <c:v>-1.399504039719484E-3</c:v>
                </c:pt>
                <c:pt idx="1324">
                  <c:v>-2.074888459247911E-3</c:v>
                </c:pt>
                <c:pt idx="1325">
                  <c:v>-2.42046607237229E-3</c:v>
                </c:pt>
                <c:pt idx="1326">
                  <c:v>-2.2520895840125333E-3</c:v>
                </c:pt>
                <c:pt idx="1327">
                  <c:v>-2.1716396676245784E-3</c:v>
                </c:pt>
                <c:pt idx="1328">
                  <c:v>-2.2179136966189138E-3</c:v>
                </c:pt>
                <c:pt idx="1329">
                  <c:v>-2.3501234691176327E-3</c:v>
                </c:pt>
                <c:pt idx="1330">
                  <c:v>-3.2588261829083007E-3</c:v>
                </c:pt>
                <c:pt idx="1331">
                  <c:v>-3.1924789804841144E-3</c:v>
                </c:pt>
                <c:pt idx="1332">
                  <c:v>-3.0817443626629127E-3</c:v>
                </c:pt>
                <c:pt idx="1333">
                  <c:v>-3.006034674404209E-3</c:v>
                </c:pt>
                <c:pt idx="1334">
                  <c:v>-3.0129837194075738E-3</c:v>
                </c:pt>
                <c:pt idx="1335">
                  <c:v>-3.0902201404682163E-3</c:v>
                </c:pt>
                <c:pt idx="1336">
                  <c:v>-3.1396317255399826E-3</c:v>
                </c:pt>
                <c:pt idx="1337">
                  <c:v>-3.8238897939925388E-3</c:v>
                </c:pt>
                <c:pt idx="1338">
                  <c:v>-5.1275560890583615E-3</c:v>
                </c:pt>
                <c:pt idx="1339">
                  <c:v>-5.1430675803762309E-3</c:v>
                </c:pt>
                <c:pt idx="1340">
                  <c:v>-6.3390652760806103E-3</c:v>
                </c:pt>
                <c:pt idx="1341">
                  <c:v>-6.2011086451245695E-3</c:v>
                </c:pt>
                <c:pt idx="1342">
                  <c:v>-6.6992377429254367E-3</c:v>
                </c:pt>
                <c:pt idx="1343">
                  <c:v>-6.7012425452736731E-3</c:v>
                </c:pt>
                <c:pt idx="1344">
                  <c:v>-6.8471041358084996E-3</c:v>
                </c:pt>
                <c:pt idx="1345">
                  <c:v>-6.8372640534211061E-3</c:v>
                </c:pt>
                <c:pt idx="1346">
                  <c:v>-6.7471767257754637E-3</c:v>
                </c:pt>
                <c:pt idx="1347">
                  <c:v>-6.6604506632900132E-3</c:v>
                </c:pt>
                <c:pt idx="1348">
                  <c:v>-6.6592725222713294E-3</c:v>
                </c:pt>
                <c:pt idx="1349">
                  <c:v>-6.6894741932021461E-3</c:v>
                </c:pt>
                <c:pt idx="1350">
                  <c:v>-6.5474755389386781E-3</c:v>
                </c:pt>
                <c:pt idx="1351">
                  <c:v>-6.4939573860466806E-3</c:v>
                </c:pt>
                <c:pt idx="1352">
                  <c:v>-6.74419663469029E-3</c:v>
                </c:pt>
                <c:pt idx="1353">
                  <c:v>-6.803106608643179E-3</c:v>
                </c:pt>
                <c:pt idx="1354">
                  <c:v>-7.227877185402156E-3</c:v>
                </c:pt>
                <c:pt idx="1355">
                  <c:v>-7.3261087255467056E-3</c:v>
                </c:pt>
                <c:pt idx="1356">
                  <c:v>-7.3959136574294733E-3</c:v>
                </c:pt>
                <c:pt idx="1357">
                  <c:v>-7.5801528532704852E-3</c:v>
                </c:pt>
                <c:pt idx="1358">
                  <c:v>-7.450714579184935E-3</c:v>
                </c:pt>
                <c:pt idx="1359">
                  <c:v>-7.3174505215113659E-3</c:v>
                </c:pt>
                <c:pt idx="1360">
                  <c:v>-8.2190707849781192E-3</c:v>
                </c:pt>
                <c:pt idx="1361">
                  <c:v>-5.502600773956182E-3</c:v>
                </c:pt>
                <c:pt idx="1362">
                  <c:v>-5.5001278050200329E-3</c:v>
                </c:pt>
                <c:pt idx="1363">
                  <c:v>-5.5224010327607721E-3</c:v>
                </c:pt>
                <c:pt idx="1364">
                  <c:v>-5.4967645768143128E-3</c:v>
                </c:pt>
                <c:pt idx="1365">
                  <c:v>-5.4729668888776738E-3</c:v>
                </c:pt>
                <c:pt idx="1366">
                  <c:v>-5.4553694785802968E-3</c:v>
                </c:pt>
                <c:pt idx="1367">
                  <c:v>-5.4409792890032088E-3</c:v>
                </c:pt>
                <c:pt idx="1368">
                  <c:v>-5.4528702232842933E-3</c:v>
                </c:pt>
                <c:pt idx="1369">
                  <c:v>-5.444771219782242E-3</c:v>
                </c:pt>
                <c:pt idx="1370">
                  <c:v>-5.4386509191749269E-3</c:v>
                </c:pt>
                <c:pt idx="1371">
                  <c:v>-5.5459802382462611E-3</c:v>
                </c:pt>
                <c:pt idx="1372">
                  <c:v>-5.5531845213551614E-3</c:v>
                </c:pt>
                <c:pt idx="1373">
                  <c:v>-5.5333701364182674E-3</c:v>
                </c:pt>
                <c:pt idx="1374">
                  <c:v>-5.6898287236183441E-3</c:v>
                </c:pt>
                <c:pt idx="1375">
                  <c:v>-5.7006073502888065E-3</c:v>
                </c:pt>
                <c:pt idx="1376">
                  <c:v>-5.8233923057890713E-3</c:v>
                </c:pt>
                <c:pt idx="1377">
                  <c:v>-5.8490574638240377E-3</c:v>
                </c:pt>
                <c:pt idx="1378">
                  <c:v>-5.8266297312169722E-3</c:v>
                </c:pt>
                <c:pt idx="1379">
                  <c:v>-5.5649980504481021E-3</c:v>
                </c:pt>
                <c:pt idx="1380">
                  <c:v>-5.5281467943442113E-3</c:v>
                </c:pt>
                <c:pt idx="1381">
                  <c:v>-5.6038268272854278E-3</c:v>
                </c:pt>
                <c:pt idx="1382">
                  <c:v>-5.6111227786138102E-3</c:v>
                </c:pt>
                <c:pt idx="1383">
                  <c:v>-5.6491525520074729E-3</c:v>
                </c:pt>
                <c:pt idx="1384">
                  <c:v>-5.54265251891205E-3</c:v>
                </c:pt>
                <c:pt idx="1385">
                  <c:v>-5.5277329724557258E-3</c:v>
                </c:pt>
                <c:pt idx="1386">
                  <c:v>-5.5317159634562536E-3</c:v>
                </c:pt>
                <c:pt idx="1387">
                  <c:v>-5.5701191762113113E-3</c:v>
                </c:pt>
                <c:pt idx="1388">
                  <c:v>-5.7088535319720305E-3</c:v>
                </c:pt>
                <c:pt idx="1389">
                  <c:v>-3.9831794576976436E-3</c:v>
                </c:pt>
                <c:pt idx="1390">
                  <c:v>-3.9206930768782809E-3</c:v>
                </c:pt>
                <c:pt idx="1391">
                  <c:v>-5.672717971302239E-3</c:v>
                </c:pt>
                <c:pt idx="1392">
                  <c:v>-5.6110556202230303E-3</c:v>
                </c:pt>
                <c:pt idx="1393">
                  <c:v>-5.6743044476601596E-3</c:v>
                </c:pt>
                <c:pt idx="1394">
                  <c:v>-5.7522351100475835E-3</c:v>
                </c:pt>
                <c:pt idx="1395">
                  <c:v>-5.6042717140904223E-3</c:v>
                </c:pt>
                <c:pt idx="1396">
                  <c:v>-5.4929692023655483E-3</c:v>
                </c:pt>
                <c:pt idx="1397">
                  <c:v>-5.4277838493152313E-3</c:v>
                </c:pt>
                <c:pt idx="1398">
                  <c:v>-5.4324939547554119E-3</c:v>
                </c:pt>
                <c:pt idx="1399">
                  <c:v>-5.4257934339730605E-3</c:v>
                </c:pt>
                <c:pt idx="1400">
                  <c:v>-5.425316803418386E-3</c:v>
                </c:pt>
                <c:pt idx="1401">
                  <c:v>-5.432802949901133E-3</c:v>
                </c:pt>
                <c:pt idx="1402">
                  <c:v>-5.5047037043295033E-3</c:v>
                </c:pt>
                <c:pt idx="1403">
                  <c:v>-5.5715794072715864E-3</c:v>
                </c:pt>
                <c:pt idx="1404">
                  <c:v>-5.6670813324354924E-3</c:v>
                </c:pt>
                <c:pt idx="1405">
                  <c:v>-5.7150805721268294E-3</c:v>
                </c:pt>
                <c:pt idx="1406">
                  <c:v>-5.5938353874748917E-3</c:v>
                </c:pt>
                <c:pt idx="1407">
                  <c:v>-5.6401328109287243E-3</c:v>
                </c:pt>
                <c:pt idx="1408">
                  <c:v>-5.6434988078663158E-3</c:v>
                </c:pt>
                <c:pt idx="1409">
                  <c:v>-5.8243262592238935E-3</c:v>
                </c:pt>
                <c:pt idx="1410">
                  <c:v>-5.9171865887731323E-3</c:v>
                </c:pt>
                <c:pt idx="1411">
                  <c:v>-5.9518524529078966E-3</c:v>
                </c:pt>
                <c:pt idx="1412">
                  <c:v>-5.9724214471505678E-3</c:v>
                </c:pt>
                <c:pt idx="1413">
                  <c:v>-6.011180768198887E-3</c:v>
                </c:pt>
                <c:pt idx="1414">
                  <c:v>-6.1476441135154694E-3</c:v>
                </c:pt>
                <c:pt idx="1415">
                  <c:v>-6.1174118866693071E-3</c:v>
                </c:pt>
                <c:pt idx="1416">
                  <c:v>-6.0651966472834171E-3</c:v>
                </c:pt>
                <c:pt idx="1417">
                  <c:v>-6.0176340532629401E-3</c:v>
                </c:pt>
                <c:pt idx="1418">
                  <c:v>-5.8760895776109774E-3</c:v>
                </c:pt>
                <c:pt idx="1419">
                  <c:v>-8.6400081065466962E-3</c:v>
                </c:pt>
                <c:pt idx="1420">
                  <c:v>-8.812540401445846E-3</c:v>
                </c:pt>
                <c:pt idx="1421">
                  <c:v>-9.0102007117356733E-3</c:v>
                </c:pt>
                <c:pt idx="1422">
                  <c:v>-9.1112682117620945E-3</c:v>
                </c:pt>
                <c:pt idx="1423">
                  <c:v>-9.0529347419027392E-3</c:v>
                </c:pt>
                <c:pt idx="1424">
                  <c:v>-5.0468366144136266E-3</c:v>
                </c:pt>
                <c:pt idx="1425">
                  <c:v>-5.0427886746564482E-3</c:v>
                </c:pt>
                <c:pt idx="1426">
                  <c:v>-5.0685957722607228E-3</c:v>
                </c:pt>
                <c:pt idx="1427">
                  <c:v>-5.0816418626303764E-3</c:v>
                </c:pt>
                <c:pt idx="1428">
                  <c:v>-5.0001338016572895E-3</c:v>
                </c:pt>
                <c:pt idx="1429">
                  <c:v>-4.4903112110070472E-3</c:v>
                </c:pt>
                <c:pt idx="1430">
                  <c:v>-4.3965366517714488E-3</c:v>
                </c:pt>
                <c:pt idx="1431">
                  <c:v>-4.3002831944158396E-3</c:v>
                </c:pt>
                <c:pt idx="1432">
                  <c:v>-4.2132837860436537E-3</c:v>
                </c:pt>
                <c:pt idx="1433">
                  <c:v>-4.153111847678307E-3</c:v>
                </c:pt>
                <c:pt idx="1434">
                  <c:v>-3.978321512629843E-3</c:v>
                </c:pt>
                <c:pt idx="1435">
                  <c:v>-3.9539399883305685E-3</c:v>
                </c:pt>
                <c:pt idx="1436">
                  <c:v>-3.8492057591198708E-3</c:v>
                </c:pt>
                <c:pt idx="1437">
                  <c:v>-3.7934340522681863E-3</c:v>
                </c:pt>
                <c:pt idx="1438">
                  <c:v>-3.7603231255138297E-3</c:v>
                </c:pt>
                <c:pt idx="1439">
                  <c:v>-3.6063680471464157E-3</c:v>
                </c:pt>
                <c:pt idx="1440">
                  <c:v>-2.8731048365276211E-3</c:v>
                </c:pt>
                <c:pt idx="1441">
                  <c:v>-2.7662298476079893E-3</c:v>
                </c:pt>
                <c:pt idx="1442">
                  <c:v>-2.7367557188193205E-3</c:v>
                </c:pt>
                <c:pt idx="1443">
                  <c:v>-2.6384729118019111E-3</c:v>
                </c:pt>
                <c:pt idx="1444">
                  <c:v>-2.5496349567734455E-3</c:v>
                </c:pt>
                <c:pt idx="1445">
                  <c:v>-1.3624968707327302E-3</c:v>
                </c:pt>
                <c:pt idx="1446">
                  <c:v>-1.2709399440542276E-3</c:v>
                </c:pt>
                <c:pt idx="1447">
                  <c:v>-1.0955152493667512E-3</c:v>
                </c:pt>
                <c:pt idx="1448">
                  <c:v>-8.3986336784338395E-4</c:v>
                </c:pt>
                <c:pt idx="1449">
                  <c:v>-5.6313641366534037E-4</c:v>
                </c:pt>
                <c:pt idx="1450">
                  <c:v>-2.5612505541139884E-4</c:v>
                </c:pt>
                <c:pt idx="1451">
                  <c:v>7.1060333313766738E-5</c:v>
                </c:pt>
                <c:pt idx="1452">
                  <c:v>3.8451600304754453E-4</c:v>
                </c:pt>
                <c:pt idx="1453">
                  <c:v>6.0280627906371745E-4</c:v>
                </c:pt>
                <c:pt idx="1454">
                  <c:v>-1.0663805599991551E-3</c:v>
                </c:pt>
                <c:pt idx="1455">
                  <c:v>-9.2813999983589607E-4</c:v>
                </c:pt>
                <c:pt idx="1456">
                  <c:v>-7.8997311183023368E-4</c:v>
                </c:pt>
                <c:pt idx="1457">
                  <c:v>-6.3128655698144361E-4</c:v>
                </c:pt>
                <c:pt idx="1458">
                  <c:v>-5.3452407970626045E-4</c:v>
                </c:pt>
                <c:pt idx="1459">
                  <c:v>-1.0375664329650477E-3</c:v>
                </c:pt>
                <c:pt idx="1460">
                  <c:v>-9.8257421599130985E-4</c:v>
                </c:pt>
                <c:pt idx="1461">
                  <c:v>-9.3458773656521395E-4</c:v>
                </c:pt>
                <c:pt idx="1462">
                  <c:v>-2.1987941610831542E-4</c:v>
                </c:pt>
                <c:pt idx="1463">
                  <c:v>3.0472690946528949E-4</c:v>
                </c:pt>
                <c:pt idx="1464">
                  <c:v>2.3438005028492311E-4</c:v>
                </c:pt>
                <c:pt idx="1465">
                  <c:v>1.6944805810740864E-4</c:v>
                </c:pt>
                <c:pt idx="1466">
                  <c:v>1.0788605041915297E-4</c:v>
                </c:pt>
                <c:pt idx="1467">
                  <c:v>-1.4938369610108942E-6</c:v>
                </c:pt>
                <c:pt idx="1468">
                  <c:v>-1.1773960058279742E-4</c:v>
                </c:pt>
                <c:pt idx="1469">
                  <c:v>-2.0668820416765328E-4</c:v>
                </c:pt>
                <c:pt idx="1470">
                  <c:v>-9.7643342713273767E-4</c:v>
                </c:pt>
                <c:pt idx="1471">
                  <c:v>-4.6587089136628825E-4</c:v>
                </c:pt>
                <c:pt idx="1472">
                  <c:v>-5.8292670282686018E-4</c:v>
                </c:pt>
                <c:pt idx="1473">
                  <c:v>-7.1082740017107751E-4</c:v>
                </c:pt>
                <c:pt idx="1474">
                  <c:v>-8.1898177420797018E-4</c:v>
                </c:pt>
                <c:pt idx="1475">
                  <c:v>-2.2148454630903699E-3</c:v>
                </c:pt>
                <c:pt idx="1476">
                  <c:v>-2.4338463796691415E-3</c:v>
                </c:pt>
                <c:pt idx="1477">
                  <c:v>-2.6816443713824946E-3</c:v>
                </c:pt>
                <c:pt idx="1478">
                  <c:v>-1.3577955106242028E-3</c:v>
                </c:pt>
                <c:pt idx="1479">
                  <c:v>-1.4792292441460336E-3</c:v>
                </c:pt>
                <c:pt idx="1480">
                  <c:v>-1.5383957333096037E-3</c:v>
                </c:pt>
                <c:pt idx="1481">
                  <c:v>-1.5367439102748435E-3</c:v>
                </c:pt>
                <c:pt idx="1482">
                  <c:v>-1.5393399560751451E-3</c:v>
                </c:pt>
                <c:pt idx="1483">
                  <c:v>-1.2558098280427542E-3</c:v>
                </c:pt>
                <c:pt idx="1484">
                  <c:v>-1.6547419360063344E-3</c:v>
                </c:pt>
                <c:pt idx="1485">
                  <c:v>-1.6597239360388143E-3</c:v>
                </c:pt>
                <c:pt idx="1486">
                  <c:v>-1.5702232067517675E-3</c:v>
                </c:pt>
                <c:pt idx="1487">
                  <c:v>-1.2339102368580952E-3</c:v>
                </c:pt>
                <c:pt idx="1488">
                  <c:v>-1.118403668223274E-3</c:v>
                </c:pt>
                <c:pt idx="1489">
                  <c:v>-1.0975288452870595E-3</c:v>
                </c:pt>
                <c:pt idx="1490">
                  <c:v>-1.0006140405350306E-3</c:v>
                </c:pt>
                <c:pt idx="1491">
                  <c:v>-6.8445635976325907E-4</c:v>
                </c:pt>
                <c:pt idx="1492">
                  <c:v>-9.9777431380883297E-4</c:v>
                </c:pt>
                <c:pt idx="1493">
                  <c:v>-1.290473863323217E-3</c:v>
                </c:pt>
                <c:pt idx="1494">
                  <c:v>-1.2508103792739991E-3</c:v>
                </c:pt>
                <c:pt idx="1495">
                  <c:v>-1.1734294987937044E-3</c:v>
                </c:pt>
                <c:pt idx="1496">
                  <c:v>-2.9349359966398397E-5</c:v>
                </c:pt>
                <c:pt idx="1497">
                  <c:v>-4.9486714655995467E-6</c:v>
                </c:pt>
                <c:pt idx="1498">
                  <c:v>3.413286161604509E-5</c:v>
                </c:pt>
                <c:pt idx="1499">
                  <c:v>3.5051443640219185E-4</c:v>
                </c:pt>
                <c:pt idx="1500">
                  <c:v>2.8771572037026242E-3</c:v>
                </c:pt>
                <c:pt idx="1501">
                  <c:v>2.6007115767539314E-3</c:v>
                </c:pt>
                <c:pt idx="1502">
                  <c:v>2.518470951108711E-3</c:v>
                </c:pt>
                <c:pt idx="1503">
                  <c:v>2.5559624270649929E-3</c:v>
                </c:pt>
                <c:pt idx="1504">
                  <c:v>2.541236160919046E-3</c:v>
                </c:pt>
                <c:pt idx="1505">
                  <c:v>2.5755032152974481E-3</c:v>
                </c:pt>
                <c:pt idx="1506">
                  <c:v>3.6791386189043863E-3</c:v>
                </c:pt>
                <c:pt idx="1507">
                  <c:v>3.5939432141183832E-3</c:v>
                </c:pt>
                <c:pt idx="1508">
                  <c:v>2.8720912555170054E-3</c:v>
                </c:pt>
                <c:pt idx="1509">
                  <c:v>2.8083428436656444E-3</c:v>
                </c:pt>
                <c:pt idx="1510">
                  <c:v>2.7211702842708987E-3</c:v>
                </c:pt>
                <c:pt idx="1511">
                  <c:v>3.2034379634413735E-3</c:v>
                </c:pt>
                <c:pt idx="1512">
                  <c:v>3.2447638352997941E-3</c:v>
                </c:pt>
                <c:pt idx="1513">
                  <c:v>3.1528929143565896E-3</c:v>
                </c:pt>
                <c:pt idx="1514">
                  <c:v>3.0770970812224237E-3</c:v>
                </c:pt>
                <c:pt idx="1515">
                  <c:v>3.0462965886329293E-3</c:v>
                </c:pt>
                <c:pt idx="1516">
                  <c:v>3.0854672825631427E-3</c:v>
                </c:pt>
                <c:pt idx="1517">
                  <c:v>3.0422953406041443E-3</c:v>
                </c:pt>
                <c:pt idx="1518">
                  <c:v>3.0468947731171151E-3</c:v>
                </c:pt>
                <c:pt idx="1519">
                  <c:v>3.0648185000038252E-3</c:v>
                </c:pt>
                <c:pt idx="1520">
                  <c:v>3.0848526592704966E-3</c:v>
                </c:pt>
                <c:pt idx="1521">
                  <c:v>2.9745756688439057E-3</c:v>
                </c:pt>
                <c:pt idx="1522">
                  <c:v>2.9683869195364417E-3</c:v>
                </c:pt>
                <c:pt idx="1523">
                  <c:v>2.9819377174182347E-3</c:v>
                </c:pt>
                <c:pt idx="1524">
                  <c:v>3.0217560289017304E-3</c:v>
                </c:pt>
                <c:pt idx="1525">
                  <c:v>2.9651621617767052E-3</c:v>
                </c:pt>
                <c:pt idx="1526">
                  <c:v>2.3029166778681508E-3</c:v>
                </c:pt>
                <c:pt idx="1527">
                  <c:v>5.605813596286929E-3</c:v>
                </c:pt>
                <c:pt idx="1528">
                  <c:v>5.5793458236518666E-3</c:v>
                </c:pt>
                <c:pt idx="1529">
                  <c:v>5.4239563784671454E-3</c:v>
                </c:pt>
                <c:pt idx="1530">
                  <c:v>3.470578058826489E-3</c:v>
                </c:pt>
                <c:pt idx="1531">
                  <c:v>3.421859649304854E-3</c:v>
                </c:pt>
                <c:pt idx="1532">
                  <c:v>3.4904214072694253E-3</c:v>
                </c:pt>
                <c:pt idx="1533">
                  <c:v>3.5116722386304196E-3</c:v>
                </c:pt>
                <c:pt idx="1534">
                  <c:v>3.8630955254747284E-3</c:v>
                </c:pt>
                <c:pt idx="1535">
                  <c:v>3.7554118796111046E-3</c:v>
                </c:pt>
                <c:pt idx="1536">
                  <c:v>2.4678785508973761E-3</c:v>
                </c:pt>
                <c:pt idx="1537">
                  <c:v>2.3648916906146601E-3</c:v>
                </c:pt>
                <c:pt idx="1538">
                  <c:v>2.2913909450890287E-3</c:v>
                </c:pt>
                <c:pt idx="1539">
                  <c:v>2.2432460847356707E-3</c:v>
                </c:pt>
                <c:pt idx="1540">
                  <c:v>2.1465383597049272E-3</c:v>
                </c:pt>
                <c:pt idx="1541">
                  <c:v>1.3826672615886732E-3</c:v>
                </c:pt>
                <c:pt idx="1542">
                  <c:v>1.2432572422820982E-3</c:v>
                </c:pt>
                <c:pt idx="1543">
                  <c:v>1.1129346213570677E-3</c:v>
                </c:pt>
                <c:pt idx="1544">
                  <c:v>1.2209215115338515E-3</c:v>
                </c:pt>
                <c:pt idx="1545">
                  <c:v>1.1650116739337305E-3</c:v>
                </c:pt>
                <c:pt idx="1546">
                  <c:v>1.0615273069074921E-3</c:v>
                </c:pt>
                <c:pt idx="1547">
                  <c:v>9.8127754865576233E-4</c:v>
                </c:pt>
                <c:pt idx="1548">
                  <c:v>8.7652446779869914E-4</c:v>
                </c:pt>
                <c:pt idx="1549">
                  <c:v>7.9225906537876666E-4</c:v>
                </c:pt>
                <c:pt idx="1550">
                  <c:v>9.2399650561752339E-4</c:v>
                </c:pt>
                <c:pt idx="1551">
                  <c:v>9.6511687712267681E-4</c:v>
                </c:pt>
                <c:pt idx="1552">
                  <c:v>1.0394504060931894E-3</c:v>
                </c:pt>
                <c:pt idx="1553">
                  <c:v>1.0552912774016363E-3</c:v>
                </c:pt>
                <c:pt idx="1554">
                  <c:v>1.233942864549465E-3</c:v>
                </c:pt>
                <c:pt idx="1555">
                  <c:v>1.3208867975227703E-3</c:v>
                </c:pt>
                <c:pt idx="1556">
                  <c:v>1.3130143117368979E-3</c:v>
                </c:pt>
                <c:pt idx="1557">
                  <c:v>-3.957171975119576E-3</c:v>
                </c:pt>
                <c:pt idx="1558">
                  <c:v>-3.9434277974369387E-3</c:v>
                </c:pt>
                <c:pt idx="1559">
                  <c:v>-3.8506502970068242E-3</c:v>
                </c:pt>
                <c:pt idx="1560">
                  <c:v>-3.8278846945907115E-3</c:v>
                </c:pt>
                <c:pt idx="1561">
                  <c:v>-3.7885576093286341E-3</c:v>
                </c:pt>
                <c:pt idx="1562">
                  <c:v>-3.8315049860902384E-3</c:v>
                </c:pt>
                <c:pt idx="1563">
                  <c:v>-3.9074258859964107E-3</c:v>
                </c:pt>
                <c:pt idx="1564">
                  <c:v>-4.7951488583901133E-3</c:v>
                </c:pt>
                <c:pt idx="1565">
                  <c:v>-4.6970328529386662E-3</c:v>
                </c:pt>
                <c:pt idx="1566">
                  <c:v>-4.9508398865741998E-3</c:v>
                </c:pt>
                <c:pt idx="1567">
                  <c:v>-3.5935118908488536E-3</c:v>
                </c:pt>
                <c:pt idx="1568">
                  <c:v>-3.5060444153428086E-3</c:v>
                </c:pt>
                <c:pt idx="1569">
                  <c:v>-3.5422482251877118E-3</c:v>
                </c:pt>
                <c:pt idx="1570">
                  <c:v>-3.5428282491588668E-3</c:v>
                </c:pt>
                <c:pt idx="1571">
                  <c:v>-3.5003287808315006E-3</c:v>
                </c:pt>
                <c:pt idx="1572">
                  <c:v>-3.4584033143325362E-3</c:v>
                </c:pt>
                <c:pt idx="1573">
                  <c:v>-3.491894806090438E-3</c:v>
                </c:pt>
                <c:pt idx="1574">
                  <c:v>-4.1556946019975036E-3</c:v>
                </c:pt>
                <c:pt idx="1575">
                  <c:v>-4.4435836083870656E-3</c:v>
                </c:pt>
                <c:pt idx="1576">
                  <c:v>-3.397757015773625E-3</c:v>
                </c:pt>
                <c:pt idx="1577">
                  <c:v>-9.2962934891907545E-4</c:v>
                </c:pt>
                <c:pt idx="1578">
                  <c:v>6.1839013739800608E-4</c:v>
                </c:pt>
                <c:pt idx="1579">
                  <c:v>2.211147976928193E-3</c:v>
                </c:pt>
                <c:pt idx="1580">
                  <c:v>3.350708244377101E-3</c:v>
                </c:pt>
                <c:pt idx="1581">
                  <c:v>5.4313821089834926E-3</c:v>
                </c:pt>
                <c:pt idx="1582">
                  <c:v>7.6837543852675706E-3</c:v>
                </c:pt>
                <c:pt idx="1583">
                  <c:v>9.4102718823267321E-3</c:v>
                </c:pt>
                <c:pt idx="1584">
                  <c:v>1.1615368589497401E-2</c:v>
                </c:pt>
                <c:pt idx="1585">
                  <c:v>1.3625768964541528E-2</c:v>
                </c:pt>
                <c:pt idx="1586">
                  <c:v>1.5952221976885568E-2</c:v>
                </c:pt>
                <c:pt idx="1587">
                  <c:v>1.8143467852679597E-2</c:v>
                </c:pt>
                <c:pt idx="1588">
                  <c:v>2.00051697760847E-2</c:v>
                </c:pt>
                <c:pt idx="1589">
                  <c:v>2.1566373110877023E-2</c:v>
                </c:pt>
                <c:pt idx="1590">
                  <c:v>2.3416751095862116E-2</c:v>
                </c:pt>
                <c:pt idx="1591">
                  <c:v>2.5309105879772753E-2</c:v>
                </c:pt>
                <c:pt idx="1592">
                  <c:v>2.699971981187671E-2</c:v>
                </c:pt>
                <c:pt idx="1593">
                  <c:v>3.0211780461569832E-2</c:v>
                </c:pt>
                <c:pt idx="1594">
                  <c:v>3.13961056066012E-2</c:v>
                </c:pt>
                <c:pt idx="1595">
                  <c:v>3.2410384883533046E-2</c:v>
                </c:pt>
                <c:pt idx="1596">
                  <c:v>3.3884609300449349E-2</c:v>
                </c:pt>
                <c:pt idx="1597">
                  <c:v>3.3612404141575264E-2</c:v>
                </c:pt>
                <c:pt idx="1598">
                  <c:v>3.380951837505889E-2</c:v>
                </c:pt>
                <c:pt idx="1599">
                  <c:v>3.3872152237189201E-2</c:v>
                </c:pt>
                <c:pt idx="1600">
                  <c:v>3.3594664122595569E-2</c:v>
                </c:pt>
                <c:pt idx="1601">
                  <c:v>3.3041309082611943E-2</c:v>
                </c:pt>
                <c:pt idx="1602">
                  <c:v>3.2700889419315655E-2</c:v>
                </c:pt>
                <c:pt idx="1603">
                  <c:v>3.1987786782768528E-2</c:v>
                </c:pt>
                <c:pt idx="1604">
                  <c:v>3.1076003151907734E-2</c:v>
                </c:pt>
                <c:pt idx="1605">
                  <c:v>2.9723557637819156E-2</c:v>
                </c:pt>
                <c:pt idx="1606">
                  <c:v>2.8606233361608717E-2</c:v>
                </c:pt>
                <c:pt idx="1607">
                  <c:v>2.8045748457008426E-2</c:v>
                </c:pt>
                <c:pt idx="1608">
                  <c:v>2.716987442180778E-2</c:v>
                </c:pt>
                <c:pt idx="1609">
                  <c:v>2.5588414396749415E-2</c:v>
                </c:pt>
                <c:pt idx="1610">
                  <c:v>2.4080288791238864E-2</c:v>
                </c:pt>
                <c:pt idx="1611">
                  <c:v>2.3008280494514324E-2</c:v>
                </c:pt>
                <c:pt idx="1612">
                  <c:v>2.3793642773679957E-2</c:v>
                </c:pt>
                <c:pt idx="1613">
                  <c:v>2.4243137374053529E-2</c:v>
                </c:pt>
                <c:pt idx="1614">
                  <c:v>2.4762982957178714E-2</c:v>
                </c:pt>
                <c:pt idx="1615">
                  <c:v>2.5052128659389661E-2</c:v>
                </c:pt>
                <c:pt idx="1616">
                  <c:v>2.6811182240663547E-2</c:v>
                </c:pt>
                <c:pt idx="1617">
                  <c:v>2.9318195064431285E-2</c:v>
                </c:pt>
                <c:pt idx="1618">
                  <c:v>3.1317978709352198E-2</c:v>
                </c:pt>
                <c:pt idx="1619">
                  <c:v>3.422296455626065E-2</c:v>
                </c:pt>
                <c:pt idx="1620">
                  <c:v>3.6057674232292725E-2</c:v>
                </c:pt>
                <c:pt idx="1621">
                  <c:v>4.0189571802054819E-2</c:v>
                </c:pt>
                <c:pt idx="1622">
                  <c:v>4.47639000138031E-2</c:v>
                </c:pt>
                <c:pt idx="1623">
                  <c:v>4.7254945364252468E-2</c:v>
                </c:pt>
                <c:pt idx="1624">
                  <c:v>5.2849502514523479E-2</c:v>
                </c:pt>
                <c:pt idx="1625">
                  <c:v>5.7727426670516217E-2</c:v>
                </c:pt>
                <c:pt idx="1626">
                  <c:v>6.0149665209290402E-2</c:v>
                </c:pt>
                <c:pt idx="1627">
                  <c:v>6.3660719755048459E-2</c:v>
                </c:pt>
                <c:pt idx="1628">
                  <c:v>8.9424643401277079E-2</c:v>
                </c:pt>
                <c:pt idx="1629">
                  <c:v>0.1016601498995643</c:v>
                </c:pt>
                <c:pt idx="1630">
                  <c:v>0.1098655297465576</c:v>
                </c:pt>
                <c:pt idx="1631">
                  <c:v>0.11620450995680248</c:v>
                </c:pt>
                <c:pt idx="1632">
                  <c:v>0.12236724618772363</c:v>
                </c:pt>
                <c:pt idx="1633">
                  <c:v>0.12698377113699411</c:v>
                </c:pt>
                <c:pt idx="1634">
                  <c:v>0.13486997742550652</c:v>
                </c:pt>
                <c:pt idx="1635">
                  <c:v>0.14098768870377648</c:v>
                </c:pt>
                <c:pt idx="1636">
                  <c:v>0.14555435518202436</c:v>
                </c:pt>
                <c:pt idx="1637">
                  <c:v>0.14911888878307855</c:v>
                </c:pt>
                <c:pt idx="1638">
                  <c:v>0.15094358884093675</c:v>
                </c:pt>
                <c:pt idx="1639">
                  <c:v>0.15210459792280323</c:v>
                </c:pt>
                <c:pt idx="1640">
                  <c:v>0.15146285805305557</c:v>
                </c:pt>
                <c:pt idx="1641">
                  <c:v>0.14956697944489117</c:v>
                </c:pt>
                <c:pt idx="1642">
                  <c:v>0.14858816943553205</c:v>
                </c:pt>
                <c:pt idx="1643">
                  <c:v>0.14604103577991243</c:v>
                </c:pt>
                <c:pt idx="1644">
                  <c:v>0.14234546695752898</c:v>
                </c:pt>
                <c:pt idx="1645">
                  <c:v>0.13732468175692708</c:v>
                </c:pt>
                <c:pt idx="1646">
                  <c:v>0.13255586300434363</c:v>
                </c:pt>
                <c:pt idx="1647">
                  <c:v>0.12677115156478988</c:v>
                </c:pt>
                <c:pt idx="1648">
                  <c:v>0.1168815904729745</c:v>
                </c:pt>
                <c:pt idx="1649">
                  <c:v>0.10450771554386042</c:v>
                </c:pt>
                <c:pt idx="1650">
                  <c:v>9.2031485234257387E-2</c:v>
                </c:pt>
                <c:pt idx="1651">
                  <c:v>8.2607185576986236E-2</c:v>
                </c:pt>
                <c:pt idx="1652">
                  <c:v>7.5549513908632099E-2</c:v>
                </c:pt>
                <c:pt idx="1653">
                  <c:v>6.8289315732515815E-2</c:v>
                </c:pt>
                <c:pt idx="1654">
                  <c:v>6.0705292930689513E-2</c:v>
                </c:pt>
                <c:pt idx="1655">
                  <c:v>4.9327918650188506E-2</c:v>
                </c:pt>
                <c:pt idx="1656">
                  <c:v>3.8532969818463221E-2</c:v>
                </c:pt>
                <c:pt idx="1657">
                  <c:v>2.539072050365921E-2</c:v>
                </c:pt>
                <c:pt idx="1658">
                  <c:v>2.3088424714399002E-2</c:v>
                </c:pt>
                <c:pt idx="1659">
                  <c:v>2.0963373178012078E-2</c:v>
                </c:pt>
                <c:pt idx="1660">
                  <c:v>1.816299853388692E-2</c:v>
                </c:pt>
                <c:pt idx="1661">
                  <c:v>1.4781598571605896E-2</c:v>
                </c:pt>
                <c:pt idx="1662">
                  <c:v>1.1769908273600275E-2</c:v>
                </c:pt>
                <c:pt idx="1663">
                  <c:v>7.7154711574706023E-3</c:v>
                </c:pt>
                <c:pt idx="1664">
                  <c:v>7.8589997457281565E-3</c:v>
                </c:pt>
                <c:pt idx="1665">
                  <c:v>7.559428081308819E-3</c:v>
                </c:pt>
                <c:pt idx="1666">
                  <c:v>8.4379342452424299E-3</c:v>
                </c:pt>
                <c:pt idx="1667">
                  <c:v>8.3088890719836498E-3</c:v>
                </c:pt>
                <c:pt idx="1668">
                  <c:v>8.6605330462758128E-3</c:v>
                </c:pt>
                <c:pt idx="1669">
                  <c:v>9.3088377407667729E-3</c:v>
                </c:pt>
                <c:pt idx="1670">
                  <c:v>9.1995162104988228E-3</c:v>
                </c:pt>
                <c:pt idx="1671">
                  <c:v>9.0819928068534301E-3</c:v>
                </c:pt>
                <c:pt idx="1672">
                  <c:v>9.4062377510338527E-3</c:v>
                </c:pt>
                <c:pt idx="1673">
                  <c:v>9.8352822127488002E-3</c:v>
                </c:pt>
                <c:pt idx="1674">
                  <c:v>9.8906587048007855E-3</c:v>
                </c:pt>
                <c:pt idx="1675">
                  <c:v>1.1080958808660514E-2</c:v>
                </c:pt>
                <c:pt idx="1676">
                  <c:v>1.2465514752186274E-2</c:v>
                </c:pt>
                <c:pt idx="1677">
                  <c:v>1.4890954581846928E-2</c:v>
                </c:pt>
                <c:pt idx="1678">
                  <c:v>1.412883889289337E-2</c:v>
                </c:pt>
                <c:pt idx="1679">
                  <c:v>1.2000475868524785E-2</c:v>
                </c:pt>
                <c:pt idx="1680">
                  <c:v>9.0131873337837894E-3</c:v>
                </c:pt>
                <c:pt idx="1681">
                  <c:v>2.3014003719140658E-3</c:v>
                </c:pt>
                <c:pt idx="1682">
                  <c:v>2.5418740234598326E-3</c:v>
                </c:pt>
                <c:pt idx="1683">
                  <c:v>3.1962401632679282E-3</c:v>
                </c:pt>
                <c:pt idx="1684">
                  <c:v>3.4346922361796085E-3</c:v>
                </c:pt>
                <c:pt idx="1685">
                  <c:v>3.6837733041314939E-3</c:v>
                </c:pt>
                <c:pt idx="1686">
                  <c:v>3.936653499429477E-3</c:v>
                </c:pt>
                <c:pt idx="1687">
                  <c:v>4.5501769882442134E-3</c:v>
                </c:pt>
                <c:pt idx="1688">
                  <c:v>5.7006008692297421E-3</c:v>
                </c:pt>
                <c:pt idx="1689">
                  <c:v>8.8672258212545135E-3</c:v>
                </c:pt>
                <c:pt idx="1690">
                  <c:v>1.3619024639623183E-2</c:v>
                </c:pt>
                <c:pt idx="1691">
                  <c:v>2.2634143615110555E-2</c:v>
                </c:pt>
                <c:pt idx="1692">
                  <c:v>4.9091889633561099E-2</c:v>
                </c:pt>
                <c:pt idx="1693">
                  <c:v>8.0934466625291898E-2</c:v>
                </c:pt>
                <c:pt idx="1694">
                  <c:v>0.10295235547022789</c:v>
                </c:pt>
                <c:pt idx="1695">
                  <c:v>0.11467440286951783</c:v>
                </c:pt>
                <c:pt idx="1696">
                  <c:v>0.12407206147736768</c:v>
                </c:pt>
                <c:pt idx="1697">
                  <c:v>0.13090537458529353</c:v>
                </c:pt>
                <c:pt idx="1698">
                  <c:v>0.13622951288981161</c:v>
                </c:pt>
                <c:pt idx="1699">
                  <c:v>0.13838755238735465</c:v>
                </c:pt>
                <c:pt idx="1700">
                  <c:v>0.13937047309841027</c:v>
                </c:pt>
                <c:pt idx="1701">
                  <c:v>0.13859434000671975</c:v>
                </c:pt>
                <c:pt idx="1702">
                  <c:v>0.1375424990091737</c:v>
                </c:pt>
                <c:pt idx="1703">
                  <c:v>0.13641760237681405</c:v>
                </c:pt>
                <c:pt idx="1704">
                  <c:v>0.13508799842807512</c:v>
                </c:pt>
                <c:pt idx="1705">
                  <c:v>0.13335600872894429</c:v>
                </c:pt>
                <c:pt idx="1706">
                  <c:v>0.13135193329502609</c:v>
                </c:pt>
                <c:pt idx="1707">
                  <c:v>0.12947111993469118</c:v>
                </c:pt>
                <c:pt idx="1708">
                  <c:v>0.12699819689621505</c:v>
                </c:pt>
                <c:pt idx="1709">
                  <c:v>0.12445463866549453</c:v>
                </c:pt>
                <c:pt idx="1710">
                  <c:v>0.12175109055192426</c:v>
                </c:pt>
                <c:pt idx="1711">
                  <c:v>0.11815815415275763</c:v>
                </c:pt>
                <c:pt idx="1712">
                  <c:v>0.11463300992052886</c:v>
                </c:pt>
                <c:pt idx="1713">
                  <c:v>0.11070739800595726</c:v>
                </c:pt>
                <c:pt idx="1714">
                  <c:v>0.10635238931463886</c:v>
                </c:pt>
                <c:pt idx="1715">
                  <c:v>0.10161323331208713</c:v>
                </c:pt>
                <c:pt idx="1716">
                  <c:v>9.679732870526149E-2</c:v>
                </c:pt>
                <c:pt idx="1717">
                  <c:v>9.0658674979050335E-2</c:v>
                </c:pt>
                <c:pt idx="1718">
                  <c:v>8.4792481207393688E-2</c:v>
                </c:pt>
                <c:pt idx="1719">
                  <c:v>7.9359169137314764E-2</c:v>
                </c:pt>
                <c:pt idx="1720">
                  <c:v>7.4718260999556765E-2</c:v>
                </c:pt>
                <c:pt idx="1721">
                  <c:v>7.2634047574598737E-2</c:v>
                </c:pt>
                <c:pt idx="1722">
                  <c:v>7.0948793739908436E-2</c:v>
                </c:pt>
                <c:pt idx="1723">
                  <c:v>6.1647733830860411E-2</c:v>
                </c:pt>
                <c:pt idx="1724">
                  <c:v>4.9660733631845221E-2</c:v>
                </c:pt>
                <c:pt idx="1725">
                  <c:v>3.3427472548831126E-2</c:v>
                </c:pt>
                <c:pt idx="1726">
                  <c:v>2.2527556415043185E-2</c:v>
                </c:pt>
                <c:pt idx="1727">
                  <c:v>1.2639463529263909E-2</c:v>
                </c:pt>
                <c:pt idx="1728">
                  <c:v>-9.1842098569592731E-4</c:v>
                </c:pt>
                <c:pt idx="1729">
                  <c:v>-1.1759639902842919E-2</c:v>
                </c:pt>
                <c:pt idx="1730">
                  <c:v>-2.0832164658412082E-2</c:v>
                </c:pt>
                <c:pt idx="1731">
                  <c:v>-2.1125363310792046E-2</c:v>
                </c:pt>
                <c:pt idx="1732">
                  <c:v>-2.1730251290943629E-2</c:v>
                </c:pt>
                <c:pt idx="1733">
                  <c:v>-2.1696903373010362E-2</c:v>
                </c:pt>
                <c:pt idx="1734">
                  <c:v>-2.175416544567306E-2</c:v>
                </c:pt>
                <c:pt idx="1735">
                  <c:v>-2.1804877741325952E-2</c:v>
                </c:pt>
                <c:pt idx="1736">
                  <c:v>-2.1699848842681994E-2</c:v>
                </c:pt>
                <c:pt idx="1737">
                  <c:v>-2.143119942126976E-2</c:v>
                </c:pt>
                <c:pt idx="1738">
                  <c:v>-2.159942255809038E-2</c:v>
                </c:pt>
                <c:pt idx="1739">
                  <c:v>-2.122261493054052E-2</c:v>
                </c:pt>
                <c:pt idx="1740">
                  <c:v>-2.0921098320235379E-2</c:v>
                </c:pt>
                <c:pt idx="1741">
                  <c:v>-2.088100711812655E-2</c:v>
                </c:pt>
                <c:pt idx="1742">
                  <c:v>-2.033537214455217E-2</c:v>
                </c:pt>
                <c:pt idx="1743">
                  <c:v>-1.9526669395906915E-2</c:v>
                </c:pt>
                <c:pt idx="1744">
                  <c:v>-1.9098874292212735E-2</c:v>
                </c:pt>
                <c:pt idx="1745">
                  <c:v>-1.8000254315298347E-2</c:v>
                </c:pt>
                <c:pt idx="1746">
                  <c:v>-1.7025191003604494E-2</c:v>
                </c:pt>
                <c:pt idx="1747">
                  <c:v>-1.5869449505388929E-2</c:v>
                </c:pt>
                <c:pt idx="1748">
                  <c:v>-1.4299395573308935E-2</c:v>
                </c:pt>
                <c:pt idx="1749">
                  <c:v>-1.2142983663044043E-2</c:v>
                </c:pt>
                <c:pt idx="1750">
                  <c:v>-8.602978179557243E-3</c:v>
                </c:pt>
                <c:pt idx="1751">
                  <c:v>-5.7494331016796508E-3</c:v>
                </c:pt>
                <c:pt idx="1752">
                  <c:v>-5.6948651592345035E-3</c:v>
                </c:pt>
                <c:pt idx="1753">
                  <c:v>-6.3282747387118652E-3</c:v>
                </c:pt>
                <c:pt idx="1754">
                  <c:v>-6.0385240124162633E-3</c:v>
                </c:pt>
                <c:pt idx="1755">
                  <c:v>-6.0764647430939199E-3</c:v>
                </c:pt>
                <c:pt idx="1756">
                  <c:v>-6.1511244246486478E-3</c:v>
                </c:pt>
                <c:pt idx="1757">
                  <c:v>-6.250519546056669E-3</c:v>
                </c:pt>
                <c:pt idx="1758">
                  <c:v>-6.1251680556845709E-3</c:v>
                </c:pt>
                <c:pt idx="1759">
                  <c:v>-5.6380223940856178E-3</c:v>
                </c:pt>
                <c:pt idx="1760">
                  <c:v>-5.8964079900417216E-3</c:v>
                </c:pt>
                <c:pt idx="1761">
                  <c:v>-5.0630266849575681E-3</c:v>
                </c:pt>
                <c:pt idx="1762">
                  <c:v>-4.9949670411998607E-3</c:v>
                </c:pt>
                <c:pt idx="1763">
                  <c:v>-4.1276672657390469E-3</c:v>
                </c:pt>
                <c:pt idx="1764">
                  <c:v>-3.8078729934028863E-3</c:v>
                </c:pt>
                <c:pt idx="1765">
                  <c:v>-3.3812141510060883E-3</c:v>
                </c:pt>
                <c:pt idx="1766">
                  <c:v>-2.8464119423186138E-3</c:v>
                </c:pt>
                <c:pt idx="1767">
                  <c:v>-2.3899008920764252E-3</c:v>
                </c:pt>
                <c:pt idx="1768">
                  <c:v>-1.8792649133731326E-3</c:v>
                </c:pt>
                <c:pt idx="1769">
                  <c:v>-1.3928725872124452E-3</c:v>
                </c:pt>
                <c:pt idx="1770">
                  <c:v>-5.906801798413238E-4</c:v>
                </c:pt>
                <c:pt idx="1771">
                  <c:v>-3.1720821104135044E-5</c:v>
                </c:pt>
                <c:pt idx="1772">
                  <c:v>4.876220886012271E-5</c:v>
                </c:pt>
                <c:pt idx="1773">
                  <c:v>4.0218069828688342E-4</c:v>
                </c:pt>
                <c:pt idx="1774">
                  <c:v>1.0519211699411366E-3</c:v>
                </c:pt>
                <c:pt idx="1775">
                  <c:v>1.431480886408612E-3</c:v>
                </c:pt>
                <c:pt idx="1776">
                  <c:v>1.4730081639334931E-3</c:v>
                </c:pt>
                <c:pt idx="1777">
                  <c:v>2.033405385901561E-3</c:v>
                </c:pt>
                <c:pt idx="1778">
                  <c:v>2.1055421229493661E-3</c:v>
                </c:pt>
                <c:pt idx="1779">
                  <c:v>2.357314792407264E-3</c:v>
                </c:pt>
                <c:pt idx="1780">
                  <c:v>2.6873985926912872E-3</c:v>
                </c:pt>
                <c:pt idx="1781">
                  <c:v>2.8270477834909467E-3</c:v>
                </c:pt>
                <c:pt idx="1782">
                  <c:v>3.0184362906504978E-3</c:v>
                </c:pt>
                <c:pt idx="1783">
                  <c:v>4.1644749908455962E-3</c:v>
                </c:pt>
                <c:pt idx="1784">
                  <c:v>6.3060796340350788E-3</c:v>
                </c:pt>
                <c:pt idx="1785">
                  <c:v>7.9896304929675411E-3</c:v>
                </c:pt>
                <c:pt idx="1786">
                  <c:v>9.4090162103208762E-3</c:v>
                </c:pt>
                <c:pt idx="1787">
                  <c:v>1.2880657140415178E-2</c:v>
                </c:pt>
                <c:pt idx="1788">
                  <c:v>1.632138513294297E-2</c:v>
                </c:pt>
                <c:pt idx="1789">
                  <c:v>1.9983505297214474E-2</c:v>
                </c:pt>
                <c:pt idx="1790">
                  <c:v>2.4084463746231195E-2</c:v>
                </c:pt>
                <c:pt idx="1791">
                  <c:v>2.842693480354392E-2</c:v>
                </c:pt>
                <c:pt idx="1792">
                  <c:v>3.3249484551944097E-2</c:v>
                </c:pt>
                <c:pt idx="1793">
                  <c:v>3.7876171280076053E-2</c:v>
                </c:pt>
                <c:pt idx="1794">
                  <c:v>3.9483496225109507E-2</c:v>
                </c:pt>
                <c:pt idx="1795">
                  <c:v>4.3353227040936256E-2</c:v>
                </c:pt>
                <c:pt idx="1796">
                  <c:v>4.5641155264974101E-2</c:v>
                </c:pt>
                <c:pt idx="1797">
                  <c:v>4.8989521351851098E-2</c:v>
                </c:pt>
                <c:pt idx="1798">
                  <c:v>5.1472594883513682E-2</c:v>
                </c:pt>
                <c:pt idx="1799">
                  <c:v>5.4045165554740628E-2</c:v>
                </c:pt>
                <c:pt idx="1800">
                  <c:v>5.6378768509876394E-2</c:v>
                </c:pt>
                <c:pt idx="1801">
                  <c:v>5.8054705664899044E-2</c:v>
                </c:pt>
                <c:pt idx="1802">
                  <c:v>5.8771180799600399E-2</c:v>
                </c:pt>
                <c:pt idx="1803">
                  <c:v>6.0014449590384635E-2</c:v>
                </c:pt>
                <c:pt idx="1804">
                  <c:v>6.079861097991051E-2</c:v>
                </c:pt>
                <c:pt idx="1805">
                  <c:v>6.0719523911933797E-2</c:v>
                </c:pt>
                <c:pt idx="1806">
                  <c:v>6.2985500484857418E-2</c:v>
                </c:pt>
                <c:pt idx="1807">
                  <c:v>6.8584392468924907E-2</c:v>
                </c:pt>
                <c:pt idx="1808">
                  <c:v>7.3335311886236737E-2</c:v>
                </c:pt>
                <c:pt idx="1809">
                  <c:v>7.9161290868396281E-2</c:v>
                </c:pt>
                <c:pt idx="1810">
                  <c:v>8.3021249218801871E-2</c:v>
                </c:pt>
                <c:pt idx="1811">
                  <c:v>8.6247794247042445E-2</c:v>
                </c:pt>
                <c:pt idx="1812">
                  <c:v>8.7823684888346007E-2</c:v>
                </c:pt>
                <c:pt idx="1813">
                  <c:v>8.8361510297883403E-2</c:v>
                </c:pt>
                <c:pt idx="1814">
                  <c:v>8.888180407794477E-2</c:v>
                </c:pt>
                <c:pt idx="1815">
                  <c:v>8.8036038110585996E-2</c:v>
                </c:pt>
                <c:pt idx="1816">
                  <c:v>8.6326586603480804E-2</c:v>
                </c:pt>
                <c:pt idx="1817">
                  <c:v>8.5438171694565773E-2</c:v>
                </c:pt>
                <c:pt idx="1818">
                  <c:v>8.2923096607945015E-2</c:v>
                </c:pt>
                <c:pt idx="1819">
                  <c:v>8.0959220873643253E-2</c:v>
                </c:pt>
                <c:pt idx="1820">
                  <c:v>7.9247179911606458E-2</c:v>
                </c:pt>
                <c:pt idx="1821">
                  <c:v>7.5455051441003063E-2</c:v>
                </c:pt>
                <c:pt idx="1822">
                  <c:v>7.3511528811478127E-2</c:v>
                </c:pt>
                <c:pt idx="1823">
                  <c:v>6.9818820839625234E-2</c:v>
                </c:pt>
                <c:pt idx="1824">
                  <c:v>6.5593777758637117E-2</c:v>
                </c:pt>
                <c:pt idx="1825">
                  <c:v>6.1102163691933768E-2</c:v>
                </c:pt>
                <c:pt idx="1826">
                  <c:v>5.6725445964847403E-2</c:v>
                </c:pt>
                <c:pt idx="1827">
                  <c:v>5.2797490148385702E-2</c:v>
                </c:pt>
                <c:pt idx="1828">
                  <c:v>4.8581701833409541E-2</c:v>
                </c:pt>
                <c:pt idx="1829">
                  <c:v>4.4835532159341142E-2</c:v>
                </c:pt>
                <c:pt idx="1830">
                  <c:v>4.1097661342635913E-2</c:v>
                </c:pt>
                <c:pt idx="1831">
                  <c:v>3.6683175097052316E-2</c:v>
                </c:pt>
                <c:pt idx="1832">
                  <c:v>3.1385104938874683E-2</c:v>
                </c:pt>
                <c:pt idx="1833">
                  <c:v>2.5395836223322726E-2</c:v>
                </c:pt>
                <c:pt idx="1834">
                  <c:v>1.4578479242295469E-2</c:v>
                </c:pt>
                <c:pt idx="1835">
                  <c:v>3.5996017581162252E-3</c:v>
                </c:pt>
                <c:pt idx="1836">
                  <c:v>-4.716280058169443E-3</c:v>
                </c:pt>
                <c:pt idx="1837">
                  <c:v>-8.5873347672676369E-3</c:v>
                </c:pt>
                <c:pt idx="1838">
                  <c:v>-1.1659583963789499E-2</c:v>
                </c:pt>
                <c:pt idx="1839">
                  <c:v>-1.1853436086333649E-2</c:v>
                </c:pt>
                <c:pt idx="1840">
                  <c:v>-1.1929317085482746E-2</c:v>
                </c:pt>
                <c:pt idx="1841">
                  <c:v>-1.1938133669147756E-2</c:v>
                </c:pt>
                <c:pt idx="1842">
                  <c:v>-1.1759694675652008E-2</c:v>
                </c:pt>
                <c:pt idx="1843">
                  <c:v>-1.1653703341082369E-2</c:v>
                </c:pt>
                <c:pt idx="1844">
                  <c:v>-1.1353023180029471E-2</c:v>
                </c:pt>
                <c:pt idx="1845">
                  <c:v>-1.0551548179107986E-2</c:v>
                </c:pt>
                <c:pt idx="1846">
                  <c:v>-9.7774265417080071E-3</c:v>
                </c:pt>
                <c:pt idx="1847">
                  <c:v>-9.308928077585845E-3</c:v>
                </c:pt>
                <c:pt idx="1848">
                  <c:v>-8.9157580930772119E-3</c:v>
                </c:pt>
                <c:pt idx="1849">
                  <c:v>-8.5892138758139232E-3</c:v>
                </c:pt>
                <c:pt idx="1850">
                  <c:v>-8.2925091874712017E-3</c:v>
                </c:pt>
                <c:pt idx="1851">
                  <c:v>-7.6333296910058128E-3</c:v>
                </c:pt>
                <c:pt idx="1852">
                  <c:v>-7.1664726161324958E-3</c:v>
                </c:pt>
                <c:pt idx="1853">
                  <c:v>-6.9626527224622651E-3</c:v>
                </c:pt>
                <c:pt idx="1854">
                  <c:v>-6.7259851950481828E-3</c:v>
                </c:pt>
                <c:pt idx="1855">
                  <c:v>-6.123235663595173E-3</c:v>
                </c:pt>
                <c:pt idx="1856">
                  <c:v>-6.3298476639542783E-3</c:v>
                </c:pt>
                <c:pt idx="1857">
                  <c:v>-6.0337873584029025E-3</c:v>
                </c:pt>
                <c:pt idx="1858">
                  <c:v>-5.7407166196003535E-3</c:v>
                </c:pt>
                <c:pt idx="1859">
                  <c:v>-5.737269197598184E-3</c:v>
                </c:pt>
                <c:pt idx="1860">
                  <c:v>-5.7499149752882036E-3</c:v>
                </c:pt>
                <c:pt idx="1861">
                  <c:v>-5.745105516481404E-3</c:v>
                </c:pt>
                <c:pt idx="1862">
                  <c:v>-5.803403688222253E-3</c:v>
                </c:pt>
                <c:pt idx="1863">
                  <c:v>-5.7875646829598556E-3</c:v>
                </c:pt>
                <c:pt idx="1864">
                  <c:v>-5.5384095768503455E-3</c:v>
                </c:pt>
                <c:pt idx="1865">
                  <c:v>-5.7984826985961798E-3</c:v>
                </c:pt>
                <c:pt idx="1866">
                  <c:v>-5.8597745226278419E-3</c:v>
                </c:pt>
                <c:pt idx="1867">
                  <c:v>-5.9611917805505133E-3</c:v>
                </c:pt>
                <c:pt idx="1868">
                  <c:v>-5.9984854807084223E-3</c:v>
                </c:pt>
                <c:pt idx="1869">
                  <c:v>-6.0847957019531827E-3</c:v>
                </c:pt>
                <c:pt idx="1870">
                  <c:v>-6.0456188790401688E-3</c:v>
                </c:pt>
                <c:pt idx="1871">
                  <c:v>-6.0382324795509763E-3</c:v>
                </c:pt>
                <c:pt idx="1872">
                  <c:v>-6.0051664494557861E-3</c:v>
                </c:pt>
                <c:pt idx="1873">
                  <c:v>-6.0562192546099215E-3</c:v>
                </c:pt>
                <c:pt idx="1874">
                  <c:v>-6.0831749391995161E-3</c:v>
                </c:pt>
                <c:pt idx="1875">
                  <c:v>-6.505567039375177E-3</c:v>
                </c:pt>
                <c:pt idx="1876">
                  <c:v>-6.664091281059702E-3</c:v>
                </c:pt>
                <c:pt idx="1877">
                  <c:v>-6.8067425742911877E-3</c:v>
                </c:pt>
                <c:pt idx="1878">
                  <c:v>-6.8759878944666892E-3</c:v>
                </c:pt>
                <c:pt idx="1879">
                  <c:v>-6.9093538911749334E-3</c:v>
                </c:pt>
                <c:pt idx="1880">
                  <c:v>-6.9524630863445338E-3</c:v>
                </c:pt>
                <c:pt idx="1881">
                  <c:v>-7.5002115047011582E-3</c:v>
                </c:pt>
                <c:pt idx="1882">
                  <c:v>-8.1627728770097933E-3</c:v>
                </c:pt>
                <c:pt idx="1883">
                  <c:v>-8.4981158788765554E-3</c:v>
                </c:pt>
                <c:pt idx="1884">
                  <c:v>-8.7155845133747491E-3</c:v>
                </c:pt>
                <c:pt idx="1885">
                  <c:v>-8.8510257660550096E-3</c:v>
                </c:pt>
                <c:pt idx="1886">
                  <c:v>-9.1146082411095834E-3</c:v>
                </c:pt>
                <c:pt idx="1887">
                  <c:v>-9.5450282922806776E-3</c:v>
                </c:pt>
                <c:pt idx="1888">
                  <c:v>-9.8673572924087294E-3</c:v>
                </c:pt>
                <c:pt idx="1889">
                  <c:v>-1.0052163510619942E-2</c:v>
                </c:pt>
                <c:pt idx="1890">
                  <c:v>-1.0526796960863793E-2</c:v>
                </c:pt>
                <c:pt idx="1891">
                  <c:v>-1.1033661560605063E-2</c:v>
                </c:pt>
                <c:pt idx="1892">
                  <c:v>-1.1182244750926973E-2</c:v>
                </c:pt>
                <c:pt idx="1893">
                  <c:v>-1.1686284546301284E-2</c:v>
                </c:pt>
                <c:pt idx="1894">
                  <c:v>-1.2456667108032395E-2</c:v>
                </c:pt>
                <c:pt idx="1895">
                  <c:v>-1.2743082272512538E-2</c:v>
                </c:pt>
                <c:pt idx="1896">
                  <c:v>-1.3077108768765743E-2</c:v>
                </c:pt>
                <c:pt idx="1897">
                  <c:v>-1.3699156283003406E-2</c:v>
                </c:pt>
                <c:pt idx="1898">
                  <c:v>-1.4676148766339527E-2</c:v>
                </c:pt>
                <c:pt idx="1899">
                  <c:v>-1.5741122247980004E-2</c:v>
                </c:pt>
                <c:pt idx="1900">
                  <c:v>-1.6608240934634685E-2</c:v>
                </c:pt>
                <c:pt idx="1901">
                  <c:v>-1.7423119033587606E-2</c:v>
                </c:pt>
                <c:pt idx="1902">
                  <c:v>-1.8055683415574696E-2</c:v>
                </c:pt>
                <c:pt idx="1903">
                  <c:v>-1.8649904270979841E-2</c:v>
                </c:pt>
                <c:pt idx="1904">
                  <c:v>-1.9131097624339764E-2</c:v>
                </c:pt>
                <c:pt idx="1905">
                  <c:v>-1.8500107946329097E-2</c:v>
                </c:pt>
                <c:pt idx="1906">
                  <c:v>-1.8319282698121317E-2</c:v>
                </c:pt>
                <c:pt idx="1907">
                  <c:v>-1.8013907028589217E-2</c:v>
                </c:pt>
                <c:pt idx="1908">
                  <c:v>-1.7860245981470204E-2</c:v>
                </c:pt>
                <c:pt idx="1909">
                  <c:v>-1.7385820364613259E-2</c:v>
                </c:pt>
                <c:pt idx="1910">
                  <c:v>-1.7169310591953982E-2</c:v>
                </c:pt>
                <c:pt idx="1911">
                  <c:v>-1.7186611798137949E-2</c:v>
                </c:pt>
                <c:pt idx="1912">
                  <c:v>-1.687638349109356E-2</c:v>
                </c:pt>
                <c:pt idx="1913">
                  <c:v>-1.6564715315390655E-2</c:v>
                </c:pt>
                <c:pt idx="1914">
                  <c:v>-1.6650590090187802E-2</c:v>
                </c:pt>
                <c:pt idx="1915">
                  <c:v>-1.6543433620438038E-2</c:v>
                </c:pt>
                <c:pt idx="1916">
                  <c:v>-1.6112410514447666E-2</c:v>
                </c:pt>
                <c:pt idx="1917">
                  <c:v>-1.5976253354558045E-2</c:v>
                </c:pt>
                <c:pt idx="1918">
                  <c:v>-1.5687815933881098E-2</c:v>
                </c:pt>
                <c:pt idx="1919">
                  <c:v>-1.5298949265385862E-2</c:v>
                </c:pt>
                <c:pt idx="1920">
                  <c:v>-1.4966071596976705E-2</c:v>
                </c:pt>
                <c:pt idx="1921">
                  <c:v>-1.4715751206404152E-2</c:v>
                </c:pt>
                <c:pt idx="1922">
                  <c:v>-1.4212711963408318E-2</c:v>
                </c:pt>
                <c:pt idx="1923">
                  <c:v>-1.364151779477854E-2</c:v>
                </c:pt>
                <c:pt idx="1924">
                  <c:v>-1.3250358648219083E-2</c:v>
                </c:pt>
                <c:pt idx="1925">
                  <c:v>-1.2922731883287108E-2</c:v>
                </c:pt>
                <c:pt idx="1926">
                  <c:v>-1.2532883734664553E-2</c:v>
                </c:pt>
                <c:pt idx="1927">
                  <c:v>-1.2051536690069446E-2</c:v>
                </c:pt>
                <c:pt idx="1928">
                  <c:v>-1.1893136579045812E-2</c:v>
                </c:pt>
                <c:pt idx="1929">
                  <c:v>-1.205894956981798E-2</c:v>
                </c:pt>
                <c:pt idx="1930">
                  <c:v>-1.227066515596912E-2</c:v>
                </c:pt>
                <c:pt idx="1931">
                  <c:v>-1.2346061483089052E-2</c:v>
                </c:pt>
                <c:pt idx="1932">
                  <c:v>-1.2476192838586628E-2</c:v>
                </c:pt>
                <c:pt idx="1933">
                  <c:v>-1.2420661256323991E-2</c:v>
                </c:pt>
                <c:pt idx="1934">
                  <c:v>-1.2671062797961305E-2</c:v>
                </c:pt>
                <c:pt idx="1935">
                  <c:v>-1.2258209830767745E-2</c:v>
                </c:pt>
                <c:pt idx="1936">
                  <c:v>-1.2203039225415078E-2</c:v>
                </c:pt>
                <c:pt idx="1937">
                  <c:v>-1.2365090670481613E-2</c:v>
                </c:pt>
                <c:pt idx="1938">
                  <c:v>-1.2159968557909667E-2</c:v>
                </c:pt>
                <c:pt idx="1939">
                  <c:v>-1.1976121166413349E-2</c:v>
                </c:pt>
                <c:pt idx="1940">
                  <c:v>-1.1991281671424065E-2</c:v>
                </c:pt>
                <c:pt idx="1941">
                  <c:v>-1.166135735727815E-2</c:v>
                </c:pt>
                <c:pt idx="1942">
                  <c:v>-1.131758238265082E-2</c:v>
                </c:pt>
                <c:pt idx="1943">
                  <c:v>-1.1320264406089398E-2</c:v>
                </c:pt>
                <c:pt idx="1944">
                  <c:v>-1.1111226337092791E-2</c:v>
                </c:pt>
                <c:pt idx="1945">
                  <c:v>-1.1002587858408167E-2</c:v>
                </c:pt>
                <c:pt idx="1946">
                  <c:v>-1.1023455150341999E-2</c:v>
                </c:pt>
                <c:pt idx="1947">
                  <c:v>-1.0818684084533951E-2</c:v>
                </c:pt>
                <c:pt idx="1948">
                  <c:v>-1.0742545405071849E-2</c:v>
                </c:pt>
                <c:pt idx="1949">
                  <c:v>-1.0633825452812454E-2</c:v>
                </c:pt>
                <c:pt idx="1950">
                  <c:v>-1.0358632066056741E-2</c:v>
                </c:pt>
                <c:pt idx="1951">
                  <c:v>-9.9128340129432512E-3</c:v>
                </c:pt>
                <c:pt idx="1952">
                  <c:v>-9.868474698699288E-3</c:v>
                </c:pt>
                <c:pt idx="1953">
                  <c:v>-9.5146189960499481E-3</c:v>
                </c:pt>
                <c:pt idx="1954">
                  <c:v>-9.2842641015863127E-3</c:v>
                </c:pt>
                <c:pt idx="1955">
                  <c:v>-9.0077146218803042E-3</c:v>
                </c:pt>
                <c:pt idx="1956">
                  <c:v>-8.7273824582926474E-3</c:v>
                </c:pt>
                <c:pt idx="1957">
                  <c:v>-8.4223339900169579E-3</c:v>
                </c:pt>
                <c:pt idx="1958">
                  <c:v>-8.1391529238232611E-3</c:v>
                </c:pt>
                <c:pt idx="1959">
                  <c:v>-7.5796357937307976E-3</c:v>
                </c:pt>
                <c:pt idx="1960">
                  <c:v>-7.1212519507400469E-3</c:v>
                </c:pt>
                <c:pt idx="1961">
                  <c:v>-6.5862111065118452E-3</c:v>
                </c:pt>
                <c:pt idx="1962">
                  <c:v>-6.1870746740062127E-3</c:v>
                </c:pt>
                <c:pt idx="1963">
                  <c:v>-6.0937119167809983E-3</c:v>
                </c:pt>
                <c:pt idx="1964">
                  <c:v>-5.5355551108300623E-3</c:v>
                </c:pt>
                <c:pt idx="1965">
                  <c:v>-5.330002128415964E-3</c:v>
                </c:pt>
                <c:pt idx="1966">
                  <c:v>-5.1790462856398604E-3</c:v>
                </c:pt>
                <c:pt idx="1967">
                  <c:v>-4.7954146741509447E-3</c:v>
                </c:pt>
                <c:pt idx="1968">
                  <c:v>-4.4836137985214183E-3</c:v>
                </c:pt>
                <c:pt idx="1969">
                  <c:v>-4.6180794459569647E-3</c:v>
                </c:pt>
                <c:pt idx="1970">
                  <c:v>-4.4135462537398217E-3</c:v>
                </c:pt>
                <c:pt idx="1971">
                  <c:v>-4.412056921943526E-3</c:v>
                </c:pt>
                <c:pt idx="1972">
                  <c:v>-4.8293317806925029E-3</c:v>
                </c:pt>
                <c:pt idx="1973">
                  <c:v>-4.8491808349645747E-3</c:v>
                </c:pt>
                <c:pt idx="1974">
                  <c:v>-5.0274077801323747E-3</c:v>
                </c:pt>
                <c:pt idx="1975">
                  <c:v>-5.294003542191123E-3</c:v>
                </c:pt>
                <c:pt idx="1976">
                  <c:v>-5.531957878275112E-3</c:v>
                </c:pt>
                <c:pt idx="1977">
                  <c:v>-5.66239200328975E-3</c:v>
                </c:pt>
                <c:pt idx="1978">
                  <c:v>-6.0015438243441249E-3</c:v>
                </c:pt>
                <c:pt idx="1979">
                  <c:v>-6.4887513779968301E-3</c:v>
                </c:pt>
                <c:pt idx="1980">
                  <c:v>-7.427377433150968E-3</c:v>
                </c:pt>
                <c:pt idx="1981">
                  <c:v>-7.5125567343054022E-3</c:v>
                </c:pt>
                <c:pt idx="1982">
                  <c:v>-7.5169892599360579E-3</c:v>
                </c:pt>
                <c:pt idx="1983">
                  <c:v>-7.4265215142221962E-3</c:v>
                </c:pt>
                <c:pt idx="1984">
                  <c:v>-7.1327861945018577E-3</c:v>
                </c:pt>
                <c:pt idx="1985">
                  <c:v>-7.1809479724671381E-3</c:v>
                </c:pt>
                <c:pt idx="1986">
                  <c:v>-6.054751761483409E-3</c:v>
                </c:pt>
                <c:pt idx="1987">
                  <c:v>-5.8317699533374512E-3</c:v>
                </c:pt>
                <c:pt idx="1988">
                  <c:v>-5.7824198412474038E-3</c:v>
                </c:pt>
                <c:pt idx="1989">
                  <c:v>-5.9666110767569889E-3</c:v>
                </c:pt>
                <c:pt idx="1990">
                  <c:v>-5.9389041208184837E-3</c:v>
                </c:pt>
                <c:pt idx="1991">
                  <c:v>-5.319896318942397E-3</c:v>
                </c:pt>
                <c:pt idx="1992">
                  <c:v>-5.3660796962424562E-3</c:v>
                </c:pt>
                <c:pt idx="1993">
                  <c:v>-5.3276575645815815E-3</c:v>
                </c:pt>
                <c:pt idx="1994">
                  <c:v>-5.3531771892320517E-3</c:v>
                </c:pt>
                <c:pt idx="1995">
                  <c:v>-5.3188363118911435E-3</c:v>
                </c:pt>
                <c:pt idx="1996">
                  <c:v>-5.2886970535079422E-3</c:v>
                </c:pt>
                <c:pt idx="1997">
                  <c:v>-5.2959186014265927E-3</c:v>
                </c:pt>
                <c:pt idx="1998">
                  <c:v>-5.2636300824217327E-3</c:v>
                </c:pt>
                <c:pt idx="1999">
                  <c:v>-5.222013898259957E-3</c:v>
                </c:pt>
                <c:pt idx="2000">
                  <c:v>-5.1750292882541526E-3</c:v>
                </c:pt>
                <c:pt idx="2001">
                  <c:v>-5.0508996703352311E-3</c:v>
                </c:pt>
                <c:pt idx="2002">
                  <c:v>-4.9336917576189281E-3</c:v>
                </c:pt>
                <c:pt idx="2003">
                  <c:v>-5.0302012721605126E-3</c:v>
                </c:pt>
                <c:pt idx="2004">
                  <c:v>-4.8923686724392356E-3</c:v>
                </c:pt>
                <c:pt idx="2005">
                  <c:v>-4.7532885790678003E-3</c:v>
                </c:pt>
                <c:pt idx="2006">
                  <c:v>-4.6423434244127169E-3</c:v>
                </c:pt>
                <c:pt idx="2007">
                  <c:v>-4.7397010797974853E-3</c:v>
                </c:pt>
                <c:pt idx="2008">
                  <c:v>-4.6893934648518446E-3</c:v>
                </c:pt>
                <c:pt idx="2009">
                  <c:v>-4.5776358792359011E-3</c:v>
                </c:pt>
                <c:pt idx="2010">
                  <c:v>-4.6189250573757459E-3</c:v>
                </c:pt>
                <c:pt idx="2011">
                  <c:v>-4.6302738856443485E-3</c:v>
                </c:pt>
                <c:pt idx="2012">
                  <c:v>-4.5364680784325522E-3</c:v>
                </c:pt>
                <c:pt idx="2013">
                  <c:v>-4.6766768707155269E-3</c:v>
                </c:pt>
                <c:pt idx="2014">
                  <c:v>-5.0291436416064345E-3</c:v>
                </c:pt>
                <c:pt idx="2015">
                  <c:v>-5.0839332139172456E-3</c:v>
                </c:pt>
                <c:pt idx="2016">
                  <c:v>-4.9222190435930027E-3</c:v>
                </c:pt>
                <c:pt idx="2017">
                  <c:v>-4.8104807248540767E-3</c:v>
                </c:pt>
                <c:pt idx="2018">
                  <c:v>-5.015707348262604E-3</c:v>
                </c:pt>
                <c:pt idx="2019">
                  <c:v>-5.1628064220822709E-3</c:v>
                </c:pt>
                <c:pt idx="2020">
                  <c:v>-5.2497379016250316E-3</c:v>
                </c:pt>
                <c:pt idx="2021">
                  <c:v>-5.4859733828689595E-3</c:v>
                </c:pt>
                <c:pt idx="2022">
                  <c:v>-5.6654005082062637E-3</c:v>
                </c:pt>
                <c:pt idx="2023">
                  <c:v>-5.6571279207770419E-3</c:v>
                </c:pt>
                <c:pt idx="2024">
                  <c:v>-5.832942454452335E-3</c:v>
                </c:pt>
                <c:pt idx="2025">
                  <c:v>-6.1662361853151637E-3</c:v>
                </c:pt>
                <c:pt idx="2026">
                  <c:v>-6.0449054523035034E-3</c:v>
                </c:pt>
                <c:pt idx="2027">
                  <c:v>-5.9079107348257677E-3</c:v>
                </c:pt>
                <c:pt idx="2028">
                  <c:v>-6.0634354256753559E-3</c:v>
                </c:pt>
                <c:pt idx="2029">
                  <c:v>-6.0995975137175581E-3</c:v>
                </c:pt>
                <c:pt idx="2030">
                  <c:v>-6.0547953378150068E-3</c:v>
                </c:pt>
                <c:pt idx="2031">
                  <c:v>-6.2539246759780896E-3</c:v>
                </c:pt>
                <c:pt idx="2032">
                  <c:v>-6.2776274123815465E-3</c:v>
                </c:pt>
                <c:pt idx="2033">
                  <c:v>-6.2717817208571966E-3</c:v>
                </c:pt>
                <c:pt idx="2034">
                  <c:v>-6.3943301673149676E-3</c:v>
                </c:pt>
                <c:pt idx="2035">
                  <c:v>-6.5335524787731225E-3</c:v>
                </c:pt>
                <c:pt idx="2036">
                  <c:v>-6.6392998704501429E-3</c:v>
                </c:pt>
                <c:pt idx="2037">
                  <c:v>-6.7404890913936527E-3</c:v>
                </c:pt>
                <c:pt idx="2038">
                  <c:v>-6.7425342043278842E-3</c:v>
                </c:pt>
                <c:pt idx="2039">
                  <c:v>-6.6983851756726998E-3</c:v>
                </c:pt>
                <c:pt idx="2040">
                  <c:v>-6.7024340289507855E-3</c:v>
                </c:pt>
                <c:pt idx="2041">
                  <c:v>-6.8256497127807802E-3</c:v>
                </c:pt>
                <c:pt idx="2042">
                  <c:v>-6.7513569185468957E-3</c:v>
                </c:pt>
                <c:pt idx="2043">
                  <c:v>-6.6370290505955104E-3</c:v>
                </c:pt>
                <c:pt idx="2044">
                  <c:v>-6.6596528452451545E-3</c:v>
                </c:pt>
                <c:pt idx="2045">
                  <c:v>-6.4798532309395356E-3</c:v>
                </c:pt>
                <c:pt idx="2046">
                  <c:v>-6.5991843226324573E-3</c:v>
                </c:pt>
                <c:pt idx="2047">
                  <c:v>-6.9911632026040012E-3</c:v>
                </c:pt>
                <c:pt idx="2048">
                  <c:v>-6.9258312206434336E-3</c:v>
                </c:pt>
                <c:pt idx="2049">
                  <c:v>-6.8392603106183164E-3</c:v>
                </c:pt>
                <c:pt idx="2050">
                  <c:v>-6.8159759681363438E-3</c:v>
                </c:pt>
                <c:pt idx="2051">
                  <c:v>-6.7773105233946201E-3</c:v>
                </c:pt>
                <c:pt idx="2052">
                  <c:v>-6.8298405595579705E-3</c:v>
                </c:pt>
                <c:pt idx="2053">
                  <c:v>-6.7227170777470723E-3</c:v>
                </c:pt>
                <c:pt idx="2054">
                  <c:v>-6.6728691177960243E-3</c:v>
                </c:pt>
                <c:pt idx="2055">
                  <c:v>-6.5361300579432251E-3</c:v>
                </c:pt>
                <c:pt idx="2056">
                  <c:v>-6.5090058276114264E-3</c:v>
                </c:pt>
                <c:pt idx="2057">
                  <c:v>-6.6612391749824897E-3</c:v>
                </c:pt>
                <c:pt idx="2058">
                  <c:v>-6.5909587318312276E-3</c:v>
                </c:pt>
                <c:pt idx="2059">
                  <c:v>-6.5882023493033168E-3</c:v>
                </c:pt>
                <c:pt idx="2060">
                  <c:v>-6.6055008618939324E-3</c:v>
                </c:pt>
                <c:pt idx="2061">
                  <c:v>-6.6809350077009022E-3</c:v>
                </c:pt>
                <c:pt idx="2062">
                  <c:v>-6.6514488854683201E-3</c:v>
                </c:pt>
                <c:pt idx="2063">
                  <c:v>-6.6166039529770024E-3</c:v>
                </c:pt>
                <c:pt idx="2064">
                  <c:v>-6.7719625293209736E-3</c:v>
                </c:pt>
                <c:pt idx="2065">
                  <c:v>-6.8585382339878412E-3</c:v>
                </c:pt>
                <c:pt idx="2066">
                  <c:v>-6.7231137125474908E-3</c:v>
                </c:pt>
                <c:pt idx="2067">
                  <c:v>-6.7049288188564815E-3</c:v>
                </c:pt>
                <c:pt idx="2068">
                  <c:v>-6.5855858952415195E-3</c:v>
                </c:pt>
                <c:pt idx="2069">
                  <c:v>-5.8157989896638149E-3</c:v>
                </c:pt>
                <c:pt idx="2070">
                  <c:v>-5.5541785318313228E-3</c:v>
                </c:pt>
                <c:pt idx="2071">
                  <c:v>-5.1329719278614769E-3</c:v>
                </c:pt>
                <c:pt idx="2072">
                  <c:v>-4.9793520073718334E-3</c:v>
                </c:pt>
                <c:pt idx="2073">
                  <c:v>-5.1057516200499371E-3</c:v>
                </c:pt>
                <c:pt idx="2074">
                  <c:v>-4.9600271177025028E-3</c:v>
                </c:pt>
                <c:pt idx="2075">
                  <c:v>-5.1063088404844029E-3</c:v>
                </c:pt>
                <c:pt idx="2076">
                  <c:v>-5.1163696181533158E-3</c:v>
                </c:pt>
                <c:pt idx="2077">
                  <c:v>-5.082587363427803E-3</c:v>
                </c:pt>
                <c:pt idx="2078">
                  <c:v>-4.8712953901490271E-3</c:v>
                </c:pt>
                <c:pt idx="2079">
                  <c:v>-4.8413724924473416E-3</c:v>
                </c:pt>
                <c:pt idx="2080">
                  <c:v>-5.0506978071547422E-3</c:v>
                </c:pt>
                <c:pt idx="2081">
                  <c:v>-4.8734558163619074E-3</c:v>
                </c:pt>
                <c:pt idx="2082">
                  <c:v>-4.8225339837919025E-3</c:v>
                </c:pt>
                <c:pt idx="2083">
                  <c:v>-5.0316630864008557E-3</c:v>
                </c:pt>
                <c:pt idx="2084">
                  <c:v>-5.1237713234129761E-3</c:v>
                </c:pt>
                <c:pt idx="2085">
                  <c:v>-5.13883562579312E-3</c:v>
                </c:pt>
                <c:pt idx="2086">
                  <c:v>-5.0798979440223446E-3</c:v>
                </c:pt>
                <c:pt idx="2087">
                  <c:v>-5.0379421731947521E-3</c:v>
                </c:pt>
                <c:pt idx="2088">
                  <c:v>-5.0522647404169698E-3</c:v>
                </c:pt>
                <c:pt idx="2089">
                  <c:v>-5.003944284662179E-3</c:v>
                </c:pt>
                <c:pt idx="2090">
                  <c:v>-5.0872877539068842E-3</c:v>
                </c:pt>
                <c:pt idx="2091">
                  <c:v>-4.9798933106951528E-3</c:v>
                </c:pt>
                <c:pt idx="2092">
                  <c:v>-5.0071285883873783E-3</c:v>
                </c:pt>
                <c:pt idx="2093">
                  <c:v>-5.0668829948200354E-3</c:v>
                </c:pt>
                <c:pt idx="2094">
                  <c:v>-5.1194948300594539E-3</c:v>
                </c:pt>
                <c:pt idx="2095">
                  <c:v>-4.9088669289452918E-3</c:v>
                </c:pt>
                <c:pt idx="2096">
                  <c:v>-4.8971655897584159E-3</c:v>
                </c:pt>
                <c:pt idx="2097">
                  <c:v>-4.6462408166669869E-3</c:v>
                </c:pt>
                <c:pt idx="2098">
                  <c:v>-4.5326106186917275E-3</c:v>
                </c:pt>
                <c:pt idx="2099">
                  <c:v>-4.6760938490714495E-3</c:v>
                </c:pt>
                <c:pt idx="2100">
                  <c:v>-4.3923296970065258E-3</c:v>
                </c:pt>
                <c:pt idx="2101">
                  <c:v>-4.1256992290914715E-3</c:v>
                </c:pt>
                <c:pt idx="2102">
                  <c:v>-3.996621905473936E-3</c:v>
                </c:pt>
                <c:pt idx="2103">
                  <c:v>-3.9040825171740342E-3</c:v>
                </c:pt>
                <c:pt idx="2104">
                  <c:v>-3.7737864299764914E-3</c:v>
                </c:pt>
                <c:pt idx="2105">
                  <c:v>-3.4415683239956488E-3</c:v>
                </c:pt>
                <c:pt idx="2106">
                  <c:v>-2.8494607202865351E-3</c:v>
                </c:pt>
                <c:pt idx="2107">
                  <c:v>-2.5328271511834855E-3</c:v>
                </c:pt>
                <c:pt idx="2108">
                  <c:v>-2.7241103921314333E-3</c:v>
                </c:pt>
                <c:pt idx="2109">
                  <c:v>-2.6635988664888283E-3</c:v>
                </c:pt>
                <c:pt idx="2110">
                  <c:v>-2.5559769024665856E-3</c:v>
                </c:pt>
                <c:pt idx="2111">
                  <c:v>-2.9442075299927935E-3</c:v>
                </c:pt>
                <c:pt idx="2112">
                  <c:v>-3.3433796877189604E-3</c:v>
                </c:pt>
                <c:pt idx="2113">
                  <c:v>-3.2758753024888752E-3</c:v>
                </c:pt>
                <c:pt idx="2114">
                  <c:v>-3.105832339434433E-3</c:v>
                </c:pt>
                <c:pt idx="2115">
                  <c:v>-3.0970602378918542E-3</c:v>
                </c:pt>
                <c:pt idx="2116">
                  <c:v>-3.1331914887757547E-3</c:v>
                </c:pt>
                <c:pt idx="2117">
                  <c:v>-3.1292100899280306E-3</c:v>
                </c:pt>
                <c:pt idx="2118">
                  <c:v>-3.2883732561717251E-3</c:v>
                </c:pt>
                <c:pt idx="2119">
                  <c:v>-3.397438088434011E-3</c:v>
                </c:pt>
                <c:pt idx="2120">
                  <c:v>-3.4721595838444457E-3</c:v>
                </c:pt>
                <c:pt idx="2121">
                  <c:v>-3.7055304758181473E-3</c:v>
                </c:pt>
                <c:pt idx="2122">
                  <c:v>-3.8944048366207473E-3</c:v>
                </c:pt>
                <c:pt idx="2123">
                  <c:v>-4.0775826154570375E-3</c:v>
                </c:pt>
                <c:pt idx="2124">
                  <c:v>-4.2799422268047106E-3</c:v>
                </c:pt>
                <c:pt idx="2125">
                  <c:v>-4.5734456310908157E-3</c:v>
                </c:pt>
                <c:pt idx="2126">
                  <c:v>-4.6600660855687023E-3</c:v>
                </c:pt>
                <c:pt idx="2127">
                  <c:v>-4.766989404253439E-3</c:v>
                </c:pt>
                <c:pt idx="2128">
                  <c:v>-5.0918483867886544E-3</c:v>
                </c:pt>
                <c:pt idx="2129">
                  <c:v>-5.1807815020241104E-3</c:v>
                </c:pt>
                <c:pt idx="2130">
                  <c:v>-5.2443528618652518E-3</c:v>
                </c:pt>
                <c:pt idx="2131">
                  <c:v>-5.4860692373516085E-3</c:v>
                </c:pt>
                <c:pt idx="2132">
                  <c:v>-5.598665883036251E-3</c:v>
                </c:pt>
                <c:pt idx="2133">
                  <c:v>-5.2892377635912358E-3</c:v>
                </c:pt>
                <c:pt idx="2134">
                  <c:v>-5.0163620545972051E-3</c:v>
                </c:pt>
                <c:pt idx="2135">
                  <c:v>-5.2530132250837979E-3</c:v>
                </c:pt>
                <c:pt idx="2136">
                  <c:v>-5.5007466326994466E-3</c:v>
                </c:pt>
                <c:pt idx="2137">
                  <c:v>-5.512866542232011E-3</c:v>
                </c:pt>
                <c:pt idx="2138">
                  <c:v>-5.3467400202405627E-3</c:v>
                </c:pt>
                <c:pt idx="2139">
                  <c:v>-5.5394554498349067E-3</c:v>
                </c:pt>
                <c:pt idx="2140">
                  <c:v>-5.7410256131163288E-3</c:v>
                </c:pt>
                <c:pt idx="2141">
                  <c:v>-5.5596708402052249E-3</c:v>
                </c:pt>
                <c:pt idx="2142">
                  <c:v>-5.557566784490312E-3</c:v>
                </c:pt>
                <c:pt idx="2143">
                  <c:v>-5.4378626376280935E-3</c:v>
                </c:pt>
                <c:pt idx="2144">
                  <c:v>-5.6060916530856287E-3</c:v>
                </c:pt>
                <c:pt idx="2145">
                  <c:v>-5.6444176698993787E-3</c:v>
                </c:pt>
                <c:pt idx="2146">
                  <c:v>-5.8157319148443203E-3</c:v>
                </c:pt>
                <c:pt idx="2147">
                  <c:v>-5.9146666272965288E-3</c:v>
                </c:pt>
                <c:pt idx="2148">
                  <c:v>-5.9424381014326257E-3</c:v>
                </c:pt>
                <c:pt idx="2149">
                  <c:v>-5.9090155231168104E-3</c:v>
                </c:pt>
                <c:pt idx="2150">
                  <c:v>-5.8942826490299459E-3</c:v>
                </c:pt>
                <c:pt idx="2151">
                  <c:v>-5.8568185160317206E-3</c:v>
                </c:pt>
                <c:pt idx="2152">
                  <c:v>-5.7122884920300541E-3</c:v>
                </c:pt>
                <c:pt idx="2153">
                  <c:v>-5.5403711119563718E-3</c:v>
                </c:pt>
                <c:pt idx="2154">
                  <c:v>-5.5686397669637488E-3</c:v>
                </c:pt>
                <c:pt idx="2155">
                  <c:v>-5.2376827567136158E-3</c:v>
                </c:pt>
                <c:pt idx="2156">
                  <c:v>-5.2157668177865487E-3</c:v>
                </c:pt>
                <c:pt idx="2157">
                  <c:v>-5.390309250496249E-3</c:v>
                </c:pt>
                <c:pt idx="2158">
                  <c:v>-5.1317147082305167E-3</c:v>
                </c:pt>
                <c:pt idx="2159">
                  <c:v>-4.972973828361189E-3</c:v>
                </c:pt>
                <c:pt idx="2160">
                  <c:v>-5.0845724276129527E-3</c:v>
                </c:pt>
                <c:pt idx="2161">
                  <c:v>-4.9256936078350116E-3</c:v>
                </c:pt>
                <c:pt idx="2162">
                  <c:v>-4.7827443555062549E-3</c:v>
                </c:pt>
                <c:pt idx="2163">
                  <c:v>-4.9241933038829625E-3</c:v>
                </c:pt>
                <c:pt idx="2164">
                  <c:v>-5.0540937578476778E-3</c:v>
                </c:pt>
                <c:pt idx="2165">
                  <c:v>-4.9367534848939344E-3</c:v>
                </c:pt>
                <c:pt idx="2166">
                  <c:v>-5.1664146116064576E-3</c:v>
                </c:pt>
                <c:pt idx="2167">
                  <c:v>-5.3061397958605976E-3</c:v>
                </c:pt>
                <c:pt idx="2168">
                  <c:v>-5.3559241475210819E-3</c:v>
                </c:pt>
                <c:pt idx="2169">
                  <c:v>-5.3550089033454155E-3</c:v>
                </c:pt>
                <c:pt idx="2170">
                  <c:v>-5.4833007520289677E-3</c:v>
                </c:pt>
                <c:pt idx="2171">
                  <c:v>-5.5881613573217125E-3</c:v>
                </c:pt>
                <c:pt idx="2172">
                  <c:v>-5.5562511027979827E-3</c:v>
                </c:pt>
                <c:pt idx="2173">
                  <c:v>-5.7580654030953216E-3</c:v>
                </c:pt>
                <c:pt idx="2174">
                  <c:v>-5.6058895761099958E-3</c:v>
                </c:pt>
                <c:pt idx="2175">
                  <c:v>-5.6213451137820981E-3</c:v>
                </c:pt>
                <c:pt idx="2176">
                  <c:v>-5.642820325708264E-3</c:v>
                </c:pt>
                <c:pt idx="2177">
                  <c:v>-5.6636259940593021E-3</c:v>
                </c:pt>
                <c:pt idx="2178">
                  <c:v>-5.6737633224995896E-3</c:v>
                </c:pt>
                <c:pt idx="2179">
                  <c:v>-5.5858722544069855E-3</c:v>
                </c:pt>
                <c:pt idx="2180">
                  <c:v>-5.6026085593418786E-3</c:v>
                </c:pt>
                <c:pt idx="2181">
                  <c:v>-5.4638176159506257E-3</c:v>
                </c:pt>
                <c:pt idx="2182">
                  <c:v>-5.5261930466085803E-3</c:v>
                </c:pt>
                <c:pt idx="2183">
                  <c:v>-5.5897863040502409E-3</c:v>
                </c:pt>
                <c:pt idx="2184">
                  <c:v>-5.251792400147037E-3</c:v>
                </c:pt>
                <c:pt idx="2185">
                  <c:v>-5.5671766762866726E-3</c:v>
                </c:pt>
                <c:pt idx="2186">
                  <c:v>-5.350581800541882E-3</c:v>
                </c:pt>
                <c:pt idx="2187">
                  <c:v>-4.6900705495591215E-3</c:v>
                </c:pt>
                <c:pt idx="2188">
                  <c:v>-4.7581480325900125E-3</c:v>
                </c:pt>
                <c:pt idx="2189">
                  <c:v>-4.8692198131638741E-3</c:v>
                </c:pt>
                <c:pt idx="2190">
                  <c:v>-4.6639448785682613E-3</c:v>
                </c:pt>
                <c:pt idx="2191">
                  <c:v>-4.5993080978117187E-3</c:v>
                </c:pt>
                <c:pt idx="2192">
                  <c:v>-4.783971641942714E-3</c:v>
                </c:pt>
                <c:pt idx="2193">
                  <c:v>-4.9104591374932137E-3</c:v>
                </c:pt>
                <c:pt idx="2194">
                  <c:v>-4.9820880342184258E-3</c:v>
                </c:pt>
                <c:pt idx="2195">
                  <c:v>-5.1179331713025415E-3</c:v>
                </c:pt>
                <c:pt idx="2196">
                  <c:v>-5.0679108629710541E-3</c:v>
                </c:pt>
                <c:pt idx="2197">
                  <c:v>-5.104231493579579E-3</c:v>
                </c:pt>
                <c:pt idx="2198">
                  <c:v>-5.0817011757760995E-3</c:v>
                </c:pt>
                <c:pt idx="2199">
                  <c:v>-4.9311861151019702E-3</c:v>
                </c:pt>
                <c:pt idx="2200">
                  <c:v>-4.9204520264130407E-3</c:v>
                </c:pt>
                <c:pt idx="2201">
                  <c:v>-4.9495371753105755E-3</c:v>
                </c:pt>
                <c:pt idx="2202">
                  <c:v>-4.8464963320656688E-3</c:v>
                </c:pt>
                <c:pt idx="2203">
                  <c:v>-4.8502177950798097E-3</c:v>
                </c:pt>
                <c:pt idx="2204">
                  <c:v>-4.9464632802627504E-3</c:v>
                </c:pt>
                <c:pt idx="2205">
                  <c:v>-4.8088481071064133E-3</c:v>
                </c:pt>
                <c:pt idx="2206">
                  <c:v>-4.7894680605969769E-3</c:v>
                </c:pt>
                <c:pt idx="2207">
                  <c:v>-4.585148285673038E-3</c:v>
                </c:pt>
                <c:pt idx="2208">
                  <c:v>-4.3045971984495123E-3</c:v>
                </c:pt>
                <c:pt idx="2209">
                  <c:v>-4.3924927444625571E-3</c:v>
                </c:pt>
                <c:pt idx="2210">
                  <c:v>-4.1628650821932001E-3</c:v>
                </c:pt>
                <c:pt idx="2211">
                  <c:v>-3.9231959584802509E-3</c:v>
                </c:pt>
                <c:pt idx="2212">
                  <c:v>-3.9609073576832368E-3</c:v>
                </c:pt>
                <c:pt idx="2213">
                  <c:v>-4.047833618699339E-3</c:v>
                </c:pt>
                <c:pt idx="2214">
                  <c:v>-4.2499779509069541E-3</c:v>
                </c:pt>
                <c:pt idx="2215">
                  <c:v>-4.3134237193601099E-3</c:v>
                </c:pt>
                <c:pt idx="2216">
                  <c:v>-4.8162535745065061E-3</c:v>
                </c:pt>
                <c:pt idx="2217">
                  <c:v>-5.0477167203084334E-3</c:v>
                </c:pt>
                <c:pt idx="2218">
                  <c:v>-4.9764309162863667E-3</c:v>
                </c:pt>
                <c:pt idx="2219">
                  <c:v>-4.7198456277288154E-3</c:v>
                </c:pt>
                <c:pt idx="2220">
                  <c:v>-5.0665288619151996E-3</c:v>
                </c:pt>
                <c:pt idx="2221">
                  <c:v>-5.8868130471591562E-3</c:v>
                </c:pt>
                <c:pt idx="2222">
                  <c:v>-6.1821022135857577E-3</c:v>
                </c:pt>
                <c:pt idx="2223">
                  <c:v>-6.1640321764491338E-3</c:v>
                </c:pt>
                <c:pt idx="2224">
                  <c:v>-6.2793885519435468E-3</c:v>
                </c:pt>
                <c:pt idx="2225">
                  <c:v>-5.3485625622290405E-3</c:v>
                </c:pt>
                <c:pt idx="2226">
                  <c:v>-4.8158759619344772E-3</c:v>
                </c:pt>
                <c:pt idx="2227">
                  <c:v>-3.1163794206446778E-3</c:v>
                </c:pt>
                <c:pt idx="2228">
                  <c:v>3.5758138894110159E-3</c:v>
                </c:pt>
                <c:pt idx="2229">
                  <c:v>3.5101772471828829E-2</c:v>
                </c:pt>
                <c:pt idx="2230">
                  <c:v>7.7854599636115976E-2</c:v>
                </c:pt>
                <c:pt idx="2231">
                  <c:v>0.10112092541629698</c:v>
                </c:pt>
                <c:pt idx="2232">
                  <c:v>0.11782084009002916</c:v>
                </c:pt>
                <c:pt idx="2233">
                  <c:v>0.13139026461937603</c:v>
                </c:pt>
                <c:pt idx="2234">
                  <c:v>0.14187806590510893</c:v>
                </c:pt>
                <c:pt idx="2235">
                  <c:v>0.14885883313594434</c:v>
                </c:pt>
                <c:pt idx="2236">
                  <c:v>0.1552374977400047</c:v>
                </c:pt>
                <c:pt idx="2237">
                  <c:v>0.16005810827189129</c:v>
                </c:pt>
                <c:pt idx="2238">
                  <c:v>0.16397638288423194</c:v>
                </c:pt>
                <c:pt idx="2239">
                  <c:v>0.16703062446725386</c:v>
                </c:pt>
                <c:pt idx="2240">
                  <c:v>0.16951599205942858</c:v>
                </c:pt>
                <c:pt idx="2241">
                  <c:v>0.17032409753332672</c:v>
                </c:pt>
                <c:pt idx="2242">
                  <c:v>0.17069681687233282</c:v>
                </c:pt>
                <c:pt idx="2243">
                  <c:v>0.16964549788084166</c:v>
                </c:pt>
                <c:pt idx="2244">
                  <c:v>0.16820335884311194</c:v>
                </c:pt>
                <c:pt idx="2245">
                  <c:v>0.16550242611961041</c:v>
                </c:pt>
                <c:pt idx="2246">
                  <c:v>0.16190754752252492</c:v>
                </c:pt>
                <c:pt idx="2247">
                  <c:v>0.15779363961986859</c:v>
                </c:pt>
                <c:pt idx="2248">
                  <c:v>0.15213494478012099</c:v>
                </c:pt>
                <c:pt idx="2249">
                  <c:v>0.14586113077116941</c:v>
                </c:pt>
                <c:pt idx="2250">
                  <c:v>0.13805148677623313</c:v>
                </c:pt>
                <c:pt idx="2251">
                  <c:v>0.12876206096881038</c:v>
                </c:pt>
                <c:pt idx="2252">
                  <c:v>0.11899708747489321</c:v>
                </c:pt>
                <c:pt idx="2253">
                  <c:v>0.10665997108184865</c:v>
                </c:pt>
                <c:pt idx="2254">
                  <c:v>9.2467474006853193E-2</c:v>
                </c:pt>
                <c:pt idx="2255">
                  <c:v>7.6767796572629582E-2</c:v>
                </c:pt>
                <c:pt idx="2256">
                  <c:v>5.6304680606151743E-2</c:v>
                </c:pt>
                <c:pt idx="2257">
                  <c:v>3.0299792019846443E-2</c:v>
                </c:pt>
                <c:pt idx="2258">
                  <c:v>-6.908233666403361E-3</c:v>
                </c:pt>
                <c:pt idx="2259">
                  <c:v>-3.0482622192863476E-2</c:v>
                </c:pt>
                <c:pt idx="2260">
                  <c:v>-3.1383264681797383E-2</c:v>
                </c:pt>
                <c:pt idx="2261">
                  <c:v>-3.2442616130519054E-2</c:v>
                </c:pt>
                <c:pt idx="2262">
                  <c:v>-3.1505120638043879E-2</c:v>
                </c:pt>
                <c:pt idx="2263">
                  <c:v>-3.0621266162931704E-2</c:v>
                </c:pt>
                <c:pt idx="2264">
                  <c:v>-2.8104438061811551E-2</c:v>
                </c:pt>
                <c:pt idx="2265">
                  <c:v>-2.6001371787878626E-2</c:v>
                </c:pt>
                <c:pt idx="2266">
                  <c:v>-2.3613862448394772E-2</c:v>
                </c:pt>
                <c:pt idx="2267">
                  <c:v>-2.1103803820972052E-2</c:v>
                </c:pt>
                <c:pt idx="2268">
                  <c:v>-1.8845626073136803E-2</c:v>
                </c:pt>
                <c:pt idx="2269">
                  <c:v>-1.7284980551874291E-2</c:v>
                </c:pt>
                <c:pt idx="2270">
                  <c:v>-1.6213653201587522E-2</c:v>
                </c:pt>
                <c:pt idx="2271">
                  <c:v>-1.5455714249208729E-2</c:v>
                </c:pt>
                <c:pt idx="2272">
                  <c:v>-1.4861158780215619E-2</c:v>
                </c:pt>
                <c:pt idx="2273">
                  <c:v>-1.412387559731232E-2</c:v>
                </c:pt>
                <c:pt idx="2274">
                  <c:v>-1.3419121182026161E-2</c:v>
                </c:pt>
                <c:pt idx="2275">
                  <c:v>-1.276071346902526E-2</c:v>
                </c:pt>
                <c:pt idx="2276">
                  <c:v>-1.2257458535833765E-2</c:v>
                </c:pt>
                <c:pt idx="2277">
                  <c:v>-1.1765312545142658E-2</c:v>
                </c:pt>
                <c:pt idx="2278">
                  <c:v>-1.1395964723834015E-2</c:v>
                </c:pt>
                <c:pt idx="2279">
                  <c:v>-1.0755385241443916E-2</c:v>
                </c:pt>
                <c:pt idx="2280">
                  <c:v>-1.0331837918003668E-2</c:v>
                </c:pt>
                <c:pt idx="2281">
                  <c:v>-9.9450787941179133E-3</c:v>
                </c:pt>
                <c:pt idx="2282">
                  <c:v>-9.7182174888991689E-3</c:v>
                </c:pt>
                <c:pt idx="2283">
                  <c:v>-9.5687854616774339E-3</c:v>
                </c:pt>
                <c:pt idx="2284">
                  <c:v>-9.2687896600993445E-3</c:v>
                </c:pt>
                <c:pt idx="2285">
                  <c:v>-7.5328671538881647E-3</c:v>
                </c:pt>
                <c:pt idx="2286">
                  <c:v>-4.9024183277208023E-3</c:v>
                </c:pt>
                <c:pt idx="2287">
                  <c:v>-2.438416023919707E-3</c:v>
                </c:pt>
                <c:pt idx="2288">
                  <c:v>1.2956661610324544E-2</c:v>
                </c:pt>
                <c:pt idx="2289">
                  <c:v>2.8988186108616192E-2</c:v>
                </c:pt>
                <c:pt idx="2290">
                  <c:v>3.912120247278969E-2</c:v>
                </c:pt>
                <c:pt idx="2291">
                  <c:v>4.5267595591902222E-2</c:v>
                </c:pt>
                <c:pt idx="2292">
                  <c:v>5.0043536809464058E-2</c:v>
                </c:pt>
                <c:pt idx="2293">
                  <c:v>5.3487670601167207E-2</c:v>
                </c:pt>
                <c:pt idx="2294">
                  <c:v>5.867782554627101E-2</c:v>
                </c:pt>
                <c:pt idx="2295">
                  <c:v>6.1312041811990077E-2</c:v>
                </c:pt>
                <c:pt idx="2296">
                  <c:v>6.3889557232806843E-2</c:v>
                </c:pt>
                <c:pt idx="2297">
                  <c:v>6.6237656966314826E-2</c:v>
                </c:pt>
                <c:pt idx="2298">
                  <c:v>6.7331750885675445E-2</c:v>
                </c:pt>
                <c:pt idx="2299">
                  <c:v>6.7643109909868382E-2</c:v>
                </c:pt>
                <c:pt idx="2300">
                  <c:v>6.8021636533525678E-2</c:v>
                </c:pt>
                <c:pt idx="2301">
                  <c:v>6.7381556233955836E-2</c:v>
                </c:pt>
                <c:pt idx="2302">
                  <c:v>6.789314332949925E-2</c:v>
                </c:pt>
                <c:pt idx="2303">
                  <c:v>6.6597458463466194E-2</c:v>
                </c:pt>
                <c:pt idx="2304">
                  <c:v>6.5428330765428741E-2</c:v>
                </c:pt>
                <c:pt idx="2305">
                  <c:v>6.3922806366481566E-2</c:v>
                </c:pt>
                <c:pt idx="2306">
                  <c:v>6.2379135641077769E-2</c:v>
                </c:pt>
                <c:pt idx="2307">
                  <c:v>6.2917647130055349E-2</c:v>
                </c:pt>
                <c:pt idx="2308">
                  <c:v>6.8481841049039566E-2</c:v>
                </c:pt>
                <c:pt idx="2309">
                  <c:v>7.291504475188923E-2</c:v>
                </c:pt>
                <c:pt idx="2310">
                  <c:v>7.5965890191915866E-2</c:v>
                </c:pt>
                <c:pt idx="2311">
                  <c:v>7.6472455412068097E-2</c:v>
                </c:pt>
                <c:pt idx="2312">
                  <c:v>7.6157592490691067E-2</c:v>
                </c:pt>
                <c:pt idx="2313">
                  <c:v>7.6575173272349917E-2</c:v>
                </c:pt>
                <c:pt idx="2314">
                  <c:v>7.6526377414746022E-2</c:v>
                </c:pt>
                <c:pt idx="2315">
                  <c:v>7.6589917091711493E-2</c:v>
                </c:pt>
                <c:pt idx="2316">
                  <c:v>7.6908698700758504E-2</c:v>
                </c:pt>
                <c:pt idx="2317">
                  <c:v>7.7429032928331878E-2</c:v>
                </c:pt>
                <c:pt idx="2318">
                  <c:v>7.8412930948095233E-2</c:v>
                </c:pt>
                <c:pt idx="2319">
                  <c:v>7.7263978202075978E-2</c:v>
                </c:pt>
                <c:pt idx="2320">
                  <c:v>7.5891832387933775E-2</c:v>
                </c:pt>
                <c:pt idx="2321">
                  <c:v>7.4854031851267835E-2</c:v>
                </c:pt>
                <c:pt idx="2322">
                  <c:v>7.353162293315961E-2</c:v>
                </c:pt>
                <c:pt idx="2323">
                  <c:v>7.2242951135097072E-2</c:v>
                </c:pt>
                <c:pt idx="2324">
                  <c:v>6.8735597001742837E-2</c:v>
                </c:pt>
                <c:pt idx="2325">
                  <c:v>6.635806854528932E-2</c:v>
                </c:pt>
                <c:pt idx="2326">
                  <c:v>6.2658426375390042E-2</c:v>
                </c:pt>
                <c:pt idx="2327">
                  <c:v>5.7469098274060111E-2</c:v>
                </c:pt>
                <c:pt idx="2328">
                  <c:v>5.3913398078255313E-2</c:v>
                </c:pt>
                <c:pt idx="2329">
                  <c:v>4.8969240279124249E-2</c:v>
                </c:pt>
                <c:pt idx="2330">
                  <c:v>4.4232584209815594E-2</c:v>
                </c:pt>
                <c:pt idx="2331">
                  <c:v>3.8411151724510324E-2</c:v>
                </c:pt>
                <c:pt idx="2332">
                  <c:v>3.2597237428347019E-2</c:v>
                </c:pt>
                <c:pt idx="2333">
                  <c:v>2.604202784361314E-2</c:v>
                </c:pt>
                <c:pt idx="2334">
                  <c:v>1.8593131504932241E-2</c:v>
                </c:pt>
                <c:pt idx="2335">
                  <c:v>9.660812312990227E-3</c:v>
                </c:pt>
                <c:pt idx="2336">
                  <c:v>-6.225056210331625E-3</c:v>
                </c:pt>
                <c:pt idx="2337">
                  <c:v>-1.9772674655468569E-2</c:v>
                </c:pt>
                <c:pt idx="2338">
                  <c:v>-1.9588446595921735E-2</c:v>
                </c:pt>
                <c:pt idx="2339">
                  <c:v>-1.932779668415548E-2</c:v>
                </c:pt>
                <c:pt idx="2340">
                  <c:v>-1.9380911767163611E-2</c:v>
                </c:pt>
                <c:pt idx="2341">
                  <c:v>-1.9874149606682379E-2</c:v>
                </c:pt>
                <c:pt idx="2342">
                  <c:v>-2.0378523923025246E-2</c:v>
                </c:pt>
                <c:pt idx="2343">
                  <c:v>-2.1092583481266351E-2</c:v>
                </c:pt>
                <c:pt idx="2344">
                  <c:v>-2.1473442804535968E-2</c:v>
                </c:pt>
                <c:pt idx="2345">
                  <c:v>-2.1713035844622718E-2</c:v>
                </c:pt>
                <c:pt idx="2346">
                  <c:v>-2.0989184884655364E-2</c:v>
                </c:pt>
                <c:pt idx="2347">
                  <c:v>-2.0060164124365822E-2</c:v>
                </c:pt>
                <c:pt idx="2348">
                  <c:v>-1.8915368685435505E-2</c:v>
                </c:pt>
                <c:pt idx="2349">
                  <c:v>-1.7665085507475392E-2</c:v>
                </c:pt>
                <c:pt idx="2350">
                  <c:v>-1.6847081075130842E-2</c:v>
                </c:pt>
                <c:pt idx="2351">
                  <c:v>-1.6244532439984478E-2</c:v>
                </c:pt>
                <c:pt idx="2352">
                  <c:v>-1.6048493853226112E-2</c:v>
                </c:pt>
                <c:pt idx="2353">
                  <c:v>-1.6086576229974947E-2</c:v>
                </c:pt>
                <c:pt idx="2354">
                  <c:v>-1.6107707878815786E-2</c:v>
                </c:pt>
                <c:pt idx="2355">
                  <c:v>-1.6345303808301473E-2</c:v>
                </c:pt>
                <c:pt idx="2356">
                  <c:v>-1.6685332573500536E-2</c:v>
                </c:pt>
                <c:pt idx="2357">
                  <c:v>-1.6887866428463242E-2</c:v>
                </c:pt>
                <c:pt idx="2358">
                  <c:v>-1.6886196118382303E-2</c:v>
                </c:pt>
                <c:pt idx="2359">
                  <c:v>-1.6757570293990887E-2</c:v>
                </c:pt>
                <c:pt idx="2360">
                  <c:v>-1.653019541299738E-2</c:v>
                </c:pt>
                <c:pt idx="2361">
                  <c:v>-1.6238792477809256E-2</c:v>
                </c:pt>
                <c:pt idx="2362">
                  <c:v>-1.6429326042583448E-2</c:v>
                </c:pt>
                <c:pt idx="2363">
                  <c:v>-1.7020898872405058E-2</c:v>
                </c:pt>
                <c:pt idx="2364">
                  <c:v>-1.7955741552714774E-2</c:v>
                </c:pt>
                <c:pt idx="2365">
                  <c:v>-1.867931962622045E-2</c:v>
                </c:pt>
                <c:pt idx="2366">
                  <c:v>-1.9250287476185568E-2</c:v>
                </c:pt>
                <c:pt idx="2367">
                  <c:v>-1.9785470839727256E-2</c:v>
                </c:pt>
                <c:pt idx="2368">
                  <c:v>-2.0161714629351998E-2</c:v>
                </c:pt>
                <c:pt idx="2369">
                  <c:v>-2.0494202566951798E-2</c:v>
                </c:pt>
                <c:pt idx="2370">
                  <c:v>-2.0730206393624238E-2</c:v>
                </c:pt>
                <c:pt idx="2371">
                  <c:v>-2.0961169031367279E-2</c:v>
                </c:pt>
                <c:pt idx="2372">
                  <c:v>-2.1229747217188039E-2</c:v>
                </c:pt>
                <c:pt idx="2373">
                  <c:v>-2.1502275591826117E-2</c:v>
                </c:pt>
                <c:pt idx="2374">
                  <c:v>-2.1576977386109353E-2</c:v>
                </c:pt>
                <c:pt idx="2375">
                  <c:v>-2.1610629941628087E-2</c:v>
                </c:pt>
                <c:pt idx="2376">
                  <c:v>-2.1598416640727636E-2</c:v>
                </c:pt>
                <c:pt idx="2377">
                  <c:v>-2.1630503313443031E-2</c:v>
                </c:pt>
                <c:pt idx="2378">
                  <c:v>-2.1602307255994969E-2</c:v>
                </c:pt>
                <c:pt idx="2379">
                  <c:v>-2.14896834756097E-2</c:v>
                </c:pt>
                <c:pt idx="2380">
                  <c:v>-2.121389748664242E-2</c:v>
                </c:pt>
                <c:pt idx="2381">
                  <c:v>-2.0845958519296971E-2</c:v>
                </c:pt>
                <c:pt idx="2382">
                  <c:v>-2.0400122720482715E-2</c:v>
                </c:pt>
                <c:pt idx="2383">
                  <c:v>-2.0152744475766916E-2</c:v>
                </c:pt>
                <c:pt idx="2384">
                  <c:v>-1.9914505788415839E-2</c:v>
                </c:pt>
                <c:pt idx="2385">
                  <c:v>-1.9307938448842338E-2</c:v>
                </c:pt>
                <c:pt idx="2386">
                  <c:v>-1.8454613007133205E-2</c:v>
                </c:pt>
                <c:pt idx="2387">
                  <c:v>-1.7587638763864367E-2</c:v>
                </c:pt>
                <c:pt idx="2388">
                  <c:v>-1.6692258810230055E-2</c:v>
                </c:pt>
                <c:pt idx="2389">
                  <c:v>-1.5475446229372206E-2</c:v>
                </c:pt>
                <c:pt idx="2390">
                  <c:v>-1.4738650309229108E-2</c:v>
                </c:pt>
                <c:pt idx="2391">
                  <c:v>-1.4104678576653668E-2</c:v>
                </c:pt>
                <c:pt idx="2392">
                  <c:v>-1.3848065826199612E-2</c:v>
                </c:pt>
                <c:pt idx="2393">
                  <c:v>-1.3831366206706759E-2</c:v>
                </c:pt>
                <c:pt idx="2394">
                  <c:v>-1.3885005292874873E-2</c:v>
                </c:pt>
                <c:pt idx="2395">
                  <c:v>-1.3918324926282314E-2</c:v>
                </c:pt>
                <c:pt idx="2396">
                  <c:v>-1.3939134567849341E-2</c:v>
                </c:pt>
                <c:pt idx="2397">
                  <c:v>-1.398378676055163E-2</c:v>
                </c:pt>
                <c:pt idx="2398">
                  <c:v>-1.4015279397906592E-2</c:v>
                </c:pt>
                <c:pt idx="2399">
                  <c:v>-1.3925335564306581E-2</c:v>
                </c:pt>
                <c:pt idx="2400">
                  <c:v>-1.3836787332390922E-2</c:v>
                </c:pt>
                <c:pt idx="2401">
                  <c:v>-1.3731844610136023E-2</c:v>
                </c:pt>
                <c:pt idx="2402">
                  <c:v>-1.3388760457493072E-2</c:v>
                </c:pt>
                <c:pt idx="2403">
                  <c:v>-1.3189326128999458E-2</c:v>
                </c:pt>
                <c:pt idx="2404">
                  <c:v>-1.2914067344883465E-2</c:v>
                </c:pt>
                <c:pt idx="2405">
                  <c:v>-1.2711319114895564E-2</c:v>
                </c:pt>
                <c:pt idx="2406">
                  <c:v>-1.2509462233830143E-2</c:v>
                </c:pt>
                <c:pt idx="2407">
                  <c:v>-1.2326693547813313E-2</c:v>
                </c:pt>
                <c:pt idx="2408">
                  <c:v>-1.2126667753282878E-2</c:v>
                </c:pt>
                <c:pt idx="2409">
                  <c:v>-1.1940722856711019E-2</c:v>
                </c:pt>
                <c:pt idx="2410">
                  <c:v>-1.1810077860204136E-2</c:v>
                </c:pt>
                <c:pt idx="2411">
                  <c:v>-1.1666150960598743E-2</c:v>
                </c:pt>
                <c:pt idx="2412">
                  <c:v>-1.1469338069545833E-2</c:v>
                </c:pt>
                <c:pt idx="2413">
                  <c:v>-1.1108200759563114E-2</c:v>
                </c:pt>
                <c:pt idx="2414">
                  <c:v>-1.0737259332798428E-2</c:v>
                </c:pt>
                <c:pt idx="2415">
                  <c:v>-1.0557519464964206E-2</c:v>
                </c:pt>
                <c:pt idx="2416">
                  <c:v>-1.0564790128508604E-2</c:v>
                </c:pt>
                <c:pt idx="2417">
                  <c:v>-1.0654085456863593E-2</c:v>
                </c:pt>
                <c:pt idx="2418">
                  <c:v>-1.0670090960731586E-2</c:v>
                </c:pt>
                <c:pt idx="2419">
                  <c:v>-1.0567327038129236E-2</c:v>
                </c:pt>
                <c:pt idx="2420">
                  <c:v>-1.0574575976449677E-2</c:v>
                </c:pt>
                <c:pt idx="2421">
                  <c:v>-1.06720743936514E-2</c:v>
                </c:pt>
                <c:pt idx="2422">
                  <c:v>-1.0781042887050363E-2</c:v>
                </c:pt>
                <c:pt idx="2423">
                  <c:v>-1.1843930333505141E-2</c:v>
                </c:pt>
                <c:pt idx="2424">
                  <c:v>-1.2922786488065363E-2</c:v>
                </c:pt>
                <c:pt idx="2425">
                  <c:v>-1.3770075682587351E-2</c:v>
                </c:pt>
                <c:pt idx="2426">
                  <c:v>-1.436478230811912E-2</c:v>
                </c:pt>
                <c:pt idx="2427">
                  <c:v>-1.5093847239789713E-2</c:v>
                </c:pt>
                <c:pt idx="2428">
                  <c:v>-1.5716305234816472E-2</c:v>
                </c:pt>
                <c:pt idx="2429">
                  <c:v>-1.6141558185167108E-2</c:v>
                </c:pt>
                <c:pt idx="2430">
                  <c:v>-1.6239831124407571E-2</c:v>
                </c:pt>
                <c:pt idx="2431">
                  <c:v>-1.6280187148752394E-2</c:v>
                </c:pt>
                <c:pt idx="2432">
                  <c:v>-1.622722927009207E-2</c:v>
                </c:pt>
                <c:pt idx="2433">
                  <c:v>-1.6127512425876553E-2</c:v>
                </c:pt>
                <c:pt idx="2434">
                  <c:v>-1.6050744905164661E-2</c:v>
                </c:pt>
                <c:pt idx="2435">
                  <c:v>-1.599488862506734E-2</c:v>
                </c:pt>
                <c:pt idx="2436">
                  <c:v>-1.5773325202011693E-2</c:v>
                </c:pt>
                <c:pt idx="2437">
                  <c:v>-1.5442575273489731E-2</c:v>
                </c:pt>
                <c:pt idx="2438">
                  <c:v>-1.5331497144127038E-2</c:v>
                </c:pt>
                <c:pt idx="2439">
                  <c:v>-1.5324539849695921E-2</c:v>
                </c:pt>
                <c:pt idx="2440">
                  <c:v>-1.5189954795981587E-2</c:v>
                </c:pt>
                <c:pt idx="2441">
                  <c:v>-1.4996296276167687E-2</c:v>
                </c:pt>
                <c:pt idx="2442">
                  <c:v>-1.4801838634067624E-2</c:v>
                </c:pt>
                <c:pt idx="2443">
                  <c:v>-1.4627076231682551E-2</c:v>
                </c:pt>
                <c:pt idx="2444">
                  <c:v>-1.501208674230994E-2</c:v>
                </c:pt>
                <c:pt idx="2445">
                  <c:v>-1.5346104885276012E-2</c:v>
                </c:pt>
                <c:pt idx="2446">
                  <c:v>-1.5366920279823809E-2</c:v>
                </c:pt>
                <c:pt idx="2447">
                  <c:v>-1.5162544128119067E-2</c:v>
                </c:pt>
                <c:pt idx="2448">
                  <c:v>-1.5008914123969527E-2</c:v>
                </c:pt>
                <c:pt idx="2449">
                  <c:v>-1.4863944348845382E-2</c:v>
                </c:pt>
                <c:pt idx="2450">
                  <c:v>-1.4716533133031277E-2</c:v>
                </c:pt>
                <c:pt idx="2451">
                  <c:v>-1.4653729466846935E-2</c:v>
                </c:pt>
                <c:pt idx="2452">
                  <c:v>-1.4696190780003247E-2</c:v>
                </c:pt>
                <c:pt idx="2453">
                  <c:v>-1.4887888820942063E-2</c:v>
                </c:pt>
                <c:pt idx="2454">
                  <c:v>-1.5006830670362554E-2</c:v>
                </c:pt>
                <c:pt idx="2455">
                  <c:v>-1.5026293183769447E-2</c:v>
                </c:pt>
                <c:pt idx="2456">
                  <c:v>-1.4594212768916821E-2</c:v>
                </c:pt>
                <c:pt idx="2457">
                  <c:v>-1.4191917924951836E-2</c:v>
                </c:pt>
                <c:pt idx="2458">
                  <c:v>-1.3842143531414088E-2</c:v>
                </c:pt>
                <c:pt idx="2459">
                  <c:v>-1.3703375944621538E-2</c:v>
                </c:pt>
                <c:pt idx="2460">
                  <c:v>-1.3856623721781796E-2</c:v>
                </c:pt>
                <c:pt idx="2461">
                  <c:v>-1.4261568875639882E-2</c:v>
                </c:pt>
                <c:pt idx="2462">
                  <c:v>-1.4509818832599792E-2</c:v>
                </c:pt>
                <c:pt idx="2463">
                  <c:v>-1.4559701870178448E-2</c:v>
                </c:pt>
                <c:pt idx="2464">
                  <c:v>-1.4521882866509957E-2</c:v>
                </c:pt>
                <c:pt idx="2465">
                  <c:v>-1.4411425315957124E-2</c:v>
                </c:pt>
                <c:pt idx="2466">
                  <c:v>-1.4339605292642395E-2</c:v>
                </c:pt>
                <c:pt idx="2467">
                  <c:v>-1.4321420789811891E-2</c:v>
                </c:pt>
                <c:pt idx="2468">
                  <c:v>-1.4756584148181236E-2</c:v>
                </c:pt>
                <c:pt idx="2469">
                  <c:v>-1.5183919347127643E-2</c:v>
                </c:pt>
                <c:pt idx="2470">
                  <c:v>-1.5681801277479496E-2</c:v>
                </c:pt>
                <c:pt idx="2471">
                  <c:v>-1.5876178944810391E-2</c:v>
                </c:pt>
                <c:pt idx="2472">
                  <c:v>-1.5916780057458987E-2</c:v>
                </c:pt>
                <c:pt idx="2473">
                  <c:v>-1.6219709877991005E-2</c:v>
                </c:pt>
                <c:pt idx="2474">
                  <c:v>-1.6645087993171239E-2</c:v>
                </c:pt>
                <c:pt idx="2475">
                  <c:v>-1.7299381427152892E-2</c:v>
                </c:pt>
                <c:pt idx="2476">
                  <c:v>-1.8243007665484694E-2</c:v>
                </c:pt>
                <c:pt idx="2477">
                  <c:v>-1.9232269213290885E-2</c:v>
                </c:pt>
                <c:pt idx="2478">
                  <c:v>-1.9916267238842444E-2</c:v>
                </c:pt>
                <c:pt idx="2479">
                  <c:v>-2.0409906192769636E-2</c:v>
                </c:pt>
                <c:pt idx="2480">
                  <c:v>-2.0539703836093381E-2</c:v>
                </c:pt>
                <c:pt idx="2481">
                  <c:v>-2.06792440547286E-2</c:v>
                </c:pt>
                <c:pt idx="2482">
                  <c:v>-2.0859543284614965E-2</c:v>
                </c:pt>
                <c:pt idx="2483">
                  <c:v>-2.1067789482890099E-2</c:v>
                </c:pt>
                <c:pt idx="2484">
                  <c:v>-2.118103892481394E-2</c:v>
                </c:pt>
                <c:pt idx="2485">
                  <c:v>-2.0530387812626678E-2</c:v>
                </c:pt>
                <c:pt idx="2486">
                  <c:v>-2.0186328988176076E-2</c:v>
                </c:pt>
                <c:pt idx="2487">
                  <c:v>-1.9819962441536464E-2</c:v>
                </c:pt>
                <c:pt idx="2488">
                  <c:v>-1.9750683067971769E-2</c:v>
                </c:pt>
                <c:pt idx="2489">
                  <c:v>-1.9759465738767204E-2</c:v>
                </c:pt>
                <c:pt idx="2490">
                  <c:v>-1.9786253210773784E-2</c:v>
                </c:pt>
                <c:pt idx="2491">
                  <c:v>-1.9762050281718357E-2</c:v>
                </c:pt>
                <c:pt idx="2492">
                  <c:v>-1.9707920682948198E-2</c:v>
                </c:pt>
                <c:pt idx="2493">
                  <c:v>-1.9485699017361035E-2</c:v>
                </c:pt>
                <c:pt idx="2494">
                  <c:v>-1.8910052332716549E-2</c:v>
                </c:pt>
                <c:pt idx="2495">
                  <c:v>-1.8413003492445242E-2</c:v>
                </c:pt>
                <c:pt idx="2496">
                  <c:v>-1.8190907075534512E-2</c:v>
                </c:pt>
                <c:pt idx="2497">
                  <c:v>-1.8111362468148828E-2</c:v>
                </c:pt>
                <c:pt idx="2498">
                  <c:v>-1.8631323235538379E-2</c:v>
                </c:pt>
                <c:pt idx="2499">
                  <c:v>-1.9509892572462016E-2</c:v>
                </c:pt>
                <c:pt idx="2500">
                  <c:v>-2.0237889599083882E-2</c:v>
                </c:pt>
                <c:pt idx="2501">
                  <c:v>-2.0828856784945355E-2</c:v>
                </c:pt>
                <c:pt idx="2502">
                  <c:v>-2.0707249793379429E-2</c:v>
                </c:pt>
                <c:pt idx="2503">
                  <c:v>-2.1085269137745714E-2</c:v>
                </c:pt>
                <c:pt idx="2504">
                  <c:v>-2.1329118263726521E-2</c:v>
                </c:pt>
                <c:pt idx="2505">
                  <c:v>-2.1321899806989258E-2</c:v>
                </c:pt>
                <c:pt idx="2506">
                  <c:v>-2.0976484333525398E-2</c:v>
                </c:pt>
                <c:pt idx="2507">
                  <c:v>-2.0266459014922439E-2</c:v>
                </c:pt>
                <c:pt idx="2508">
                  <c:v>-1.9372304810037311E-2</c:v>
                </c:pt>
                <c:pt idx="2509">
                  <c:v>-1.8381268896512475E-2</c:v>
                </c:pt>
                <c:pt idx="2510">
                  <c:v>-1.7931052960997611E-2</c:v>
                </c:pt>
                <c:pt idx="2511">
                  <c:v>-1.7657293873938086E-2</c:v>
                </c:pt>
                <c:pt idx="2512">
                  <c:v>-1.7436458435723654E-2</c:v>
                </c:pt>
                <c:pt idx="2513">
                  <c:v>-1.7503680380719627E-2</c:v>
                </c:pt>
                <c:pt idx="2514">
                  <c:v>-1.7584410822421126E-2</c:v>
                </c:pt>
                <c:pt idx="2515">
                  <c:v>-1.7757430833046085E-2</c:v>
                </c:pt>
                <c:pt idx="2516">
                  <c:v>-1.7852830100821282E-2</c:v>
                </c:pt>
                <c:pt idx="2517">
                  <c:v>-1.8013636695923194E-2</c:v>
                </c:pt>
                <c:pt idx="2518">
                  <c:v>-1.8264317454588331E-2</c:v>
                </c:pt>
                <c:pt idx="2519">
                  <c:v>-1.8494665223351379E-2</c:v>
                </c:pt>
                <c:pt idx="2520">
                  <c:v>-1.8562525801148942E-2</c:v>
                </c:pt>
                <c:pt idx="2521">
                  <c:v>-1.8515763807005436E-2</c:v>
                </c:pt>
                <c:pt idx="2522">
                  <c:v>-1.8070255534007793E-2</c:v>
                </c:pt>
                <c:pt idx="2523">
                  <c:v>-1.7696125559436691E-2</c:v>
                </c:pt>
                <c:pt idx="2524">
                  <c:v>-1.7623906597278926E-2</c:v>
                </c:pt>
                <c:pt idx="2525">
                  <c:v>-1.756943028911391E-2</c:v>
                </c:pt>
                <c:pt idx="2526">
                  <c:v>-1.7617908949800844E-2</c:v>
                </c:pt>
                <c:pt idx="2527">
                  <c:v>-1.8057143475565071E-2</c:v>
                </c:pt>
                <c:pt idx="2528">
                  <c:v>-1.8426047080905818E-2</c:v>
                </c:pt>
                <c:pt idx="2529">
                  <c:v>-1.8182254789401192E-2</c:v>
                </c:pt>
                <c:pt idx="2530">
                  <c:v>-1.787031420713538E-2</c:v>
                </c:pt>
                <c:pt idx="2531">
                  <c:v>-1.7607937327946313E-2</c:v>
                </c:pt>
                <c:pt idx="2532">
                  <c:v>-1.7720004762973106E-2</c:v>
                </c:pt>
                <c:pt idx="2533">
                  <c:v>-1.7756390654367092E-2</c:v>
                </c:pt>
                <c:pt idx="2534">
                  <c:v>-1.7716285275525875E-2</c:v>
                </c:pt>
                <c:pt idx="2535">
                  <c:v>-1.7670439710987543E-2</c:v>
                </c:pt>
                <c:pt idx="2536">
                  <c:v>-1.7874124860315824E-2</c:v>
                </c:pt>
                <c:pt idx="2537">
                  <c:v>-1.8038413746713767E-2</c:v>
                </c:pt>
                <c:pt idx="2538">
                  <c:v>-1.8129907262781905E-2</c:v>
                </c:pt>
                <c:pt idx="2539">
                  <c:v>-1.8202692967782649E-2</c:v>
                </c:pt>
                <c:pt idx="2540">
                  <c:v>-1.814073236333974E-2</c:v>
                </c:pt>
                <c:pt idx="2541">
                  <c:v>-1.8081047621841092E-2</c:v>
                </c:pt>
                <c:pt idx="2542">
                  <c:v>-1.7952609170501035E-2</c:v>
                </c:pt>
                <c:pt idx="2543">
                  <c:v>-1.7705454444350708E-2</c:v>
                </c:pt>
                <c:pt idx="2544">
                  <c:v>-1.7164122189401367E-2</c:v>
                </c:pt>
                <c:pt idx="2545">
                  <c:v>-1.6360635376649564E-2</c:v>
                </c:pt>
                <c:pt idx="2546">
                  <c:v>-1.6093006399140443E-2</c:v>
                </c:pt>
                <c:pt idx="2547">
                  <c:v>-1.5677219059644885E-2</c:v>
                </c:pt>
                <c:pt idx="2548">
                  <c:v>-1.4913109888903313E-2</c:v>
                </c:pt>
                <c:pt idx="2549">
                  <c:v>-1.4041420593713522E-2</c:v>
                </c:pt>
                <c:pt idx="2550">
                  <c:v>-1.3260914424039431E-2</c:v>
                </c:pt>
                <c:pt idx="2551">
                  <c:v>-1.2518757496814161E-2</c:v>
                </c:pt>
                <c:pt idx="2552">
                  <c:v>-1.242247792380223E-2</c:v>
                </c:pt>
                <c:pt idx="2553">
                  <c:v>-1.248616416110865E-2</c:v>
                </c:pt>
                <c:pt idx="2554">
                  <c:v>-1.243218088839624E-2</c:v>
                </c:pt>
                <c:pt idx="2555">
                  <c:v>-1.1602613788686905E-2</c:v>
                </c:pt>
                <c:pt idx="2556">
                  <c:v>-1.1600367301171009E-2</c:v>
                </c:pt>
                <c:pt idx="2557">
                  <c:v>-1.1637823484705895E-2</c:v>
                </c:pt>
                <c:pt idx="2558">
                  <c:v>-1.1444520566260294E-2</c:v>
                </c:pt>
                <c:pt idx="2559">
                  <c:v>-1.146971869450115E-2</c:v>
                </c:pt>
                <c:pt idx="2560">
                  <c:v>-1.15977938584663E-2</c:v>
                </c:pt>
                <c:pt idx="2561">
                  <c:v>-1.1755080453037314E-2</c:v>
                </c:pt>
                <c:pt idx="2562">
                  <c:v>-1.1962878556771278E-2</c:v>
                </c:pt>
                <c:pt idx="2563">
                  <c:v>-1.1945518751645168E-2</c:v>
                </c:pt>
                <c:pt idx="2564">
                  <c:v>-1.1938913026313603E-2</c:v>
                </c:pt>
                <c:pt idx="2565">
                  <c:v>-1.1990586671189766E-2</c:v>
                </c:pt>
                <c:pt idx="2566">
                  <c:v>-1.1951991135669544E-2</c:v>
                </c:pt>
                <c:pt idx="2567">
                  <c:v>-1.1904811469268903E-2</c:v>
                </c:pt>
                <c:pt idx="2568">
                  <c:v>-1.1974865287234879E-2</c:v>
                </c:pt>
                <c:pt idx="2569">
                  <c:v>-1.200202154089201E-2</c:v>
                </c:pt>
                <c:pt idx="2570">
                  <c:v>-1.2026749361971845E-2</c:v>
                </c:pt>
                <c:pt idx="2571">
                  <c:v>-1.2067571637714419E-2</c:v>
                </c:pt>
                <c:pt idx="2572">
                  <c:v>-1.2263415597253701E-2</c:v>
                </c:pt>
                <c:pt idx="2573">
                  <c:v>-1.2279946071644069E-2</c:v>
                </c:pt>
                <c:pt idx="2574">
                  <c:v>-1.2424277509160201E-2</c:v>
                </c:pt>
                <c:pt idx="2575">
                  <c:v>-1.2591727607146814E-2</c:v>
                </c:pt>
                <c:pt idx="2576">
                  <c:v>-1.2693643252780697E-2</c:v>
                </c:pt>
                <c:pt idx="2577">
                  <c:v>-1.2772874030922953E-2</c:v>
                </c:pt>
                <c:pt idx="2578">
                  <c:v>-1.3028712114909489E-2</c:v>
                </c:pt>
                <c:pt idx="2579">
                  <c:v>-1.3123519374376506E-2</c:v>
                </c:pt>
                <c:pt idx="2580">
                  <c:v>-1.3457081425726731E-2</c:v>
                </c:pt>
                <c:pt idx="2581">
                  <c:v>-1.3729576263488806E-2</c:v>
                </c:pt>
                <c:pt idx="2582">
                  <c:v>-1.39651903992139E-2</c:v>
                </c:pt>
                <c:pt idx="2583">
                  <c:v>-1.4154496658128013E-2</c:v>
                </c:pt>
                <c:pt idx="2584">
                  <c:v>-1.4402881619440474E-2</c:v>
                </c:pt>
                <c:pt idx="2585">
                  <c:v>-1.559508827772781E-2</c:v>
                </c:pt>
                <c:pt idx="2586">
                  <c:v>-1.604766105066464E-2</c:v>
                </c:pt>
                <c:pt idx="2587">
                  <c:v>-1.616560480248571E-2</c:v>
                </c:pt>
                <c:pt idx="2588">
                  <c:v>-1.6699880186903226E-2</c:v>
                </c:pt>
                <c:pt idx="2589">
                  <c:v>-1.5679422634632449E-2</c:v>
                </c:pt>
                <c:pt idx="2590">
                  <c:v>-1.4800185364683457E-2</c:v>
                </c:pt>
                <c:pt idx="2591">
                  <c:v>-1.4147892351236792E-2</c:v>
                </c:pt>
                <c:pt idx="2592">
                  <c:v>-1.3823660906090399E-2</c:v>
                </c:pt>
                <c:pt idx="2593">
                  <c:v>-1.3689173130296387E-2</c:v>
                </c:pt>
                <c:pt idx="2594">
                  <c:v>-1.3720467080959253E-2</c:v>
                </c:pt>
                <c:pt idx="2595">
                  <c:v>-1.3788686213780113E-2</c:v>
                </c:pt>
                <c:pt idx="2596">
                  <c:v>-1.380171999687789E-2</c:v>
                </c:pt>
                <c:pt idx="2597">
                  <c:v>-1.3807718139287106E-2</c:v>
                </c:pt>
                <c:pt idx="2598">
                  <c:v>-1.3817509554240884E-2</c:v>
                </c:pt>
                <c:pt idx="2599">
                  <c:v>-1.3889740462073055E-2</c:v>
                </c:pt>
                <c:pt idx="2600">
                  <c:v>-1.3961417547142413E-2</c:v>
                </c:pt>
                <c:pt idx="2601">
                  <c:v>-1.4106897619326006E-2</c:v>
                </c:pt>
                <c:pt idx="2602">
                  <c:v>-1.4030079627763387E-2</c:v>
                </c:pt>
                <c:pt idx="2603">
                  <c:v>-1.3995018844960906E-2</c:v>
                </c:pt>
                <c:pt idx="2604">
                  <c:v>-1.4387931239903295E-2</c:v>
                </c:pt>
                <c:pt idx="2605">
                  <c:v>-1.4942714409072182E-2</c:v>
                </c:pt>
                <c:pt idx="2606">
                  <c:v>-1.5379301201790107E-2</c:v>
                </c:pt>
                <c:pt idx="2607">
                  <c:v>-1.571017597008173E-2</c:v>
                </c:pt>
                <c:pt idx="2608">
                  <c:v>-1.5172404776593837E-2</c:v>
                </c:pt>
                <c:pt idx="2609">
                  <c:v>-1.493767917380529E-2</c:v>
                </c:pt>
                <c:pt idx="2610">
                  <c:v>-1.4899455191968326E-2</c:v>
                </c:pt>
                <c:pt idx="2611">
                  <c:v>-1.5181105773243754E-2</c:v>
                </c:pt>
                <c:pt idx="2612">
                  <c:v>-1.5261075796016861E-2</c:v>
                </c:pt>
                <c:pt idx="2613">
                  <c:v>-1.5374694997728002E-2</c:v>
                </c:pt>
                <c:pt idx="2614">
                  <c:v>-1.5316213233982998E-2</c:v>
                </c:pt>
                <c:pt idx="2615">
                  <c:v>-1.5014218714771776E-2</c:v>
                </c:pt>
                <c:pt idx="2616">
                  <c:v>-1.4639070086456476E-2</c:v>
                </c:pt>
                <c:pt idx="2617">
                  <c:v>-1.4229895298537482E-2</c:v>
                </c:pt>
                <c:pt idx="2618">
                  <c:v>-1.3919546541595062E-2</c:v>
                </c:pt>
                <c:pt idx="2619">
                  <c:v>-1.4024857603550545E-2</c:v>
                </c:pt>
                <c:pt idx="2620">
                  <c:v>-1.4219553766904617E-2</c:v>
                </c:pt>
                <c:pt idx="2621">
                  <c:v>-1.4424772228125455E-2</c:v>
                </c:pt>
                <c:pt idx="2622">
                  <c:v>-1.456441953552242E-2</c:v>
                </c:pt>
                <c:pt idx="2623">
                  <c:v>-1.4670920499230009E-2</c:v>
                </c:pt>
                <c:pt idx="2624">
                  <c:v>-1.479342130368038E-2</c:v>
                </c:pt>
                <c:pt idx="2625">
                  <c:v>-1.468374092051775E-2</c:v>
                </c:pt>
                <c:pt idx="2626">
                  <c:v>-1.4599673997148267E-2</c:v>
                </c:pt>
                <c:pt idx="2627">
                  <c:v>-1.4449056003627695E-2</c:v>
                </c:pt>
                <c:pt idx="2628">
                  <c:v>-1.4032338650499446E-2</c:v>
                </c:pt>
                <c:pt idx="2629">
                  <c:v>-1.3269107829444463E-2</c:v>
                </c:pt>
                <c:pt idx="2630">
                  <c:v>-1.2570894286115616E-2</c:v>
                </c:pt>
                <c:pt idx="2631">
                  <c:v>-1.2277125544771353E-2</c:v>
                </c:pt>
                <c:pt idx="2632">
                  <c:v>-1.2504287024531005E-2</c:v>
                </c:pt>
                <c:pt idx="2633">
                  <c:v>-1.274251322502344E-2</c:v>
                </c:pt>
                <c:pt idx="2634">
                  <c:v>-1.2525799958597299E-2</c:v>
                </c:pt>
                <c:pt idx="2635">
                  <c:v>-1.2079770505334281E-2</c:v>
                </c:pt>
                <c:pt idx="2636">
                  <c:v>-1.1479384309098931E-2</c:v>
                </c:pt>
                <c:pt idx="2637">
                  <c:v>-1.0965018013071169E-2</c:v>
                </c:pt>
                <c:pt idx="2638">
                  <c:v>-1.16221035825422E-2</c:v>
                </c:pt>
                <c:pt idx="2639">
                  <c:v>-1.2563617880063976E-2</c:v>
                </c:pt>
                <c:pt idx="2640">
                  <c:v>-1.3142748818917679E-2</c:v>
                </c:pt>
                <c:pt idx="2641">
                  <c:v>-1.3010507722763673E-2</c:v>
                </c:pt>
                <c:pt idx="2642">
                  <c:v>-1.2883011244430363E-2</c:v>
                </c:pt>
                <c:pt idx="2643">
                  <c:v>-1.2757078357523641E-2</c:v>
                </c:pt>
                <c:pt idx="2644">
                  <c:v>-1.2757054921701719E-2</c:v>
                </c:pt>
                <c:pt idx="2645">
                  <c:v>-1.2124757382375052E-2</c:v>
                </c:pt>
                <c:pt idx="2646">
                  <c:v>-1.1384189668365598E-2</c:v>
                </c:pt>
                <c:pt idx="2647">
                  <c:v>-1.1173000012592776E-2</c:v>
                </c:pt>
                <c:pt idx="2648">
                  <c:v>-1.1160628539063897E-2</c:v>
                </c:pt>
                <c:pt idx="2649">
                  <c:v>-1.1267690542031609E-2</c:v>
                </c:pt>
                <c:pt idx="2650">
                  <c:v>-1.1191540461245002E-2</c:v>
                </c:pt>
                <c:pt idx="2651">
                  <c:v>-1.0830718468035336E-2</c:v>
                </c:pt>
                <c:pt idx="2652">
                  <c:v>-1.0637800049157471E-2</c:v>
                </c:pt>
                <c:pt idx="2653">
                  <c:v>-1.0692508695072286E-2</c:v>
                </c:pt>
                <c:pt idx="2654">
                  <c:v>-1.0787043667552808E-2</c:v>
                </c:pt>
                <c:pt idx="2655">
                  <c:v>-1.0819411225232698E-2</c:v>
                </c:pt>
                <c:pt idx="2656">
                  <c:v>-1.0626426717460401E-2</c:v>
                </c:pt>
                <c:pt idx="2657">
                  <c:v>-1.088925313602792E-2</c:v>
                </c:pt>
                <c:pt idx="2658">
                  <c:v>-1.2267316546829544E-2</c:v>
                </c:pt>
                <c:pt idx="2659">
                  <c:v>-1.3876307534072903E-2</c:v>
                </c:pt>
                <c:pt idx="2660">
                  <c:v>-1.5354944695347945E-2</c:v>
                </c:pt>
                <c:pt idx="2661">
                  <c:v>-1.6357708634879536E-2</c:v>
                </c:pt>
                <c:pt idx="2662">
                  <c:v>-1.662728191771469E-2</c:v>
                </c:pt>
                <c:pt idx="2663">
                  <c:v>-1.6400453383143977E-2</c:v>
                </c:pt>
                <c:pt idx="2664">
                  <c:v>-1.6071957860363171E-2</c:v>
                </c:pt>
                <c:pt idx="2665">
                  <c:v>-1.571566993200238E-2</c:v>
                </c:pt>
                <c:pt idx="2666">
                  <c:v>-1.5659341183964885E-2</c:v>
                </c:pt>
                <c:pt idx="2667">
                  <c:v>-1.5787800077593284E-2</c:v>
                </c:pt>
                <c:pt idx="2668">
                  <c:v>-1.5996573234821298E-2</c:v>
                </c:pt>
                <c:pt idx="2669">
                  <c:v>-1.620931705057518E-2</c:v>
                </c:pt>
                <c:pt idx="2670">
                  <c:v>-1.6374405962038738E-2</c:v>
                </c:pt>
                <c:pt idx="2671">
                  <c:v>-1.6329861691402707E-2</c:v>
                </c:pt>
                <c:pt idx="2672">
                  <c:v>-1.6557338943731213E-2</c:v>
                </c:pt>
                <c:pt idx="2673">
                  <c:v>-1.6643573204373194E-2</c:v>
                </c:pt>
                <c:pt idx="2674">
                  <c:v>-1.6811380345427354E-2</c:v>
                </c:pt>
                <c:pt idx="2675">
                  <c:v>-1.7328715820079662E-2</c:v>
                </c:pt>
                <c:pt idx="2676">
                  <c:v>-1.7997268960784837E-2</c:v>
                </c:pt>
                <c:pt idx="2677">
                  <c:v>-1.8351944794420746E-2</c:v>
                </c:pt>
                <c:pt idx="2678">
                  <c:v>-1.85431471244638E-2</c:v>
                </c:pt>
                <c:pt idx="2679">
                  <c:v>-1.8441178562067582E-2</c:v>
                </c:pt>
                <c:pt idx="2680">
                  <c:v>-1.8235434662876533E-2</c:v>
                </c:pt>
                <c:pt idx="2681">
                  <c:v>-1.8360405515969846E-2</c:v>
                </c:pt>
                <c:pt idx="2682">
                  <c:v>-1.840506864249113E-2</c:v>
                </c:pt>
                <c:pt idx="2683">
                  <c:v>-1.8488740192840414E-2</c:v>
                </c:pt>
                <c:pt idx="2684">
                  <c:v>-1.8528358338078199E-2</c:v>
                </c:pt>
                <c:pt idx="2685">
                  <c:v>-1.8744964785178481E-2</c:v>
                </c:pt>
                <c:pt idx="2686">
                  <c:v>-1.9183725913228374E-2</c:v>
                </c:pt>
                <c:pt idx="2687">
                  <c:v>-1.9429445386611649E-2</c:v>
                </c:pt>
                <c:pt idx="2688">
                  <c:v>-1.9085782869183485E-2</c:v>
                </c:pt>
                <c:pt idx="2689">
                  <c:v>-1.8464525188170461E-2</c:v>
                </c:pt>
                <c:pt idx="2690">
                  <c:v>-1.7477290209182497E-2</c:v>
                </c:pt>
                <c:pt idx="2691">
                  <c:v>-1.6353175246158595E-2</c:v>
                </c:pt>
                <c:pt idx="2692">
                  <c:v>-1.5172325964338897E-2</c:v>
                </c:pt>
                <c:pt idx="2693">
                  <c:v>-1.4299132859922469E-2</c:v>
                </c:pt>
                <c:pt idx="2694">
                  <c:v>-1.4165779086490062E-2</c:v>
                </c:pt>
                <c:pt idx="2695">
                  <c:v>-1.4536306328777462E-2</c:v>
                </c:pt>
                <c:pt idx="2696">
                  <c:v>-1.5424643432791582E-2</c:v>
                </c:pt>
                <c:pt idx="2697">
                  <c:v>-1.6333296990395336E-2</c:v>
                </c:pt>
                <c:pt idx="2698">
                  <c:v>-1.703306820877263E-2</c:v>
                </c:pt>
                <c:pt idx="2699">
                  <c:v>-1.7141262748305217E-2</c:v>
                </c:pt>
                <c:pt idx="2700">
                  <c:v>-1.7029188686895735E-2</c:v>
                </c:pt>
                <c:pt idx="2701">
                  <c:v>-1.712907594503774E-2</c:v>
                </c:pt>
                <c:pt idx="2702">
                  <c:v>-1.6947953183653462E-2</c:v>
                </c:pt>
                <c:pt idx="2703">
                  <c:v>-1.6768010817432594E-2</c:v>
                </c:pt>
                <c:pt idx="2704">
                  <c:v>-1.6829227757743953E-2</c:v>
                </c:pt>
                <c:pt idx="2705">
                  <c:v>-1.6891429318157902E-2</c:v>
                </c:pt>
                <c:pt idx="2706">
                  <c:v>-1.6442547925580839E-2</c:v>
                </c:pt>
                <c:pt idx="2707">
                  <c:v>-1.6453218396228299E-2</c:v>
                </c:pt>
                <c:pt idx="2708">
                  <c:v>-1.6496840007020858E-2</c:v>
                </c:pt>
                <c:pt idx="2709">
                  <c:v>-1.6632861265005808E-2</c:v>
                </c:pt>
                <c:pt idx="2710">
                  <c:v>-1.7500685256167769E-2</c:v>
                </c:pt>
                <c:pt idx="2711">
                  <c:v>-1.8358231230324092E-2</c:v>
                </c:pt>
                <c:pt idx="2712">
                  <c:v>-1.9279260874726104E-2</c:v>
                </c:pt>
                <c:pt idx="2713">
                  <c:v>-1.9615442233114233E-2</c:v>
                </c:pt>
                <c:pt idx="2714">
                  <c:v>-1.9745362956079131E-2</c:v>
                </c:pt>
                <c:pt idx="2715">
                  <c:v>-1.9655403874612745E-2</c:v>
                </c:pt>
                <c:pt idx="2716">
                  <c:v>-1.9558404661047656E-2</c:v>
                </c:pt>
                <c:pt idx="2717">
                  <c:v>-1.9436042904443545E-2</c:v>
                </c:pt>
                <c:pt idx="2718">
                  <c:v>-1.9365532213153295E-2</c:v>
                </c:pt>
                <c:pt idx="2719">
                  <c:v>-1.9347133212841414E-2</c:v>
                </c:pt>
                <c:pt idx="2720">
                  <c:v>-1.9296937119740117E-2</c:v>
                </c:pt>
                <c:pt idx="2721">
                  <c:v>-1.9293980158526264E-2</c:v>
                </c:pt>
                <c:pt idx="2722">
                  <c:v>-1.9336004973776983E-2</c:v>
                </c:pt>
                <c:pt idx="2723">
                  <c:v>-1.9369408318552946E-2</c:v>
                </c:pt>
                <c:pt idx="2724">
                  <c:v>-1.9226427900486478E-2</c:v>
                </c:pt>
                <c:pt idx="2725">
                  <c:v>-1.8757396717034688E-2</c:v>
                </c:pt>
                <c:pt idx="2726">
                  <c:v>-1.790582703542578E-2</c:v>
                </c:pt>
                <c:pt idx="2727">
                  <c:v>-1.6607479897832435E-2</c:v>
                </c:pt>
                <c:pt idx="2728">
                  <c:v>-1.5138088802388712E-2</c:v>
                </c:pt>
                <c:pt idx="2729">
                  <c:v>-1.4249488048534396E-2</c:v>
                </c:pt>
                <c:pt idx="2730">
                  <c:v>-1.3754752842443764E-2</c:v>
                </c:pt>
                <c:pt idx="2731">
                  <c:v>-1.3395796085949659E-2</c:v>
                </c:pt>
                <c:pt idx="2732">
                  <c:v>-1.1783367560712008E-2</c:v>
                </c:pt>
                <c:pt idx="2733">
                  <c:v>-1.0924360305735384E-2</c:v>
                </c:pt>
                <c:pt idx="2734">
                  <c:v>-1.1132558485244104E-2</c:v>
                </c:pt>
                <c:pt idx="2735">
                  <c:v>-1.1681783601187448E-2</c:v>
                </c:pt>
                <c:pt idx="2736">
                  <c:v>-1.262952621518551E-2</c:v>
                </c:pt>
                <c:pt idx="2737">
                  <c:v>-1.4129791495774036E-2</c:v>
                </c:pt>
                <c:pt idx="2738">
                  <c:v>-1.531341034371126E-2</c:v>
                </c:pt>
                <c:pt idx="2739">
                  <c:v>-1.6270948122705291E-2</c:v>
                </c:pt>
                <c:pt idx="2740">
                  <c:v>-1.6812832711909042E-2</c:v>
                </c:pt>
                <c:pt idx="2741">
                  <c:v>-1.8334544909852805E-2</c:v>
                </c:pt>
                <c:pt idx="2742">
                  <c:v>-1.9542584635701431E-2</c:v>
                </c:pt>
                <c:pt idx="2743">
                  <c:v>-2.0036998327075554E-2</c:v>
                </c:pt>
                <c:pt idx="2744">
                  <c:v>-1.9435685671362522E-2</c:v>
                </c:pt>
                <c:pt idx="2745">
                  <c:v>-1.8911496143979262E-2</c:v>
                </c:pt>
                <c:pt idx="2746">
                  <c:v>-1.8516024591425442E-2</c:v>
                </c:pt>
                <c:pt idx="2747">
                  <c:v>-1.8286846408466444E-2</c:v>
                </c:pt>
                <c:pt idx="2748">
                  <c:v>-1.8217435111586605E-2</c:v>
                </c:pt>
                <c:pt idx="2749">
                  <c:v>-1.8099294763298881E-2</c:v>
                </c:pt>
                <c:pt idx="2750">
                  <c:v>-1.8079722554360328E-2</c:v>
                </c:pt>
                <c:pt idx="2751">
                  <c:v>-1.8149278082425085E-2</c:v>
                </c:pt>
                <c:pt idx="2752">
                  <c:v>-1.8246220995543058E-2</c:v>
                </c:pt>
                <c:pt idx="2753">
                  <c:v>-1.8341165148036971E-2</c:v>
                </c:pt>
                <c:pt idx="2754">
                  <c:v>-1.8386535807002273E-2</c:v>
                </c:pt>
                <c:pt idx="2755">
                  <c:v>-1.7042099592937059E-2</c:v>
                </c:pt>
                <c:pt idx="2756">
                  <c:v>-1.7096584576519844E-2</c:v>
                </c:pt>
                <c:pt idx="2757">
                  <c:v>-1.7234720893888548E-2</c:v>
                </c:pt>
                <c:pt idx="2758">
                  <c:v>-1.6817387054503561E-2</c:v>
                </c:pt>
                <c:pt idx="2759">
                  <c:v>-1.661722828685085E-2</c:v>
                </c:pt>
                <c:pt idx="2760">
                  <c:v>-1.6516602155990157E-2</c:v>
                </c:pt>
                <c:pt idx="2761">
                  <c:v>-1.6401377507844327E-2</c:v>
                </c:pt>
                <c:pt idx="2762">
                  <c:v>-1.6941080220861462E-2</c:v>
                </c:pt>
                <c:pt idx="2763">
                  <c:v>-1.7316621561372834E-2</c:v>
                </c:pt>
                <c:pt idx="2764">
                  <c:v>-1.7641255664493274E-2</c:v>
                </c:pt>
                <c:pt idx="2765">
                  <c:v>-1.7882110547285487E-2</c:v>
                </c:pt>
                <c:pt idx="2766">
                  <c:v>-1.8040370426151222E-2</c:v>
                </c:pt>
                <c:pt idx="2767">
                  <c:v>-1.801662451269612E-2</c:v>
                </c:pt>
                <c:pt idx="2768">
                  <c:v>-1.7907464246127699E-2</c:v>
                </c:pt>
                <c:pt idx="2769">
                  <c:v>-1.7806562684208244E-2</c:v>
                </c:pt>
                <c:pt idx="2770">
                  <c:v>-1.7846520094897161E-2</c:v>
                </c:pt>
                <c:pt idx="2771">
                  <c:v>-1.7193974276860112E-2</c:v>
                </c:pt>
                <c:pt idx="2772">
                  <c:v>-1.6331910376912527E-2</c:v>
                </c:pt>
                <c:pt idx="2773">
                  <c:v>-1.5271274722646923E-2</c:v>
                </c:pt>
                <c:pt idx="2774">
                  <c:v>-1.4719902724276869E-2</c:v>
                </c:pt>
                <c:pt idx="2775">
                  <c:v>-1.4853389812585846E-2</c:v>
                </c:pt>
                <c:pt idx="2776">
                  <c:v>-1.5304247906728952E-2</c:v>
                </c:pt>
                <c:pt idx="2777">
                  <c:v>-1.5785623935611986E-2</c:v>
                </c:pt>
                <c:pt idx="2778">
                  <c:v>-1.6218927499444046E-2</c:v>
                </c:pt>
                <c:pt idx="2779">
                  <c:v>-1.7178513773400336E-2</c:v>
                </c:pt>
                <c:pt idx="2780">
                  <c:v>-1.7981028730415974E-2</c:v>
                </c:pt>
                <c:pt idx="2781">
                  <c:v>-1.8074734246155195E-2</c:v>
                </c:pt>
                <c:pt idx="2782">
                  <c:v>-1.7086519919574085E-2</c:v>
                </c:pt>
                <c:pt idx="2783">
                  <c:v>-1.6174716992195297E-2</c:v>
                </c:pt>
                <c:pt idx="2784">
                  <c:v>-1.5889512109482185E-2</c:v>
                </c:pt>
                <c:pt idx="2785">
                  <c:v>-1.7019180511118406E-2</c:v>
                </c:pt>
                <c:pt idx="2786">
                  <c:v>-1.7009276181635412E-2</c:v>
                </c:pt>
                <c:pt idx="2787">
                  <c:v>-1.6805891148698966E-2</c:v>
                </c:pt>
                <c:pt idx="2788">
                  <c:v>-1.7125600313671975E-2</c:v>
                </c:pt>
                <c:pt idx="2789">
                  <c:v>-1.6938100570634926E-2</c:v>
                </c:pt>
                <c:pt idx="2790">
                  <c:v>-1.681156987631334E-2</c:v>
                </c:pt>
                <c:pt idx="2791">
                  <c:v>-1.6971034013555368E-2</c:v>
                </c:pt>
                <c:pt idx="2792">
                  <c:v>-1.7114339964883388E-2</c:v>
                </c:pt>
                <c:pt idx="2793">
                  <c:v>-1.6825790909025591E-2</c:v>
                </c:pt>
                <c:pt idx="2794">
                  <c:v>-1.72839264747678E-2</c:v>
                </c:pt>
                <c:pt idx="2795">
                  <c:v>-1.7696060579142921E-2</c:v>
                </c:pt>
                <c:pt idx="2796">
                  <c:v>-1.7815156668237721E-2</c:v>
                </c:pt>
                <c:pt idx="2797">
                  <c:v>-1.7740887993041507E-2</c:v>
                </c:pt>
                <c:pt idx="2798">
                  <c:v>-1.8114390205477088E-2</c:v>
                </c:pt>
                <c:pt idx="2799">
                  <c:v>-1.8697468111118658E-2</c:v>
                </c:pt>
                <c:pt idx="2800">
                  <c:v>-1.9267108061381821E-2</c:v>
                </c:pt>
                <c:pt idx="2801">
                  <c:v>-1.8926691632934117E-2</c:v>
                </c:pt>
                <c:pt idx="2802">
                  <c:v>-1.946451374286208E-2</c:v>
                </c:pt>
                <c:pt idx="2803">
                  <c:v>-1.9827472438237716E-2</c:v>
                </c:pt>
                <c:pt idx="2804">
                  <c:v>-2.0382142777171312E-2</c:v>
                </c:pt>
                <c:pt idx="2805">
                  <c:v>-2.092367567805363E-2</c:v>
                </c:pt>
                <c:pt idx="2806">
                  <c:v>-2.1351050909521951E-2</c:v>
                </c:pt>
                <c:pt idx="2807">
                  <c:v>-2.1541531167991634E-2</c:v>
                </c:pt>
                <c:pt idx="2808">
                  <c:v>-2.1639929530631659E-2</c:v>
                </c:pt>
                <c:pt idx="2809">
                  <c:v>-2.1477504811857624E-2</c:v>
                </c:pt>
                <c:pt idx="2810">
                  <c:v>-2.1440168056924502E-2</c:v>
                </c:pt>
                <c:pt idx="2811">
                  <c:v>-2.1689003699745441E-2</c:v>
                </c:pt>
                <c:pt idx="2812">
                  <c:v>-2.2847791980187389E-2</c:v>
                </c:pt>
                <c:pt idx="2813">
                  <c:v>-2.3695873058647614E-2</c:v>
                </c:pt>
                <c:pt idx="2814">
                  <c:v>-2.3728381365128982E-2</c:v>
                </c:pt>
                <c:pt idx="2815">
                  <c:v>-2.3461112749420379E-2</c:v>
                </c:pt>
                <c:pt idx="2816">
                  <c:v>-2.2851525244761021E-2</c:v>
                </c:pt>
                <c:pt idx="2817">
                  <c:v>-2.2296357119463078E-2</c:v>
                </c:pt>
                <c:pt idx="2818">
                  <c:v>-2.1842853760514098E-2</c:v>
                </c:pt>
                <c:pt idx="2819">
                  <c:v>-2.1788232518242336E-2</c:v>
                </c:pt>
                <c:pt idx="2820">
                  <c:v>-2.1856890483566288E-2</c:v>
                </c:pt>
                <c:pt idx="2821">
                  <c:v>-2.1729557080133986E-2</c:v>
                </c:pt>
                <c:pt idx="2822">
                  <c:v>-2.1604946386200388E-2</c:v>
                </c:pt>
                <c:pt idx="2823">
                  <c:v>-2.2407890597179216E-2</c:v>
                </c:pt>
                <c:pt idx="2824">
                  <c:v>-2.2331411186704446E-2</c:v>
                </c:pt>
                <c:pt idx="2825">
                  <c:v>-2.2267553776998759E-2</c:v>
                </c:pt>
                <c:pt idx="2826">
                  <c:v>-2.2425188755182263E-2</c:v>
                </c:pt>
                <c:pt idx="2827">
                  <c:v>-2.2920007709014305E-2</c:v>
                </c:pt>
                <c:pt idx="2828">
                  <c:v>-2.3337779923151308E-2</c:v>
                </c:pt>
                <c:pt idx="2829">
                  <c:v>-2.3553040252562829E-2</c:v>
                </c:pt>
                <c:pt idx="2830">
                  <c:v>-2.3424382117735239E-2</c:v>
                </c:pt>
                <c:pt idx="2831">
                  <c:v>-2.4343134989835317E-2</c:v>
                </c:pt>
                <c:pt idx="2832">
                  <c:v>-2.418528270711761E-2</c:v>
                </c:pt>
                <c:pt idx="2833">
                  <c:v>-2.4652553794398617E-2</c:v>
                </c:pt>
                <c:pt idx="2834">
                  <c:v>-2.4541660282782755E-2</c:v>
                </c:pt>
                <c:pt idx="2835">
                  <c:v>-2.4120445158499614E-2</c:v>
                </c:pt>
                <c:pt idx="2836">
                  <c:v>-2.3546312313338785E-2</c:v>
                </c:pt>
                <c:pt idx="2837">
                  <c:v>-2.3159695915682746E-2</c:v>
                </c:pt>
                <c:pt idx="2838">
                  <c:v>-2.2726172128440685E-2</c:v>
                </c:pt>
                <c:pt idx="2839">
                  <c:v>-2.2148996854698299E-2</c:v>
                </c:pt>
                <c:pt idx="2840">
                  <c:v>-2.08484925574755E-2</c:v>
                </c:pt>
                <c:pt idx="2841">
                  <c:v>-1.9533267110478713E-2</c:v>
                </c:pt>
                <c:pt idx="2842">
                  <c:v>-1.815319992179884E-2</c:v>
                </c:pt>
                <c:pt idx="2843">
                  <c:v>-1.6889388720869678E-2</c:v>
                </c:pt>
                <c:pt idx="2844">
                  <c:v>-1.5583881408993774E-2</c:v>
                </c:pt>
                <c:pt idx="2845">
                  <c:v>-1.4297254750334915E-2</c:v>
                </c:pt>
                <c:pt idx="2846">
                  <c:v>-1.3466203692527327E-2</c:v>
                </c:pt>
                <c:pt idx="2847">
                  <c:v>-1.3379716110275108E-2</c:v>
                </c:pt>
                <c:pt idx="2848">
                  <c:v>-1.3885654541725724E-2</c:v>
                </c:pt>
                <c:pt idx="2849">
                  <c:v>-1.4133755011648772E-2</c:v>
                </c:pt>
                <c:pt idx="2850">
                  <c:v>-1.4191269288743744E-2</c:v>
                </c:pt>
                <c:pt idx="2851">
                  <c:v>-1.4252555491369017E-2</c:v>
                </c:pt>
                <c:pt idx="2852">
                  <c:v>-1.4585675804152938E-2</c:v>
                </c:pt>
                <c:pt idx="2853">
                  <c:v>-1.4531659000466237E-2</c:v>
                </c:pt>
                <c:pt idx="2854">
                  <c:v>-1.4550588538511659E-2</c:v>
                </c:pt>
                <c:pt idx="2855">
                  <c:v>-1.4324830975596848E-2</c:v>
                </c:pt>
                <c:pt idx="2856">
                  <c:v>-1.4138574800635215E-2</c:v>
                </c:pt>
                <c:pt idx="2857">
                  <c:v>-1.4281998078788348E-2</c:v>
                </c:pt>
                <c:pt idx="2858">
                  <c:v>-1.4770433459305989E-2</c:v>
                </c:pt>
                <c:pt idx="2859">
                  <c:v>-1.5066066802154363E-2</c:v>
                </c:pt>
                <c:pt idx="2860">
                  <c:v>-1.5506438742077629E-2</c:v>
                </c:pt>
                <c:pt idx="2861">
                  <c:v>-1.7049214738461719E-2</c:v>
                </c:pt>
                <c:pt idx="2862">
                  <c:v>-1.8518854549056336E-2</c:v>
                </c:pt>
                <c:pt idx="2863">
                  <c:v>-1.9825395724611197E-2</c:v>
                </c:pt>
                <c:pt idx="2864">
                  <c:v>-2.0724302985134807E-2</c:v>
                </c:pt>
                <c:pt idx="2865">
                  <c:v>-2.1337217677247874E-2</c:v>
                </c:pt>
                <c:pt idx="2866">
                  <c:v>-2.1758589538311057E-2</c:v>
                </c:pt>
                <c:pt idx="2867">
                  <c:v>-2.2151551439079153E-2</c:v>
                </c:pt>
                <c:pt idx="2868">
                  <c:v>-2.2649456006633553E-2</c:v>
                </c:pt>
                <c:pt idx="2869">
                  <c:v>-2.3074056001735628E-2</c:v>
                </c:pt>
                <c:pt idx="2870">
                  <c:v>-2.3980436862581132E-2</c:v>
                </c:pt>
                <c:pt idx="2871">
                  <c:v>-2.4408074022771096E-2</c:v>
                </c:pt>
                <c:pt idx="2872">
                  <c:v>-2.4591900140629938E-2</c:v>
                </c:pt>
                <c:pt idx="2873">
                  <c:v>-2.4725760049252019E-2</c:v>
                </c:pt>
                <c:pt idx="2874">
                  <c:v>-2.4564072534814171E-2</c:v>
                </c:pt>
                <c:pt idx="2875">
                  <c:v>-2.4575104511616545E-2</c:v>
                </c:pt>
                <c:pt idx="2876">
                  <c:v>-2.4557219737423731E-2</c:v>
                </c:pt>
                <c:pt idx="2877">
                  <c:v>-2.4647080546518433E-2</c:v>
                </c:pt>
                <c:pt idx="2878">
                  <c:v>-2.4820349166091271E-2</c:v>
                </c:pt>
                <c:pt idx="2879">
                  <c:v>-2.4912277833175074E-2</c:v>
                </c:pt>
                <c:pt idx="2880">
                  <c:v>-2.4759920146349916E-2</c:v>
                </c:pt>
                <c:pt idx="2881">
                  <c:v>-2.4606465844656172E-2</c:v>
                </c:pt>
                <c:pt idx="2882">
                  <c:v>-2.4333177102324764E-2</c:v>
                </c:pt>
                <c:pt idx="2883">
                  <c:v>-2.3684310786758242E-2</c:v>
                </c:pt>
                <c:pt idx="2884">
                  <c:v>-2.2657181079582901E-2</c:v>
                </c:pt>
                <c:pt idx="2885">
                  <c:v>-2.0258136336229478E-2</c:v>
                </c:pt>
                <c:pt idx="2886">
                  <c:v>-1.8612480451241659E-2</c:v>
                </c:pt>
                <c:pt idx="2887">
                  <c:v>-1.8100310762423747E-2</c:v>
                </c:pt>
                <c:pt idx="2888">
                  <c:v>-1.871952648968726E-2</c:v>
                </c:pt>
                <c:pt idx="2889">
                  <c:v>-1.9694494013118562E-2</c:v>
                </c:pt>
                <c:pt idx="2890">
                  <c:v>-2.054483199543481E-2</c:v>
                </c:pt>
                <c:pt idx="2891">
                  <c:v>-2.0894342830995796E-2</c:v>
                </c:pt>
                <c:pt idx="2892">
                  <c:v>-2.1289211078633602E-2</c:v>
                </c:pt>
                <c:pt idx="2893">
                  <c:v>-2.1404386823440286E-2</c:v>
                </c:pt>
                <c:pt idx="2894">
                  <c:v>-2.1637998186334169E-2</c:v>
                </c:pt>
                <c:pt idx="2895">
                  <c:v>-2.1778231755225468E-2</c:v>
                </c:pt>
                <c:pt idx="2896">
                  <c:v>-2.1871751629568809E-2</c:v>
                </c:pt>
                <c:pt idx="2897">
                  <c:v>-2.157391086384115E-2</c:v>
                </c:pt>
                <c:pt idx="2898">
                  <c:v>-2.0858029549864487E-2</c:v>
                </c:pt>
                <c:pt idx="2899">
                  <c:v>-2.0056519141677949E-2</c:v>
                </c:pt>
                <c:pt idx="2900">
                  <c:v>-1.9318616861006506E-2</c:v>
                </c:pt>
                <c:pt idx="2901">
                  <c:v>-1.8877758521317636E-2</c:v>
                </c:pt>
                <c:pt idx="2902">
                  <c:v>-1.8720125401744139E-2</c:v>
                </c:pt>
                <c:pt idx="2903">
                  <c:v>-1.8691120920894984E-2</c:v>
                </c:pt>
                <c:pt idx="2904">
                  <c:v>-1.8891528510743327E-2</c:v>
                </c:pt>
                <c:pt idx="2905">
                  <c:v>-1.9048826445761228E-2</c:v>
                </c:pt>
                <c:pt idx="2906">
                  <c:v>-1.932043178891113E-2</c:v>
                </c:pt>
                <c:pt idx="2907">
                  <c:v>-1.9453064331763179E-2</c:v>
                </c:pt>
                <c:pt idx="2908">
                  <c:v>-1.9462138775832333E-2</c:v>
                </c:pt>
                <c:pt idx="2909">
                  <c:v>-1.9473477109615212E-2</c:v>
                </c:pt>
                <c:pt idx="2910">
                  <c:v>-1.9509214873527359E-2</c:v>
                </c:pt>
                <c:pt idx="2911">
                  <c:v>-1.9310152211733066E-2</c:v>
                </c:pt>
                <c:pt idx="2912">
                  <c:v>-1.8626683361120944E-2</c:v>
                </c:pt>
                <c:pt idx="2913">
                  <c:v>-1.792982073325556E-2</c:v>
                </c:pt>
                <c:pt idx="2914">
                  <c:v>-1.7088018268900287E-2</c:v>
                </c:pt>
                <c:pt idx="2915">
                  <c:v>-1.7149267425416947E-2</c:v>
                </c:pt>
                <c:pt idx="2916">
                  <c:v>-1.7692083160390677E-2</c:v>
                </c:pt>
                <c:pt idx="2917">
                  <c:v>-1.8469673309028802E-2</c:v>
                </c:pt>
                <c:pt idx="2918">
                  <c:v>-1.8428234049223134E-2</c:v>
                </c:pt>
                <c:pt idx="2919">
                  <c:v>-1.7903025756376992E-2</c:v>
                </c:pt>
                <c:pt idx="2920">
                  <c:v>-1.7839620865442975E-2</c:v>
                </c:pt>
                <c:pt idx="2921">
                  <c:v>-1.8326292558548694E-2</c:v>
                </c:pt>
                <c:pt idx="2922">
                  <c:v>-1.8500262593555229E-2</c:v>
                </c:pt>
                <c:pt idx="2923">
                  <c:v>-1.8702382486213347E-2</c:v>
                </c:pt>
                <c:pt idx="2924">
                  <c:v>-1.8431185395714783E-2</c:v>
                </c:pt>
                <c:pt idx="2925">
                  <c:v>-1.811758667006624E-2</c:v>
                </c:pt>
                <c:pt idx="2926">
                  <c:v>-1.7800878968611041E-2</c:v>
                </c:pt>
                <c:pt idx="2927">
                  <c:v>-1.7697399067690522E-2</c:v>
                </c:pt>
                <c:pt idx="2928">
                  <c:v>-1.788769770229429E-2</c:v>
                </c:pt>
                <c:pt idx="2929">
                  <c:v>-1.8129686813831501E-2</c:v>
                </c:pt>
                <c:pt idx="2930">
                  <c:v>-1.856521620762526E-2</c:v>
                </c:pt>
                <c:pt idx="2931">
                  <c:v>-1.8865806480043688E-2</c:v>
                </c:pt>
                <c:pt idx="2932">
                  <c:v>-1.8848507314016643E-2</c:v>
                </c:pt>
                <c:pt idx="2933">
                  <c:v>-1.8386148496017943E-2</c:v>
                </c:pt>
                <c:pt idx="2934">
                  <c:v>-1.7857226379882889E-2</c:v>
                </c:pt>
                <c:pt idx="2935">
                  <c:v>-1.738622464258183E-2</c:v>
                </c:pt>
                <c:pt idx="2936">
                  <c:v>-1.7141897628529475E-2</c:v>
                </c:pt>
                <c:pt idx="2937">
                  <c:v>-1.7143234507455953E-2</c:v>
                </c:pt>
                <c:pt idx="2938">
                  <c:v>-1.7430851247478174E-2</c:v>
                </c:pt>
                <c:pt idx="2939">
                  <c:v>-1.7608101805779753E-2</c:v>
                </c:pt>
                <c:pt idx="2940">
                  <c:v>-1.807571168074263E-2</c:v>
                </c:pt>
                <c:pt idx="2941">
                  <c:v>-1.8628106640524646E-2</c:v>
                </c:pt>
                <c:pt idx="2942">
                  <c:v>-1.9256466076878476E-2</c:v>
                </c:pt>
                <c:pt idx="2943">
                  <c:v>-1.9877363100714928E-2</c:v>
                </c:pt>
                <c:pt idx="2944">
                  <c:v>-2.0262723303820618E-2</c:v>
                </c:pt>
                <c:pt idx="2945">
                  <c:v>-1.9714600352885994E-2</c:v>
                </c:pt>
                <c:pt idx="2946">
                  <c:v>-1.942183160885735E-2</c:v>
                </c:pt>
                <c:pt idx="2947">
                  <c:v>-1.9091124770922438E-2</c:v>
                </c:pt>
                <c:pt idx="2948">
                  <c:v>-1.8786955106497517E-2</c:v>
                </c:pt>
                <c:pt idx="2949">
                  <c:v>-1.8523601256892844E-2</c:v>
                </c:pt>
                <c:pt idx="2950">
                  <c:v>-1.7639251827737304E-2</c:v>
                </c:pt>
                <c:pt idx="2951">
                  <c:v>-1.685182306341719E-2</c:v>
                </c:pt>
                <c:pt idx="2952">
                  <c:v>-1.6418643599080959E-2</c:v>
                </c:pt>
                <c:pt idx="2953">
                  <c:v>-1.6723062816435433E-2</c:v>
                </c:pt>
                <c:pt idx="2954">
                  <c:v>-1.7326002072855784E-2</c:v>
                </c:pt>
                <c:pt idx="2955">
                  <c:v>-1.7842992033107293E-2</c:v>
                </c:pt>
                <c:pt idx="2956">
                  <c:v>-1.8561649436334055E-2</c:v>
                </c:pt>
                <c:pt idx="2957">
                  <c:v>-1.9250871824221683E-2</c:v>
                </c:pt>
                <c:pt idx="2958">
                  <c:v>-1.9646645992405364E-2</c:v>
                </c:pt>
                <c:pt idx="2959">
                  <c:v>-1.9758670382328817E-2</c:v>
                </c:pt>
                <c:pt idx="2960">
                  <c:v>-1.9790922212972413E-2</c:v>
                </c:pt>
                <c:pt idx="2961">
                  <c:v>-2.0015511004185589E-2</c:v>
                </c:pt>
                <c:pt idx="2962">
                  <c:v>-2.0285731263396729E-2</c:v>
                </c:pt>
                <c:pt idx="2963">
                  <c:v>-2.0646297096918377E-2</c:v>
                </c:pt>
                <c:pt idx="2964">
                  <c:v>-2.1055916897529281E-2</c:v>
                </c:pt>
                <c:pt idx="2965">
                  <c:v>-2.1275063239433505E-2</c:v>
                </c:pt>
                <c:pt idx="2966">
                  <c:v>-2.148800489453194E-2</c:v>
                </c:pt>
                <c:pt idx="2967">
                  <c:v>-2.1762828818890002E-2</c:v>
                </c:pt>
                <c:pt idx="2968">
                  <c:v>-2.0541008380833069E-2</c:v>
                </c:pt>
                <c:pt idx="2969">
                  <c:v>-1.9534427201695799E-2</c:v>
                </c:pt>
                <c:pt idx="2970">
                  <c:v>-1.86037686896122E-2</c:v>
                </c:pt>
                <c:pt idx="2971">
                  <c:v>-1.8230780143007143E-2</c:v>
                </c:pt>
                <c:pt idx="2972">
                  <c:v>-1.7681684417035416E-2</c:v>
                </c:pt>
                <c:pt idx="2973">
                  <c:v>-1.6939995025129752E-2</c:v>
                </c:pt>
                <c:pt idx="2974">
                  <c:v>-1.6494809531677913E-2</c:v>
                </c:pt>
                <c:pt idx="2975">
                  <c:v>-1.6402482564691817E-2</c:v>
                </c:pt>
                <c:pt idx="2976">
                  <c:v>-1.6293138924497616E-2</c:v>
                </c:pt>
                <c:pt idx="2977">
                  <c:v>-1.6557568876087295E-2</c:v>
                </c:pt>
                <c:pt idx="2978">
                  <c:v>-1.7130372012266852E-2</c:v>
                </c:pt>
                <c:pt idx="2979">
                  <c:v>-1.785113584812105E-2</c:v>
                </c:pt>
                <c:pt idx="2980">
                  <c:v>-1.8510518780982324E-2</c:v>
                </c:pt>
                <c:pt idx="2981">
                  <c:v>-1.8607318935375757E-2</c:v>
                </c:pt>
                <c:pt idx="2982">
                  <c:v>-1.8642587823188138E-2</c:v>
                </c:pt>
                <c:pt idx="2983">
                  <c:v>-1.8445754418945901E-2</c:v>
                </c:pt>
                <c:pt idx="2984">
                  <c:v>-1.8135420994490021E-2</c:v>
                </c:pt>
                <c:pt idx="2985">
                  <c:v>-1.7857661122888627E-2</c:v>
                </c:pt>
                <c:pt idx="2986">
                  <c:v>-1.7483457640785301E-2</c:v>
                </c:pt>
                <c:pt idx="2987">
                  <c:v>-1.7292590442022818E-2</c:v>
                </c:pt>
                <c:pt idx="2988">
                  <c:v>-1.7261110979315049E-2</c:v>
                </c:pt>
                <c:pt idx="2989">
                  <c:v>-1.7554724998048554E-2</c:v>
                </c:pt>
                <c:pt idx="2990">
                  <c:v>-1.7827736610745069E-2</c:v>
                </c:pt>
                <c:pt idx="2991">
                  <c:v>-1.7956503969600295E-2</c:v>
                </c:pt>
                <c:pt idx="2992">
                  <c:v>-1.8059326358768155E-2</c:v>
                </c:pt>
                <c:pt idx="2993">
                  <c:v>-1.7698158620946834E-2</c:v>
                </c:pt>
                <c:pt idx="2994">
                  <c:v>-1.7738358111799128E-2</c:v>
                </c:pt>
                <c:pt idx="2995">
                  <c:v>-1.7818487807582228E-2</c:v>
                </c:pt>
                <c:pt idx="2996">
                  <c:v>-1.7820840261685247E-2</c:v>
                </c:pt>
                <c:pt idx="2997">
                  <c:v>-1.7421186960761281E-2</c:v>
                </c:pt>
                <c:pt idx="2998">
                  <c:v>-1.7932644143820144E-2</c:v>
                </c:pt>
                <c:pt idx="2999">
                  <c:v>-1.8574207146523462E-2</c:v>
                </c:pt>
                <c:pt idx="3000">
                  <c:v>-1.9054000845660037E-2</c:v>
                </c:pt>
                <c:pt idx="3001">
                  <c:v>-1.8657938005443776E-2</c:v>
                </c:pt>
                <c:pt idx="3002">
                  <c:v>-1.8760032706442192E-2</c:v>
                </c:pt>
                <c:pt idx="3003">
                  <c:v>-1.9065948531090959E-2</c:v>
                </c:pt>
                <c:pt idx="3004">
                  <c:v>-1.9271224210069014E-2</c:v>
                </c:pt>
                <c:pt idx="3005">
                  <c:v>-1.8260120347395277E-2</c:v>
                </c:pt>
                <c:pt idx="3006">
                  <c:v>-1.7946239673110903E-2</c:v>
                </c:pt>
                <c:pt idx="3007">
                  <c:v>-1.7473172995911262E-2</c:v>
                </c:pt>
                <c:pt idx="3008">
                  <c:v>-1.6834773817809772E-2</c:v>
                </c:pt>
                <c:pt idx="3009">
                  <c:v>-1.5714868739978176E-2</c:v>
                </c:pt>
                <c:pt idx="3010">
                  <c:v>-1.4398056203011196E-2</c:v>
                </c:pt>
                <c:pt idx="3011">
                  <c:v>-1.3254639746120711E-2</c:v>
                </c:pt>
                <c:pt idx="3012">
                  <c:v>-1.196190262868326E-2</c:v>
                </c:pt>
                <c:pt idx="3013">
                  <c:v>-1.0916861453662944E-2</c:v>
                </c:pt>
                <c:pt idx="3014">
                  <c:v>-9.993402464583731E-3</c:v>
                </c:pt>
                <c:pt idx="3015">
                  <c:v>-9.4915561970690884E-3</c:v>
                </c:pt>
                <c:pt idx="3016">
                  <c:v>-1.016196220038049E-2</c:v>
                </c:pt>
                <c:pt idx="3017">
                  <c:v>-1.1300877687722193E-2</c:v>
                </c:pt>
                <c:pt idx="3018">
                  <c:v>-1.2076499490816611E-2</c:v>
                </c:pt>
                <c:pt idx="3019">
                  <c:v>-1.2011337037998272E-2</c:v>
                </c:pt>
                <c:pt idx="3020">
                  <c:v>-1.2035374589514329E-2</c:v>
                </c:pt>
                <c:pt idx="3021">
                  <c:v>-1.2044896966896817E-2</c:v>
                </c:pt>
                <c:pt idx="3022">
                  <c:v>-1.2000568772617789E-2</c:v>
                </c:pt>
                <c:pt idx="3023">
                  <c:v>-1.2310150506356865E-2</c:v>
                </c:pt>
                <c:pt idx="3024">
                  <c:v>-1.221360932443827E-2</c:v>
                </c:pt>
                <c:pt idx="3025">
                  <c:v>-1.2107047063775338E-2</c:v>
                </c:pt>
                <c:pt idx="3026">
                  <c:v>-1.2067787030770615E-2</c:v>
                </c:pt>
                <c:pt idx="3027">
                  <c:v>-1.229747390269488E-2</c:v>
                </c:pt>
                <c:pt idx="3028">
                  <c:v>-1.2694668768966789E-2</c:v>
                </c:pt>
                <c:pt idx="3029">
                  <c:v>-1.3346806027155033E-2</c:v>
                </c:pt>
                <c:pt idx="3030">
                  <c:v>-1.450369639849533E-2</c:v>
                </c:pt>
                <c:pt idx="3031">
                  <c:v>-1.616872147830159E-2</c:v>
                </c:pt>
                <c:pt idx="3032">
                  <c:v>-1.7431771231108034E-2</c:v>
                </c:pt>
                <c:pt idx="3033">
                  <c:v>-1.7448299886038098E-2</c:v>
                </c:pt>
                <c:pt idx="3034">
                  <c:v>-1.7486109308334368E-2</c:v>
                </c:pt>
                <c:pt idx="3035">
                  <c:v>-1.8993348653838234E-2</c:v>
                </c:pt>
                <c:pt idx="3036">
                  <c:v>-1.9428065186698248E-2</c:v>
                </c:pt>
                <c:pt idx="3037">
                  <c:v>-1.9787534291687482E-2</c:v>
                </c:pt>
                <c:pt idx="3038">
                  <c:v>-2.0324697229088723E-2</c:v>
                </c:pt>
                <c:pt idx="3039">
                  <c:v>-2.0803154233194204E-2</c:v>
                </c:pt>
                <c:pt idx="3040">
                  <c:v>-2.0502313914218626E-2</c:v>
                </c:pt>
                <c:pt idx="3041">
                  <c:v>-1.9723746093263619E-2</c:v>
                </c:pt>
                <c:pt idx="3042">
                  <c:v>-1.9142257752181348E-2</c:v>
                </c:pt>
                <c:pt idx="3043">
                  <c:v>-1.8767270862795123E-2</c:v>
                </c:pt>
                <c:pt idx="3044">
                  <c:v>-1.8710798172131303E-2</c:v>
                </c:pt>
                <c:pt idx="3045">
                  <c:v>-1.8707906441070798E-2</c:v>
                </c:pt>
                <c:pt idx="3046">
                  <c:v>-1.8636886639301735E-2</c:v>
                </c:pt>
                <c:pt idx="3047">
                  <c:v>-1.8418128185345634E-2</c:v>
                </c:pt>
                <c:pt idx="3048">
                  <c:v>-1.8150307394856624E-2</c:v>
                </c:pt>
                <c:pt idx="3049">
                  <c:v>-1.8013898086895536E-2</c:v>
                </c:pt>
                <c:pt idx="3050">
                  <c:v>-1.757720980052101E-2</c:v>
                </c:pt>
                <c:pt idx="3051">
                  <c:v>-1.709639958585147E-2</c:v>
                </c:pt>
                <c:pt idx="3052">
                  <c:v>-1.6668395249844401E-2</c:v>
                </c:pt>
                <c:pt idx="3053">
                  <c:v>-1.6188522238799501E-2</c:v>
                </c:pt>
                <c:pt idx="3054">
                  <c:v>-1.5756696336193723E-2</c:v>
                </c:pt>
                <c:pt idx="3055">
                  <c:v>-1.5377673929777944E-2</c:v>
                </c:pt>
                <c:pt idx="3056">
                  <c:v>-1.5086040518426675E-2</c:v>
                </c:pt>
                <c:pt idx="3057">
                  <c:v>-1.5020683109671855E-2</c:v>
                </c:pt>
                <c:pt idx="3058">
                  <c:v>-1.525892174671826E-2</c:v>
                </c:pt>
                <c:pt idx="3059">
                  <c:v>-1.5435866904662931E-2</c:v>
                </c:pt>
                <c:pt idx="3060">
                  <c:v>-1.5429965884726202E-2</c:v>
                </c:pt>
                <c:pt idx="3061">
                  <c:v>-1.5239248215763525E-2</c:v>
                </c:pt>
                <c:pt idx="3062">
                  <c:v>-1.5201414064086372E-2</c:v>
                </c:pt>
                <c:pt idx="3063">
                  <c:v>-1.5360089957406554E-2</c:v>
                </c:pt>
                <c:pt idx="3064">
                  <c:v>-1.5795251368939816E-2</c:v>
                </c:pt>
                <c:pt idx="3065">
                  <c:v>-1.6093613010132183E-2</c:v>
                </c:pt>
                <c:pt idx="3066">
                  <c:v>-1.6291126930605093E-2</c:v>
                </c:pt>
                <c:pt idx="3067">
                  <c:v>-1.6581824437431759E-2</c:v>
                </c:pt>
                <c:pt idx="3068">
                  <c:v>-1.6849134432010665E-2</c:v>
                </c:pt>
                <c:pt idx="3069">
                  <c:v>-1.7071034267469667E-2</c:v>
                </c:pt>
                <c:pt idx="3070">
                  <c:v>-1.7906962673320828E-2</c:v>
                </c:pt>
                <c:pt idx="3071">
                  <c:v>-1.8867075673872288E-2</c:v>
                </c:pt>
                <c:pt idx="3072">
                  <c:v>-1.9991145999854035E-2</c:v>
                </c:pt>
                <c:pt idx="3073">
                  <c:v>-2.0855272083477275E-2</c:v>
                </c:pt>
                <c:pt idx="3074">
                  <c:v>-2.1768300010508342E-2</c:v>
                </c:pt>
                <c:pt idx="3075">
                  <c:v>-2.2513487752661196E-2</c:v>
                </c:pt>
                <c:pt idx="3076">
                  <c:v>-2.3117033135631532E-2</c:v>
                </c:pt>
                <c:pt idx="3077">
                  <c:v>-2.3369407595077309E-2</c:v>
                </c:pt>
                <c:pt idx="3078">
                  <c:v>-2.3570661772123608E-2</c:v>
                </c:pt>
                <c:pt idx="3079">
                  <c:v>-2.3649855655037494E-2</c:v>
                </c:pt>
                <c:pt idx="3080">
                  <c:v>-2.3552581156657384E-2</c:v>
                </c:pt>
                <c:pt idx="3081">
                  <c:v>-2.3271138143730673E-2</c:v>
                </c:pt>
                <c:pt idx="3082">
                  <c:v>-2.2873702120464495E-2</c:v>
                </c:pt>
                <c:pt idx="3083">
                  <c:v>-2.2475410402991176E-2</c:v>
                </c:pt>
                <c:pt idx="3084">
                  <c:v>-2.2256305301050772E-2</c:v>
                </c:pt>
                <c:pt idx="3085">
                  <c:v>-2.2066338099115946E-2</c:v>
                </c:pt>
                <c:pt idx="3086">
                  <c:v>-2.1656088107594014E-2</c:v>
                </c:pt>
                <c:pt idx="3087">
                  <c:v>-2.0841242106792536E-2</c:v>
                </c:pt>
                <c:pt idx="3088">
                  <c:v>-1.9635476636912067E-2</c:v>
                </c:pt>
                <c:pt idx="3089">
                  <c:v>-1.8150276287362779E-2</c:v>
                </c:pt>
                <c:pt idx="3090">
                  <c:v>-1.7001228786746352E-2</c:v>
                </c:pt>
                <c:pt idx="3091">
                  <c:v>-1.6584425873232413E-2</c:v>
                </c:pt>
                <c:pt idx="3092">
                  <c:v>-1.6542770597383419E-2</c:v>
                </c:pt>
                <c:pt idx="3093">
                  <c:v>-1.6515730790120982E-2</c:v>
                </c:pt>
                <c:pt idx="3094">
                  <c:v>-1.6452223207715024E-2</c:v>
                </c:pt>
                <c:pt idx="3095">
                  <c:v>-1.6464733809117286E-2</c:v>
                </c:pt>
                <c:pt idx="3096">
                  <c:v>-1.6450629228496803E-2</c:v>
                </c:pt>
                <c:pt idx="3097">
                  <c:v>-1.6521052611691942E-2</c:v>
                </c:pt>
                <c:pt idx="3098">
                  <c:v>-1.6489901592943151E-2</c:v>
                </c:pt>
                <c:pt idx="3099">
                  <c:v>-1.6571935654373281E-2</c:v>
                </c:pt>
                <c:pt idx="3100">
                  <c:v>-1.6706391865298108E-2</c:v>
                </c:pt>
                <c:pt idx="3101">
                  <c:v>-1.7084641174478048E-2</c:v>
                </c:pt>
                <c:pt idx="3102">
                  <c:v>-1.6665336489279124E-2</c:v>
                </c:pt>
                <c:pt idx="3103">
                  <c:v>-1.6302019575320435E-2</c:v>
                </c:pt>
                <c:pt idx="3104">
                  <c:v>-1.6255821135769788E-2</c:v>
                </c:pt>
                <c:pt idx="3105">
                  <c:v>-1.6766496048866819E-2</c:v>
                </c:pt>
                <c:pt idx="3106">
                  <c:v>-1.7574541532226009E-2</c:v>
                </c:pt>
                <c:pt idx="3107">
                  <c:v>-1.7714042350987939E-2</c:v>
                </c:pt>
                <c:pt idx="3108">
                  <c:v>-1.8161931407403291E-2</c:v>
                </c:pt>
                <c:pt idx="3109">
                  <c:v>-1.8501760453834025E-2</c:v>
                </c:pt>
                <c:pt idx="3110">
                  <c:v>-1.8805518213240124E-2</c:v>
                </c:pt>
                <c:pt idx="3111">
                  <c:v>-1.8942788132133813E-2</c:v>
                </c:pt>
                <c:pt idx="3112">
                  <c:v>-1.8972856995223102E-2</c:v>
                </c:pt>
                <c:pt idx="3113">
                  <c:v>-1.9121288833897562E-2</c:v>
                </c:pt>
                <c:pt idx="3114">
                  <c:v>-1.9348179995910847E-2</c:v>
                </c:pt>
                <c:pt idx="3115">
                  <c:v>-1.9580447433950945E-2</c:v>
                </c:pt>
                <c:pt idx="3116">
                  <c:v>-1.9751875824951293E-2</c:v>
                </c:pt>
                <c:pt idx="3117">
                  <c:v>-1.9888406675597693E-2</c:v>
                </c:pt>
                <c:pt idx="3118">
                  <c:v>-2.004178299326342E-2</c:v>
                </c:pt>
                <c:pt idx="3119">
                  <c:v>-2.0301724726197456E-2</c:v>
                </c:pt>
                <c:pt idx="3120">
                  <c:v>-2.0448948451132917E-2</c:v>
                </c:pt>
                <c:pt idx="3121">
                  <c:v>-2.0519220347493695E-2</c:v>
                </c:pt>
                <c:pt idx="3122">
                  <c:v>-2.0494555925757628E-2</c:v>
                </c:pt>
                <c:pt idx="3123">
                  <c:v>-2.0547549286557117E-2</c:v>
                </c:pt>
                <c:pt idx="3124">
                  <c:v>-2.0646216506029953E-2</c:v>
                </c:pt>
                <c:pt idx="3125">
                  <c:v>-2.0619106129318783E-2</c:v>
                </c:pt>
                <c:pt idx="3126">
                  <c:v>-2.0610926967283276E-2</c:v>
                </c:pt>
                <c:pt idx="3127">
                  <c:v>-2.055442348290441E-2</c:v>
                </c:pt>
                <c:pt idx="3128">
                  <c:v>-2.0816199497220161E-2</c:v>
                </c:pt>
                <c:pt idx="3129">
                  <c:v>-2.1134842070549203E-2</c:v>
                </c:pt>
                <c:pt idx="3130">
                  <c:v>-2.1435265651874827E-2</c:v>
                </c:pt>
                <c:pt idx="3131">
                  <c:v>-2.1498398073508847E-2</c:v>
                </c:pt>
                <c:pt idx="3132">
                  <c:v>-2.1996439192714545E-2</c:v>
                </c:pt>
                <c:pt idx="3133">
                  <c:v>-2.2636965994505244E-2</c:v>
                </c:pt>
                <c:pt idx="3134">
                  <c:v>-2.3237213469410142E-2</c:v>
                </c:pt>
                <c:pt idx="3135">
                  <c:v>-2.3435801941862379E-2</c:v>
                </c:pt>
                <c:pt idx="3136">
                  <c:v>-2.331496881830554E-2</c:v>
                </c:pt>
                <c:pt idx="3137">
                  <c:v>-2.3370227894489531E-2</c:v>
                </c:pt>
                <c:pt idx="3138">
                  <c:v>-2.2782355324195321E-2</c:v>
                </c:pt>
                <c:pt idx="3139">
                  <c:v>-2.2873644176649333E-2</c:v>
                </c:pt>
                <c:pt idx="3140">
                  <c:v>-2.2979263955219216E-2</c:v>
                </c:pt>
                <c:pt idx="3141">
                  <c:v>-2.3220100384563735E-2</c:v>
                </c:pt>
                <c:pt idx="3142">
                  <c:v>-2.3329973215073532E-2</c:v>
                </c:pt>
                <c:pt idx="3143">
                  <c:v>-2.2973843257422029E-2</c:v>
                </c:pt>
                <c:pt idx="3144">
                  <c:v>-2.21330519598541E-2</c:v>
                </c:pt>
                <c:pt idx="3145">
                  <c:v>-2.1848053543107739E-2</c:v>
                </c:pt>
                <c:pt idx="3146">
                  <c:v>-2.1810785392268578E-2</c:v>
                </c:pt>
                <c:pt idx="3147">
                  <c:v>-2.1856053373946513E-2</c:v>
                </c:pt>
                <c:pt idx="3148">
                  <c:v>-2.1655423907537302E-2</c:v>
                </c:pt>
                <c:pt idx="3149">
                  <c:v>-2.1533899045172014E-2</c:v>
                </c:pt>
                <c:pt idx="3150">
                  <c:v>-2.1260310633373976E-2</c:v>
                </c:pt>
                <c:pt idx="3151">
                  <c:v>-2.093547622996491E-2</c:v>
                </c:pt>
                <c:pt idx="3152">
                  <c:v>-2.057759625800348E-2</c:v>
                </c:pt>
                <c:pt idx="3153">
                  <c:v>-2.0270707856569845E-2</c:v>
                </c:pt>
                <c:pt idx="3154">
                  <c:v>-2.0028950012609889E-2</c:v>
                </c:pt>
                <c:pt idx="3155">
                  <c:v>-1.9740257120210117E-2</c:v>
                </c:pt>
                <c:pt idx="3156">
                  <c:v>-1.9515722007845251E-2</c:v>
                </c:pt>
                <c:pt idx="3157">
                  <c:v>-1.9353340501900421E-2</c:v>
                </c:pt>
                <c:pt idx="3158">
                  <c:v>-1.8918329124658649E-2</c:v>
                </c:pt>
                <c:pt idx="3159">
                  <c:v>-1.855476751647913E-2</c:v>
                </c:pt>
                <c:pt idx="3160">
                  <c:v>-1.8185555262858224E-2</c:v>
                </c:pt>
                <c:pt idx="3161">
                  <c:v>-1.8406070930099494E-2</c:v>
                </c:pt>
                <c:pt idx="3162">
                  <c:v>-1.8779305321842563E-2</c:v>
                </c:pt>
                <c:pt idx="3163">
                  <c:v>-1.9113468151694065E-2</c:v>
                </c:pt>
                <c:pt idx="3164">
                  <c:v>-1.9319465371057908E-2</c:v>
                </c:pt>
                <c:pt idx="3165">
                  <c:v>-1.9562720985779616E-2</c:v>
                </c:pt>
                <c:pt idx="3166">
                  <c:v>-1.9697794943195228E-2</c:v>
                </c:pt>
                <c:pt idx="3167">
                  <c:v>-1.9723150198697484E-2</c:v>
                </c:pt>
                <c:pt idx="3168">
                  <c:v>-1.9853028647580512E-2</c:v>
                </c:pt>
                <c:pt idx="3169">
                  <c:v>-1.9706380639671301E-2</c:v>
                </c:pt>
                <c:pt idx="3170">
                  <c:v>-1.9590426941147397E-2</c:v>
                </c:pt>
                <c:pt idx="3171">
                  <c:v>-1.9486670233529204E-2</c:v>
                </c:pt>
                <c:pt idx="3172">
                  <c:v>-1.9530811955844513E-2</c:v>
                </c:pt>
                <c:pt idx="3173">
                  <c:v>-2.0179567011481762E-2</c:v>
                </c:pt>
                <c:pt idx="3174">
                  <c:v>-2.1561926242596494E-2</c:v>
                </c:pt>
                <c:pt idx="3175">
                  <c:v>-2.218335332232186E-2</c:v>
                </c:pt>
                <c:pt idx="3176">
                  <c:v>-2.2716062014002607E-2</c:v>
                </c:pt>
                <c:pt idx="3177">
                  <c:v>-2.2918792131976687E-2</c:v>
                </c:pt>
                <c:pt idx="3178">
                  <c:v>-2.1875773438920304E-2</c:v>
                </c:pt>
                <c:pt idx="3179">
                  <c:v>-2.2095774759257496E-2</c:v>
                </c:pt>
                <c:pt idx="3180">
                  <c:v>-2.2453845565703567E-2</c:v>
                </c:pt>
                <c:pt idx="3181">
                  <c:v>-2.2016585085077457E-2</c:v>
                </c:pt>
                <c:pt idx="3182">
                  <c:v>-2.0802863866342537E-2</c:v>
                </c:pt>
                <c:pt idx="3183">
                  <c:v>-1.9914784533917269E-2</c:v>
                </c:pt>
                <c:pt idx="3184">
                  <c:v>-1.9245936196412856E-2</c:v>
                </c:pt>
                <c:pt idx="3185">
                  <c:v>-1.8880750701006352E-2</c:v>
                </c:pt>
                <c:pt idx="3186">
                  <c:v>-1.8777717266914282E-2</c:v>
                </c:pt>
                <c:pt idx="3187">
                  <c:v>-1.9094720590130107E-2</c:v>
                </c:pt>
                <c:pt idx="3188">
                  <c:v>-1.9325159396125578E-2</c:v>
                </c:pt>
                <c:pt idx="3189">
                  <c:v>-1.934786119415571E-2</c:v>
                </c:pt>
                <c:pt idx="3190">
                  <c:v>-1.9167850966209536E-2</c:v>
                </c:pt>
                <c:pt idx="3191">
                  <c:v>-1.8630172056977264E-2</c:v>
                </c:pt>
                <c:pt idx="3192">
                  <c:v>-1.7958097142701104E-2</c:v>
                </c:pt>
                <c:pt idx="3193">
                  <c:v>-1.7302176829831858E-2</c:v>
                </c:pt>
                <c:pt idx="3194">
                  <c:v>-1.6804203398995157E-2</c:v>
                </c:pt>
                <c:pt idx="3195">
                  <c:v>-1.6383643698143237E-2</c:v>
                </c:pt>
                <c:pt idx="3196">
                  <c:v>-1.6114216489737793E-2</c:v>
                </c:pt>
                <c:pt idx="3197">
                  <c:v>-1.5910204266985094E-2</c:v>
                </c:pt>
                <c:pt idx="3198">
                  <c:v>-1.5967573673708643E-2</c:v>
                </c:pt>
                <c:pt idx="3199">
                  <c:v>-1.597400569928191E-2</c:v>
                </c:pt>
                <c:pt idx="3200">
                  <c:v>-1.6008794276249946E-2</c:v>
                </c:pt>
                <c:pt idx="3201">
                  <c:v>-1.6066464470630218E-2</c:v>
                </c:pt>
                <c:pt idx="3202">
                  <c:v>-1.6154677989413217E-2</c:v>
                </c:pt>
                <c:pt idx="3203">
                  <c:v>-1.653920500332836E-2</c:v>
                </c:pt>
                <c:pt idx="3204">
                  <c:v>-1.6915438127094451E-2</c:v>
                </c:pt>
                <c:pt idx="3205">
                  <c:v>-1.721276651661803E-2</c:v>
                </c:pt>
                <c:pt idx="3206">
                  <c:v>-1.7038475888416747E-2</c:v>
                </c:pt>
                <c:pt idx="3207">
                  <c:v>-1.668331938427433E-2</c:v>
                </c:pt>
                <c:pt idx="3208">
                  <c:v>-1.6415233579771024E-2</c:v>
                </c:pt>
                <c:pt idx="3209">
                  <c:v>-1.5453052126024247E-2</c:v>
                </c:pt>
                <c:pt idx="3210">
                  <c:v>-1.4522619037005441E-2</c:v>
                </c:pt>
                <c:pt idx="3211">
                  <c:v>-1.4124786152209625E-2</c:v>
                </c:pt>
                <c:pt idx="3212">
                  <c:v>-1.4852867186208268E-2</c:v>
                </c:pt>
                <c:pt idx="3213">
                  <c:v>-1.5932917090875822E-2</c:v>
                </c:pt>
                <c:pt idx="3214">
                  <c:v>-1.7229378288351475E-2</c:v>
                </c:pt>
                <c:pt idx="3215">
                  <c:v>-1.8365978846551275E-2</c:v>
                </c:pt>
                <c:pt idx="3216">
                  <c:v>-1.9262285244000778E-2</c:v>
                </c:pt>
                <c:pt idx="3217">
                  <c:v>-1.8499381599941557E-2</c:v>
                </c:pt>
                <c:pt idx="3218">
                  <c:v>-1.7090116682945571E-2</c:v>
                </c:pt>
                <c:pt idx="3219">
                  <c:v>-1.6359853874462177E-2</c:v>
                </c:pt>
                <c:pt idx="3220">
                  <c:v>-1.6090274371137768E-2</c:v>
                </c:pt>
                <c:pt idx="3221">
                  <c:v>-1.5118234869333691E-2</c:v>
                </c:pt>
                <c:pt idx="3222">
                  <c:v>-1.5247560422661937E-2</c:v>
                </c:pt>
                <c:pt idx="3223">
                  <c:v>-1.5399747883009239E-2</c:v>
                </c:pt>
                <c:pt idx="3224">
                  <c:v>-1.5391836847772756E-2</c:v>
                </c:pt>
                <c:pt idx="3225">
                  <c:v>-1.5308402631484152E-2</c:v>
                </c:pt>
                <c:pt idx="3226">
                  <c:v>-1.5243892404346456E-2</c:v>
                </c:pt>
                <c:pt idx="3227">
                  <c:v>-1.5300320406261E-2</c:v>
                </c:pt>
                <c:pt idx="3228">
                  <c:v>-1.5881135628551507E-2</c:v>
                </c:pt>
                <c:pt idx="3229">
                  <c:v>-1.6719351135843323E-2</c:v>
                </c:pt>
                <c:pt idx="3230">
                  <c:v>-1.7514038371008164E-2</c:v>
                </c:pt>
                <c:pt idx="3231">
                  <c:v>-1.7107073178834913E-2</c:v>
                </c:pt>
                <c:pt idx="3232">
                  <c:v>-1.7718234340447954E-2</c:v>
                </c:pt>
                <c:pt idx="3233">
                  <c:v>-1.8017362013750773E-2</c:v>
                </c:pt>
                <c:pt idx="3234">
                  <c:v>-1.8368810363007745E-2</c:v>
                </c:pt>
                <c:pt idx="3235">
                  <c:v>-1.8598755029375393E-2</c:v>
                </c:pt>
                <c:pt idx="3236">
                  <c:v>-1.8719627649070508E-2</c:v>
                </c:pt>
                <c:pt idx="3237">
                  <c:v>-1.8648635144684546E-2</c:v>
                </c:pt>
                <c:pt idx="3238">
                  <c:v>-1.8516523065009366E-2</c:v>
                </c:pt>
                <c:pt idx="3239">
                  <c:v>-1.8623639994912768E-2</c:v>
                </c:pt>
                <c:pt idx="3240">
                  <c:v>-1.8759578899333253E-2</c:v>
                </c:pt>
                <c:pt idx="3241">
                  <c:v>-1.8759748425359504E-2</c:v>
                </c:pt>
                <c:pt idx="3242">
                  <c:v>-1.8589764808648539E-2</c:v>
                </c:pt>
                <c:pt idx="3243">
                  <c:v>-1.8680014510389163E-2</c:v>
                </c:pt>
                <c:pt idx="3244">
                  <c:v>-1.8771988493394377E-2</c:v>
                </c:pt>
                <c:pt idx="3245">
                  <c:v>-1.822509701453489E-2</c:v>
                </c:pt>
                <c:pt idx="3246">
                  <c:v>-1.7332447016472539E-2</c:v>
                </c:pt>
                <c:pt idx="3247">
                  <c:v>-1.664523775847316E-2</c:v>
                </c:pt>
                <c:pt idx="3248">
                  <c:v>-1.6319479067882919E-2</c:v>
                </c:pt>
                <c:pt idx="3249">
                  <c:v>-1.5840826387823505E-2</c:v>
                </c:pt>
                <c:pt idx="3250">
                  <c:v>-1.5630325916675028E-2</c:v>
                </c:pt>
                <c:pt idx="3251">
                  <c:v>-1.5561127830053728E-2</c:v>
                </c:pt>
                <c:pt idx="3252">
                  <c:v>-1.5126206019177406E-2</c:v>
                </c:pt>
                <c:pt idx="3253">
                  <c:v>-1.4658231505044297E-2</c:v>
                </c:pt>
                <c:pt idx="3254">
                  <c:v>-1.4327428771133341E-2</c:v>
                </c:pt>
                <c:pt idx="3255">
                  <c:v>-1.4164902174025234E-2</c:v>
                </c:pt>
                <c:pt idx="3256">
                  <c:v>-1.4034671322759215E-2</c:v>
                </c:pt>
                <c:pt idx="3257">
                  <c:v>-1.4040567468235069E-2</c:v>
                </c:pt>
                <c:pt idx="3258">
                  <c:v>-1.4105601551897495E-2</c:v>
                </c:pt>
                <c:pt idx="3259">
                  <c:v>-1.4094859217943793E-2</c:v>
                </c:pt>
                <c:pt idx="3260">
                  <c:v>-1.4142225603506094E-2</c:v>
                </c:pt>
                <c:pt idx="3261">
                  <c:v>-1.4308153062727213E-2</c:v>
                </c:pt>
                <c:pt idx="3262">
                  <c:v>-1.4233151632665954E-2</c:v>
                </c:pt>
                <c:pt idx="3263">
                  <c:v>-1.4611332016632003E-2</c:v>
                </c:pt>
                <c:pt idx="3264">
                  <c:v>-1.5090625699589829E-2</c:v>
                </c:pt>
                <c:pt idx="3265">
                  <c:v>-1.3836466069639579E-2</c:v>
                </c:pt>
                <c:pt idx="3266">
                  <c:v>-1.3037168132896314E-2</c:v>
                </c:pt>
                <c:pt idx="3267">
                  <c:v>-1.2440123408604618E-2</c:v>
                </c:pt>
                <c:pt idx="3268">
                  <c:v>-1.2115100267606083E-2</c:v>
                </c:pt>
                <c:pt idx="3269">
                  <c:v>-1.1797134922571739E-2</c:v>
                </c:pt>
                <c:pt idx="3270">
                  <c:v>-1.1657929141593824E-2</c:v>
                </c:pt>
                <c:pt idx="3271">
                  <c:v>-1.1603076784686793E-2</c:v>
                </c:pt>
                <c:pt idx="3272">
                  <c:v>-1.1305127692299731E-2</c:v>
                </c:pt>
                <c:pt idx="3273">
                  <c:v>-1.0129248729258179E-2</c:v>
                </c:pt>
                <c:pt idx="3274">
                  <c:v>-8.7683012363163285E-3</c:v>
                </c:pt>
                <c:pt idx="3275">
                  <c:v>-7.3903694565060985E-3</c:v>
                </c:pt>
                <c:pt idx="3276">
                  <c:v>-7.0855709280224629E-3</c:v>
                </c:pt>
                <c:pt idx="3277">
                  <c:v>-8.2927843295376308E-3</c:v>
                </c:pt>
                <c:pt idx="3278">
                  <c:v>-9.8083144697629545E-3</c:v>
                </c:pt>
                <c:pt idx="3279">
                  <c:v>-1.22956229742399E-2</c:v>
                </c:pt>
                <c:pt idx="3280">
                  <c:v>-1.4433929439877901E-2</c:v>
                </c:pt>
                <c:pt idx="3281">
                  <c:v>-1.4913455778611834E-2</c:v>
                </c:pt>
                <c:pt idx="3282">
                  <c:v>-1.4890129726285402E-2</c:v>
                </c:pt>
                <c:pt idx="3283">
                  <c:v>-1.4550438464065507E-2</c:v>
                </c:pt>
                <c:pt idx="3284">
                  <c:v>-1.4425506983778558E-2</c:v>
                </c:pt>
                <c:pt idx="3285">
                  <c:v>-1.4159165151455615E-2</c:v>
                </c:pt>
                <c:pt idx="3286">
                  <c:v>-1.3922060895580672E-2</c:v>
                </c:pt>
                <c:pt idx="3287">
                  <c:v>-1.3802306576303033E-2</c:v>
                </c:pt>
                <c:pt idx="3288">
                  <c:v>-1.3369347470250018E-2</c:v>
                </c:pt>
                <c:pt idx="3289">
                  <c:v>-1.3363410284679427E-2</c:v>
                </c:pt>
                <c:pt idx="3290">
                  <c:v>-1.3517444870916743E-2</c:v>
                </c:pt>
                <c:pt idx="3291">
                  <c:v>-1.3702495313420285E-2</c:v>
                </c:pt>
                <c:pt idx="3292">
                  <c:v>-1.3683832398334744E-2</c:v>
                </c:pt>
                <c:pt idx="3293">
                  <c:v>-1.3246079951896975E-2</c:v>
                </c:pt>
                <c:pt idx="3294">
                  <c:v>-1.2587388451331984E-2</c:v>
                </c:pt>
                <c:pt idx="3295">
                  <c:v>-1.3160919773831145E-2</c:v>
                </c:pt>
                <c:pt idx="3296">
                  <c:v>-1.3649974097037092E-2</c:v>
                </c:pt>
                <c:pt idx="3297">
                  <c:v>-1.4182242833480192E-2</c:v>
                </c:pt>
                <c:pt idx="3298">
                  <c:v>-1.4536437523494074E-2</c:v>
                </c:pt>
                <c:pt idx="3299">
                  <c:v>-1.4935777608390271E-2</c:v>
                </c:pt>
                <c:pt idx="3300">
                  <c:v>-1.5156915159557874E-2</c:v>
                </c:pt>
                <c:pt idx="3301">
                  <c:v>-1.5181048952928457E-2</c:v>
                </c:pt>
                <c:pt idx="3302">
                  <c:v>-1.5152049514018703E-2</c:v>
                </c:pt>
                <c:pt idx="3303">
                  <c:v>-1.4941748388497109E-2</c:v>
                </c:pt>
                <c:pt idx="3304">
                  <c:v>-1.4632672744628084E-2</c:v>
                </c:pt>
                <c:pt idx="3305">
                  <c:v>-1.4052237948096569E-2</c:v>
                </c:pt>
                <c:pt idx="3306">
                  <c:v>-1.3627465474225173E-2</c:v>
                </c:pt>
                <c:pt idx="3307">
                  <c:v>-1.4250071229464097E-2</c:v>
                </c:pt>
                <c:pt idx="3308">
                  <c:v>-1.4840217707919608E-2</c:v>
                </c:pt>
                <c:pt idx="3309">
                  <c:v>-1.4845912757986723E-2</c:v>
                </c:pt>
                <c:pt idx="3310">
                  <c:v>-1.4702754314283365E-2</c:v>
                </c:pt>
                <c:pt idx="3311">
                  <c:v>-1.4722810849260443E-2</c:v>
                </c:pt>
                <c:pt idx="3312">
                  <c:v>-1.4697256272440354E-2</c:v>
                </c:pt>
                <c:pt idx="3313">
                  <c:v>-1.4782194171319381E-2</c:v>
                </c:pt>
                <c:pt idx="3314">
                  <c:v>-1.482554859780697E-2</c:v>
                </c:pt>
                <c:pt idx="3315">
                  <c:v>-1.5052559537480151E-2</c:v>
                </c:pt>
                <c:pt idx="3316">
                  <c:v>-1.5503005098010685E-2</c:v>
                </c:pt>
                <c:pt idx="3317">
                  <c:v>-1.6225279522694636E-2</c:v>
                </c:pt>
                <c:pt idx="3318">
                  <c:v>-1.7574086195513268E-2</c:v>
                </c:pt>
                <c:pt idx="3319">
                  <c:v>-1.8483645009822816E-2</c:v>
                </c:pt>
                <c:pt idx="3320">
                  <c:v>-1.8931650536375522E-2</c:v>
                </c:pt>
                <c:pt idx="3321">
                  <c:v>-1.923284380089552E-2</c:v>
                </c:pt>
                <c:pt idx="3322">
                  <c:v>-1.9426159491805269E-2</c:v>
                </c:pt>
                <c:pt idx="3323">
                  <c:v>-2.0021733203179373E-2</c:v>
                </c:pt>
                <c:pt idx="3324">
                  <c:v>-2.0434383591616846E-2</c:v>
                </c:pt>
                <c:pt idx="3325">
                  <c:v>-2.0702152978499064E-2</c:v>
                </c:pt>
                <c:pt idx="3326">
                  <c:v>-2.0929913605836768E-2</c:v>
                </c:pt>
                <c:pt idx="3327">
                  <c:v>-2.1030450154692688E-2</c:v>
                </c:pt>
                <c:pt idx="3328">
                  <c:v>-2.0938877443336605E-2</c:v>
                </c:pt>
                <c:pt idx="3329">
                  <c:v>-2.0879254537840175E-2</c:v>
                </c:pt>
                <c:pt idx="3330">
                  <c:v>-2.0903140030902601E-2</c:v>
                </c:pt>
                <c:pt idx="3331">
                  <c:v>-2.0944872406649891E-2</c:v>
                </c:pt>
                <c:pt idx="3332">
                  <c:v>-2.1131410145118337E-2</c:v>
                </c:pt>
                <c:pt idx="3333">
                  <c:v>-2.1753776487488628E-2</c:v>
                </c:pt>
                <c:pt idx="3334">
                  <c:v>-2.2410885280563148E-2</c:v>
                </c:pt>
                <c:pt idx="3335">
                  <c:v>-2.3318929445736471E-2</c:v>
                </c:pt>
                <c:pt idx="3336">
                  <c:v>-2.4251494480571251E-2</c:v>
                </c:pt>
                <c:pt idx="3337">
                  <c:v>-2.4150726137105408E-2</c:v>
                </c:pt>
                <c:pt idx="3338">
                  <c:v>-2.3882815242124662E-2</c:v>
                </c:pt>
                <c:pt idx="3339">
                  <c:v>-2.368329519430741E-2</c:v>
                </c:pt>
                <c:pt idx="3340">
                  <c:v>-2.3421559904968414E-2</c:v>
                </c:pt>
                <c:pt idx="3341">
                  <c:v>-2.3060232494660847E-2</c:v>
                </c:pt>
                <c:pt idx="3342">
                  <c:v>-2.3185426762445876E-2</c:v>
                </c:pt>
                <c:pt idx="3343">
                  <c:v>-2.3273568623451077E-2</c:v>
                </c:pt>
                <c:pt idx="3344">
                  <c:v>-2.3463270651633537E-2</c:v>
                </c:pt>
                <c:pt idx="3345">
                  <c:v>-2.357429250637099E-2</c:v>
                </c:pt>
                <c:pt idx="3346">
                  <c:v>-2.3538676321163222E-2</c:v>
                </c:pt>
                <c:pt idx="3347">
                  <c:v>-2.3468408373006001E-2</c:v>
                </c:pt>
                <c:pt idx="3348">
                  <c:v>-2.3222363201761499E-2</c:v>
                </c:pt>
                <c:pt idx="3349">
                  <c:v>-2.3031455310247119E-2</c:v>
                </c:pt>
                <c:pt idx="3350">
                  <c:v>-2.2886657053173901E-2</c:v>
                </c:pt>
                <c:pt idx="3351">
                  <c:v>-2.2758054040648332E-2</c:v>
                </c:pt>
                <c:pt idx="3352">
                  <c:v>-2.3006952799265221E-2</c:v>
                </c:pt>
                <c:pt idx="3353">
                  <c:v>-2.3194099012881254E-2</c:v>
                </c:pt>
                <c:pt idx="3354">
                  <c:v>-2.3109832939923088E-2</c:v>
                </c:pt>
                <c:pt idx="3355">
                  <c:v>-2.2773493642586032E-2</c:v>
                </c:pt>
                <c:pt idx="3356">
                  <c:v>-2.243502314434833E-2</c:v>
                </c:pt>
                <c:pt idx="3357">
                  <c:v>-2.2226555703824209E-2</c:v>
                </c:pt>
                <c:pt idx="3358">
                  <c:v>-2.253179513240073E-2</c:v>
                </c:pt>
                <c:pt idx="3359">
                  <c:v>-2.2829558132247449E-2</c:v>
                </c:pt>
                <c:pt idx="3360">
                  <c:v>-2.3165496440514001E-2</c:v>
                </c:pt>
                <c:pt idx="3361">
                  <c:v>-2.3275396672583201E-2</c:v>
                </c:pt>
                <c:pt idx="3362">
                  <c:v>-2.2946027889936625E-2</c:v>
                </c:pt>
                <c:pt idx="3363">
                  <c:v>-2.2298250074196786E-2</c:v>
                </c:pt>
                <c:pt idx="3364">
                  <c:v>-2.1686326466662166E-2</c:v>
                </c:pt>
                <c:pt idx="3365">
                  <c:v>-2.1253056108647854E-2</c:v>
                </c:pt>
                <c:pt idx="3366">
                  <c:v>-2.1535344299536428E-2</c:v>
                </c:pt>
                <c:pt idx="3367">
                  <c:v>-2.175895907997942E-2</c:v>
                </c:pt>
                <c:pt idx="3368">
                  <c:v>-2.1948898839931369E-2</c:v>
                </c:pt>
                <c:pt idx="3369">
                  <c:v>-2.1986014263967325E-2</c:v>
                </c:pt>
                <c:pt idx="3370">
                  <c:v>-2.2005961634574238E-2</c:v>
                </c:pt>
                <c:pt idx="3371">
                  <c:v>-2.1966176545428012E-2</c:v>
                </c:pt>
                <c:pt idx="3372">
                  <c:v>-2.1656253774922404E-2</c:v>
                </c:pt>
                <c:pt idx="3373">
                  <c:v>-2.1334867767388618E-2</c:v>
                </c:pt>
                <c:pt idx="3374">
                  <c:v>-2.1229090943564392E-2</c:v>
                </c:pt>
                <c:pt idx="3375">
                  <c:v>-2.1186261099347872E-2</c:v>
                </c:pt>
                <c:pt idx="3376">
                  <c:v>-2.1089428503750486E-2</c:v>
                </c:pt>
                <c:pt idx="3377">
                  <c:v>-2.0810928437157563E-2</c:v>
                </c:pt>
                <c:pt idx="3378">
                  <c:v>-2.059823273613192E-2</c:v>
                </c:pt>
                <c:pt idx="3379">
                  <c:v>-2.0413137025460965E-2</c:v>
                </c:pt>
                <c:pt idx="3380">
                  <c:v>-2.0164220138090622E-2</c:v>
                </c:pt>
                <c:pt idx="3381">
                  <c:v>-2.0023236757863272E-2</c:v>
                </c:pt>
                <c:pt idx="3382">
                  <c:v>-1.9979537321537951E-2</c:v>
                </c:pt>
                <c:pt idx="3383">
                  <c:v>-1.9990299262346106E-2</c:v>
                </c:pt>
                <c:pt idx="3384">
                  <c:v>-2.0056064382518446E-2</c:v>
                </c:pt>
                <c:pt idx="3385">
                  <c:v>-2.0109480675410855E-2</c:v>
                </c:pt>
                <c:pt idx="3386">
                  <c:v>-2.0128631858349025E-2</c:v>
                </c:pt>
                <c:pt idx="3387">
                  <c:v>-2.0093090418015502E-2</c:v>
                </c:pt>
                <c:pt idx="3388">
                  <c:v>-1.9870741609927366E-2</c:v>
                </c:pt>
                <c:pt idx="3389">
                  <c:v>-1.9612106117978551E-2</c:v>
                </c:pt>
                <c:pt idx="3390">
                  <c:v>-1.9188522744690344E-2</c:v>
                </c:pt>
                <c:pt idx="3391">
                  <c:v>-1.8742557919218639E-2</c:v>
                </c:pt>
                <c:pt idx="3392">
                  <c:v>-1.8677826071327466E-2</c:v>
                </c:pt>
                <c:pt idx="3393">
                  <c:v>-1.8968964945269763E-2</c:v>
                </c:pt>
                <c:pt idx="3394">
                  <c:v>-1.9254628611971768E-2</c:v>
                </c:pt>
                <c:pt idx="3395">
                  <c:v>-1.9483026028160953E-2</c:v>
                </c:pt>
                <c:pt idx="3396">
                  <c:v>-1.8980302934362259E-2</c:v>
                </c:pt>
                <c:pt idx="3397">
                  <c:v>-1.8303707609825547E-2</c:v>
                </c:pt>
                <c:pt idx="3398">
                  <c:v>-1.7515298753365882E-2</c:v>
                </c:pt>
                <c:pt idx="3399">
                  <c:v>-1.6854910313527576E-2</c:v>
                </c:pt>
                <c:pt idx="3400">
                  <c:v>-1.6005038634921392E-2</c:v>
                </c:pt>
                <c:pt idx="3401">
                  <c:v>-1.5807967961758842E-2</c:v>
                </c:pt>
                <c:pt idx="3402">
                  <c:v>-1.6402062898914747E-2</c:v>
                </c:pt>
                <c:pt idx="3403">
                  <c:v>-1.7093939835185482E-2</c:v>
                </c:pt>
                <c:pt idx="3404">
                  <c:v>-1.7291528330676792E-2</c:v>
                </c:pt>
                <c:pt idx="3405">
                  <c:v>-1.7232274697192889E-2</c:v>
                </c:pt>
                <c:pt idx="3406">
                  <c:v>-1.6888480584307943E-2</c:v>
                </c:pt>
                <c:pt idx="3407">
                  <c:v>-1.6360473776564733E-2</c:v>
                </c:pt>
                <c:pt idx="3408">
                  <c:v>-1.6213519129275829E-2</c:v>
                </c:pt>
                <c:pt idx="3409">
                  <c:v>-1.620128418487855E-2</c:v>
                </c:pt>
                <c:pt idx="3410">
                  <c:v>-1.607430738128246E-2</c:v>
                </c:pt>
                <c:pt idx="3411">
                  <c:v>-1.5971331009387083E-2</c:v>
                </c:pt>
                <c:pt idx="3412">
                  <c:v>-1.6143639882637555E-2</c:v>
                </c:pt>
                <c:pt idx="3413">
                  <c:v>-1.6436740107536273E-2</c:v>
                </c:pt>
                <c:pt idx="3414">
                  <c:v>-1.7238124762785991E-2</c:v>
                </c:pt>
                <c:pt idx="3415">
                  <c:v>-1.8457871844609192E-2</c:v>
                </c:pt>
                <c:pt idx="3416">
                  <c:v>-1.9247934652589001E-2</c:v>
                </c:pt>
                <c:pt idx="3417">
                  <c:v>-1.9466906777438186E-2</c:v>
                </c:pt>
                <c:pt idx="3418">
                  <c:v>-1.9628168746487269E-2</c:v>
                </c:pt>
                <c:pt idx="3419">
                  <c:v>-1.9715124309651364E-2</c:v>
                </c:pt>
                <c:pt idx="3420">
                  <c:v>-1.9743721079399222E-2</c:v>
                </c:pt>
                <c:pt idx="3421">
                  <c:v>-1.9798362974691425E-2</c:v>
                </c:pt>
                <c:pt idx="3422">
                  <c:v>-1.9952456449611966E-2</c:v>
                </c:pt>
                <c:pt idx="3423">
                  <c:v>-2.009619533555284E-2</c:v>
                </c:pt>
                <c:pt idx="3424">
                  <c:v>-2.0182346433192215E-2</c:v>
                </c:pt>
                <c:pt idx="3425">
                  <c:v>-2.0214259607837307E-2</c:v>
                </c:pt>
                <c:pt idx="3426">
                  <c:v>-2.0256773146137014E-2</c:v>
                </c:pt>
                <c:pt idx="3427">
                  <c:v>-2.0241973923317631E-2</c:v>
                </c:pt>
                <c:pt idx="3428">
                  <c:v>-2.0127643843668629E-2</c:v>
                </c:pt>
                <c:pt idx="3429">
                  <c:v>-1.997715124902168E-2</c:v>
                </c:pt>
                <c:pt idx="3430">
                  <c:v>-1.9834269113741969E-2</c:v>
                </c:pt>
                <c:pt idx="3431">
                  <c:v>-1.9611864221456877E-2</c:v>
                </c:pt>
                <c:pt idx="3432">
                  <c:v>-1.9274339256968486E-2</c:v>
                </c:pt>
                <c:pt idx="3433">
                  <c:v>-1.9000897778708708E-2</c:v>
                </c:pt>
                <c:pt idx="3434">
                  <c:v>-1.8748592023623258E-2</c:v>
                </c:pt>
                <c:pt idx="3435">
                  <c:v>-1.8493416668563859E-2</c:v>
                </c:pt>
                <c:pt idx="3436">
                  <c:v>-1.8075488834893249E-2</c:v>
                </c:pt>
                <c:pt idx="3437">
                  <c:v>-1.7872323077031863E-2</c:v>
                </c:pt>
                <c:pt idx="3438">
                  <c:v>-1.7744442044393668E-2</c:v>
                </c:pt>
                <c:pt idx="3439">
                  <c:v>-1.7942754659864654E-2</c:v>
                </c:pt>
                <c:pt idx="3440">
                  <c:v>-1.8309765119980306E-2</c:v>
                </c:pt>
                <c:pt idx="3441">
                  <c:v>-1.8719762164595952E-2</c:v>
                </c:pt>
                <c:pt idx="3442">
                  <c:v>-1.8812617547013452E-2</c:v>
                </c:pt>
                <c:pt idx="3443">
                  <c:v>-1.884333269898435E-2</c:v>
                </c:pt>
                <c:pt idx="3444">
                  <c:v>-1.8444075355991928E-2</c:v>
                </c:pt>
                <c:pt idx="3445">
                  <c:v>-1.7250029263575408E-2</c:v>
                </c:pt>
                <c:pt idx="3446">
                  <c:v>-1.5965399547114338E-2</c:v>
                </c:pt>
                <c:pt idx="3447">
                  <c:v>-1.3738862148043415E-2</c:v>
                </c:pt>
                <c:pt idx="3448">
                  <c:v>-1.2586439849377153E-2</c:v>
                </c:pt>
                <c:pt idx="3449">
                  <c:v>-1.3172463004731053E-2</c:v>
                </c:pt>
                <c:pt idx="3450">
                  <c:v>-1.4313319575176349E-2</c:v>
                </c:pt>
                <c:pt idx="3451">
                  <c:v>-1.56807270234747E-2</c:v>
                </c:pt>
                <c:pt idx="3452">
                  <c:v>-1.6720981220840647E-2</c:v>
                </c:pt>
                <c:pt idx="3453">
                  <c:v>-1.6799709087256177E-2</c:v>
                </c:pt>
                <c:pt idx="3454">
                  <c:v>-1.5950469997418969E-2</c:v>
                </c:pt>
                <c:pt idx="3455">
                  <c:v>-1.5260101031043236E-2</c:v>
                </c:pt>
                <c:pt idx="3456">
                  <c:v>-1.4708606601530776E-2</c:v>
                </c:pt>
                <c:pt idx="3457">
                  <c:v>-1.4526919185398455E-2</c:v>
                </c:pt>
                <c:pt idx="3458">
                  <c:v>-1.4720130216661695E-2</c:v>
                </c:pt>
                <c:pt idx="3459">
                  <c:v>-1.4951974202207913E-2</c:v>
                </c:pt>
                <c:pt idx="3460">
                  <c:v>-1.5366430073036969E-2</c:v>
                </c:pt>
                <c:pt idx="3461">
                  <c:v>-1.5733540464471459E-2</c:v>
                </c:pt>
                <c:pt idx="3462">
                  <c:v>-1.6121250790948696E-2</c:v>
                </c:pt>
                <c:pt idx="3463">
                  <c:v>-1.634739336702825E-2</c:v>
                </c:pt>
                <c:pt idx="3464">
                  <c:v>-1.6391489308577582E-2</c:v>
                </c:pt>
                <c:pt idx="3465">
                  <c:v>-1.6361091920103814E-2</c:v>
                </c:pt>
                <c:pt idx="3466">
                  <c:v>-1.6493768009684148E-2</c:v>
                </c:pt>
                <c:pt idx="3467">
                  <c:v>-1.6790067250772339E-2</c:v>
                </c:pt>
                <c:pt idx="3468">
                  <c:v>-1.6995333189799587E-2</c:v>
                </c:pt>
                <c:pt idx="3469">
                  <c:v>-1.7055289379817932E-2</c:v>
                </c:pt>
                <c:pt idx="3470">
                  <c:v>-1.721575308150558E-2</c:v>
                </c:pt>
                <c:pt idx="3471">
                  <c:v>-1.7270350689223099E-2</c:v>
                </c:pt>
                <c:pt idx="3472">
                  <c:v>-1.6786802669095043E-2</c:v>
                </c:pt>
                <c:pt idx="3473">
                  <c:v>-1.6915417779046003E-2</c:v>
                </c:pt>
                <c:pt idx="3474">
                  <c:v>-1.7049828647817844E-2</c:v>
                </c:pt>
                <c:pt idx="3475">
                  <c:v>-1.7162023521790963E-2</c:v>
                </c:pt>
                <c:pt idx="3476">
                  <c:v>-1.7290682549425514E-2</c:v>
                </c:pt>
                <c:pt idx="3477">
                  <c:v>-1.8121119641585602E-2</c:v>
                </c:pt>
                <c:pt idx="3478">
                  <c:v>-1.858697473283593E-2</c:v>
                </c:pt>
                <c:pt idx="3479">
                  <c:v>-1.8404850464887712E-2</c:v>
                </c:pt>
                <c:pt idx="3480">
                  <c:v>-1.7801501996170165E-2</c:v>
                </c:pt>
                <c:pt idx="3481">
                  <c:v>-1.6566655276820788E-2</c:v>
                </c:pt>
                <c:pt idx="3482">
                  <c:v>-1.4936947557142104E-2</c:v>
                </c:pt>
                <c:pt idx="3483">
                  <c:v>-1.3147915936586993E-2</c:v>
                </c:pt>
                <c:pt idx="3484">
                  <c:v>-1.2706374278095508E-2</c:v>
                </c:pt>
                <c:pt idx="3485">
                  <c:v>-1.2385900181344474E-2</c:v>
                </c:pt>
                <c:pt idx="3486">
                  <c:v>-1.3229564471054922E-2</c:v>
                </c:pt>
                <c:pt idx="3487">
                  <c:v>-1.4632512512202083E-2</c:v>
                </c:pt>
                <c:pt idx="3488">
                  <c:v>-1.5794407931018335E-2</c:v>
                </c:pt>
                <c:pt idx="3489">
                  <c:v>-1.6529145440609017E-2</c:v>
                </c:pt>
                <c:pt idx="3490">
                  <c:v>-1.7245662957014379E-2</c:v>
                </c:pt>
                <c:pt idx="3491">
                  <c:v>-1.7788844142127773E-2</c:v>
                </c:pt>
                <c:pt idx="3492">
                  <c:v>-1.7971670834893507E-2</c:v>
                </c:pt>
                <c:pt idx="3493">
                  <c:v>-1.8273914780863432E-2</c:v>
                </c:pt>
                <c:pt idx="3494">
                  <c:v>-1.8565909298034231E-2</c:v>
                </c:pt>
                <c:pt idx="3495">
                  <c:v>-1.894343600131897E-2</c:v>
                </c:pt>
                <c:pt idx="3496">
                  <c:v>-1.9249795235651228E-2</c:v>
                </c:pt>
                <c:pt idx="3497">
                  <c:v>-1.9133964532913113E-2</c:v>
                </c:pt>
                <c:pt idx="3498">
                  <c:v>-1.9016427700155155E-2</c:v>
                </c:pt>
                <c:pt idx="3499">
                  <c:v>-1.9449448338248951E-2</c:v>
                </c:pt>
                <c:pt idx="3500">
                  <c:v>-1.9503167441248713E-2</c:v>
                </c:pt>
                <c:pt idx="3501">
                  <c:v>-1.9670055083234831E-2</c:v>
                </c:pt>
                <c:pt idx="3502">
                  <c:v>-2.1775307058303685E-2</c:v>
                </c:pt>
                <c:pt idx="3503">
                  <c:v>-2.1424438488766344E-2</c:v>
                </c:pt>
                <c:pt idx="3504">
                  <c:v>-2.1130293972849028E-2</c:v>
                </c:pt>
                <c:pt idx="3505">
                  <c:v>-2.0567999708943289E-2</c:v>
                </c:pt>
                <c:pt idx="3506">
                  <c:v>-1.961494032120286E-2</c:v>
                </c:pt>
                <c:pt idx="3507">
                  <c:v>-1.8373748787570799E-2</c:v>
                </c:pt>
                <c:pt idx="3508">
                  <c:v>-1.8036283157225417E-2</c:v>
                </c:pt>
                <c:pt idx="3509">
                  <c:v>-1.7785435019526355E-2</c:v>
                </c:pt>
                <c:pt idx="3510">
                  <c:v>-1.7334325738086034E-2</c:v>
                </c:pt>
                <c:pt idx="3511">
                  <c:v>-1.6574058105971574E-2</c:v>
                </c:pt>
                <c:pt idx="3512">
                  <c:v>-1.5422012315187146E-2</c:v>
                </c:pt>
                <c:pt idx="3513">
                  <c:v>-1.3978682325916335E-2</c:v>
                </c:pt>
                <c:pt idx="3514">
                  <c:v>-1.3413100404632616E-2</c:v>
                </c:pt>
                <c:pt idx="3515">
                  <c:v>-1.3054224503973985E-2</c:v>
                </c:pt>
                <c:pt idx="3516">
                  <c:v>-1.2817355305691426E-2</c:v>
                </c:pt>
                <c:pt idx="3517">
                  <c:v>-1.2722551666761485E-2</c:v>
                </c:pt>
                <c:pt idx="3518">
                  <c:v>-1.269871047119905E-2</c:v>
                </c:pt>
                <c:pt idx="3519">
                  <c:v>-1.2634879296584561E-2</c:v>
                </c:pt>
                <c:pt idx="3520">
                  <c:v>-1.255371042741573E-2</c:v>
                </c:pt>
                <c:pt idx="3521">
                  <c:v>-1.2518022381841959E-2</c:v>
                </c:pt>
                <c:pt idx="3522">
                  <c:v>-1.2558947566987262E-2</c:v>
                </c:pt>
                <c:pt idx="3523">
                  <c:v>-1.2691891037354602E-2</c:v>
                </c:pt>
                <c:pt idx="3524">
                  <c:v>-1.2796260892991166E-2</c:v>
                </c:pt>
                <c:pt idx="3525">
                  <c:v>-1.3009227658877461E-2</c:v>
                </c:pt>
                <c:pt idx="3526">
                  <c:v>-1.317061392569983E-2</c:v>
                </c:pt>
                <c:pt idx="3527">
                  <c:v>-1.3354410900007965E-2</c:v>
                </c:pt>
                <c:pt idx="3528">
                  <c:v>-1.3567672067779014E-2</c:v>
                </c:pt>
                <c:pt idx="3529">
                  <c:v>-1.3612751447578165E-2</c:v>
                </c:pt>
                <c:pt idx="3530">
                  <c:v>-1.3623298796917233E-2</c:v>
                </c:pt>
                <c:pt idx="3531">
                  <c:v>-1.3783937099208769E-2</c:v>
                </c:pt>
                <c:pt idx="3532">
                  <c:v>-1.3705082499323881E-2</c:v>
                </c:pt>
                <c:pt idx="3533">
                  <c:v>-1.3640174389864895E-2</c:v>
                </c:pt>
                <c:pt idx="3534">
                  <c:v>-1.3672173435535701E-2</c:v>
                </c:pt>
                <c:pt idx="3535">
                  <c:v>-1.3747543426025841E-2</c:v>
                </c:pt>
                <c:pt idx="3536">
                  <c:v>-1.3901522813596606E-2</c:v>
                </c:pt>
                <c:pt idx="3537">
                  <c:v>-1.398113402075123E-2</c:v>
                </c:pt>
                <c:pt idx="3538">
                  <c:v>-1.3744325689200552E-2</c:v>
                </c:pt>
                <c:pt idx="3539">
                  <c:v>-1.3275148396778028E-2</c:v>
                </c:pt>
                <c:pt idx="3540">
                  <c:v>-1.2837832811872153E-2</c:v>
                </c:pt>
                <c:pt idx="3541">
                  <c:v>-1.2592719368288846E-2</c:v>
                </c:pt>
                <c:pt idx="3542">
                  <c:v>-1.2695815241678218E-2</c:v>
                </c:pt>
                <c:pt idx="3543">
                  <c:v>-1.387962123417261E-2</c:v>
                </c:pt>
                <c:pt idx="3544">
                  <c:v>-1.4721118836072071E-2</c:v>
                </c:pt>
                <c:pt idx="3545">
                  <c:v>-1.5032104169628783E-2</c:v>
                </c:pt>
                <c:pt idx="3546">
                  <c:v>-1.5174697079544525E-2</c:v>
                </c:pt>
                <c:pt idx="3547">
                  <c:v>-1.7163342052062776E-2</c:v>
                </c:pt>
                <c:pt idx="3548">
                  <c:v>-1.8531567630997538E-2</c:v>
                </c:pt>
                <c:pt idx="3549">
                  <c:v>-1.9589081943152814E-2</c:v>
                </c:pt>
                <c:pt idx="3550">
                  <c:v>-2.0235989141385368E-2</c:v>
                </c:pt>
                <c:pt idx="3551">
                  <c:v>-2.0586982262459461E-2</c:v>
                </c:pt>
                <c:pt idx="3552">
                  <c:v>-2.077272156180595E-2</c:v>
                </c:pt>
                <c:pt idx="3553">
                  <c:v>-2.0783954391313919E-2</c:v>
                </c:pt>
                <c:pt idx="3554">
                  <c:v>-2.0768354999982242E-2</c:v>
                </c:pt>
                <c:pt idx="3555">
                  <c:v>-2.0794195211936668E-2</c:v>
                </c:pt>
                <c:pt idx="3556">
                  <c:v>-2.099304093356729E-2</c:v>
                </c:pt>
                <c:pt idx="3557">
                  <c:v>-2.1167706273082836E-2</c:v>
                </c:pt>
                <c:pt idx="3558">
                  <c:v>-2.1372094511943052E-2</c:v>
                </c:pt>
                <c:pt idx="3559">
                  <c:v>-2.151959468291794E-2</c:v>
                </c:pt>
                <c:pt idx="3560">
                  <c:v>-2.117024120244973E-2</c:v>
                </c:pt>
                <c:pt idx="3561">
                  <c:v>-1.9309308903898419E-2</c:v>
                </c:pt>
                <c:pt idx="3562">
                  <c:v>-1.9436638332508943E-2</c:v>
                </c:pt>
                <c:pt idx="3563">
                  <c:v>-1.9510263373720391E-2</c:v>
                </c:pt>
                <c:pt idx="3564">
                  <c:v>-1.9448958428038642E-2</c:v>
                </c:pt>
                <c:pt idx="3565">
                  <c:v>-1.9294292697663466E-2</c:v>
                </c:pt>
                <c:pt idx="3566">
                  <c:v>-1.9137320237833044E-2</c:v>
                </c:pt>
                <c:pt idx="3567">
                  <c:v>-1.8901657886444732E-2</c:v>
                </c:pt>
                <c:pt idx="3568">
                  <c:v>-1.8670178205421769E-2</c:v>
                </c:pt>
                <c:pt idx="3569">
                  <c:v>-1.8424065543711905E-2</c:v>
                </c:pt>
                <c:pt idx="3570">
                  <c:v>-1.8375472242035978E-2</c:v>
                </c:pt>
                <c:pt idx="3571">
                  <c:v>-1.8426880093085928E-2</c:v>
                </c:pt>
                <c:pt idx="3572">
                  <c:v>-1.8748288511370011E-2</c:v>
                </c:pt>
                <c:pt idx="3573">
                  <c:v>-1.9175973222702623E-2</c:v>
                </c:pt>
                <c:pt idx="3574">
                  <c:v>-1.9601742345891675E-2</c:v>
                </c:pt>
                <c:pt idx="3575">
                  <c:v>-2.0018774404237352E-2</c:v>
                </c:pt>
                <c:pt idx="3576">
                  <c:v>-2.0506864426593972E-2</c:v>
                </c:pt>
                <c:pt idx="3577">
                  <c:v>-2.0157560237043199E-2</c:v>
                </c:pt>
                <c:pt idx="3578">
                  <c:v>-1.9029688582661866E-2</c:v>
                </c:pt>
                <c:pt idx="3579">
                  <c:v>-1.7050966183370757E-2</c:v>
                </c:pt>
                <c:pt idx="3580">
                  <c:v>-1.5531740768828749E-2</c:v>
                </c:pt>
                <c:pt idx="3581">
                  <c:v>-1.4165852911471212E-2</c:v>
                </c:pt>
                <c:pt idx="3582">
                  <c:v>-1.270571358364864E-2</c:v>
                </c:pt>
                <c:pt idx="3583">
                  <c:v>-1.1923201788698858E-2</c:v>
                </c:pt>
                <c:pt idx="3584">
                  <c:v>-1.0654289539554208E-2</c:v>
                </c:pt>
                <c:pt idx="3585">
                  <c:v>-1.0243326472908957E-2</c:v>
                </c:pt>
                <c:pt idx="3586">
                  <c:v>-1.0263420503604417E-2</c:v>
                </c:pt>
                <c:pt idx="3587">
                  <c:v>-8.6178870824848517E-3</c:v>
                </c:pt>
                <c:pt idx="3588">
                  <c:v>-7.5629750682271544E-3</c:v>
                </c:pt>
                <c:pt idx="3589">
                  <c:v>-7.3666240011483093E-3</c:v>
                </c:pt>
                <c:pt idx="3590">
                  <c:v>-7.6899050536028855E-3</c:v>
                </c:pt>
                <c:pt idx="3591">
                  <c:v>-9.3696015302443883E-3</c:v>
                </c:pt>
                <c:pt idx="3592">
                  <c:v>-1.0440796135601591E-2</c:v>
                </c:pt>
                <c:pt idx="3593">
                  <c:v>-1.1997197095402467E-2</c:v>
                </c:pt>
                <c:pt idx="3594">
                  <c:v>-1.3697610229659546E-2</c:v>
                </c:pt>
                <c:pt idx="3595">
                  <c:v>-1.5048989235106509E-2</c:v>
                </c:pt>
                <c:pt idx="3596">
                  <c:v>-1.6400595365603739E-2</c:v>
                </c:pt>
                <c:pt idx="3597">
                  <c:v>-1.7316122991790389E-2</c:v>
                </c:pt>
                <c:pt idx="3598">
                  <c:v>-1.8078462505829444E-2</c:v>
                </c:pt>
                <c:pt idx="3599">
                  <c:v>-1.8522578019074531E-2</c:v>
                </c:pt>
                <c:pt idx="3600">
                  <c:v>-1.8771725411442786E-2</c:v>
                </c:pt>
                <c:pt idx="3601">
                  <c:v>-1.9091828688401112E-2</c:v>
                </c:pt>
                <c:pt idx="3602">
                  <c:v>-1.9315172627503679E-2</c:v>
                </c:pt>
                <c:pt idx="3603">
                  <c:v>-1.9899538921545126E-2</c:v>
                </c:pt>
                <c:pt idx="3604">
                  <c:v>-2.0178566706551077E-2</c:v>
                </c:pt>
                <c:pt idx="3605">
                  <c:v>-2.0285043042112774E-2</c:v>
                </c:pt>
                <c:pt idx="3606">
                  <c:v>-2.0211546492178739E-2</c:v>
                </c:pt>
                <c:pt idx="3607">
                  <c:v>-1.9531167448511858E-2</c:v>
                </c:pt>
                <c:pt idx="3608">
                  <c:v>-1.8817868526503662E-2</c:v>
                </c:pt>
                <c:pt idx="3609">
                  <c:v>-1.8830520652217762E-2</c:v>
                </c:pt>
                <c:pt idx="3610">
                  <c:v>-1.8473526679172399E-2</c:v>
                </c:pt>
                <c:pt idx="3611">
                  <c:v>-1.8017943243506401E-2</c:v>
                </c:pt>
                <c:pt idx="3612">
                  <c:v>-1.7732926296079608E-2</c:v>
                </c:pt>
                <c:pt idx="3613">
                  <c:v>-1.7169589021492945E-2</c:v>
                </c:pt>
                <c:pt idx="3614">
                  <c:v>-1.7076800353085512E-2</c:v>
                </c:pt>
                <c:pt idx="3615">
                  <c:v>-1.6590063267570267E-2</c:v>
                </c:pt>
                <c:pt idx="3616">
                  <c:v>-1.6038469720938898E-2</c:v>
                </c:pt>
                <c:pt idx="3617">
                  <c:v>-1.6166640497076584E-2</c:v>
                </c:pt>
                <c:pt idx="3618">
                  <c:v>-1.5845467870738275E-2</c:v>
                </c:pt>
                <c:pt idx="3619">
                  <c:v>-1.5745542923273799E-2</c:v>
                </c:pt>
                <c:pt idx="3620">
                  <c:v>-1.5614009208427742E-2</c:v>
                </c:pt>
                <c:pt idx="3621">
                  <c:v>-1.5424920145863382E-2</c:v>
                </c:pt>
                <c:pt idx="3622">
                  <c:v>-1.5332788275463218E-2</c:v>
                </c:pt>
                <c:pt idx="3623">
                  <c:v>-1.5346699032101584E-2</c:v>
                </c:pt>
                <c:pt idx="3624">
                  <c:v>-1.5435185317773804E-2</c:v>
                </c:pt>
                <c:pt idx="3625">
                  <c:v>-1.5538341814111725E-2</c:v>
                </c:pt>
                <c:pt idx="3626">
                  <c:v>-1.5427493864571113E-2</c:v>
                </c:pt>
                <c:pt idx="3627">
                  <c:v>-1.546324054374024E-2</c:v>
                </c:pt>
                <c:pt idx="3628">
                  <c:v>-1.5519897765944955E-2</c:v>
                </c:pt>
                <c:pt idx="3629">
                  <c:v>-1.5575717911051456E-2</c:v>
                </c:pt>
                <c:pt idx="3630">
                  <c:v>-1.5478517224901785E-2</c:v>
                </c:pt>
                <c:pt idx="3631">
                  <c:v>-1.5452050866179401E-2</c:v>
                </c:pt>
                <c:pt idx="3632">
                  <c:v>-1.5477196745655036E-2</c:v>
                </c:pt>
                <c:pt idx="3633">
                  <c:v>-1.5432506030485505E-2</c:v>
                </c:pt>
                <c:pt idx="3634">
                  <c:v>-1.5587496543097844E-2</c:v>
                </c:pt>
                <c:pt idx="3635">
                  <c:v>-1.5713263629113385E-2</c:v>
                </c:pt>
                <c:pt idx="3636">
                  <c:v>-1.6000171066080478E-2</c:v>
                </c:pt>
                <c:pt idx="3637">
                  <c:v>-1.7031971814945125E-2</c:v>
                </c:pt>
                <c:pt idx="3638">
                  <c:v>-1.7939122713571024E-2</c:v>
                </c:pt>
                <c:pt idx="3639">
                  <c:v>-1.828555173443578E-2</c:v>
                </c:pt>
                <c:pt idx="3640">
                  <c:v>-1.8229660776625668E-2</c:v>
                </c:pt>
                <c:pt idx="3641">
                  <c:v>-1.8154907649334834E-2</c:v>
                </c:pt>
                <c:pt idx="3642">
                  <c:v>-1.7930074652259473E-2</c:v>
                </c:pt>
                <c:pt idx="3643">
                  <c:v>-1.7700220322309557E-2</c:v>
                </c:pt>
                <c:pt idx="3644">
                  <c:v>-1.7795322538433061E-2</c:v>
                </c:pt>
                <c:pt idx="3645">
                  <c:v>-1.7885000386836873E-2</c:v>
                </c:pt>
                <c:pt idx="3646">
                  <c:v>-1.7880636065622797E-2</c:v>
                </c:pt>
                <c:pt idx="3647">
                  <c:v>-1.7839023474868456E-2</c:v>
                </c:pt>
                <c:pt idx="3648">
                  <c:v>-1.784165201566074E-2</c:v>
                </c:pt>
                <c:pt idx="3649">
                  <c:v>-1.785937042189642E-2</c:v>
                </c:pt>
                <c:pt idx="3650">
                  <c:v>-1.7866332185116345E-2</c:v>
                </c:pt>
                <c:pt idx="3651">
                  <c:v>-1.7754022784773088E-2</c:v>
                </c:pt>
                <c:pt idx="3652">
                  <c:v>-1.7387237809985058E-2</c:v>
                </c:pt>
                <c:pt idx="3653">
                  <c:v>-1.7244822818613066E-2</c:v>
                </c:pt>
                <c:pt idx="3654">
                  <c:v>-1.667126226159776E-2</c:v>
                </c:pt>
                <c:pt idx="3655">
                  <c:v>-1.64747917029417E-2</c:v>
                </c:pt>
                <c:pt idx="3656">
                  <c:v>-1.6473216164824112E-2</c:v>
                </c:pt>
                <c:pt idx="3657">
                  <c:v>-1.6568994432171968E-2</c:v>
                </c:pt>
                <c:pt idx="3658">
                  <c:v>-1.6588953610513595E-2</c:v>
                </c:pt>
                <c:pt idx="3659">
                  <c:v>-1.6586700431798249E-2</c:v>
                </c:pt>
                <c:pt idx="3660">
                  <c:v>-1.6668233036822307E-2</c:v>
                </c:pt>
                <c:pt idx="3661">
                  <c:v>-1.6781956749255734E-2</c:v>
                </c:pt>
                <c:pt idx="3662">
                  <c:v>-1.6831518504156713E-2</c:v>
                </c:pt>
                <c:pt idx="3663">
                  <c:v>-1.6785151645769172E-2</c:v>
                </c:pt>
                <c:pt idx="3664">
                  <c:v>-1.6645397396627362E-2</c:v>
                </c:pt>
                <c:pt idx="3665">
                  <c:v>-1.6321592487164981E-2</c:v>
                </c:pt>
                <c:pt idx="3666">
                  <c:v>-1.5882029494735102E-2</c:v>
                </c:pt>
                <c:pt idx="3667">
                  <c:v>-1.5552256390311204E-2</c:v>
                </c:pt>
                <c:pt idx="3668">
                  <c:v>-1.5181075282248937E-2</c:v>
                </c:pt>
                <c:pt idx="3669">
                  <c:v>-1.3684726471197492E-2</c:v>
                </c:pt>
                <c:pt idx="3670">
                  <c:v>-1.2223348477612023E-2</c:v>
                </c:pt>
                <c:pt idx="3671">
                  <c:v>-1.0811302119053118E-2</c:v>
                </c:pt>
                <c:pt idx="3672">
                  <c:v>-9.5563247462228211E-3</c:v>
                </c:pt>
                <c:pt idx="3673">
                  <c:v>-9.5343671476290377E-3</c:v>
                </c:pt>
                <c:pt idx="3674">
                  <c:v>-1.009407983900262E-2</c:v>
                </c:pt>
                <c:pt idx="3675">
                  <c:v>-1.062062376338363E-2</c:v>
                </c:pt>
                <c:pt idx="3676">
                  <c:v>-1.0683679419789619E-2</c:v>
                </c:pt>
                <c:pt idx="3677">
                  <c:v>-1.071111344415371E-2</c:v>
                </c:pt>
                <c:pt idx="3678">
                  <c:v>-1.0567976379850533E-2</c:v>
                </c:pt>
                <c:pt idx="3679">
                  <c:v>-1.0488038096988776E-2</c:v>
                </c:pt>
                <c:pt idx="3680">
                  <c:v>-1.0524220688839027E-2</c:v>
                </c:pt>
                <c:pt idx="3681">
                  <c:v>-1.0595124690413326E-2</c:v>
                </c:pt>
                <c:pt idx="3682">
                  <c:v>-1.1042825983023821E-2</c:v>
                </c:pt>
                <c:pt idx="3683">
                  <c:v>-1.13791884417591E-2</c:v>
                </c:pt>
                <c:pt idx="3684">
                  <c:v>-1.1962333027929482E-2</c:v>
                </c:pt>
                <c:pt idx="3685">
                  <c:v>-1.2471239266556177E-2</c:v>
                </c:pt>
                <c:pt idx="3686">
                  <c:v>-1.3385676941784641E-2</c:v>
                </c:pt>
                <c:pt idx="3687">
                  <c:v>-1.4619965225649331E-2</c:v>
                </c:pt>
                <c:pt idx="3688">
                  <c:v>-1.5650675059774365E-2</c:v>
                </c:pt>
                <c:pt idx="3689">
                  <c:v>-1.6965427634207109E-2</c:v>
                </c:pt>
                <c:pt idx="3690">
                  <c:v>-1.8485536173070034E-2</c:v>
                </c:pt>
                <c:pt idx="3691">
                  <c:v>-1.9643706601103296E-2</c:v>
                </c:pt>
                <c:pt idx="3692">
                  <c:v>-2.0592478052588362E-2</c:v>
                </c:pt>
                <c:pt idx="3693">
                  <c:v>-2.1374407287712296E-2</c:v>
                </c:pt>
                <c:pt idx="3694">
                  <c:v>-2.1919301397073258E-2</c:v>
                </c:pt>
                <c:pt idx="3695">
                  <c:v>-2.1892015724554563E-2</c:v>
                </c:pt>
                <c:pt idx="3696">
                  <c:v>-2.1864037603042983E-2</c:v>
                </c:pt>
                <c:pt idx="3697">
                  <c:v>-2.1838636860339766E-2</c:v>
                </c:pt>
                <c:pt idx="3698">
                  <c:v>-2.1584157042980986E-2</c:v>
                </c:pt>
                <c:pt idx="3699">
                  <c:v>-2.1884587740708492E-2</c:v>
                </c:pt>
                <c:pt idx="3700">
                  <c:v>-2.248959130009779E-2</c:v>
                </c:pt>
                <c:pt idx="3701">
                  <c:v>-2.2867743264900244E-2</c:v>
                </c:pt>
                <c:pt idx="3702">
                  <c:v>-2.2432778322277164E-2</c:v>
                </c:pt>
                <c:pt idx="3703">
                  <c:v>-2.1936995937980527E-2</c:v>
                </c:pt>
                <c:pt idx="3704">
                  <c:v>-2.145234707915699E-2</c:v>
                </c:pt>
                <c:pt idx="3705">
                  <c:v>-2.0983683954244617E-2</c:v>
                </c:pt>
                <c:pt idx="3706">
                  <c:v>-2.0495387470891885E-2</c:v>
                </c:pt>
                <c:pt idx="3707">
                  <c:v>-2.0057103886231248E-2</c:v>
                </c:pt>
                <c:pt idx="3708">
                  <c:v>-1.9328556208198226E-2</c:v>
                </c:pt>
                <c:pt idx="3709">
                  <c:v>-1.8498248227228578E-2</c:v>
                </c:pt>
                <c:pt idx="3710">
                  <c:v>-1.7041552091891149E-2</c:v>
                </c:pt>
                <c:pt idx="3711">
                  <c:v>-1.4366689584556069E-2</c:v>
                </c:pt>
                <c:pt idx="3712">
                  <c:v>-1.2962845898531652E-2</c:v>
                </c:pt>
                <c:pt idx="3713">
                  <c:v>-1.2152551593394963E-2</c:v>
                </c:pt>
                <c:pt idx="3714">
                  <c:v>-1.1150727553616693E-2</c:v>
                </c:pt>
                <c:pt idx="3715">
                  <c:v>-1.0185579981115887E-2</c:v>
                </c:pt>
                <c:pt idx="3716">
                  <c:v>-8.987215807237818E-3</c:v>
                </c:pt>
                <c:pt idx="3717">
                  <c:v>-8.7914532486096809E-3</c:v>
                </c:pt>
                <c:pt idx="3718">
                  <c:v>-8.6197207130694307E-3</c:v>
                </c:pt>
                <c:pt idx="3719">
                  <c:v>-8.9635651637820397E-3</c:v>
                </c:pt>
                <c:pt idx="3720">
                  <c:v>-9.193287077020015E-3</c:v>
                </c:pt>
                <c:pt idx="3721">
                  <c:v>-9.7082533598152349E-3</c:v>
                </c:pt>
                <c:pt idx="3722">
                  <c:v>-1.0362763261793632E-2</c:v>
                </c:pt>
                <c:pt idx="3723">
                  <c:v>-1.0830612106594091E-2</c:v>
                </c:pt>
                <c:pt idx="3724">
                  <c:v>-1.162512071798117E-2</c:v>
                </c:pt>
                <c:pt idx="3725">
                  <c:v>-1.2422676658224321E-2</c:v>
                </c:pt>
                <c:pt idx="3726">
                  <c:v>-1.2865934562664039E-2</c:v>
                </c:pt>
                <c:pt idx="3727">
                  <c:v>-1.3437147979586929E-2</c:v>
                </c:pt>
                <c:pt idx="3728">
                  <c:v>-1.4056556544180697E-2</c:v>
                </c:pt>
                <c:pt idx="3729">
                  <c:v>-1.466676537610084E-2</c:v>
                </c:pt>
                <c:pt idx="3730">
                  <c:v>-1.5421161486938999E-2</c:v>
                </c:pt>
                <c:pt idx="3731">
                  <c:v>-1.6295877278274865E-2</c:v>
                </c:pt>
                <c:pt idx="3732">
                  <c:v>-1.7093165013938968E-2</c:v>
                </c:pt>
                <c:pt idx="3733">
                  <c:v>-1.7682887377758055E-2</c:v>
                </c:pt>
                <c:pt idx="3734">
                  <c:v>-1.834649720966966E-2</c:v>
                </c:pt>
                <c:pt idx="3735">
                  <c:v>-1.8425433202357143E-2</c:v>
                </c:pt>
                <c:pt idx="3736">
                  <c:v>-1.85251528031012E-2</c:v>
                </c:pt>
                <c:pt idx="3737">
                  <c:v>-1.8799667212794895E-2</c:v>
                </c:pt>
                <c:pt idx="3738">
                  <c:v>-1.9095034763984768E-2</c:v>
                </c:pt>
                <c:pt idx="3739">
                  <c:v>-1.9389770474768211E-2</c:v>
                </c:pt>
                <c:pt idx="3740">
                  <c:v>-1.9724801836594544E-2</c:v>
                </c:pt>
                <c:pt idx="3741">
                  <c:v>-2.1005900404667894E-2</c:v>
                </c:pt>
                <c:pt idx="3742">
                  <c:v>-2.1847137751966131E-2</c:v>
                </c:pt>
                <c:pt idx="3743">
                  <c:v>-2.1907780901447425E-2</c:v>
                </c:pt>
                <c:pt idx="3744">
                  <c:v>-2.1893982973271581E-2</c:v>
                </c:pt>
                <c:pt idx="3745">
                  <c:v>-2.1830716254043966E-2</c:v>
                </c:pt>
                <c:pt idx="3746">
                  <c:v>-2.2854659800562751E-2</c:v>
                </c:pt>
                <c:pt idx="3747">
                  <c:v>-2.2691072643642049E-2</c:v>
                </c:pt>
                <c:pt idx="3748">
                  <c:v>-2.2576228132379233E-2</c:v>
                </c:pt>
                <c:pt idx="3749">
                  <c:v>-2.2549337167567629E-2</c:v>
                </c:pt>
                <c:pt idx="3750">
                  <c:v>-2.2574557736410452E-2</c:v>
                </c:pt>
                <c:pt idx="3751">
                  <c:v>-2.2758641367922376E-2</c:v>
                </c:pt>
                <c:pt idx="3752">
                  <c:v>-2.302729798879654E-2</c:v>
                </c:pt>
                <c:pt idx="3753">
                  <c:v>-2.3245182923885669E-2</c:v>
                </c:pt>
                <c:pt idx="3754">
                  <c:v>-2.3303365543539404E-2</c:v>
                </c:pt>
                <c:pt idx="3755">
                  <c:v>-2.3218401100809236E-2</c:v>
                </c:pt>
                <c:pt idx="3756">
                  <c:v>-2.3103206956016226E-2</c:v>
                </c:pt>
                <c:pt idx="3757">
                  <c:v>-2.289276099255836E-2</c:v>
                </c:pt>
                <c:pt idx="3758">
                  <c:v>-2.2696317105898867E-2</c:v>
                </c:pt>
                <c:pt idx="3759">
                  <c:v>-2.2530635456065082E-2</c:v>
                </c:pt>
                <c:pt idx="3760">
                  <c:v>-2.2381110259698557E-2</c:v>
                </c:pt>
                <c:pt idx="3761">
                  <c:v>-2.2459756922795608E-2</c:v>
                </c:pt>
                <c:pt idx="3762">
                  <c:v>-2.2654548412286011E-2</c:v>
                </c:pt>
                <c:pt idx="3763">
                  <c:v>-2.2802053635276119E-2</c:v>
                </c:pt>
                <c:pt idx="3764">
                  <c:v>-2.2640994493941212E-2</c:v>
                </c:pt>
                <c:pt idx="3765">
                  <c:v>-2.3225384240180509E-2</c:v>
                </c:pt>
                <c:pt idx="3766">
                  <c:v>-2.3355988773935375E-2</c:v>
                </c:pt>
                <c:pt idx="3767">
                  <c:v>-2.3332946465682958E-2</c:v>
                </c:pt>
                <c:pt idx="3768">
                  <c:v>-2.3402970623877847E-2</c:v>
                </c:pt>
                <c:pt idx="3769">
                  <c:v>-2.3467875853869793E-2</c:v>
                </c:pt>
                <c:pt idx="3770">
                  <c:v>-2.3369969592165585E-2</c:v>
                </c:pt>
                <c:pt idx="3771">
                  <c:v>-2.3261428338956724E-2</c:v>
                </c:pt>
                <c:pt idx="3772">
                  <c:v>-2.3152139412174266E-2</c:v>
                </c:pt>
                <c:pt idx="3773">
                  <c:v>-2.3105341008466285E-2</c:v>
                </c:pt>
                <c:pt idx="3774">
                  <c:v>-2.3041367587598748E-2</c:v>
                </c:pt>
                <c:pt idx="3775">
                  <c:v>-2.2940951613441458E-2</c:v>
                </c:pt>
                <c:pt idx="3776">
                  <c:v>-2.2975461751640912E-2</c:v>
                </c:pt>
                <c:pt idx="3777">
                  <c:v>-2.3057775382384193E-2</c:v>
                </c:pt>
                <c:pt idx="3778">
                  <c:v>-2.2959068812029484E-2</c:v>
                </c:pt>
                <c:pt idx="3779">
                  <c:v>-2.2880089485651844E-2</c:v>
                </c:pt>
                <c:pt idx="3780">
                  <c:v>-2.3076171112313422E-2</c:v>
                </c:pt>
                <c:pt idx="3781">
                  <c:v>-2.3153468767071236E-2</c:v>
                </c:pt>
                <c:pt idx="3782">
                  <c:v>-2.3080960217128695E-2</c:v>
                </c:pt>
                <c:pt idx="3783">
                  <c:v>-2.2955605936606737E-2</c:v>
                </c:pt>
                <c:pt idx="3784">
                  <c:v>-2.2782677127262362E-2</c:v>
                </c:pt>
                <c:pt idx="3785">
                  <c:v>-2.2665372109556471E-2</c:v>
                </c:pt>
                <c:pt idx="3786">
                  <c:v>-2.2640128527059059E-2</c:v>
                </c:pt>
                <c:pt idx="3787">
                  <c:v>-2.2627221292867074E-2</c:v>
                </c:pt>
                <c:pt idx="3788">
                  <c:v>-2.2494703074140233E-2</c:v>
                </c:pt>
                <c:pt idx="3789">
                  <c:v>-2.2191173757463392E-2</c:v>
                </c:pt>
                <c:pt idx="3790">
                  <c:v>-2.1669794884253232E-2</c:v>
                </c:pt>
                <c:pt idx="3791">
                  <c:v>-2.0621582988581043E-2</c:v>
                </c:pt>
                <c:pt idx="3792">
                  <c:v>-1.9385811426739639E-2</c:v>
                </c:pt>
                <c:pt idx="3793">
                  <c:v>-1.7864749207563459E-2</c:v>
                </c:pt>
                <c:pt idx="3794">
                  <c:v>-1.662097838818366E-2</c:v>
                </c:pt>
                <c:pt idx="3795">
                  <c:v>-1.5298123449896499E-2</c:v>
                </c:pt>
                <c:pt idx="3796">
                  <c:v>-1.5204778989075868E-2</c:v>
                </c:pt>
                <c:pt idx="3797">
                  <c:v>-1.5420261979186238E-2</c:v>
                </c:pt>
                <c:pt idx="3798">
                  <c:v>-1.5379831863437965E-2</c:v>
                </c:pt>
                <c:pt idx="3799">
                  <c:v>-1.5283610275048098E-2</c:v>
                </c:pt>
                <c:pt idx="3800">
                  <c:v>-1.5340248035713423E-2</c:v>
                </c:pt>
                <c:pt idx="3801">
                  <c:v>-1.5675371937263285E-2</c:v>
                </c:pt>
                <c:pt idx="3802">
                  <c:v>-1.5958278765118971E-2</c:v>
                </c:pt>
                <c:pt idx="3803">
                  <c:v>-1.6126405562185347E-2</c:v>
                </c:pt>
                <c:pt idx="3804">
                  <c:v>-1.6571746094702848E-2</c:v>
                </c:pt>
                <c:pt idx="3805">
                  <c:v>-1.7026775469688026E-2</c:v>
                </c:pt>
                <c:pt idx="3806">
                  <c:v>-1.7593254852726135E-2</c:v>
                </c:pt>
                <c:pt idx="3807">
                  <c:v>-1.8206397879456368E-2</c:v>
                </c:pt>
                <c:pt idx="3808">
                  <c:v>-1.8809440393320664E-2</c:v>
                </c:pt>
                <c:pt idx="3809">
                  <c:v>-1.9467361079254213E-2</c:v>
                </c:pt>
                <c:pt idx="3810">
                  <c:v>-2.0102180242871366E-2</c:v>
                </c:pt>
                <c:pt idx="3811">
                  <c:v>-2.0579494574664681E-2</c:v>
                </c:pt>
                <c:pt idx="3812">
                  <c:v>-2.064552230138814E-2</c:v>
                </c:pt>
                <c:pt idx="3813">
                  <c:v>-2.0613720966462298E-2</c:v>
                </c:pt>
                <c:pt idx="3814">
                  <c:v>-2.052268900149299E-2</c:v>
                </c:pt>
                <c:pt idx="3815">
                  <c:v>-2.0353764603703417E-2</c:v>
                </c:pt>
                <c:pt idx="3816">
                  <c:v>-2.0056185424207024E-2</c:v>
                </c:pt>
                <c:pt idx="3817">
                  <c:v>-1.9645853936072034E-2</c:v>
                </c:pt>
                <c:pt idx="3818">
                  <c:v>-1.9379363328582366E-2</c:v>
                </c:pt>
                <c:pt idx="3819">
                  <c:v>-1.9350266129861543E-2</c:v>
                </c:pt>
                <c:pt idx="3820">
                  <c:v>-1.9291561875263905E-2</c:v>
                </c:pt>
                <c:pt idx="3821">
                  <c:v>-1.9126512889504489E-2</c:v>
                </c:pt>
                <c:pt idx="3822">
                  <c:v>-1.9065205748787555E-2</c:v>
                </c:pt>
                <c:pt idx="3823">
                  <c:v>-1.9273175654153832E-2</c:v>
                </c:pt>
                <c:pt idx="3824">
                  <c:v>-1.9371035689299328E-2</c:v>
                </c:pt>
                <c:pt idx="3825">
                  <c:v>-1.9411461930396865E-2</c:v>
                </c:pt>
                <c:pt idx="3826">
                  <c:v>-1.9341595257972542E-2</c:v>
                </c:pt>
                <c:pt idx="3827">
                  <c:v>-1.9245386002261184E-2</c:v>
                </c:pt>
                <c:pt idx="3828">
                  <c:v>-1.9073629810669374E-2</c:v>
                </c:pt>
                <c:pt idx="3829">
                  <c:v>-1.8915873470314988E-2</c:v>
                </c:pt>
                <c:pt idx="3830">
                  <c:v>-1.9153391710285447E-2</c:v>
                </c:pt>
                <c:pt idx="3831">
                  <c:v>-1.9750533432369682E-2</c:v>
                </c:pt>
                <c:pt idx="3832">
                  <c:v>-2.0491969544141383E-2</c:v>
                </c:pt>
                <c:pt idx="3833">
                  <c:v>-2.117764512024066E-2</c:v>
                </c:pt>
                <c:pt idx="3834">
                  <c:v>-1.9975006750588681E-2</c:v>
                </c:pt>
                <c:pt idx="3835">
                  <c:v>-1.9364432241633322E-2</c:v>
                </c:pt>
                <c:pt idx="3836">
                  <c:v>-1.9311703504261722E-2</c:v>
                </c:pt>
                <c:pt idx="3837">
                  <c:v>-1.9753854823979726E-2</c:v>
                </c:pt>
                <c:pt idx="3838">
                  <c:v>-1.9409561855226978E-2</c:v>
                </c:pt>
                <c:pt idx="3839">
                  <c:v>-1.8870749360279642E-2</c:v>
                </c:pt>
                <c:pt idx="3840">
                  <c:v>-1.7991342219347325E-2</c:v>
                </c:pt>
                <c:pt idx="3841">
                  <c:v>-1.7208490125783234E-2</c:v>
                </c:pt>
                <c:pt idx="3842">
                  <c:v>-1.6911824410865191E-2</c:v>
                </c:pt>
                <c:pt idx="3843">
                  <c:v>-1.6445838423444763E-2</c:v>
                </c:pt>
                <c:pt idx="3844">
                  <c:v>-1.6014403948487084E-2</c:v>
                </c:pt>
                <c:pt idx="3845">
                  <c:v>-1.6042608700881401E-2</c:v>
                </c:pt>
                <c:pt idx="3846">
                  <c:v>-1.6295423127486268E-2</c:v>
                </c:pt>
                <c:pt idx="3847">
                  <c:v>-1.6967015694607238E-2</c:v>
                </c:pt>
                <c:pt idx="3848">
                  <c:v>-1.750780549771969E-2</c:v>
                </c:pt>
                <c:pt idx="3849">
                  <c:v>-1.7933447617894734E-2</c:v>
                </c:pt>
                <c:pt idx="3850">
                  <c:v>-1.8062774797786989E-2</c:v>
                </c:pt>
                <c:pt idx="3851">
                  <c:v>-1.8209109116596844E-2</c:v>
                </c:pt>
                <c:pt idx="3852">
                  <c:v>-1.8314870708206806E-2</c:v>
                </c:pt>
                <c:pt idx="3853">
                  <c:v>-1.8371741772286378E-2</c:v>
                </c:pt>
                <c:pt idx="3854">
                  <c:v>-1.8486343943843062E-2</c:v>
                </c:pt>
                <c:pt idx="3855">
                  <c:v>-1.8510015779524627E-2</c:v>
                </c:pt>
                <c:pt idx="3856">
                  <c:v>-1.8615423968413376E-2</c:v>
                </c:pt>
                <c:pt idx="3857">
                  <c:v>-1.8819220359111367E-2</c:v>
                </c:pt>
                <c:pt idx="3858">
                  <c:v>-1.9048414920160066E-2</c:v>
                </c:pt>
                <c:pt idx="3859">
                  <c:v>-1.9159244885109138E-2</c:v>
                </c:pt>
                <c:pt idx="3860">
                  <c:v>-1.9242440884625032E-2</c:v>
                </c:pt>
                <c:pt idx="3861">
                  <c:v>-1.9323338683118918E-2</c:v>
                </c:pt>
                <c:pt idx="3862">
                  <c:v>-1.9350911924271762E-2</c:v>
                </c:pt>
                <c:pt idx="3863">
                  <c:v>-1.9351132400296945E-2</c:v>
                </c:pt>
                <c:pt idx="3864">
                  <c:v>-2.0157608522309935E-2</c:v>
                </c:pt>
                <c:pt idx="3865">
                  <c:v>-2.1112636751735716E-2</c:v>
                </c:pt>
                <c:pt idx="3866">
                  <c:v>-2.1947420356426925E-2</c:v>
                </c:pt>
                <c:pt idx="3867">
                  <c:v>-2.1847327457860492E-2</c:v>
                </c:pt>
                <c:pt idx="3868">
                  <c:v>-2.1954422021852993E-2</c:v>
                </c:pt>
                <c:pt idx="3869">
                  <c:v>-2.2069904584506476E-2</c:v>
                </c:pt>
                <c:pt idx="3870">
                  <c:v>-2.2402820900135401E-2</c:v>
                </c:pt>
                <c:pt idx="3871">
                  <c:v>-2.2436026255952507E-2</c:v>
                </c:pt>
                <c:pt idx="3872">
                  <c:v>-2.2078636575902272E-2</c:v>
                </c:pt>
                <c:pt idx="3873">
                  <c:v>-2.1480460803608839E-2</c:v>
                </c:pt>
                <c:pt idx="3874">
                  <c:v>-2.0939608615551296E-2</c:v>
                </c:pt>
                <c:pt idx="3875">
                  <c:v>-2.0684278301036155E-2</c:v>
                </c:pt>
                <c:pt idx="3876">
                  <c:v>-2.053867454404916E-2</c:v>
                </c:pt>
                <c:pt idx="3877">
                  <c:v>-1.9863711714579409E-2</c:v>
                </c:pt>
                <c:pt idx="3878">
                  <c:v>-1.9270997496440651E-2</c:v>
                </c:pt>
                <c:pt idx="3879">
                  <c:v>-1.8704265399240513E-2</c:v>
                </c:pt>
                <c:pt idx="3880">
                  <c:v>-1.832403652096775E-2</c:v>
                </c:pt>
                <c:pt idx="3881">
                  <c:v>-1.8574333091103457E-2</c:v>
                </c:pt>
                <c:pt idx="3882">
                  <c:v>-1.9452800634216859E-2</c:v>
                </c:pt>
                <c:pt idx="3883">
                  <c:v>-2.0379893662208617E-2</c:v>
                </c:pt>
                <c:pt idx="3884">
                  <c:v>-2.1048377020246107E-2</c:v>
                </c:pt>
                <c:pt idx="3885">
                  <c:v>-2.1777206909534587E-2</c:v>
                </c:pt>
                <c:pt idx="3886">
                  <c:v>-2.1926800933543822E-2</c:v>
                </c:pt>
                <c:pt idx="3887">
                  <c:v>-2.120527689553052E-2</c:v>
                </c:pt>
                <c:pt idx="3888">
                  <c:v>-2.0554998611183244E-2</c:v>
                </c:pt>
                <c:pt idx="3889">
                  <c:v>-2.0736651946326061E-2</c:v>
                </c:pt>
                <c:pt idx="3890">
                  <c:v>-2.0607350672689175E-2</c:v>
                </c:pt>
                <c:pt idx="3891">
                  <c:v>-2.0566695949043198E-2</c:v>
                </c:pt>
                <c:pt idx="3892">
                  <c:v>-2.0447620143677004E-2</c:v>
                </c:pt>
                <c:pt idx="3893">
                  <c:v>-2.0262801498033819E-2</c:v>
                </c:pt>
                <c:pt idx="3894">
                  <c:v>-1.9806442739145731E-2</c:v>
                </c:pt>
                <c:pt idx="3895">
                  <c:v>-1.9075006837797046E-2</c:v>
                </c:pt>
                <c:pt idx="3896">
                  <c:v>-1.8522896768372703E-2</c:v>
                </c:pt>
                <c:pt idx="3897">
                  <c:v>-1.8354354541889849E-2</c:v>
                </c:pt>
                <c:pt idx="3898">
                  <c:v>-1.8572401197765015E-2</c:v>
                </c:pt>
                <c:pt idx="3899">
                  <c:v>-1.8670557702653363E-2</c:v>
                </c:pt>
                <c:pt idx="3900">
                  <c:v>-1.8846854867383335E-2</c:v>
                </c:pt>
                <c:pt idx="3901">
                  <c:v>-1.9011572564709485E-2</c:v>
                </c:pt>
                <c:pt idx="3902">
                  <c:v>-1.9385561946119054E-2</c:v>
                </c:pt>
                <c:pt idx="3903">
                  <c:v>-1.9678125556559775E-2</c:v>
                </c:pt>
                <c:pt idx="3904">
                  <c:v>-1.9968282694678222E-2</c:v>
                </c:pt>
                <c:pt idx="3905">
                  <c:v>-2.0163252405217658E-2</c:v>
                </c:pt>
                <c:pt idx="3906">
                  <c:v>-2.028670756315263E-2</c:v>
                </c:pt>
                <c:pt idx="3907">
                  <c:v>-2.0418905149551039E-2</c:v>
                </c:pt>
                <c:pt idx="3908">
                  <c:v>-2.0447535784931824E-2</c:v>
                </c:pt>
                <c:pt idx="3909">
                  <c:v>-2.0373990992100639E-2</c:v>
                </c:pt>
                <c:pt idx="3910">
                  <c:v>-2.0295244366421796E-2</c:v>
                </c:pt>
                <c:pt idx="3911">
                  <c:v>-2.0173646933794875E-2</c:v>
                </c:pt>
                <c:pt idx="3912">
                  <c:v>-1.9835563476633032E-2</c:v>
                </c:pt>
                <c:pt idx="3913">
                  <c:v>-1.937792644047262E-2</c:v>
                </c:pt>
                <c:pt idx="3914">
                  <c:v>-1.8875395520995996E-2</c:v>
                </c:pt>
                <c:pt idx="3915">
                  <c:v>-1.8633486513747032E-2</c:v>
                </c:pt>
                <c:pt idx="3916">
                  <c:v>-1.8518046978709408E-2</c:v>
                </c:pt>
                <c:pt idx="3917">
                  <c:v>-1.9157141706130212E-2</c:v>
                </c:pt>
                <c:pt idx="3918">
                  <c:v>-1.9914716598431113E-2</c:v>
                </c:pt>
                <c:pt idx="3919">
                  <c:v>-1.905503108311208E-2</c:v>
                </c:pt>
                <c:pt idx="3920">
                  <c:v>-1.9406403284386177E-2</c:v>
                </c:pt>
                <c:pt idx="3921">
                  <c:v>-1.9380734831583826E-2</c:v>
                </c:pt>
                <c:pt idx="3922">
                  <c:v>-1.9354914740882297E-2</c:v>
                </c:pt>
                <c:pt idx="3923">
                  <c:v>-1.8995990522495274E-2</c:v>
                </c:pt>
                <c:pt idx="3924">
                  <c:v>-1.8387633371292386E-2</c:v>
                </c:pt>
                <c:pt idx="3925">
                  <c:v>-1.7948603378928726E-2</c:v>
                </c:pt>
                <c:pt idx="3926">
                  <c:v>-1.8139791687723235E-2</c:v>
                </c:pt>
                <c:pt idx="3927">
                  <c:v>-1.8557772224275168E-2</c:v>
                </c:pt>
                <c:pt idx="3928">
                  <c:v>-1.8638226392156423E-2</c:v>
                </c:pt>
                <c:pt idx="3929">
                  <c:v>-1.8763050773654803E-2</c:v>
                </c:pt>
                <c:pt idx="3930">
                  <c:v>-1.8539059478038758E-2</c:v>
                </c:pt>
                <c:pt idx="3931">
                  <c:v>-1.8129164097799088E-2</c:v>
                </c:pt>
                <c:pt idx="3932">
                  <c:v>-1.7788167882823162E-2</c:v>
                </c:pt>
                <c:pt idx="3933">
                  <c:v>-1.7775394279657915E-2</c:v>
                </c:pt>
                <c:pt idx="3934">
                  <c:v>-1.7761990123353381E-2</c:v>
                </c:pt>
                <c:pt idx="3935">
                  <c:v>-1.7823499390315016E-2</c:v>
                </c:pt>
                <c:pt idx="3936">
                  <c:v>-1.790728435494994E-2</c:v>
                </c:pt>
                <c:pt idx="3937">
                  <c:v>-1.7813842068297989E-2</c:v>
                </c:pt>
                <c:pt idx="3938">
                  <c:v>-1.7187918789254082E-2</c:v>
                </c:pt>
                <c:pt idx="3939">
                  <c:v>-1.6706922161639777E-2</c:v>
                </c:pt>
                <c:pt idx="3940">
                  <c:v>-1.6771049259223601E-2</c:v>
                </c:pt>
                <c:pt idx="3941">
                  <c:v>-1.6976990399943107E-2</c:v>
                </c:pt>
                <c:pt idx="3942">
                  <c:v>-1.723515294001533E-2</c:v>
                </c:pt>
                <c:pt idx="3943">
                  <c:v>-1.7496578514360504E-2</c:v>
                </c:pt>
                <c:pt idx="3944">
                  <c:v>-1.7916092720826678E-2</c:v>
                </c:pt>
                <c:pt idx="3945">
                  <c:v>-1.8242563532123689E-2</c:v>
                </c:pt>
                <c:pt idx="3946">
                  <c:v>-1.8746085947045344E-2</c:v>
                </c:pt>
                <c:pt idx="3947">
                  <c:v>-1.8369124355667954E-2</c:v>
                </c:pt>
                <c:pt idx="3948">
                  <c:v>-1.8054599665232793E-2</c:v>
                </c:pt>
                <c:pt idx="3949">
                  <c:v>-1.8211806817451055E-2</c:v>
                </c:pt>
                <c:pt idx="3950">
                  <c:v>-1.7849960231793593E-2</c:v>
                </c:pt>
                <c:pt idx="3951">
                  <c:v>-1.747104234593852E-2</c:v>
                </c:pt>
                <c:pt idx="3952">
                  <c:v>-1.6927129161812771E-2</c:v>
                </c:pt>
                <c:pt idx="3953">
                  <c:v>-1.6770379633265393E-2</c:v>
                </c:pt>
                <c:pt idx="3954">
                  <c:v>-1.6913436198152366E-2</c:v>
                </c:pt>
                <c:pt idx="3955">
                  <c:v>-1.7454089987207273E-2</c:v>
                </c:pt>
                <c:pt idx="3956">
                  <c:v>-1.7690133593173202E-2</c:v>
                </c:pt>
                <c:pt idx="3957">
                  <c:v>-1.748857755997222E-2</c:v>
                </c:pt>
                <c:pt idx="3958">
                  <c:v>-1.7246241795741794E-2</c:v>
                </c:pt>
                <c:pt idx="3959">
                  <c:v>-1.7041796069887712E-2</c:v>
                </c:pt>
                <c:pt idx="3960">
                  <c:v>-1.6975319955470251E-2</c:v>
                </c:pt>
                <c:pt idx="3961">
                  <c:v>-1.703129483720341E-2</c:v>
                </c:pt>
                <c:pt idx="3962">
                  <c:v>-1.7103621239178531E-2</c:v>
                </c:pt>
                <c:pt idx="3963">
                  <c:v>-1.7299818326500831E-2</c:v>
                </c:pt>
                <c:pt idx="3964">
                  <c:v>-1.7445302684530262E-2</c:v>
                </c:pt>
                <c:pt idx="3965">
                  <c:v>-1.7346027644924933E-2</c:v>
                </c:pt>
                <c:pt idx="3966">
                  <c:v>-1.7037173985565236E-2</c:v>
                </c:pt>
                <c:pt idx="3967">
                  <c:v>-1.6579576948748596E-2</c:v>
                </c:pt>
                <c:pt idx="3968">
                  <c:v>-1.6507005721601513E-2</c:v>
                </c:pt>
                <c:pt idx="3969">
                  <c:v>-1.6724275889758687E-2</c:v>
                </c:pt>
                <c:pt idx="3970">
                  <c:v>-1.7224811633461186E-2</c:v>
                </c:pt>
                <c:pt idx="3971">
                  <c:v>-1.8051614305647525E-2</c:v>
                </c:pt>
                <c:pt idx="3972">
                  <c:v>-1.90020045801195E-2</c:v>
                </c:pt>
                <c:pt idx="3973">
                  <c:v>-1.9829899510204623E-2</c:v>
                </c:pt>
                <c:pt idx="3974">
                  <c:v>-2.0512288561578038E-2</c:v>
                </c:pt>
                <c:pt idx="3975">
                  <c:v>-2.0894673245601257E-2</c:v>
                </c:pt>
                <c:pt idx="3976">
                  <c:v>-2.1318776136399098E-2</c:v>
                </c:pt>
                <c:pt idx="3977">
                  <c:v>-2.168911866078211E-2</c:v>
                </c:pt>
                <c:pt idx="3978">
                  <c:v>-2.1909363979650581E-2</c:v>
                </c:pt>
                <c:pt idx="3979">
                  <c:v>-2.1801222111083034E-2</c:v>
                </c:pt>
                <c:pt idx="3980">
                  <c:v>-2.1435743544356435E-2</c:v>
                </c:pt>
                <c:pt idx="3981">
                  <c:v>-2.0853224848460004E-2</c:v>
                </c:pt>
                <c:pt idx="3982">
                  <c:v>-2.0245203489294858E-2</c:v>
                </c:pt>
                <c:pt idx="3983">
                  <c:v>-1.9554045789102345E-2</c:v>
                </c:pt>
                <c:pt idx="3984">
                  <c:v>-1.9031385825271089E-2</c:v>
                </c:pt>
                <c:pt idx="3985">
                  <c:v>-1.8519079301181199E-2</c:v>
                </c:pt>
                <c:pt idx="3986">
                  <c:v>-1.7994344251886112E-2</c:v>
                </c:pt>
                <c:pt idx="3987">
                  <c:v>-1.7494949227010111E-2</c:v>
                </c:pt>
                <c:pt idx="3988">
                  <c:v>-1.7027145806636897E-2</c:v>
                </c:pt>
                <c:pt idx="3989">
                  <c:v>-1.6322814321077059E-2</c:v>
                </c:pt>
                <c:pt idx="3990">
                  <c:v>-1.5759215351075828E-2</c:v>
                </c:pt>
                <c:pt idx="3991">
                  <c:v>-1.5252866791225896E-2</c:v>
                </c:pt>
                <c:pt idx="3992">
                  <c:v>-1.5289006846501512E-2</c:v>
                </c:pt>
                <c:pt idx="3993">
                  <c:v>-1.5767229705915708E-2</c:v>
                </c:pt>
                <c:pt idx="3994">
                  <c:v>-1.6006775900576128E-2</c:v>
                </c:pt>
                <c:pt idx="3995">
                  <c:v>-1.6196607096448948E-2</c:v>
                </c:pt>
                <c:pt idx="3996">
                  <c:v>-1.6339172619592314E-2</c:v>
                </c:pt>
                <c:pt idx="3997">
                  <c:v>-1.6514859453854665E-2</c:v>
                </c:pt>
                <c:pt idx="3998">
                  <c:v>-1.7167556970926597E-2</c:v>
                </c:pt>
                <c:pt idx="3999">
                  <c:v>-1.7846018730571067E-2</c:v>
                </c:pt>
                <c:pt idx="4000">
                  <c:v>-1.86927500825021E-2</c:v>
                </c:pt>
                <c:pt idx="4001">
                  <c:v>-1.80477928687039E-2</c:v>
                </c:pt>
                <c:pt idx="4002">
                  <c:v>-1.5102056867615945E-2</c:v>
                </c:pt>
                <c:pt idx="4003">
                  <c:v>-1.3259506505797249E-2</c:v>
                </c:pt>
                <c:pt idx="4004">
                  <c:v>-1.2348802044964052E-2</c:v>
                </c:pt>
                <c:pt idx="4005">
                  <c:v>-1.296966983613238E-2</c:v>
                </c:pt>
                <c:pt idx="4006">
                  <c:v>-1.3797096282312661E-2</c:v>
                </c:pt>
                <c:pt idx="4007">
                  <c:v>-1.460595579965117E-2</c:v>
                </c:pt>
                <c:pt idx="4008">
                  <c:v>-1.5394076076458764E-2</c:v>
                </c:pt>
                <c:pt idx="4009">
                  <c:v>-1.58124061534669E-2</c:v>
                </c:pt>
                <c:pt idx="4010">
                  <c:v>-1.6307155032495455E-2</c:v>
                </c:pt>
                <c:pt idx="4011">
                  <c:v>-1.6022344481052088E-2</c:v>
                </c:pt>
                <c:pt idx="4012">
                  <c:v>-1.6075808071789075E-2</c:v>
                </c:pt>
                <c:pt idx="4013">
                  <c:v>-1.6296259242703396E-2</c:v>
                </c:pt>
                <c:pt idx="4014">
                  <c:v>-1.6206029736826867E-2</c:v>
                </c:pt>
                <c:pt idx="4015">
                  <c:v>-1.5444405018500447E-2</c:v>
                </c:pt>
                <c:pt idx="4016">
                  <c:v>-1.5142950781741908E-2</c:v>
                </c:pt>
                <c:pt idx="4017">
                  <c:v>-1.4628440973694366E-2</c:v>
                </c:pt>
                <c:pt idx="4018">
                  <c:v>-1.3998997160148286E-2</c:v>
                </c:pt>
                <c:pt idx="4019">
                  <c:v>-1.3660998128337718E-2</c:v>
                </c:pt>
                <c:pt idx="4020">
                  <c:v>-1.3278364352370878E-2</c:v>
                </c:pt>
                <c:pt idx="4021">
                  <c:v>-1.3322699649266924E-2</c:v>
                </c:pt>
                <c:pt idx="4022">
                  <c:v>-1.340716946242819E-2</c:v>
                </c:pt>
                <c:pt idx="4023">
                  <c:v>-1.3426890408239382E-2</c:v>
                </c:pt>
                <c:pt idx="4024">
                  <c:v>-1.3386300961721519E-2</c:v>
                </c:pt>
                <c:pt idx="4025">
                  <c:v>-1.3713309526685452E-2</c:v>
                </c:pt>
                <c:pt idx="4026">
                  <c:v>-1.4308363901640642E-2</c:v>
                </c:pt>
                <c:pt idx="4027">
                  <c:v>-1.4874029123234857E-2</c:v>
                </c:pt>
                <c:pt idx="4028">
                  <c:v>-1.5671113635489651E-2</c:v>
                </c:pt>
                <c:pt idx="4029">
                  <c:v>-1.6324556115221316E-2</c:v>
                </c:pt>
                <c:pt idx="4030">
                  <c:v>-1.665953666981736E-2</c:v>
                </c:pt>
                <c:pt idx="4031">
                  <c:v>-1.6550012197526744E-2</c:v>
                </c:pt>
                <c:pt idx="4032">
                  <c:v>-1.6954694136696202E-2</c:v>
                </c:pt>
                <c:pt idx="4033">
                  <c:v>-1.7456325881064175E-2</c:v>
                </c:pt>
                <c:pt idx="4034">
                  <c:v>-1.8161893093029853E-2</c:v>
                </c:pt>
                <c:pt idx="4035">
                  <c:v>-1.8661134770086085E-2</c:v>
                </c:pt>
                <c:pt idx="4036">
                  <c:v>-1.8845924868551855E-2</c:v>
                </c:pt>
                <c:pt idx="4037">
                  <c:v>-1.8829084927176169E-2</c:v>
                </c:pt>
                <c:pt idx="4038">
                  <c:v>-1.8804797924400294E-2</c:v>
                </c:pt>
                <c:pt idx="4039">
                  <c:v>-1.9090061622394731E-2</c:v>
                </c:pt>
                <c:pt idx="4040">
                  <c:v>-1.8976580085398702E-2</c:v>
                </c:pt>
                <c:pt idx="4041">
                  <c:v>-2.0022007716164844E-2</c:v>
                </c:pt>
                <c:pt idx="4042">
                  <c:v>-1.9833337385023273E-2</c:v>
                </c:pt>
                <c:pt idx="4043">
                  <c:v>-1.9613578568465191E-2</c:v>
                </c:pt>
                <c:pt idx="4044">
                  <c:v>-1.9815287368990606E-2</c:v>
                </c:pt>
                <c:pt idx="4045">
                  <c:v>-2.1705078718036085E-2</c:v>
                </c:pt>
                <c:pt idx="4046">
                  <c:v>-2.1573376157152442E-2</c:v>
                </c:pt>
                <c:pt idx="4047">
                  <c:v>-2.1464118169087054E-2</c:v>
                </c:pt>
                <c:pt idx="4048">
                  <c:v>-2.1286475303532087E-2</c:v>
                </c:pt>
                <c:pt idx="4049">
                  <c:v>-2.0992592445871663E-2</c:v>
                </c:pt>
                <c:pt idx="4050">
                  <c:v>-2.067660333807083E-2</c:v>
                </c:pt>
                <c:pt idx="4051">
                  <c:v>-2.0564598511249269E-2</c:v>
                </c:pt>
                <c:pt idx="4052">
                  <c:v>-2.0653637886217564E-2</c:v>
                </c:pt>
                <c:pt idx="4053">
                  <c:v>-2.108065270552581E-2</c:v>
                </c:pt>
                <c:pt idx="4054">
                  <c:v>-2.1420243729485686E-2</c:v>
                </c:pt>
                <c:pt idx="4055">
                  <c:v>-2.1486933391722099E-2</c:v>
                </c:pt>
                <c:pt idx="4056">
                  <c:v>-2.1227533149192013E-2</c:v>
                </c:pt>
                <c:pt idx="4057">
                  <c:v>-2.0980742403936554E-2</c:v>
                </c:pt>
                <c:pt idx="4058">
                  <c:v>-1.9383455335371169E-2</c:v>
                </c:pt>
                <c:pt idx="4059">
                  <c:v>-1.8251495271158494E-2</c:v>
                </c:pt>
                <c:pt idx="4060">
                  <c:v>-1.7589143952498099E-2</c:v>
                </c:pt>
                <c:pt idx="4061">
                  <c:v>-1.7415634101170439E-2</c:v>
                </c:pt>
                <c:pt idx="4062">
                  <c:v>-1.745513585148304E-2</c:v>
                </c:pt>
                <c:pt idx="4063">
                  <c:v>-1.7471500803975831E-2</c:v>
                </c:pt>
                <c:pt idx="4064">
                  <c:v>-1.7193074586319322E-2</c:v>
                </c:pt>
                <c:pt idx="4065">
                  <c:v>-1.6475564390094021E-2</c:v>
                </c:pt>
                <c:pt idx="4066">
                  <c:v>-1.5755695634432288E-2</c:v>
                </c:pt>
                <c:pt idx="4067">
                  <c:v>-1.5609834380613051E-2</c:v>
                </c:pt>
                <c:pt idx="4068">
                  <c:v>-1.5510100173352236E-2</c:v>
                </c:pt>
                <c:pt idx="4069">
                  <c:v>-1.5170845455975385E-2</c:v>
                </c:pt>
                <c:pt idx="4070">
                  <c:v>-1.4923116876469227E-2</c:v>
                </c:pt>
                <c:pt idx="4071">
                  <c:v>-1.497485096544229E-2</c:v>
                </c:pt>
                <c:pt idx="4072">
                  <c:v>-1.5389495643241739E-2</c:v>
                </c:pt>
                <c:pt idx="4073">
                  <c:v>-1.6131223901683176E-2</c:v>
                </c:pt>
                <c:pt idx="4074">
                  <c:v>-1.6937708218683095E-2</c:v>
                </c:pt>
                <c:pt idx="4075">
                  <c:v>-1.8079820563488461E-2</c:v>
                </c:pt>
                <c:pt idx="4076">
                  <c:v>-1.9083184824366221E-2</c:v>
                </c:pt>
                <c:pt idx="4077">
                  <c:v>-1.9439475979743687E-2</c:v>
                </c:pt>
                <c:pt idx="4078">
                  <c:v>-1.9503171728913474E-2</c:v>
                </c:pt>
                <c:pt idx="4079">
                  <c:v>-1.9545908354315487E-2</c:v>
                </c:pt>
                <c:pt idx="4080">
                  <c:v>-1.9564782506984412E-2</c:v>
                </c:pt>
                <c:pt idx="4081">
                  <c:v>-1.9535912410257136E-2</c:v>
                </c:pt>
                <c:pt idx="4082">
                  <c:v>-1.942359744251319E-2</c:v>
                </c:pt>
                <c:pt idx="4083">
                  <c:v>-1.8669775712700419E-2</c:v>
                </c:pt>
                <c:pt idx="4084">
                  <c:v>-1.8336437029888381E-2</c:v>
                </c:pt>
                <c:pt idx="4085">
                  <c:v>-1.8231578259631478E-2</c:v>
                </c:pt>
                <c:pt idx="4086">
                  <c:v>-1.804355298580889E-2</c:v>
                </c:pt>
                <c:pt idx="4087">
                  <c:v>-1.7758968565261959E-2</c:v>
                </c:pt>
                <c:pt idx="4088">
                  <c:v>-1.7957457676350021E-2</c:v>
                </c:pt>
                <c:pt idx="4089">
                  <c:v>-1.8232981615708698E-2</c:v>
                </c:pt>
                <c:pt idx="4090">
                  <c:v>-1.8695858265629427E-2</c:v>
                </c:pt>
                <c:pt idx="4091">
                  <c:v>-1.895243321860968E-2</c:v>
                </c:pt>
                <c:pt idx="4092">
                  <c:v>-1.8853071704985978E-2</c:v>
                </c:pt>
                <c:pt idx="4093">
                  <c:v>-1.8132496620876019E-2</c:v>
                </c:pt>
                <c:pt idx="4094">
                  <c:v>-1.7707845687278029E-2</c:v>
                </c:pt>
                <c:pt idx="4095">
                  <c:v>-1.7638348630989172E-2</c:v>
                </c:pt>
                <c:pt idx="4096">
                  <c:v>-1.8043142957463888E-2</c:v>
                </c:pt>
                <c:pt idx="4097">
                  <c:v>-1.8290067344902919E-2</c:v>
                </c:pt>
                <c:pt idx="4098">
                  <c:v>-1.8579605045883879E-2</c:v>
                </c:pt>
                <c:pt idx="4099">
                  <c:v>-1.8844001968433045E-2</c:v>
                </c:pt>
                <c:pt idx="4100">
                  <c:v>-1.9244219505831568E-2</c:v>
                </c:pt>
                <c:pt idx="4101">
                  <c:v>-1.9751138200715855E-2</c:v>
                </c:pt>
                <c:pt idx="4102">
                  <c:v>-2.012534016760284E-2</c:v>
                </c:pt>
                <c:pt idx="4103">
                  <c:v>-2.0255408600035094E-2</c:v>
                </c:pt>
                <c:pt idx="4104">
                  <c:v>-2.0042694755459493E-2</c:v>
                </c:pt>
                <c:pt idx="4105">
                  <c:v>-1.9393564381535919E-2</c:v>
                </c:pt>
                <c:pt idx="4106">
                  <c:v>-1.8528341713819722E-2</c:v>
                </c:pt>
                <c:pt idx="4107">
                  <c:v>-1.8047385852939572E-2</c:v>
                </c:pt>
                <c:pt idx="4108">
                  <c:v>-1.7917655092953011E-2</c:v>
                </c:pt>
                <c:pt idx="4109">
                  <c:v>-1.7348093485398255E-2</c:v>
                </c:pt>
                <c:pt idx="4110">
                  <c:v>-1.8086474204893177E-2</c:v>
                </c:pt>
                <c:pt idx="4111">
                  <c:v>-1.8965774362404358E-2</c:v>
                </c:pt>
                <c:pt idx="4112">
                  <c:v>-1.9719520355417706E-2</c:v>
                </c:pt>
                <c:pt idx="4113">
                  <c:v>-1.9422195919292697E-2</c:v>
                </c:pt>
                <c:pt idx="4114">
                  <c:v>-2.0174051802854025E-2</c:v>
                </c:pt>
                <c:pt idx="4115">
                  <c:v>-2.0558166974970822E-2</c:v>
                </c:pt>
                <c:pt idx="4116">
                  <c:v>-2.0898896946700184E-2</c:v>
                </c:pt>
                <c:pt idx="4117">
                  <c:v>-2.0631193467448967E-2</c:v>
                </c:pt>
                <c:pt idx="4118">
                  <c:v>-2.1016391173907911E-2</c:v>
                </c:pt>
                <c:pt idx="4119">
                  <c:v>-2.1124637231570695E-2</c:v>
                </c:pt>
                <c:pt idx="4120">
                  <c:v>-2.1053290687461187E-2</c:v>
                </c:pt>
                <c:pt idx="4121">
                  <c:v>-2.0790334740306091E-2</c:v>
                </c:pt>
                <c:pt idx="4122">
                  <c:v>-2.0791055681195429E-2</c:v>
                </c:pt>
                <c:pt idx="4123">
                  <c:v>-2.123246489363427E-2</c:v>
                </c:pt>
                <c:pt idx="4124">
                  <c:v>-2.1605618240151798E-2</c:v>
                </c:pt>
                <c:pt idx="4125">
                  <c:v>-2.1876576868702036E-2</c:v>
                </c:pt>
                <c:pt idx="4126">
                  <c:v>-2.1748724377701024E-2</c:v>
                </c:pt>
                <c:pt idx="4127">
                  <c:v>-2.1455525373473047E-2</c:v>
                </c:pt>
                <c:pt idx="4128">
                  <c:v>-2.1022883626609999E-2</c:v>
                </c:pt>
                <c:pt idx="4129">
                  <c:v>-2.0797333886092745E-2</c:v>
                </c:pt>
                <c:pt idx="4130">
                  <c:v>-2.0555875011597433E-2</c:v>
                </c:pt>
                <c:pt idx="4131">
                  <c:v>-2.0289959190176746E-2</c:v>
                </c:pt>
                <c:pt idx="4132">
                  <c:v>-2.013319965285025E-2</c:v>
                </c:pt>
                <c:pt idx="4133">
                  <c:v>-2.0169806233102605E-2</c:v>
                </c:pt>
                <c:pt idx="4134">
                  <c:v>-2.0377080600892633E-2</c:v>
                </c:pt>
                <c:pt idx="4135">
                  <c:v>-2.0684702755095808E-2</c:v>
                </c:pt>
                <c:pt idx="4136">
                  <c:v>-2.0954891449003456E-2</c:v>
                </c:pt>
                <c:pt idx="4137">
                  <c:v>-2.121171281484973E-2</c:v>
                </c:pt>
                <c:pt idx="4138">
                  <c:v>-2.1362888404234066E-2</c:v>
                </c:pt>
                <c:pt idx="4139">
                  <c:v>-2.213315552788396E-2</c:v>
                </c:pt>
                <c:pt idx="4140">
                  <c:v>-2.2043015774330779E-2</c:v>
                </c:pt>
                <c:pt idx="4141">
                  <c:v>-2.1718712405040197E-2</c:v>
                </c:pt>
                <c:pt idx="4142">
                  <c:v>-2.146017388396531E-2</c:v>
                </c:pt>
                <c:pt idx="4143">
                  <c:v>-2.3637313945756765E-2</c:v>
                </c:pt>
                <c:pt idx="4144">
                  <c:v>-2.2864425250738327E-2</c:v>
                </c:pt>
                <c:pt idx="4145">
                  <c:v>-2.1912880664239531E-2</c:v>
                </c:pt>
                <c:pt idx="4146">
                  <c:v>-2.0426893204029538E-2</c:v>
                </c:pt>
                <c:pt idx="4147">
                  <c:v>-1.9565911555255812E-2</c:v>
                </c:pt>
                <c:pt idx="4148">
                  <c:v>-1.8044526817529213E-2</c:v>
                </c:pt>
                <c:pt idx="4149">
                  <c:v>-1.7051250008389574E-2</c:v>
                </c:pt>
                <c:pt idx="4150">
                  <c:v>-1.629251035457183E-2</c:v>
                </c:pt>
                <c:pt idx="4151">
                  <c:v>-1.7122308880582658E-2</c:v>
                </c:pt>
                <c:pt idx="4152">
                  <c:v>-1.7935005112316157E-2</c:v>
                </c:pt>
                <c:pt idx="4153">
                  <c:v>-1.8504048195851334E-2</c:v>
                </c:pt>
                <c:pt idx="4154">
                  <c:v>-1.9082135552600858E-2</c:v>
                </c:pt>
                <c:pt idx="4155">
                  <c:v>-1.9858722076656996E-2</c:v>
                </c:pt>
                <c:pt idx="4156">
                  <c:v>-2.076361042881697E-2</c:v>
                </c:pt>
                <c:pt idx="4157">
                  <c:v>-2.1439774996674626E-2</c:v>
                </c:pt>
                <c:pt idx="4158">
                  <c:v>-2.1839326737777935E-2</c:v>
                </c:pt>
                <c:pt idx="4159">
                  <c:v>-2.2146295338514171E-2</c:v>
                </c:pt>
                <c:pt idx="4160">
                  <c:v>-2.2399529432119397E-2</c:v>
                </c:pt>
                <c:pt idx="4161">
                  <c:v>-2.2484033493808293E-2</c:v>
                </c:pt>
                <c:pt idx="4162">
                  <c:v>-2.2351657723917104E-2</c:v>
                </c:pt>
                <c:pt idx="4163">
                  <c:v>-2.1853942533299281E-2</c:v>
                </c:pt>
                <c:pt idx="4164">
                  <c:v>-2.1508467143014711E-2</c:v>
                </c:pt>
                <c:pt idx="4165">
                  <c:v>-2.1397409650373733E-2</c:v>
                </c:pt>
                <c:pt idx="4166">
                  <c:v>-2.1445451550370379E-2</c:v>
                </c:pt>
                <c:pt idx="4167">
                  <c:v>-2.1644596784275841E-2</c:v>
                </c:pt>
                <c:pt idx="4168">
                  <c:v>-2.1971522282859098E-2</c:v>
                </c:pt>
                <c:pt idx="4169">
                  <c:v>-2.1614665895105238E-2</c:v>
                </c:pt>
                <c:pt idx="4170">
                  <c:v>-2.1903286595918142E-2</c:v>
                </c:pt>
                <c:pt idx="4171">
                  <c:v>-2.2087760227211321E-2</c:v>
                </c:pt>
                <c:pt idx="4172">
                  <c:v>-2.2102899949872128E-2</c:v>
                </c:pt>
                <c:pt idx="4173">
                  <c:v>-2.1940986786102457E-2</c:v>
                </c:pt>
                <c:pt idx="4174">
                  <c:v>-2.1465022490472246E-2</c:v>
                </c:pt>
                <c:pt idx="4175">
                  <c:v>-1.9891172872977883E-2</c:v>
                </c:pt>
                <c:pt idx="4176">
                  <c:v>-1.2893783751142706E-2</c:v>
                </c:pt>
                <c:pt idx="4177">
                  <c:v>3.4198450434107686E-2</c:v>
                </c:pt>
                <c:pt idx="4178">
                  <c:v>5.3164358033600749E-2</c:v>
                </c:pt>
                <c:pt idx="4179">
                  <c:v>5.5212018698645914E-2</c:v>
                </c:pt>
                <c:pt idx="4180">
                  <c:v>6.3702398116721751E-2</c:v>
                </c:pt>
                <c:pt idx="4181">
                  <c:v>7.5575932979327118E-2</c:v>
                </c:pt>
                <c:pt idx="4182">
                  <c:v>8.468967200144073E-2</c:v>
                </c:pt>
                <c:pt idx="4183">
                  <c:v>8.5659424320264882E-2</c:v>
                </c:pt>
                <c:pt idx="4184">
                  <c:v>8.5583324684816789E-2</c:v>
                </c:pt>
                <c:pt idx="4185">
                  <c:v>8.5532647506162171E-2</c:v>
                </c:pt>
                <c:pt idx="4186">
                  <c:v>8.6127174145554652E-2</c:v>
                </c:pt>
                <c:pt idx="4187">
                  <c:v>8.7048943449703181E-2</c:v>
                </c:pt>
                <c:pt idx="4188">
                  <c:v>8.8114295292766986E-2</c:v>
                </c:pt>
                <c:pt idx="4189">
                  <c:v>8.9277289001413143E-2</c:v>
                </c:pt>
                <c:pt idx="4190">
                  <c:v>9.0861444494807542E-2</c:v>
                </c:pt>
                <c:pt idx="4191">
                  <c:v>9.2823142292918909E-2</c:v>
                </c:pt>
                <c:pt idx="4192">
                  <c:v>9.5318222253234663E-2</c:v>
                </c:pt>
                <c:pt idx="4193">
                  <c:v>9.6709447303497426E-2</c:v>
                </c:pt>
                <c:pt idx="4194">
                  <c:v>9.741815647137117E-2</c:v>
                </c:pt>
                <c:pt idx="4195">
                  <c:v>9.7461079706884224E-2</c:v>
                </c:pt>
                <c:pt idx="4196">
                  <c:v>9.7508388322233755E-2</c:v>
                </c:pt>
                <c:pt idx="4197">
                  <c:v>9.7478388895169937E-2</c:v>
                </c:pt>
                <c:pt idx="4198">
                  <c:v>9.7370219839740493E-2</c:v>
                </c:pt>
                <c:pt idx="4199">
                  <c:v>9.7646974093809971E-2</c:v>
                </c:pt>
                <c:pt idx="4200">
                  <c:v>9.7674254006989356E-2</c:v>
                </c:pt>
                <c:pt idx="4201">
                  <c:v>9.7697913077942067E-2</c:v>
                </c:pt>
                <c:pt idx="4202">
                  <c:v>9.7598658512162262E-2</c:v>
                </c:pt>
                <c:pt idx="4203">
                  <c:v>9.7602024012130584E-2</c:v>
                </c:pt>
                <c:pt idx="4204">
                  <c:v>9.8013357260936004E-2</c:v>
                </c:pt>
                <c:pt idx="4205">
                  <c:v>9.7689013758333929E-2</c:v>
                </c:pt>
                <c:pt idx="4206">
                  <c:v>9.9759588717496989E-2</c:v>
                </c:pt>
                <c:pt idx="4207">
                  <c:v>8.84759945232787E-2</c:v>
                </c:pt>
                <c:pt idx="4208">
                  <c:v>7.7569338357153933E-2</c:v>
                </c:pt>
                <c:pt idx="4209">
                  <c:v>7.6333879212389572E-2</c:v>
                </c:pt>
                <c:pt idx="4210">
                  <c:v>6.7818016013223015E-2</c:v>
                </c:pt>
                <c:pt idx="4211">
                  <c:v>4.9626778313723911E-2</c:v>
                </c:pt>
                <c:pt idx="4212">
                  <c:v>2.2532842160404194E-2</c:v>
                </c:pt>
                <c:pt idx="4213">
                  <c:v>1.0442177686041538E-2</c:v>
                </c:pt>
                <c:pt idx="4214">
                  <c:v>1.0705363774857288E-3</c:v>
                </c:pt>
                <c:pt idx="4215">
                  <c:v>-9.0290699197409941E-3</c:v>
                </c:pt>
                <c:pt idx="4216">
                  <c:v>-1.1009802920895925E-2</c:v>
                </c:pt>
                <c:pt idx="4217">
                  <c:v>-1.2366914293028101E-2</c:v>
                </c:pt>
                <c:pt idx="4218">
                  <c:v>-1.2367462381182191E-2</c:v>
                </c:pt>
                <c:pt idx="4219">
                  <c:v>-1.2382480928874565E-2</c:v>
                </c:pt>
                <c:pt idx="4220">
                  <c:v>-1.2407351971720181E-2</c:v>
                </c:pt>
                <c:pt idx="4221">
                  <c:v>-1.240735611452674E-2</c:v>
                </c:pt>
                <c:pt idx="4222">
                  <c:v>-1.240734999650098E-2</c:v>
                </c:pt>
                <c:pt idx="4223">
                  <c:v>-1.2393820869449486E-2</c:v>
                </c:pt>
                <c:pt idx="4224">
                  <c:v>-1.2431345315873071E-2</c:v>
                </c:pt>
                <c:pt idx="4225">
                  <c:v>-1.2438888132405027E-2</c:v>
                </c:pt>
                <c:pt idx="4226">
                  <c:v>-1.2460667385712882E-2</c:v>
                </c:pt>
                <c:pt idx="4227">
                  <c:v>-1.245967422760199E-2</c:v>
                </c:pt>
                <c:pt idx="4228">
                  <c:v>-1.2459641232510716E-2</c:v>
                </c:pt>
                <c:pt idx="4229">
                  <c:v>-1.2500621955678321E-2</c:v>
                </c:pt>
                <c:pt idx="4230">
                  <c:v>-1.2536674941990931E-2</c:v>
                </c:pt>
                <c:pt idx="4231">
                  <c:v>-1.2577657912126816E-2</c:v>
                </c:pt>
                <c:pt idx="4232">
                  <c:v>-1.2535624138685426E-2</c:v>
                </c:pt>
                <c:pt idx="4233">
                  <c:v>-1.253569375681131E-2</c:v>
                </c:pt>
                <c:pt idx="4234">
                  <c:v>-1.2525000602430319E-2</c:v>
                </c:pt>
                <c:pt idx="4235">
                  <c:v>-1.2484080744259289E-2</c:v>
                </c:pt>
                <c:pt idx="4236">
                  <c:v>-1.2495801243831785E-2</c:v>
                </c:pt>
                <c:pt idx="4237">
                  <c:v>-1.2495927013721597E-2</c:v>
                </c:pt>
                <c:pt idx="4238">
                  <c:v>-1.249607760592523E-2</c:v>
                </c:pt>
                <c:pt idx="4239">
                  <c:v>-1.249646970758563E-2</c:v>
                </c:pt>
                <c:pt idx="4240">
                  <c:v>-1.2496676051673195E-2</c:v>
                </c:pt>
                <c:pt idx="4241">
                  <c:v>-1.2509481475895463E-2</c:v>
                </c:pt>
                <c:pt idx="4242">
                  <c:v>-1.2509914266940413E-2</c:v>
                </c:pt>
                <c:pt idx="4243">
                  <c:v>-1.2498002008950836E-2</c:v>
                </c:pt>
                <c:pt idx="4244">
                  <c:v>-1.2499219074315655E-2</c:v>
                </c:pt>
                <c:pt idx="4245">
                  <c:v>-1.2499347737433504E-2</c:v>
                </c:pt>
                <c:pt idx="4246">
                  <c:v>-1.2500962611150985E-2</c:v>
                </c:pt>
                <c:pt idx="4247">
                  <c:v>-1.2539055523687712E-2</c:v>
                </c:pt>
                <c:pt idx="4248">
                  <c:v>-1.2539211464395853E-2</c:v>
                </c:pt>
                <c:pt idx="4249">
                  <c:v>-1.2505671275308673E-2</c:v>
                </c:pt>
                <c:pt idx="4250">
                  <c:v>-1.2505852064541788E-2</c:v>
                </c:pt>
                <c:pt idx="4251">
                  <c:v>-1.2508759561739489E-2</c:v>
                </c:pt>
                <c:pt idx="4252">
                  <c:v>-1.2508891838239992E-2</c:v>
                </c:pt>
                <c:pt idx="4253">
                  <c:v>-1.2519177267120573E-2</c:v>
                </c:pt>
                <c:pt idx="4254">
                  <c:v>-1.2522146102474065E-2</c:v>
                </c:pt>
                <c:pt idx="4255">
                  <c:v>-1.2522233723554045E-2</c:v>
                </c:pt>
                <c:pt idx="4256">
                  <c:v>-1.253908642945312E-2</c:v>
                </c:pt>
                <c:pt idx="4257">
                  <c:v>-1.2539173882870833E-2</c:v>
                </c:pt>
                <c:pt idx="4258">
                  <c:v>-1.2543098855943737E-2</c:v>
                </c:pt>
                <c:pt idx="4259">
                  <c:v>-1.2516987481668513E-2</c:v>
                </c:pt>
                <c:pt idx="4260">
                  <c:v>-1.2522456985678611E-2</c:v>
                </c:pt>
                <c:pt idx="4261">
                  <c:v>-1.2522461909858786E-2</c:v>
                </c:pt>
                <c:pt idx="4262">
                  <c:v>-1.2522463979826023E-2</c:v>
                </c:pt>
                <c:pt idx="4263">
                  <c:v>-1.2522462936560992E-2</c:v>
                </c:pt>
                <c:pt idx="4264">
                  <c:v>-1.2530217672164451E-2</c:v>
                </c:pt>
                <c:pt idx="4265">
                  <c:v>-1.2585077751417968E-2</c:v>
                </c:pt>
                <c:pt idx="4266">
                  <c:v>-1.2592427603428078E-2</c:v>
                </c:pt>
                <c:pt idx="4267">
                  <c:v>-1.2600425189963566E-2</c:v>
                </c:pt>
                <c:pt idx="4268">
                  <c:v>-1.2581316719167667E-2</c:v>
                </c:pt>
                <c:pt idx="4269">
                  <c:v>-1.254956211279362E-2</c:v>
                </c:pt>
                <c:pt idx="4270">
                  <c:v>-1.2552353399159661E-2</c:v>
                </c:pt>
                <c:pt idx="4271">
                  <c:v>-1.2552351011299801E-2</c:v>
                </c:pt>
                <c:pt idx="4272">
                  <c:v>-1.2543774941134815E-2</c:v>
                </c:pt>
                <c:pt idx="4273">
                  <c:v>-1.2549550855241797E-2</c:v>
                </c:pt>
                <c:pt idx="4274">
                  <c:v>-1.2541939955072716E-2</c:v>
                </c:pt>
                <c:pt idx="4275">
                  <c:v>-1.2549546957129485E-2</c:v>
                </c:pt>
                <c:pt idx="4276">
                  <c:v>-1.2549544855873394E-2</c:v>
                </c:pt>
                <c:pt idx="4277">
                  <c:v>-1.2577322345989413E-2</c:v>
                </c:pt>
                <c:pt idx="4278">
                  <c:v>-1.2549538113597889E-2</c:v>
                </c:pt>
                <c:pt idx="4279">
                  <c:v>-1.2581290962362202E-2</c:v>
                </c:pt>
                <c:pt idx="4280">
                  <c:v>-1.257608703562739E-2</c:v>
                </c:pt>
                <c:pt idx="4281">
                  <c:v>-1.2571431403903219E-2</c:v>
                </c:pt>
                <c:pt idx="4282">
                  <c:v>-1.2561544890688977E-2</c:v>
                </c:pt>
                <c:pt idx="4283">
                  <c:v>-1.2557032610425782E-2</c:v>
                </c:pt>
                <c:pt idx="4284">
                  <c:v>-1.2535786960135758E-2</c:v>
                </c:pt>
                <c:pt idx="4285">
                  <c:v>-1.2503428390818543E-2</c:v>
                </c:pt>
                <c:pt idx="4286">
                  <c:v>-1.2503428907643194E-2</c:v>
                </c:pt>
                <c:pt idx="4287">
                  <c:v>-1.249984544167315E-2</c:v>
                </c:pt>
                <c:pt idx="4288">
                  <c:v>-1.2496703051762719E-2</c:v>
                </c:pt>
                <c:pt idx="4289">
                  <c:v>-1.2530399496946934E-2</c:v>
                </c:pt>
                <c:pt idx="4290">
                  <c:v>-1.2513707038042995E-2</c:v>
                </c:pt>
                <c:pt idx="4291">
                  <c:v>-1.2504289739700265E-2</c:v>
                </c:pt>
                <c:pt idx="4292">
                  <c:v>-1.2539197870038469E-2</c:v>
                </c:pt>
                <c:pt idx="4293">
                  <c:v>-1.2555864410496559E-2</c:v>
                </c:pt>
                <c:pt idx="4294">
                  <c:v>-1.2554222930739517E-2</c:v>
                </c:pt>
                <c:pt idx="4295">
                  <c:v>-1.255422680267153E-2</c:v>
                </c:pt>
                <c:pt idx="4296">
                  <c:v>-1.2554231502058158E-2</c:v>
                </c:pt>
                <c:pt idx="4297">
                  <c:v>-1.2553062797195823E-2</c:v>
                </c:pt>
                <c:pt idx="4298">
                  <c:v>-1.2596272102270429E-2</c:v>
                </c:pt>
                <c:pt idx="4299">
                  <c:v>-1.2613115549600337E-2</c:v>
                </c:pt>
                <c:pt idx="4300">
                  <c:v>-1.2625770066575465E-2</c:v>
                </c:pt>
                <c:pt idx="4301">
                  <c:v>-1.2622646135837577E-2</c:v>
                </c:pt>
                <c:pt idx="4302">
                  <c:v>-1.2620260367253559E-2</c:v>
                </c:pt>
                <c:pt idx="4303">
                  <c:v>-1.2616603734851906E-2</c:v>
                </c:pt>
                <c:pt idx="4304">
                  <c:v>-1.2612642200927325E-2</c:v>
                </c:pt>
                <c:pt idx="4305">
                  <c:v>-1.2608447771462311E-2</c:v>
                </c:pt>
                <c:pt idx="4306">
                  <c:v>-1.260418228675513E-2</c:v>
                </c:pt>
                <c:pt idx="4307">
                  <c:v>-1.2557215756837669E-2</c:v>
                </c:pt>
                <c:pt idx="4308">
                  <c:v>-1.254770752042658E-2</c:v>
                </c:pt>
                <c:pt idx="4309">
                  <c:v>-1.2505441118174497E-2</c:v>
                </c:pt>
                <c:pt idx="4310">
                  <c:v>-1.2466928912474581E-2</c:v>
                </c:pt>
                <c:pt idx="4311">
                  <c:v>-1.2445907940133484E-2</c:v>
                </c:pt>
                <c:pt idx="4312">
                  <c:v>-1.2460715688372603E-2</c:v>
                </c:pt>
                <c:pt idx="4313">
                  <c:v>-1.2457191020743764E-2</c:v>
                </c:pt>
                <c:pt idx="4314">
                  <c:v>-1.239984874627862E-2</c:v>
                </c:pt>
                <c:pt idx="4315">
                  <c:v>-1.2441796386655662E-2</c:v>
                </c:pt>
                <c:pt idx="4316">
                  <c:v>-1.2439237568448298E-2</c:v>
                </c:pt>
                <c:pt idx="4317">
                  <c:v>-1.2437851293564254E-2</c:v>
                </c:pt>
                <c:pt idx="4318">
                  <c:v>-1.2437140291914478E-2</c:v>
                </c:pt>
                <c:pt idx="4319">
                  <c:v>-1.2440802033833074E-2</c:v>
                </c:pt>
                <c:pt idx="4320">
                  <c:v>-1.2421368348959252E-2</c:v>
                </c:pt>
                <c:pt idx="4321">
                  <c:v>-1.2447295310052358E-2</c:v>
                </c:pt>
                <c:pt idx="4322">
                  <c:v>-1.2449349855111327E-2</c:v>
                </c:pt>
                <c:pt idx="4323">
                  <c:v>-1.2458733603580968E-2</c:v>
                </c:pt>
                <c:pt idx="4324">
                  <c:v>-1.246108099879167E-2</c:v>
                </c:pt>
                <c:pt idx="4325">
                  <c:v>-1.2438431533091376E-2</c:v>
                </c:pt>
                <c:pt idx="4326">
                  <c:v>-1.2447180916713254E-2</c:v>
                </c:pt>
                <c:pt idx="4327">
                  <c:v>-1.2449464866475767E-2</c:v>
                </c:pt>
                <c:pt idx="4328">
                  <c:v>-1.2458635178115856E-2</c:v>
                </c:pt>
                <c:pt idx="4329">
                  <c:v>-1.2465924280618379E-2</c:v>
                </c:pt>
                <c:pt idx="4330">
                  <c:v>-1.2465213304328192E-2</c:v>
                </c:pt>
                <c:pt idx="4331">
                  <c:v>-1.2464447884575493E-2</c:v>
                </c:pt>
                <c:pt idx="4332">
                  <c:v>-1.246296876238219E-2</c:v>
                </c:pt>
                <c:pt idx="4333">
                  <c:v>-1.2461828360666618E-2</c:v>
                </c:pt>
                <c:pt idx="4334">
                  <c:v>-1.2435101227546638E-2</c:v>
                </c:pt>
                <c:pt idx="4335">
                  <c:v>-1.2411317183789778E-2</c:v>
                </c:pt>
                <c:pt idx="4336">
                  <c:v>-1.2410445858647746E-2</c:v>
                </c:pt>
                <c:pt idx="4337">
                  <c:v>-1.2432595580187543E-2</c:v>
                </c:pt>
                <c:pt idx="4338">
                  <c:v>-1.2458009813576695E-2</c:v>
                </c:pt>
                <c:pt idx="4339">
                  <c:v>-1.2476626793915068E-2</c:v>
                </c:pt>
                <c:pt idx="4340">
                  <c:v>-1.2504147993552182E-2</c:v>
                </c:pt>
                <c:pt idx="4341">
                  <c:v>-1.2527020141738409E-2</c:v>
                </c:pt>
                <c:pt idx="4342">
                  <c:v>-1.2527795525755328E-2</c:v>
                </c:pt>
                <c:pt idx="4343">
                  <c:v>-1.2520207047832015E-2</c:v>
                </c:pt>
                <c:pt idx="4344">
                  <c:v>-1.2592522641001431E-2</c:v>
                </c:pt>
                <c:pt idx="4345">
                  <c:v>-1.2601021948015491E-2</c:v>
                </c:pt>
                <c:pt idx="4346">
                  <c:v>-1.2601172225862272E-2</c:v>
                </c:pt>
                <c:pt idx="4347">
                  <c:v>-1.2601373318857096E-2</c:v>
                </c:pt>
                <c:pt idx="4348">
                  <c:v>-1.259274749234417E-2</c:v>
                </c:pt>
                <c:pt idx="4349">
                  <c:v>-1.2592230974717364E-2</c:v>
                </c:pt>
                <c:pt idx="4350">
                  <c:v>-1.2629767249074624E-2</c:v>
                </c:pt>
                <c:pt idx="4351">
                  <c:v>-1.2630077815234434E-2</c:v>
                </c:pt>
                <c:pt idx="4352">
                  <c:v>-1.2629732285195077E-2</c:v>
                </c:pt>
                <c:pt idx="4353">
                  <c:v>-1.2621766915266777E-2</c:v>
                </c:pt>
                <c:pt idx="4354">
                  <c:v>-1.2610854550739906E-2</c:v>
                </c:pt>
                <c:pt idx="4355">
                  <c:v>-1.2638381158060038E-2</c:v>
                </c:pt>
                <c:pt idx="4356">
                  <c:v>-1.2638651364563202E-2</c:v>
                </c:pt>
                <c:pt idx="4357">
                  <c:v>-1.2639040981747146E-2</c:v>
                </c:pt>
                <c:pt idx="4358">
                  <c:v>-1.2639310214686863E-2</c:v>
                </c:pt>
                <c:pt idx="4359">
                  <c:v>-1.2630417874752031E-2</c:v>
                </c:pt>
                <c:pt idx="4360">
                  <c:v>-1.2634101906462931E-2</c:v>
                </c:pt>
                <c:pt idx="4361">
                  <c:v>-1.2626757348100535E-2</c:v>
                </c:pt>
                <c:pt idx="4362">
                  <c:v>-1.2638893737243721E-2</c:v>
                </c:pt>
                <c:pt idx="4363">
                  <c:v>-1.2624659356962506E-2</c:v>
                </c:pt>
                <c:pt idx="4364">
                  <c:v>-1.2601120422230593E-2</c:v>
                </c:pt>
                <c:pt idx="4365">
                  <c:v>-1.2564404986459578E-2</c:v>
                </c:pt>
                <c:pt idx="4366">
                  <c:v>-1.2562549757323611E-2</c:v>
                </c:pt>
                <c:pt idx="4367">
                  <c:v>-1.2544412862649335E-2</c:v>
                </c:pt>
                <c:pt idx="4368">
                  <c:v>-1.2542409004994155E-2</c:v>
                </c:pt>
                <c:pt idx="4369">
                  <c:v>-1.2542032064038923E-2</c:v>
                </c:pt>
                <c:pt idx="4370">
                  <c:v>-1.2542321670333732E-2</c:v>
                </c:pt>
                <c:pt idx="4371">
                  <c:v>-1.2542057914146665E-2</c:v>
                </c:pt>
                <c:pt idx="4372">
                  <c:v>-1.2542686343816436E-2</c:v>
                </c:pt>
                <c:pt idx="4373">
                  <c:v>-1.2561452822873877E-2</c:v>
                </c:pt>
                <c:pt idx="4374">
                  <c:v>-1.2563453630560776E-2</c:v>
                </c:pt>
                <c:pt idx="4375">
                  <c:v>-1.2560058592698225E-2</c:v>
                </c:pt>
                <c:pt idx="4376">
                  <c:v>-1.2552094111421025E-2</c:v>
                </c:pt>
                <c:pt idx="4377">
                  <c:v>-1.2521400560377503E-2</c:v>
                </c:pt>
                <c:pt idx="4378">
                  <c:v>-1.2496667026775812E-2</c:v>
                </c:pt>
                <c:pt idx="4379">
                  <c:v>-1.2492909111377862E-2</c:v>
                </c:pt>
                <c:pt idx="4380">
                  <c:v>-1.249375594866574E-2</c:v>
                </c:pt>
                <c:pt idx="4381">
                  <c:v>-1.2500292321492914E-2</c:v>
                </c:pt>
                <c:pt idx="4382">
                  <c:v>-1.2499687805348238E-2</c:v>
                </c:pt>
                <c:pt idx="4383">
                  <c:v>-1.2523876233225244E-2</c:v>
                </c:pt>
                <c:pt idx="4384">
                  <c:v>-1.2515886089580864E-2</c:v>
                </c:pt>
                <c:pt idx="4385">
                  <c:v>-1.2516230636805042E-2</c:v>
                </c:pt>
                <c:pt idx="4386">
                  <c:v>-1.2499518007051357E-2</c:v>
                </c:pt>
                <c:pt idx="4387">
                  <c:v>-1.2477609804713293E-2</c:v>
                </c:pt>
                <c:pt idx="4388">
                  <c:v>-1.2465377046572908E-2</c:v>
                </c:pt>
                <c:pt idx="4389">
                  <c:v>-1.2461751702883026E-2</c:v>
                </c:pt>
                <c:pt idx="4390">
                  <c:v>-1.2417446827960994E-2</c:v>
                </c:pt>
                <c:pt idx="4391">
                  <c:v>-1.2415996380489036E-2</c:v>
                </c:pt>
                <c:pt idx="4392">
                  <c:v>-1.2426451807069439E-2</c:v>
                </c:pt>
                <c:pt idx="4393">
                  <c:v>-1.2465931583683823E-2</c:v>
                </c:pt>
                <c:pt idx="4394">
                  <c:v>-1.2479666332543559E-2</c:v>
                </c:pt>
                <c:pt idx="4395">
                  <c:v>-1.2489389922589708E-2</c:v>
                </c:pt>
                <c:pt idx="4396">
                  <c:v>-1.2486209441203973E-2</c:v>
                </c:pt>
                <c:pt idx="4397">
                  <c:v>-1.2468955301580716E-2</c:v>
                </c:pt>
                <c:pt idx="4398">
                  <c:v>-1.2465744272155119E-2</c:v>
                </c:pt>
                <c:pt idx="4399">
                  <c:v>-1.2461553563318068E-2</c:v>
                </c:pt>
                <c:pt idx="4400">
                  <c:v>-1.2458849620109395E-2</c:v>
                </c:pt>
                <c:pt idx="4401">
                  <c:v>-1.2443375913601286E-2</c:v>
                </c:pt>
                <c:pt idx="4402">
                  <c:v>-1.2438145895419481E-2</c:v>
                </c:pt>
                <c:pt idx="4403">
                  <c:v>-1.2434385582675775E-2</c:v>
                </c:pt>
                <c:pt idx="4404">
                  <c:v>-1.2426788281682604E-2</c:v>
                </c:pt>
                <c:pt idx="4405">
                  <c:v>-1.2355780078672784E-2</c:v>
                </c:pt>
                <c:pt idx="4406">
                  <c:v>-1.2343463767070446E-2</c:v>
                </c:pt>
                <c:pt idx="4407">
                  <c:v>-1.2343629427889115E-2</c:v>
                </c:pt>
                <c:pt idx="4408">
                  <c:v>-1.2380421805533214E-2</c:v>
                </c:pt>
                <c:pt idx="4409">
                  <c:v>-1.2370142806967247E-2</c:v>
                </c:pt>
                <c:pt idx="4410">
                  <c:v>-1.2384280080603792E-2</c:v>
                </c:pt>
                <c:pt idx="4411">
                  <c:v>-1.2361868635890894E-2</c:v>
                </c:pt>
                <c:pt idx="4412">
                  <c:v>-1.2335304051107691E-2</c:v>
                </c:pt>
                <c:pt idx="4413">
                  <c:v>-1.2332628877373257E-2</c:v>
                </c:pt>
                <c:pt idx="4414">
                  <c:v>-1.2352234984718023E-2</c:v>
                </c:pt>
                <c:pt idx="4415">
                  <c:v>-1.2350364515738907E-2</c:v>
                </c:pt>
                <c:pt idx="4416">
                  <c:v>-1.2349332302463972E-2</c:v>
                </c:pt>
                <c:pt idx="4417">
                  <c:v>-1.2415899689040479E-2</c:v>
                </c:pt>
                <c:pt idx="4418">
                  <c:v>-1.2415705752360168E-2</c:v>
                </c:pt>
                <c:pt idx="4419">
                  <c:v>-1.2415305533899119E-2</c:v>
                </c:pt>
                <c:pt idx="4420">
                  <c:v>-1.2344269672741487E-2</c:v>
                </c:pt>
                <c:pt idx="4421">
                  <c:v>-1.2346532243840327E-2</c:v>
                </c:pt>
                <c:pt idx="4422">
                  <c:v>-1.2336219228216165E-2</c:v>
                </c:pt>
                <c:pt idx="4423">
                  <c:v>-1.2339935351122022E-2</c:v>
                </c:pt>
                <c:pt idx="4424">
                  <c:v>-1.2351207069110061E-2</c:v>
                </c:pt>
                <c:pt idx="4425">
                  <c:v>-1.234995500528983E-2</c:v>
                </c:pt>
                <c:pt idx="4426">
                  <c:v>-1.2349707755336241E-2</c:v>
                </c:pt>
                <c:pt idx="4427">
                  <c:v>-1.2339797352968506E-2</c:v>
                </c:pt>
                <c:pt idx="4428">
                  <c:v>-1.2341237590218256E-2</c:v>
                </c:pt>
                <c:pt idx="4429">
                  <c:v>-1.2341461725769382E-2</c:v>
                </c:pt>
                <c:pt idx="4430">
                  <c:v>-1.2331625685117014E-2</c:v>
                </c:pt>
                <c:pt idx="4431">
                  <c:v>-1.2297759693259884E-2</c:v>
                </c:pt>
                <c:pt idx="4432">
                  <c:v>-1.2247424460689405E-2</c:v>
                </c:pt>
                <c:pt idx="4433">
                  <c:v>-1.223880353968612E-2</c:v>
                </c:pt>
                <c:pt idx="4434">
                  <c:v>-1.2250093024799095E-2</c:v>
                </c:pt>
                <c:pt idx="4435">
                  <c:v>-1.2280539110919664E-2</c:v>
                </c:pt>
                <c:pt idx="4436">
                  <c:v>-1.2280790199675659E-2</c:v>
                </c:pt>
                <c:pt idx="4437">
                  <c:v>-1.2274889066438848E-2</c:v>
                </c:pt>
                <c:pt idx="4438">
                  <c:v>-1.227032910501675E-2</c:v>
                </c:pt>
                <c:pt idx="4439">
                  <c:v>-1.2275143980382845E-2</c:v>
                </c:pt>
                <c:pt idx="4440">
                  <c:v>-1.2267516847079517E-2</c:v>
                </c:pt>
                <c:pt idx="4441">
                  <c:v>-1.2296013560447728E-2</c:v>
                </c:pt>
                <c:pt idx="4442">
                  <c:v>-1.2285386097384381E-2</c:v>
                </c:pt>
                <c:pt idx="4443">
                  <c:v>-1.2263532717667568E-2</c:v>
                </c:pt>
                <c:pt idx="4444">
                  <c:v>-1.2226781198754963E-2</c:v>
                </c:pt>
                <c:pt idx="4445">
                  <c:v>-1.2236869818673128E-2</c:v>
                </c:pt>
                <c:pt idx="4446">
                  <c:v>-1.2217301760535407E-2</c:v>
                </c:pt>
                <c:pt idx="4447">
                  <c:v>-1.2207659600651526E-2</c:v>
                </c:pt>
                <c:pt idx="4448">
                  <c:v>-1.2205853106162366E-2</c:v>
                </c:pt>
                <c:pt idx="4449">
                  <c:v>-1.2197294457395711E-2</c:v>
                </c:pt>
                <c:pt idx="4450">
                  <c:v>-1.2243295713385716E-2</c:v>
                </c:pt>
                <c:pt idx="4451">
                  <c:v>-1.2227840169105936E-2</c:v>
                </c:pt>
                <c:pt idx="4452">
                  <c:v>-1.2214155898024442E-2</c:v>
                </c:pt>
                <c:pt idx="4453">
                  <c:v>-1.2209000661215177E-2</c:v>
                </c:pt>
                <c:pt idx="4454">
                  <c:v>-1.2206653053137942E-2</c:v>
                </c:pt>
                <c:pt idx="4455">
                  <c:v>-1.2203591151459532E-2</c:v>
                </c:pt>
                <c:pt idx="4456">
                  <c:v>-1.2201557937049244E-2</c:v>
                </c:pt>
                <c:pt idx="4457">
                  <c:v>-1.2219209499268663E-2</c:v>
                </c:pt>
                <c:pt idx="4458">
                  <c:v>-1.2218017014201754E-2</c:v>
                </c:pt>
                <c:pt idx="4459">
                  <c:v>-1.2213470763474097E-2</c:v>
                </c:pt>
                <c:pt idx="4460">
                  <c:v>-1.2227209325625321E-2</c:v>
                </c:pt>
                <c:pt idx="4461">
                  <c:v>-1.2248589960058709E-2</c:v>
                </c:pt>
                <c:pt idx="4462">
                  <c:v>-1.2354367563628385E-2</c:v>
                </c:pt>
                <c:pt idx="4463">
                  <c:v>-1.2337509837413546E-2</c:v>
                </c:pt>
                <c:pt idx="4464">
                  <c:v>-1.2332741146698837E-2</c:v>
                </c:pt>
                <c:pt idx="4465">
                  <c:v>-1.2280523143360558E-2</c:v>
                </c:pt>
                <c:pt idx="4466">
                  <c:v>-1.2284438937622632E-2</c:v>
                </c:pt>
                <c:pt idx="4467">
                  <c:v>-1.2286050053063931E-2</c:v>
                </c:pt>
                <c:pt idx="4468">
                  <c:v>-1.2289750276717469E-2</c:v>
                </c:pt>
                <c:pt idx="4469">
                  <c:v>-1.2287601805375456E-2</c:v>
                </c:pt>
                <c:pt idx="4470">
                  <c:v>-1.2289725433235664E-2</c:v>
                </c:pt>
                <c:pt idx="4471">
                  <c:v>-1.2291384265304753E-2</c:v>
                </c:pt>
                <c:pt idx="4472">
                  <c:v>-1.2295480939599932E-2</c:v>
                </c:pt>
                <c:pt idx="4473">
                  <c:v>-1.2322047568961578E-2</c:v>
                </c:pt>
                <c:pt idx="4474">
                  <c:v>-1.2323539170897423E-2</c:v>
                </c:pt>
                <c:pt idx="4475">
                  <c:v>-1.2317179771585446E-2</c:v>
                </c:pt>
                <c:pt idx="4476">
                  <c:v>-1.2351351331392481E-2</c:v>
                </c:pt>
                <c:pt idx="4477">
                  <c:v>-1.2358088161373728E-2</c:v>
                </c:pt>
                <c:pt idx="4478">
                  <c:v>-1.236343205049893E-2</c:v>
                </c:pt>
                <c:pt idx="4479">
                  <c:v>-1.2370238439214892E-2</c:v>
                </c:pt>
                <c:pt idx="4480">
                  <c:v>-1.2377394333153822E-2</c:v>
                </c:pt>
                <c:pt idx="4481">
                  <c:v>-1.2411747559515107E-2</c:v>
                </c:pt>
                <c:pt idx="4482">
                  <c:v>-1.2404317633213174E-2</c:v>
                </c:pt>
                <c:pt idx="4483">
                  <c:v>-1.2396790617405045E-2</c:v>
                </c:pt>
                <c:pt idx="4484">
                  <c:v>-1.2397591639800941E-2</c:v>
                </c:pt>
                <c:pt idx="4485">
                  <c:v>-1.2398710114169187E-2</c:v>
                </c:pt>
                <c:pt idx="4486">
                  <c:v>-1.235755783110081E-2</c:v>
                </c:pt>
                <c:pt idx="4487">
                  <c:v>-1.2351965384037282E-2</c:v>
                </c:pt>
                <c:pt idx="4488">
                  <c:v>-1.2339671278110111E-2</c:v>
                </c:pt>
                <c:pt idx="4489">
                  <c:v>-1.2320063943726202E-2</c:v>
                </c:pt>
                <c:pt idx="4490">
                  <c:v>-1.2322900795318795E-2</c:v>
                </c:pt>
                <c:pt idx="4491">
                  <c:v>-1.2327249068560914E-2</c:v>
                </c:pt>
                <c:pt idx="4492">
                  <c:v>-1.2294579804492962E-2</c:v>
                </c:pt>
                <c:pt idx="4493">
                  <c:v>-1.2307833331234763E-2</c:v>
                </c:pt>
                <c:pt idx="4494">
                  <c:v>-1.2287256129329339E-2</c:v>
                </c:pt>
                <c:pt idx="4495">
                  <c:v>-1.2308011989143395E-2</c:v>
                </c:pt>
                <c:pt idx="4496">
                  <c:v>-1.2319534471452639E-2</c:v>
                </c:pt>
                <c:pt idx="4497">
                  <c:v>-1.2304771424014914E-2</c:v>
                </c:pt>
                <c:pt idx="4498">
                  <c:v>-1.2303073298017327E-2</c:v>
                </c:pt>
                <c:pt idx="4499">
                  <c:v>-1.2268619456330308E-2</c:v>
                </c:pt>
                <c:pt idx="4500">
                  <c:v>-1.2266939300636902E-2</c:v>
                </c:pt>
                <c:pt idx="4501">
                  <c:v>-1.2254390897688693E-2</c:v>
                </c:pt>
                <c:pt idx="4502">
                  <c:v>-1.2253343373513387E-2</c:v>
                </c:pt>
                <c:pt idx="4503">
                  <c:v>-1.2249130428356307E-2</c:v>
                </c:pt>
                <c:pt idx="4504">
                  <c:v>-1.2243739005003609E-2</c:v>
                </c:pt>
                <c:pt idx="4505">
                  <c:v>-1.2252983130245521E-2</c:v>
                </c:pt>
                <c:pt idx="4506">
                  <c:v>-1.224937408331264E-2</c:v>
                </c:pt>
                <c:pt idx="4507">
                  <c:v>-1.2247225224627324E-2</c:v>
                </c:pt>
                <c:pt idx="4508">
                  <c:v>-1.2246764137692354E-2</c:v>
                </c:pt>
                <c:pt idx="4509">
                  <c:v>-1.2242480774599041E-2</c:v>
                </c:pt>
                <c:pt idx="4510">
                  <c:v>-1.2243366844121251E-2</c:v>
                </c:pt>
                <c:pt idx="4511">
                  <c:v>-1.224135979093801E-2</c:v>
                </c:pt>
                <c:pt idx="4512">
                  <c:v>-1.2286194812075319E-2</c:v>
                </c:pt>
                <c:pt idx="4513">
                  <c:v>-1.2274426742741828E-2</c:v>
                </c:pt>
                <c:pt idx="4514">
                  <c:v>-1.2261876072947856E-2</c:v>
                </c:pt>
                <c:pt idx="4515">
                  <c:v>-1.2252274782920644E-2</c:v>
                </c:pt>
                <c:pt idx="4516">
                  <c:v>-1.2251082889832825E-2</c:v>
                </c:pt>
                <c:pt idx="4517">
                  <c:v>-1.2240113158217766E-2</c:v>
                </c:pt>
                <c:pt idx="4518">
                  <c:v>-1.2242577343102794E-2</c:v>
                </c:pt>
                <c:pt idx="4519">
                  <c:v>-1.2269596141359329E-2</c:v>
                </c:pt>
                <c:pt idx="4520">
                  <c:v>-1.2242724096432303E-2</c:v>
                </c:pt>
                <c:pt idx="4521">
                  <c:v>-1.2239595464288665E-2</c:v>
                </c:pt>
                <c:pt idx="4522">
                  <c:v>-1.2257633178150753E-2</c:v>
                </c:pt>
                <c:pt idx="4523">
                  <c:v>-1.2251962175091276E-2</c:v>
                </c:pt>
                <c:pt idx="4524">
                  <c:v>-1.2274517748004121E-2</c:v>
                </c:pt>
                <c:pt idx="4525">
                  <c:v>-1.229692059048193E-2</c:v>
                </c:pt>
                <c:pt idx="4526">
                  <c:v>-1.2295620061649254E-2</c:v>
                </c:pt>
                <c:pt idx="4527">
                  <c:v>-1.2326133429632334E-2</c:v>
                </c:pt>
                <c:pt idx="4528">
                  <c:v>-1.2304928769174942E-2</c:v>
                </c:pt>
                <c:pt idx="4529">
                  <c:v>-1.2348237176266635E-2</c:v>
                </c:pt>
                <c:pt idx="4530">
                  <c:v>-1.233279314708787E-2</c:v>
                </c:pt>
                <c:pt idx="4531">
                  <c:v>-1.2321041436479144E-2</c:v>
                </c:pt>
                <c:pt idx="4532">
                  <c:v>-1.2321278273242956E-2</c:v>
                </c:pt>
                <c:pt idx="4533">
                  <c:v>-1.232100109438658E-2</c:v>
                </c:pt>
                <c:pt idx="4534">
                  <c:v>-1.2333021912974793E-2</c:v>
                </c:pt>
                <c:pt idx="4535">
                  <c:v>-1.2340033931111287E-2</c:v>
                </c:pt>
                <c:pt idx="4536">
                  <c:v>-1.2347211794857928E-2</c:v>
                </c:pt>
                <c:pt idx="4537">
                  <c:v>-1.2355557439790646E-2</c:v>
                </c:pt>
                <c:pt idx="4538">
                  <c:v>-1.2365110099324809E-2</c:v>
                </c:pt>
                <c:pt idx="4539">
                  <c:v>-1.2331934337829746E-2</c:v>
                </c:pt>
                <c:pt idx="4540">
                  <c:v>-1.2337427687141543E-2</c:v>
                </c:pt>
                <c:pt idx="4541">
                  <c:v>-1.2352102228492156E-2</c:v>
                </c:pt>
                <c:pt idx="4542">
                  <c:v>-1.2371455554445627E-2</c:v>
                </c:pt>
                <c:pt idx="4543">
                  <c:v>-1.235933458308934E-2</c:v>
                </c:pt>
                <c:pt idx="4544">
                  <c:v>-1.2360109233298493E-2</c:v>
                </c:pt>
                <c:pt idx="4545">
                  <c:v>-1.2357644153488188E-2</c:v>
                </c:pt>
                <c:pt idx="4546">
                  <c:v>-1.2387649437427716E-2</c:v>
                </c:pt>
                <c:pt idx="4547">
                  <c:v>-1.240734911236346E-2</c:v>
                </c:pt>
                <c:pt idx="4548">
                  <c:v>-1.2407855248558348E-2</c:v>
                </c:pt>
                <c:pt idx="4549">
                  <c:v>-1.2409909628447621E-2</c:v>
                </c:pt>
                <c:pt idx="4550">
                  <c:v>-1.243635884760806E-2</c:v>
                </c:pt>
                <c:pt idx="4551">
                  <c:v>-1.2431870078345441E-2</c:v>
                </c:pt>
                <c:pt idx="4552">
                  <c:v>-1.2429368294170184E-2</c:v>
                </c:pt>
                <c:pt idx="4553">
                  <c:v>-1.2432448996739889E-2</c:v>
                </c:pt>
                <c:pt idx="4554">
                  <c:v>-1.2435064673975614E-2</c:v>
                </c:pt>
                <c:pt idx="4555">
                  <c:v>-1.2432864691675292E-2</c:v>
                </c:pt>
                <c:pt idx="4556">
                  <c:v>-1.2426538807825306E-2</c:v>
                </c:pt>
                <c:pt idx="4557">
                  <c:v>-1.2420922580451688E-2</c:v>
                </c:pt>
                <c:pt idx="4558">
                  <c:v>-1.2448958557171421E-2</c:v>
                </c:pt>
                <c:pt idx="4559">
                  <c:v>-1.2463215516801521E-2</c:v>
                </c:pt>
                <c:pt idx="4560">
                  <c:v>-1.249555427449052E-2</c:v>
                </c:pt>
                <c:pt idx="4561">
                  <c:v>-1.2515507201898443E-2</c:v>
                </c:pt>
                <c:pt idx="4562">
                  <c:v>-1.2516687191112571E-2</c:v>
                </c:pt>
                <c:pt idx="4563">
                  <c:v>-1.2524964415429315E-2</c:v>
                </c:pt>
                <c:pt idx="4564">
                  <c:v>-1.2522153844837146E-2</c:v>
                </c:pt>
                <c:pt idx="4565">
                  <c:v>-1.251990073400285E-2</c:v>
                </c:pt>
                <c:pt idx="4566">
                  <c:v>-1.2495083697961023E-2</c:v>
                </c:pt>
                <c:pt idx="4567">
                  <c:v>-1.2456949471234874E-2</c:v>
                </c:pt>
                <c:pt idx="4568">
                  <c:v>-1.2445812695749169E-2</c:v>
                </c:pt>
                <c:pt idx="4569">
                  <c:v>-1.2445602113588548E-2</c:v>
                </c:pt>
                <c:pt idx="4570">
                  <c:v>-1.2455751905051037E-2</c:v>
                </c:pt>
                <c:pt idx="4571">
                  <c:v>-1.2445277759856039E-2</c:v>
                </c:pt>
                <c:pt idx="4572">
                  <c:v>-1.2445348633839167E-2</c:v>
                </c:pt>
                <c:pt idx="4573">
                  <c:v>-1.24691799527499E-2</c:v>
                </c:pt>
                <c:pt idx="4574">
                  <c:v>-1.246400064365032E-2</c:v>
                </c:pt>
                <c:pt idx="4575">
                  <c:v>-1.2463637971334537E-2</c:v>
                </c:pt>
                <c:pt idx="4576">
                  <c:v>-1.2440415559061054E-2</c:v>
                </c:pt>
                <c:pt idx="4577">
                  <c:v>-1.240794116639693E-2</c:v>
                </c:pt>
                <c:pt idx="4578">
                  <c:v>-1.2386626224379841E-2</c:v>
                </c:pt>
                <c:pt idx="4579">
                  <c:v>-1.2375111930833892E-2</c:v>
                </c:pt>
                <c:pt idx="4580">
                  <c:v>-1.2365318330579684E-2</c:v>
                </c:pt>
                <c:pt idx="4581">
                  <c:v>-1.2366232493971081E-2</c:v>
                </c:pt>
                <c:pt idx="4582">
                  <c:v>-1.2369375248573539E-2</c:v>
                </c:pt>
                <c:pt idx="4583">
                  <c:v>-1.2368984051574201E-2</c:v>
                </c:pt>
                <c:pt idx="4584">
                  <c:v>-1.2371900695994358E-2</c:v>
                </c:pt>
                <c:pt idx="4585">
                  <c:v>-1.2381398320972885E-2</c:v>
                </c:pt>
                <c:pt idx="4586">
                  <c:v>-1.2392263535003214E-2</c:v>
                </c:pt>
                <c:pt idx="4587">
                  <c:v>-1.2391122083153615E-2</c:v>
                </c:pt>
                <c:pt idx="4588">
                  <c:v>-1.2388764344794332E-2</c:v>
                </c:pt>
                <c:pt idx="4589">
                  <c:v>-1.2375223573710377E-2</c:v>
                </c:pt>
                <c:pt idx="4590">
                  <c:v>-1.2373168688612759E-2</c:v>
                </c:pt>
                <c:pt idx="4591">
                  <c:v>-1.237168367610433E-2</c:v>
                </c:pt>
                <c:pt idx="4592">
                  <c:v>-1.2359820157627696E-2</c:v>
                </c:pt>
                <c:pt idx="4593">
                  <c:v>-1.2347271064254895E-2</c:v>
                </c:pt>
                <c:pt idx="4594">
                  <c:v>-1.2346160324021633E-2</c:v>
                </c:pt>
                <c:pt idx="4595">
                  <c:v>-1.2237766539739656E-2</c:v>
                </c:pt>
                <c:pt idx="4596">
                  <c:v>-1.2237602790118846E-2</c:v>
                </c:pt>
                <c:pt idx="4597">
                  <c:v>-1.226821184766798E-2</c:v>
                </c:pt>
                <c:pt idx="4598">
                  <c:v>-1.228052095052677E-2</c:v>
                </c:pt>
                <c:pt idx="4599">
                  <c:v>-1.2281805040608036E-2</c:v>
                </c:pt>
                <c:pt idx="4600">
                  <c:v>-1.2273232023638846E-2</c:v>
                </c:pt>
                <c:pt idx="4601">
                  <c:v>-1.2284617687703553E-2</c:v>
                </c:pt>
                <c:pt idx="4602">
                  <c:v>-1.2276446063650526E-2</c:v>
                </c:pt>
                <c:pt idx="4603">
                  <c:v>-1.2245455202373469E-2</c:v>
                </c:pt>
                <c:pt idx="4604">
                  <c:v>-1.2237658784089762E-2</c:v>
                </c:pt>
                <c:pt idx="4605">
                  <c:v>-1.2227824532716581E-2</c:v>
                </c:pt>
                <c:pt idx="4606">
                  <c:v>-1.2210049919755739E-2</c:v>
                </c:pt>
                <c:pt idx="4607">
                  <c:v>-1.2240148670410046E-2</c:v>
                </c:pt>
                <c:pt idx="4608">
                  <c:v>-1.2248013326853248E-2</c:v>
                </c:pt>
                <c:pt idx="4609">
                  <c:v>-1.227234957531953E-2</c:v>
                </c:pt>
                <c:pt idx="4610">
                  <c:v>-1.2280954267969255E-2</c:v>
                </c:pt>
                <c:pt idx="4611">
                  <c:v>-1.2250554546904281E-2</c:v>
                </c:pt>
                <c:pt idx="4612">
                  <c:v>-1.2238212899593351E-2</c:v>
                </c:pt>
                <c:pt idx="4613">
                  <c:v>-1.2211651679132494E-2</c:v>
                </c:pt>
                <c:pt idx="4614">
                  <c:v>-1.2200135845237849E-2</c:v>
                </c:pt>
                <c:pt idx="4615">
                  <c:v>-1.2196286906269947E-2</c:v>
                </c:pt>
                <c:pt idx="4616">
                  <c:v>-1.2193724849528619E-2</c:v>
                </c:pt>
                <c:pt idx="4617">
                  <c:v>-1.2190555357762613E-2</c:v>
                </c:pt>
                <c:pt idx="4618">
                  <c:v>-1.2163901949893644E-2</c:v>
                </c:pt>
                <c:pt idx="4619">
                  <c:v>-1.2143218194446262E-2</c:v>
                </c:pt>
                <c:pt idx="4620">
                  <c:v>-1.2142425677656304E-2</c:v>
                </c:pt>
                <c:pt idx="4621">
                  <c:v>-1.2143954094043717E-2</c:v>
                </c:pt>
                <c:pt idx="4622">
                  <c:v>-1.214965819870998E-2</c:v>
                </c:pt>
                <c:pt idx="4623">
                  <c:v>-1.2149949278948661E-2</c:v>
                </c:pt>
                <c:pt idx="4624">
                  <c:v>-1.213873393200865E-2</c:v>
                </c:pt>
                <c:pt idx="4625">
                  <c:v>-1.224136236986853E-2</c:v>
                </c:pt>
                <c:pt idx="4626">
                  <c:v>-1.2226218237418171E-2</c:v>
                </c:pt>
                <c:pt idx="4627">
                  <c:v>-1.2216403416120607E-2</c:v>
                </c:pt>
                <c:pt idx="4628">
                  <c:v>-1.2219532859142656E-2</c:v>
                </c:pt>
                <c:pt idx="4629">
                  <c:v>-1.2245642852302183E-2</c:v>
                </c:pt>
                <c:pt idx="4630">
                  <c:v>-1.2234362662519021E-2</c:v>
                </c:pt>
                <c:pt idx="4631">
                  <c:v>-1.2238648531536672E-2</c:v>
                </c:pt>
                <c:pt idx="4632">
                  <c:v>-1.2248305983140868E-2</c:v>
                </c:pt>
                <c:pt idx="4633">
                  <c:v>-1.2285548488407291E-2</c:v>
                </c:pt>
                <c:pt idx="4634">
                  <c:v>-1.2295146438333319E-2</c:v>
                </c:pt>
                <c:pt idx="4635">
                  <c:v>-1.2298048446383679E-2</c:v>
                </c:pt>
                <c:pt idx="4636">
                  <c:v>-1.2325530402651363E-2</c:v>
                </c:pt>
                <c:pt idx="4637">
                  <c:v>-1.2330178104072843E-2</c:v>
                </c:pt>
                <c:pt idx="4638">
                  <c:v>-1.2333996889629108E-2</c:v>
                </c:pt>
                <c:pt idx="4639">
                  <c:v>-1.2286223598794537E-2</c:v>
                </c:pt>
                <c:pt idx="4640">
                  <c:v>-1.2279767368680332E-2</c:v>
                </c:pt>
                <c:pt idx="4641">
                  <c:v>-1.2300545809334623E-2</c:v>
                </c:pt>
                <c:pt idx="4642">
                  <c:v>-1.2315017448395662E-2</c:v>
                </c:pt>
                <c:pt idx="4643">
                  <c:v>-1.233711173512626E-2</c:v>
                </c:pt>
                <c:pt idx="4644">
                  <c:v>-1.2355951696855657E-2</c:v>
                </c:pt>
                <c:pt idx="4645">
                  <c:v>-1.2357348272841686E-2</c:v>
                </c:pt>
                <c:pt idx="4646">
                  <c:v>-1.2354406085655396E-2</c:v>
                </c:pt>
                <c:pt idx="4647">
                  <c:v>-1.2348595900997329E-2</c:v>
                </c:pt>
                <c:pt idx="4648">
                  <c:v>-1.2343913393511884E-2</c:v>
                </c:pt>
                <c:pt idx="4649">
                  <c:v>-1.2394913463335107E-2</c:v>
                </c:pt>
                <c:pt idx="4650">
                  <c:v>-1.2392055719048221E-2</c:v>
                </c:pt>
                <c:pt idx="4651">
                  <c:v>-1.23892292386821E-2</c:v>
                </c:pt>
                <c:pt idx="4652">
                  <c:v>-1.2365480932405953E-2</c:v>
                </c:pt>
                <c:pt idx="4653">
                  <c:v>-1.2342800047213408E-2</c:v>
                </c:pt>
                <c:pt idx="4654">
                  <c:v>-1.2366974663600422E-2</c:v>
                </c:pt>
                <c:pt idx="4655">
                  <c:v>-1.2358786429604684E-2</c:v>
                </c:pt>
                <c:pt idx="4656">
                  <c:v>-1.2381727541660873E-2</c:v>
                </c:pt>
                <c:pt idx="4657">
                  <c:v>-1.2409323141110117E-2</c:v>
                </c:pt>
                <c:pt idx="4658">
                  <c:v>-1.2402612513661194E-2</c:v>
                </c:pt>
                <c:pt idx="4659">
                  <c:v>-1.2409665095105556E-2</c:v>
                </c:pt>
                <c:pt idx="4660">
                  <c:v>-1.2405959056285162E-2</c:v>
                </c:pt>
                <c:pt idx="4661">
                  <c:v>-1.2403548159135067E-2</c:v>
                </c:pt>
                <c:pt idx="4662">
                  <c:v>-1.2399645466342684E-2</c:v>
                </c:pt>
                <c:pt idx="4663">
                  <c:v>-1.2378445681859253E-2</c:v>
                </c:pt>
                <c:pt idx="4664">
                  <c:v>-1.2356086077457681E-2</c:v>
                </c:pt>
                <c:pt idx="4665">
                  <c:v>-1.2373604384624159E-2</c:v>
                </c:pt>
                <c:pt idx="4666">
                  <c:v>-1.237478522483014E-2</c:v>
                </c:pt>
                <c:pt idx="4667">
                  <c:v>-1.237598917427764E-2</c:v>
                </c:pt>
                <c:pt idx="4668">
                  <c:v>-1.2377982756121836E-2</c:v>
                </c:pt>
                <c:pt idx="4669">
                  <c:v>-1.2432974767622075E-2</c:v>
                </c:pt>
                <c:pt idx="4670">
                  <c:v>-1.2440114814870179E-2</c:v>
                </c:pt>
                <c:pt idx="4671">
                  <c:v>-1.2442589450696496E-2</c:v>
                </c:pt>
                <c:pt idx="4672">
                  <c:v>-1.2453843773338861E-2</c:v>
                </c:pt>
                <c:pt idx="4673">
                  <c:v>-1.2450772400167559E-2</c:v>
                </c:pt>
                <c:pt idx="4674">
                  <c:v>-1.2453074275947522E-2</c:v>
                </c:pt>
                <c:pt idx="4675">
                  <c:v>-1.2433024378494431E-2</c:v>
                </c:pt>
                <c:pt idx="4676">
                  <c:v>-1.2405626857442292E-2</c:v>
                </c:pt>
                <c:pt idx="4677">
                  <c:v>-1.2399422044806497E-2</c:v>
                </c:pt>
                <c:pt idx="4678">
                  <c:v>-1.2417808348979178E-2</c:v>
                </c:pt>
                <c:pt idx="4679">
                  <c:v>-1.241611242561348E-2</c:v>
                </c:pt>
                <c:pt idx="4680">
                  <c:v>-1.2410202982707093E-2</c:v>
                </c:pt>
                <c:pt idx="4681">
                  <c:v>-1.2409702932139773E-2</c:v>
                </c:pt>
                <c:pt idx="4682">
                  <c:v>-1.2425358785788754E-2</c:v>
                </c:pt>
                <c:pt idx="4683">
                  <c:v>-1.2454824518971465E-2</c:v>
                </c:pt>
                <c:pt idx="4684">
                  <c:v>-1.2452528682039245E-2</c:v>
                </c:pt>
                <c:pt idx="4685">
                  <c:v>-1.2452484497843835E-2</c:v>
                </c:pt>
                <c:pt idx="4686">
                  <c:v>-1.2437829659169905E-2</c:v>
                </c:pt>
                <c:pt idx="4687">
                  <c:v>-1.2413774524070789E-2</c:v>
                </c:pt>
                <c:pt idx="4688">
                  <c:v>-1.2421208046198638E-2</c:v>
                </c:pt>
                <c:pt idx="4689">
                  <c:v>-1.2436738667707923E-2</c:v>
                </c:pt>
                <c:pt idx="4690">
                  <c:v>-1.2467863475002051E-2</c:v>
                </c:pt>
                <c:pt idx="4691">
                  <c:v>-1.2467742985234899E-2</c:v>
                </c:pt>
                <c:pt idx="4692">
                  <c:v>-1.246296448382671E-2</c:v>
                </c:pt>
                <c:pt idx="4693">
                  <c:v>-1.2502115845143482E-2</c:v>
                </c:pt>
                <c:pt idx="4694">
                  <c:v>-1.2506524327806108E-2</c:v>
                </c:pt>
                <c:pt idx="4695">
                  <c:v>-1.2516036130416273E-2</c:v>
                </c:pt>
                <c:pt idx="4696">
                  <c:v>-1.2511962029344554E-2</c:v>
                </c:pt>
                <c:pt idx="4697">
                  <c:v>-1.2509104920485575E-2</c:v>
                </c:pt>
                <c:pt idx="4698">
                  <c:v>-1.2504643841311018E-2</c:v>
                </c:pt>
                <c:pt idx="4699">
                  <c:v>-1.2506333857167724E-2</c:v>
                </c:pt>
                <c:pt idx="4700">
                  <c:v>-1.2501147206084208E-2</c:v>
                </c:pt>
                <c:pt idx="4701">
                  <c:v>-1.2496692431222943E-2</c:v>
                </c:pt>
                <c:pt idx="4702">
                  <c:v>-1.2493857999566038E-2</c:v>
                </c:pt>
                <c:pt idx="4703">
                  <c:v>-1.2495801437003955E-2</c:v>
                </c:pt>
                <c:pt idx="4704">
                  <c:v>-1.2493627409227565E-2</c:v>
                </c:pt>
                <c:pt idx="4705">
                  <c:v>-1.2517191797051042E-2</c:v>
                </c:pt>
                <c:pt idx="4706">
                  <c:v>-1.2573618060285119E-2</c:v>
                </c:pt>
                <c:pt idx="4707">
                  <c:v>-1.2574309329283963E-2</c:v>
                </c:pt>
                <c:pt idx="4708">
                  <c:v>-1.2572822853024551E-2</c:v>
                </c:pt>
                <c:pt idx="4709">
                  <c:v>-1.257268657184344E-2</c:v>
                </c:pt>
                <c:pt idx="4710">
                  <c:v>-1.257399605049409E-2</c:v>
                </c:pt>
                <c:pt idx="4711">
                  <c:v>-1.2556190195310913E-2</c:v>
                </c:pt>
                <c:pt idx="4712">
                  <c:v>-1.2556813000003497E-2</c:v>
                </c:pt>
                <c:pt idx="4713">
                  <c:v>-1.2541477971315093E-2</c:v>
                </c:pt>
                <c:pt idx="4714">
                  <c:v>-1.2546277108024853E-2</c:v>
                </c:pt>
                <c:pt idx="4715">
                  <c:v>-1.2543568332977281E-2</c:v>
                </c:pt>
                <c:pt idx="4716">
                  <c:v>-1.2569908500196781E-2</c:v>
                </c:pt>
                <c:pt idx="4717">
                  <c:v>-1.2523165926238585E-2</c:v>
                </c:pt>
                <c:pt idx="4718">
                  <c:v>-1.2509782146127449E-2</c:v>
                </c:pt>
                <c:pt idx="4719">
                  <c:v>-1.2491606866026843E-2</c:v>
                </c:pt>
                <c:pt idx="4720">
                  <c:v>-1.2489769735810143E-2</c:v>
                </c:pt>
                <c:pt idx="4721">
                  <c:v>-1.167553465999473E-2</c:v>
                </c:pt>
                <c:pt idx="4722">
                  <c:v>-1.1319126307432868E-2</c:v>
                </c:pt>
                <c:pt idx="4723">
                  <c:v>-1.0644641694146213E-2</c:v>
                </c:pt>
                <c:pt idx="4724">
                  <c:v>-1.0108908510639437E-2</c:v>
                </c:pt>
                <c:pt idx="4725">
                  <c:v>-9.6759668769163983E-3</c:v>
                </c:pt>
                <c:pt idx="4726">
                  <c:v>-9.3077400448569395E-3</c:v>
                </c:pt>
                <c:pt idx="4727">
                  <c:v>-8.9577832472370819E-3</c:v>
                </c:pt>
                <c:pt idx="4728">
                  <c:v>-8.6276610518361586E-3</c:v>
                </c:pt>
                <c:pt idx="4729">
                  <c:v>-7.9768267347698832E-3</c:v>
                </c:pt>
                <c:pt idx="4730">
                  <c:v>-7.4179816539799029E-3</c:v>
                </c:pt>
                <c:pt idx="4731">
                  <c:v>-6.7077618692741496E-3</c:v>
                </c:pt>
                <c:pt idx="4732">
                  <c:v>-6.0150384661806066E-3</c:v>
                </c:pt>
                <c:pt idx="4733">
                  <c:v>-5.2303793576319443E-3</c:v>
                </c:pt>
                <c:pt idx="4734">
                  <c:v>-4.5769534330535547E-3</c:v>
                </c:pt>
                <c:pt idx="4735">
                  <c:v>-3.7850446651721131E-3</c:v>
                </c:pt>
                <c:pt idx="4736">
                  <c:v>-3.0213536620401944E-3</c:v>
                </c:pt>
                <c:pt idx="4737">
                  <c:v>-2.1693179626140202E-3</c:v>
                </c:pt>
                <c:pt idx="4738">
                  <c:v>-1.4254160984537648E-3</c:v>
                </c:pt>
                <c:pt idx="4739">
                  <c:v>-6.6398312900239898E-4</c:v>
                </c:pt>
                <c:pt idx="4740">
                  <c:v>-3.4319514574559715E-5</c:v>
                </c:pt>
                <c:pt idx="4741">
                  <c:v>5.0074341473396906E-4</c:v>
                </c:pt>
                <c:pt idx="4742">
                  <c:v>9.8269871917543161E-4</c:v>
                </c:pt>
                <c:pt idx="4743">
                  <c:v>1.357701077634034E-3</c:v>
                </c:pt>
                <c:pt idx="4744">
                  <c:v>1.9818758938020074E-3</c:v>
                </c:pt>
                <c:pt idx="4745">
                  <c:v>2.8645127080229819E-3</c:v>
                </c:pt>
                <c:pt idx="4746">
                  <c:v>3.5648387233671534E-3</c:v>
                </c:pt>
                <c:pt idx="4747">
                  <c:v>4.291846673222811E-3</c:v>
                </c:pt>
                <c:pt idx="4748">
                  <c:v>4.9455136006276452E-3</c:v>
                </c:pt>
                <c:pt idx="4749">
                  <c:v>5.306157387824419E-3</c:v>
                </c:pt>
                <c:pt idx="4750">
                  <c:v>5.8673999114339844E-3</c:v>
                </c:pt>
                <c:pt idx="4751">
                  <c:v>6.6219113280283539E-3</c:v>
                </c:pt>
                <c:pt idx="4752">
                  <c:v>7.2306021883705319E-3</c:v>
                </c:pt>
                <c:pt idx="4753">
                  <c:v>7.7234832540550875E-3</c:v>
                </c:pt>
                <c:pt idx="4754">
                  <c:v>8.1479164301566809E-3</c:v>
                </c:pt>
                <c:pt idx="4755">
                  <c:v>8.3124428276168307E-3</c:v>
                </c:pt>
                <c:pt idx="4756">
                  <c:v>8.2649356646058974E-3</c:v>
                </c:pt>
                <c:pt idx="4757">
                  <c:v>8.3769515285741381E-3</c:v>
                </c:pt>
                <c:pt idx="4758">
                  <c:v>8.254076856308119E-3</c:v>
                </c:pt>
                <c:pt idx="4759">
                  <c:v>8.2063629532091609E-3</c:v>
                </c:pt>
                <c:pt idx="4760">
                  <c:v>7.9220295146273465E-3</c:v>
                </c:pt>
                <c:pt idx="4761">
                  <c:v>7.6414585741447546E-3</c:v>
                </c:pt>
                <c:pt idx="4762">
                  <c:v>7.3687239181959106E-3</c:v>
                </c:pt>
                <c:pt idx="4763">
                  <c:v>7.1031701552129577E-3</c:v>
                </c:pt>
                <c:pt idx="4764">
                  <c:v>6.6265978577523792E-3</c:v>
                </c:pt>
                <c:pt idx="4765">
                  <c:v>6.3244077857183886E-3</c:v>
                </c:pt>
                <c:pt idx="4766">
                  <c:v>5.9231288877367259E-3</c:v>
                </c:pt>
                <c:pt idx="4767">
                  <c:v>5.5275802915444368E-3</c:v>
                </c:pt>
                <c:pt idx="4768">
                  <c:v>5.0014746431440212E-3</c:v>
                </c:pt>
                <c:pt idx="4769">
                  <c:v>4.4748469054009411E-3</c:v>
                </c:pt>
                <c:pt idx="4770">
                  <c:v>3.7809120532479087E-3</c:v>
                </c:pt>
                <c:pt idx="4771">
                  <c:v>3.0266369277229654E-3</c:v>
                </c:pt>
                <c:pt idx="4772">
                  <c:v>2.0922276250685962E-3</c:v>
                </c:pt>
                <c:pt idx="4773">
                  <c:v>1.0040178241260567E-3</c:v>
                </c:pt>
                <c:pt idx="4774">
                  <c:v>2.1970638178505156E-4</c:v>
                </c:pt>
                <c:pt idx="4775">
                  <c:v>-9.8545645183264682E-5</c:v>
                </c:pt>
                <c:pt idx="4776">
                  <c:v>-5.3452892206611903E-4</c:v>
                </c:pt>
                <c:pt idx="4777">
                  <c:v>-5.3597717657940906E-4</c:v>
                </c:pt>
                <c:pt idx="4778">
                  <c:v>-3.9538923906457489E-4</c:v>
                </c:pt>
                <c:pt idx="4779">
                  <c:v>-4.5881812578787463E-4</c:v>
                </c:pt>
                <c:pt idx="4780">
                  <c:v>-2.7668293500918671E-4</c:v>
                </c:pt>
                <c:pt idx="4781">
                  <c:v>2.5780601185680131E-4</c:v>
                </c:pt>
                <c:pt idx="4782">
                  <c:v>9.1513314605994392E-4</c:v>
                </c:pt>
                <c:pt idx="4783">
                  <c:v>1.5783857243760191E-3</c:v>
                </c:pt>
                <c:pt idx="4784">
                  <c:v>2.0707498069323302E-3</c:v>
                </c:pt>
                <c:pt idx="4785">
                  <c:v>2.3855511655202673E-3</c:v>
                </c:pt>
                <c:pt idx="4786">
                  <c:v>2.5682345380228892E-3</c:v>
                </c:pt>
                <c:pt idx="4787">
                  <c:v>3.2720702672097268E-3</c:v>
                </c:pt>
                <c:pt idx="4788">
                  <c:v>3.8382241356223982E-3</c:v>
                </c:pt>
                <c:pt idx="4789">
                  <c:v>4.7095309750827801E-3</c:v>
                </c:pt>
                <c:pt idx="4790">
                  <c:v>5.8587770567693192E-3</c:v>
                </c:pt>
                <c:pt idx="4791">
                  <c:v>7.2589062651860995E-3</c:v>
                </c:pt>
                <c:pt idx="4792">
                  <c:v>8.4994906159495832E-3</c:v>
                </c:pt>
                <c:pt idx="4793">
                  <c:v>9.624224522740121E-3</c:v>
                </c:pt>
                <c:pt idx="4794">
                  <c:v>1.0552392237392681E-2</c:v>
                </c:pt>
                <c:pt idx="4795">
                  <c:v>1.1380513829585341E-2</c:v>
                </c:pt>
                <c:pt idx="4796">
                  <c:v>1.2372975726923507E-2</c:v>
                </c:pt>
                <c:pt idx="4797">
                  <c:v>1.3222827573936767E-2</c:v>
                </c:pt>
                <c:pt idx="4798">
                  <c:v>1.3778499440771501E-2</c:v>
                </c:pt>
                <c:pt idx="4799">
                  <c:v>1.432566559850809E-2</c:v>
                </c:pt>
                <c:pt idx="4800">
                  <c:v>1.4674381040898141E-2</c:v>
                </c:pt>
                <c:pt idx="4801">
                  <c:v>1.4810826448305768E-2</c:v>
                </c:pt>
                <c:pt idx="4802">
                  <c:v>1.4823666253083829E-2</c:v>
                </c:pt>
                <c:pt idx="4803">
                  <c:v>1.4736954450209129E-2</c:v>
                </c:pt>
                <c:pt idx="4804">
                  <c:v>1.4444822182921585E-2</c:v>
                </c:pt>
                <c:pt idx="4805">
                  <c:v>1.4091992527751474E-2</c:v>
                </c:pt>
                <c:pt idx="4806">
                  <c:v>1.3580241095916721E-2</c:v>
                </c:pt>
                <c:pt idx="4807">
                  <c:v>1.3239746462027064E-2</c:v>
                </c:pt>
                <c:pt idx="4808">
                  <c:v>1.3008972885463497E-2</c:v>
                </c:pt>
                <c:pt idx="4809">
                  <c:v>1.2721654394149609E-2</c:v>
                </c:pt>
                <c:pt idx="4810">
                  <c:v>1.2203561437575583E-2</c:v>
                </c:pt>
                <c:pt idx="4811">
                  <c:v>1.2051732572851743E-2</c:v>
                </c:pt>
                <c:pt idx="4812">
                  <c:v>1.1867727035459351E-2</c:v>
                </c:pt>
                <c:pt idx="4813">
                  <c:v>1.165510005820272E-2</c:v>
                </c:pt>
                <c:pt idx="4814">
                  <c:v>1.12665009160901E-2</c:v>
                </c:pt>
                <c:pt idx="4815">
                  <c:v>1.064352761427065E-2</c:v>
                </c:pt>
                <c:pt idx="4816">
                  <c:v>9.8125650496035995E-3</c:v>
                </c:pt>
                <c:pt idx="4817">
                  <c:v>9.161694087045166E-3</c:v>
                </c:pt>
                <c:pt idx="4818">
                  <c:v>8.4521901472245416E-3</c:v>
                </c:pt>
                <c:pt idx="4819">
                  <c:v>7.9639710291224946E-3</c:v>
                </c:pt>
                <c:pt idx="4820">
                  <c:v>7.6638765927739601E-3</c:v>
                </c:pt>
                <c:pt idx="4821">
                  <c:v>7.856437636185291E-3</c:v>
                </c:pt>
                <c:pt idx="4822">
                  <c:v>7.8631923987279809E-3</c:v>
                </c:pt>
                <c:pt idx="4823">
                  <c:v>7.9309004300870834E-3</c:v>
                </c:pt>
                <c:pt idx="4824">
                  <c:v>7.8350198932007255E-3</c:v>
                </c:pt>
                <c:pt idx="4825">
                  <c:v>7.7698154351686904E-3</c:v>
                </c:pt>
                <c:pt idx="4826">
                  <c:v>7.8748863386580523E-3</c:v>
                </c:pt>
                <c:pt idx="4827">
                  <c:v>7.8652346211082139E-3</c:v>
                </c:pt>
                <c:pt idx="4828">
                  <c:v>7.656385462462249E-3</c:v>
                </c:pt>
                <c:pt idx="4829">
                  <c:v>7.4472413361154361E-3</c:v>
                </c:pt>
                <c:pt idx="4830">
                  <c:v>7.1044685417307064E-3</c:v>
                </c:pt>
                <c:pt idx="4831">
                  <c:v>6.5910958874963368E-3</c:v>
                </c:pt>
                <c:pt idx="4832">
                  <c:v>6.2556482721831379E-3</c:v>
                </c:pt>
                <c:pt idx="4833">
                  <c:v>5.8672374209768289E-3</c:v>
                </c:pt>
                <c:pt idx="4834">
                  <c:v>5.424491515439436E-3</c:v>
                </c:pt>
                <c:pt idx="4835">
                  <c:v>4.767367554202007E-3</c:v>
                </c:pt>
                <c:pt idx="4836">
                  <c:v>4.065693575604051E-3</c:v>
                </c:pt>
                <c:pt idx="4837">
                  <c:v>3.3514307007488971E-3</c:v>
                </c:pt>
                <c:pt idx="4838">
                  <c:v>2.8159182631612278E-3</c:v>
                </c:pt>
                <c:pt idx="4839">
                  <c:v>2.5811307637257086E-3</c:v>
                </c:pt>
                <c:pt idx="4840">
                  <c:v>2.4027118436593421E-3</c:v>
                </c:pt>
                <c:pt idx="4841">
                  <c:v>2.4839527260934538E-3</c:v>
                </c:pt>
                <c:pt idx="4842">
                  <c:v>2.3754886616197315E-3</c:v>
                </c:pt>
                <c:pt idx="4843">
                  <c:v>2.7795316365255753E-3</c:v>
                </c:pt>
                <c:pt idx="4844">
                  <c:v>3.105640742618555E-3</c:v>
                </c:pt>
                <c:pt idx="4845">
                  <c:v>3.2243790942828848E-3</c:v>
                </c:pt>
                <c:pt idx="4846">
                  <c:v>3.6171193268863238E-3</c:v>
                </c:pt>
                <c:pt idx="4847">
                  <c:v>4.300340026616908E-3</c:v>
                </c:pt>
                <c:pt idx="4848">
                  <c:v>4.9498870160489764E-3</c:v>
                </c:pt>
                <c:pt idx="4849">
                  <c:v>5.5574509981137065E-3</c:v>
                </c:pt>
                <c:pt idx="4850">
                  <c:v>5.9171956702471686E-3</c:v>
                </c:pt>
                <c:pt idx="4851">
                  <c:v>6.4307041402320141E-3</c:v>
                </c:pt>
                <c:pt idx="4852">
                  <c:v>6.8114749882646191E-3</c:v>
                </c:pt>
                <c:pt idx="4853">
                  <c:v>7.136207740261925E-3</c:v>
                </c:pt>
                <c:pt idx="4854">
                  <c:v>7.6339760459192708E-3</c:v>
                </c:pt>
                <c:pt idx="4855">
                  <c:v>8.1285934000926065E-3</c:v>
                </c:pt>
                <c:pt idx="4856">
                  <c:v>8.4059130030458371E-3</c:v>
                </c:pt>
                <c:pt idx="4857">
                  <c:v>8.5123051151644192E-3</c:v>
                </c:pt>
                <c:pt idx="4858">
                  <c:v>8.5059271005844556E-3</c:v>
                </c:pt>
                <c:pt idx="4859">
                  <c:v>8.3136984868292987E-3</c:v>
                </c:pt>
                <c:pt idx="4860">
                  <c:v>7.8950240117144129E-3</c:v>
                </c:pt>
                <c:pt idx="4861">
                  <c:v>7.4336790768886069E-3</c:v>
                </c:pt>
                <c:pt idx="4862">
                  <c:v>7.2865874690305598E-3</c:v>
                </c:pt>
                <c:pt idx="4863">
                  <c:v>7.0226363562908237E-3</c:v>
                </c:pt>
                <c:pt idx="4864">
                  <c:v>6.7105636971849774E-3</c:v>
                </c:pt>
                <c:pt idx="4865">
                  <c:v>6.3249645549029541E-3</c:v>
                </c:pt>
                <c:pt idx="4866">
                  <c:v>5.8065298354401679E-3</c:v>
                </c:pt>
                <c:pt idx="4867">
                  <c:v>5.2354892868460793E-3</c:v>
                </c:pt>
                <c:pt idx="4868">
                  <c:v>4.7112127209728346E-3</c:v>
                </c:pt>
                <c:pt idx="4869">
                  <c:v>4.2209615070457184E-3</c:v>
                </c:pt>
                <c:pt idx="4870">
                  <c:v>3.7740732912789742E-3</c:v>
                </c:pt>
                <c:pt idx="4871">
                  <c:v>3.0878861323923711E-3</c:v>
                </c:pt>
                <c:pt idx="4872">
                  <c:v>2.2803851872136276E-3</c:v>
                </c:pt>
                <c:pt idx="4873">
                  <c:v>1.9779729552638486E-3</c:v>
                </c:pt>
                <c:pt idx="4874">
                  <c:v>1.5926076780191211E-3</c:v>
                </c:pt>
                <c:pt idx="4875">
                  <c:v>1.1613827573960494E-3</c:v>
                </c:pt>
                <c:pt idx="4876">
                  <c:v>1.0341364668227937E-3</c:v>
                </c:pt>
                <c:pt idx="4877">
                  <c:v>1.3302261042343246E-3</c:v>
                </c:pt>
                <c:pt idx="4878">
                  <c:v>1.4314887412456723E-3</c:v>
                </c:pt>
                <c:pt idx="4879">
                  <c:v>1.5838667657127742E-3</c:v>
                </c:pt>
                <c:pt idx="4880">
                  <c:v>1.6944445647554662E-3</c:v>
                </c:pt>
                <c:pt idx="4881">
                  <c:v>2.0547797652766715E-3</c:v>
                </c:pt>
                <c:pt idx="4882">
                  <c:v>2.2288557720741824E-3</c:v>
                </c:pt>
                <c:pt idx="4883">
                  <c:v>2.3527530838174035E-3</c:v>
                </c:pt>
                <c:pt idx="4884">
                  <c:v>2.7645801065885687E-3</c:v>
                </c:pt>
                <c:pt idx="4885">
                  <c:v>3.0638828690086103E-3</c:v>
                </c:pt>
                <c:pt idx="4886">
                  <c:v>3.2528594005885991E-3</c:v>
                </c:pt>
                <c:pt idx="4887">
                  <c:v>3.4622959114171976E-3</c:v>
                </c:pt>
                <c:pt idx="4888">
                  <c:v>4.0642425975415796E-3</c:v>
                </c:pt>
                <c:pt idx="4889">
                  <c:v>4.4321772987547751E-3</c:v>
                </c:pt>
                <c:pt idx="4890">
                  <c:v>4.6263513717445925E-3</c:v>
                </c:pt>
                <c:pt idx="4891">
                  <c:v>4.7644572656379159E-3</c:v>
                </c:pt>
                <c:pt idx="4892">
                  <c:v>5.106231734972844E-3</c:v>
                </c:pt>
                <c:pt idx="4893">
                  <c:v>5.2790088747992191E-3</c:v>
                </c:pt>
                <c:pt idx="4894">
                  <c:v>5.5318115945138333E-3</c:v>
                </c:pt>
                <c:pt idx="4895">
                  <c:v>5.9451461238967471E-3</c:v>
                </c:pt>
                <c:pt idx="4896">
                  <c:v>6.4392910672205917E-3</c:v>
                </c:pt>
                <c:pt idx="4897">
                  <c:v>6.892559438360089E-3</c:v>
                </c:pt>
                <c:pt idx="4898">
                  <c:v>7.2891971595877968E-3</c:v>
                </c:pt>
                <c:pt idx="4899">
                  <c:v>7.5412647310516574E-3</c:v>
                </c:pt>
                <c:pt idx="4900">
                  <c:v>7.9474279071074395E-3</c:v>
                </c:pt>
                <c:pt idx="4901">
                  <c:v>8.1591890347758791E-3</c:v>
                </c:pt>
                <c:pt idx="4902">
                  <c:v>8.2917845220454398E-3</c:v>
                </c:pt>
                <c:pt idx="4903">
                  <c:v>8.3037122498308188E-3</c:v>
                </c:pt>
                <c:pt idx="4904">
                  <c:v>8.4512947029787861E-3</c:v>
                </c:pt>
                <c:pt idx="4905">
                  <c:v>8.5272483438193023E-3</c:v>
                </c:pt>
                <c:pt idx="4906">
                  <c:v>8.5906238220602362E-3</c:v>
                </c:pt>
                <c:pt idx="4907">
                  <c:v>8.6259433476048291E-3</c:v>
                </c:pt>
                <c:pt idx="4908">
                  <c:v>8.4250802071745862E-3</c:v>
                </c:pt>
                <c:pt idx="4909">
                  <c:v>8.2149102902648232E-3</c:v>
                </c:pt>
                <c:pt idx="4910">
                  <c:v>7.9295130439431104E-3</c:v>
                </c:pt>
                <c:pt idx="4911">
                  <c:v>7.7743054781223061E-3</c:v>
                </c:pt>
                <c:pt idx="4912">
                  <c:v>7.4561325329295467E-3</c:v>
                </c:pt>
                <c:pt idx="4913">
                  <c:v>7.0840199214582938E-3</c:v>
                </c:pt>
                <c:pt idx="4914">
                  <c:v>6.9161168932775647E-3</c:v>
                </c:pt>
                <c:pt idx="4915">
                  <c:v>6.8411911857996031E-3</c:v>
                </c:pt>
                <c:pt idx="4916">
                  <c:v>6.5696943097453258E-3</c:v>
                </c:pt>
                <c:pt idx="4917">
                  <c:v>6.390533939863911E-3</c:v>
                </c:pt>
                <c:pt idx="4918">
                  <c:v>6.5049755389987775E-3</c:v>
                </c:pt>
                <c:pt idx="4919">
                  <c:v>6.6986765170062804E-3</c:v>
                </c:pt>
                <c:pt idx="4920">
                  <c:v>6.6201442648681826E-3</c:v>
                </c:pt>
                <c:pt idx="4921">
                  <c:v>6.3143938674010188E-3</c:v>
                </c:pt>
                <c:pt idx="4922">
                  <c:v>6.0182517546033005E-3</c:v>
                </c:pt>
                <c:pt idx="4923">
                  <c:v>5.8195680109278339E-3</c:v>
                </c:pt>
                <c:pt idx="4924">
                  <c:v>5.6264147477543564E-3</c:v>
                </c:pt>
                <c:pt idx="4925">
                  <c:v>5.6101581855118269E-3</c:v>
                </c:pt>
                <c:pt idx="4926">
                  <c:v>5.6833462951088164E-3</c:v>
                </c:pt>
                <c:pt idx="4927">
                  <c:v>5.5207828855094853E-3</c:v>
                </c:pt>
                <c:pt idx="4928">
                  <c:v>5.4636720381756061E-3</c:v>
                </c:pt>
                <c:pt idx="4929">
                  <c:v>5.2650889620960654E-3</c:v>
                </c:pt>
                <c:pt idx="4930">
                  <c:v>5.5055495658033072E-3</c:v>
                </c:pt>
                <c:pt idx="4931">
                  <c:v>5.8301144027822788E-3</c:v>
                </c:pt>
                <c:pt idx="4932">
                  <c:v>6.0920941217463675E-3</c:v>
                </c:pt>
                <c:pt idx="4933">
                  <c:v>6.2506102619378171E-3</c:v>
                </c:pt>
                <c:pt idx="4934">
                  <c:v>6.6839466406518003E-3</c:v>
                </c:pt>
                <c:pt idx="4935">
                  <c:v>7.0570951046384032E-3</c:v>
                </c:pt>
                <c:pt idx="4936">
                  <c:v>7.3866101396937566E-3</c:v>
                </c:pt>
                <c:pt idx="4937">
                  <c:v>7.9378229341076096E-3</c:v>
                </c:pt>
                <c:pt idx="4938">
                  <c:v>8.291056907053165E-3</c:v>
                </c:pt>
                <c:pt idx="4939">
                  <c:v>8.4262061365800462E-3</c:v>
                </c:pt>
                <c:pt idx="4940">
                  <c:v>8.539060473241546E-3</c:v>
                </c:pt>
                <c:pt idx="4941">
                  <c:v>8.5090962891537034E-3</c:v>
                </c:pt>
                <c:pt idx="4942">
                  <c:v>8.3270836569775391E-3</c:v>
                </c:pt>
                <c:pt idx="4943">
                  <c:v>7.9991551299380004E-3</c:v>
                </c:pt>
                <c:pt idx="4944">
                  <c:v>7.8277445047585503E-3</c:v>
                </c:pt>
                <c:pt idx="4945">
                  <c:v>7.7133755766884641E-3</c:v>
                </c:pt>
                <c:pt idx="4946">
                  <c:v>7.4147885572734638E-3</c:v>
                </c:pt>
                <c:pt idx="4947">
                  <c:v>7.1293172899626594E-3</c:v>
                </c:pt>
                <c:pt idx="4948">
                  <c:v>6.6750843064579211E-3</c:v>
                </c:pt>
                <c:pt idx="4949">
                  <c:v>6.2604760276335335E-3</c:v>
                </c:pt>
                <c:pt idx="4950">
                  <c:v>5.7291340887426854E-3</c:v>
                </c:pt>
                <c:pt idx="4951">
                  <c:v>5.0265774401040148E-3</c:v>
                </c:pt>
                <c:pt idx="4952">
                  <c:v>4.2480065486392004E-3</c:v>
                </c:pt>
                <c:pt idx="4953">
                  <c:v>3.57763286172289E-3</c:v>
                </c:pt>
                <c:pt idx="4954">
                  <c:v>2.8252409365662704E-3</c:v>
                </c:pt>
                <c:pt idx="4955">
                  <c:v>2.0324278782352916E-3</c:v>
                </c:pt>
                <c:pt idx="4956">
                  <c:v>9.9662493456457828E-4</c:v>
                </c:pt>
                <c:pt idx="4957">
                  <c:v>-1.5499452240922383E-4</c:v>
                </c:pt>
                <c:pt idx="4958">
                  <c:v>-1.4436749677385046E-3</c:v>
                </c:pt>
                <c:pt idx="4959">
                  <c:v>-2.8970195062177889E-3</c:v>
                </c:pt>
                <c:pt idx="4960">
                  <c:v>-4.0741889732521033E-3</c:v>
                </c:pt>
                <c:pt idx="4961">
                  <c:v>-4.9808636789418891E-3</c:v>
                </c:pt>
                <c:pt idx="4962">
                  <c:v>-6.0942404790292493E-3</c:v>
                </c:pt>
                <c:pt idx="4963">
                  <c:v>-7.3898605066424899E-3</c:v>
                </c:pt>
                <c:pt idx="4964">
                  <c:v>-8.343589545257258E-3</c:v>
                </c:pt>
                <c:pt idx="4965">
                  <c:v>-9.284553628052826E-3</c:v>
                </c:pt>
                <c:pt idx="4966">
                  <c:v>-1.0400983197268543E-2</c:v>
                </c:pt>
                <c:pt idx="4967">
                  <c:v>-1.0708517921849136E-2</c:v>
                </c:pt>
                <c:pt idx="4968">
                  <c:v>-1.109718268567083E-2</c:v>
                </c:pt>
                <c:pt idx="4969">
                  <c:v>-1.1639149834127702E-2</c:v>
                </c:pt>
                <c:pt idx="4970">
                  <c:v>-1.1903460423078544E-2</c:v>
                </c:pt>
                <c:pt idx="4971">
                  <c:v>-1.2287189663860471E-2</c:v>
                </c:pt>
                <c:pt idx="4972">
                  <c:v>-1.2391015472846122E-2</c:v>
                </c:pt>
                <c:pt idx="4973">
                  <c:v>-1.2408338745028294E-2</c:v>
                </c:pt>
                <c:pt idx="4974">
                  <c:v>-1.2443855479489141E-2</c:v>
                </c:pt>
                <c:pt idx="4975">
                  <c:v>-1.2463091208508206E-2</c:v>
                </c:pt>
                <c:pt idx="4976">
                  <c:v>-1.24729138641421E-2</c:v>
                </c:pt>
                <c:pt idx="4977">
                  <c:v>-1.2482059775327944E-2</c:v>
                </c:pt>
                <c:pt idx="4978">
                  <c:v>-1.2481986136153266E-2</c:v>
                </c:pt>
                <c:pt idx="4979">
                  <c:v>-1.2474277784443103E-2</c:v>
                </c:pt>
                <c:pt idx="4980">
                  <c:v>-1.248190140913636E-2</c:v>
                </c:pt>
                <c:pt idx="4981">
                  <c:v>-1.2474013042892381E-2</c:v>
                </c:pt>
                <c:pt idx="4982">
                  <c:v>-1.249838175110588E-2</c:v>
                </c:pt>
                <c:pt idx="4983">
                  <c:v>-1.2498553908156438E-2</c:v>
                </c:pt>
                <c:pt idx="4984">
                  <c:v>-1.2528208173311848E-2</c:v>
                </c:pt>
                <c:pt idx="4985">
                  <c:v>-1.2528676553624475E-2</c:v>
                </c:pt>
                <c:pt idx="4986">
                  <c:v>-1.2499752653407898E-2</c:v>
                </c:pt>
                <c:pt idx="4987">
                  <c:v>-1.2475885078175306E-2</c:v>
                </c:pt>
                <c:pt idx="4988">
                  <c:v>-1.2469067178014813E-2</c:v>
                </c:pt>
                <c:pt idx="4989">
                  <c:v>-1.2462805601132937E-2</c:v>
                </c:pt>
                <c:pt idx="4990">
                  <c:v>-1.2482913521491041E-2</c:v>
                </c:pt>
                <c:pt idx="4991">
                  <c:v>-1.2508840560103318E-2</c:v>
                </c:pt>
                <c:pt idx="4992">
                  <c:v>-1.2509303213602023E-2</c:v>
                </c:pt>
                <c:pt idx="4993">
                  <c:v>-1.248863745403297E-2</c:v>
                </c:pt>
                <c:pt idx="4994">
                  <c:v>-1.2486485777697771E-2</c:v>
                </c:pt>
                <c:pt idx="4995">
                  <c:v>-1.250928271061766E-2</c:v>
                </c:pt>
                <c:pt idx="4996">
                  <c:v>-1.2512835110056783E-2</c:v>
                </c:pt>
                <c:pt idx="4997">
                  <c:v>-1.2544468650106043E-2</c:v>
                </c:pt>
                <c:pt idx="4998">
                  <c:v>-1.2531854889466136E-2</c:v>
                </c:pt>
                <c:pt idx="4999">
                  <c:v>-1.2526310016432691E-2</c:v>
                </c:pt>
                <c:pt idx="5000">
                  <c:v>-1.2521526775968109E-2</c:v>
                </c:pt>
                <c:pt idx="5001">
                  <c:v>-1.251607556793842E-2</c:v>
                </c:pt>
                <c:pt idx="5002">
                  <c:v>-1.2550081716712706E-2</c:v>
                </c:pt>
                <c:pt idx="5003">
                  <c:v>-1.254888444877735E-2</c:v>
                </c:pt>
                <c:pt idx="5004">
                  <c:v>-1.2547987442515302E-2</c:v>
                </c:pt>
                <c:pt idx="5005">
                  <c:v>-1.2546414068266343E-2</c:v>
                </c:pt>
                <c:pt idx="5006">
                  <c:v>-1.2545088512379319E-2</c:v>
                </c:pt>
                <c:pt idx="5007">
                  <c:v>-1.2543518817920284E-2</c:v>
                </c:pt>
                <c:pt idx="5008">
                  <c:v>-1.2542444044340717E-2</c:v>
                </c:pt>
                <c:pt idx="5009">
                  <c:v>-1.2542068652621894E-2</c:v>
                </c:pt>
                <c:pt idx="5010">
                  <c:v>-1.2540967259273882E-2</c:v>
                </c:pt>
                <c:pt idx="5011">
                  <c:v>-1.2527129188597181E-2</c:v>
                </c:pt>
                <c:pt idx="5012">
                  <c:v>-1.2513701477959381E-2</c:v>
                </c:pt>
                <c:pt idx="5013">
                  <c:v>-1.2501556104593203E-2</c:v>
                </c:pt>
                <c:pt idx="5014">
                  <c:v>-1.2499902246304781E-2</c:v>
                </c:pt>
                <c:pt idx="5015">
                  <c:v>-1.249666912262062E-2</c:v>
                </c:pt>
                <c:pt idx="5016">
                  <c:v>-1.25061172579211E-2</c:v>
                </c:pt>
                <c:pt idx="5017">
                  <c:v>-1.254350407281161E-2</c:v>
                </c:pt>
                <c:pt idx="5018">
                  <c:v>-1.2547879373284979E-2</c:v>
                </c:pt>
                <c:pt idx="5019">
                  <c:v>-1.2532418983772433E-2</c:v>
                </c:pt>
                <c:pt idx="5020">
                  <c:v>-1.2525646833825513E-2</c:v>
                </c:pt>
                <c:pt idx="5021">
                  <c:v>-1.2525353019835109E-2</c:v>
                </c:pt>
                <c:pt idx="5022">
                  <c:v>-1.2526339516613362E-2</c:v>
                </c:pt>
                <c:pt idx="5023">
                  <c:v>-1.2527258147068669E-2</c:v>
                </c:pt>
                <c:pt idx="5024">
                  <c:v>-1.2526531272998463E-2</c:v>
                </c:pt>
                <c:pt idx="5025">
                  <c:v>-1.2515375602371939E-2</c:v>
                </c:pt>
                <c:pt idx="5026">
                  <c:v>-1.2532796642866257E-2</c:v>
                </c:pt>
                <c:pt idx="5027">
                  <c:v>-1.2533666677881689E-2</c:v>
                </c:pt>
                <c:pt idx="5028">
                  <c:v>-1.2546850625808481E-2</c:v>
                </c:pt>
                <c:pt idx="5029">
                  <c:v>-1.2550397814779617E-2</c:v>
                </c:pt>
                <c:pt idx="5030">
                  <c:v>-1.2554249702040176E-2</c:v>
                </c:pt>
                <c:pt idx="5031">
                  <c:v>-1.2556605035495902E-2</c:v>
                </c:pt>
                <c:pt idx="5032">
                  <c:v>-1.2619971502919314E-2</c:v>
                </c:pt>
                <c:pt idx="5033">
                  <c:v>-1.2619489743982972E-2</c:v>
                </c:pt>
                <c:pt idx="5034">
                  <c:v>-1.2619482104354344E-2</c:v>
                </c:pt>
                <c:pt idx="5035">
                  <c:v>-1.2618821005785139E-2</c:v>
                </c:pt>
                <c:pt idx="5036">
                  <c:v>-1.2612490234755129E-2</c:v>
                </c:pt>
                <c:pt idx="5037">
                  <c:v>-1.2600399827664234E-2</c:v>
                </c:pt>
                <c:pt idx="5038">
                  <c:v>-1.2594552307827035E-2</c:v>
                </c:pt>
                <c:pt idx="5039">
                  <c:v>-1.2568764606870965E-2</c:v>
                </c:pt>
                <c:pt idx="5040">
                  <c:v>-1.2531418401135998E-2</c:v>
                </c:pt>
                <c:pt idx="5041">
                  <c:v>-1.2519798256649676E-2</c:v>
                </c:pt>
                <c:pt idx="5042">
                  <c:v>-1.2531035754053413E-2</c:v>
                </c:pt>
                <c:pt idx="5043">
                  <c:v>-1.2505616978531775E-2</c:v>
                </c:pt>
                <c:pt idx="5044">
                  <c:v>-1.2489739859269081E-2</c:v>
                </c:pt>
                <c:pt idx="5045">
                  <c:v>-1.2491636140933432E-2</c:v>
                </c:pt>
                <c:pt idx="5046">
                  <c:v>-1.2503053442250568E-2</c:v>
                </c:pt>
                <c:pt idx="5047">
                  <c:v>-1.2493234394956535E-2</c:v>
                </c:pt>
                <c:pt idx="5048">
                  <c:v>-1.2488452850487492E-2</c:v>
                </c:pt>
                <c:pt idx="5049">
                  <c:v>-1.2486438550303555E-2</c:v>
                </c:pt>
                <c:pt idx="5050">
                  <c:v>-1.2487835679109063E-2</c:v>
                </c:pt>
                <c:pt idx="5051">
                  <c:v>-1.247881369767888E-2</c:v>
                </c:pt>
                <c:pt idx="5052">
                  <c:v>-1.2448517117717986E-2</c:v>
                </c:pt>
                <c:pt idx="5053">
                  <c:v>-1.2408100820330628E-2</c:v>
                </c:pt>
                <c:pt idx="5054">
                  <c:v>-1.2396545131501268E-2</c:v>
                </c:pt>
                <c:pt idx="5055">
                  <c:v>-1.239542276904191E-2</c:v>
                </c:pt>
                <c:pt idx="5056">
                  <c:v>-1.2345861009888093E-2</c:v>
                </c:pt>
                <c:pt idx="5057">
                  <c:v>-1.2338060946606085E-2</c:v>
                </c:pt>
                <c:pt idx="5058">
                  <c:v>-1.2329752200857266E-2</c:v>
                </c:pt>
                <c:pt idx="5059">
                  <c:v>-1.2310801876545542E-2</c:v>
                </c:pt>
                <c:pt idx="5060">
                  <c:v>-1.2292670398592276E-2</c:v>
                </c:pt>
                <c:pt idx="5061">
                  <c:v>-1.2277063822951097E-2</c:v>
                </c:pt>
                <c:pt idx="5062">
                  <c:v>-1.2249825363686547E-2</c:v>
                </c:pt>
                <c:pt idx="5063">
                  <c:v>-1.2196721112099598E-2</c:v>
                </c:pt>
                <c:pt idx="5064">
                  <c:v>-1.2162460188219641E-2</c:v>
                </c:pt>
                <c:pt idx="5065">
                  <c:v>-1.2149119295206408E-2</c:v>
                </c:pt>
                <c:pt idx="5066">
                  <c:v>-1.2111719733276974E-2</c:v>
                </c:pt>
                <c:pt idx="5067">
                  <c:v>-1.2089572915631909E-2</c:v>
                </c:pt>
                <c:pt idx="5068">
                  <c:v>-1.2070864203704217E-2</c:v>
                </c:pt>
                <c:pt idx="5069">
                  <c:v>-1.2058324970532277E-2</c:v>
                </c:pt>
                <c:pt idx="5070">
                  <c:v>-1.2048493712170424E-2</c:v>
                </c:pt>
                <c:pt idx="5071">
                  <c:v>-1.2018635543727696E-2</c:v>
                </c:pt>
                <c:pt idx="5072">
                  <c:v>-1.1991509610992166E-2</c:v>
                </c:pt>
                <c:pt idx="5073">
                  <c:v>-1.2012170601021914E-2</c:v>
                </c:pt>
                <c:pt idx="5074">
                  <c:v>-1.1822799981939438E-2</c:v>
                </c:pt>
                <c:pt idx="5075">
                  <c:v>-1.1511521553047655E-2</c:v>
                </c:pt>
                <c:pt idx="5076">
                  <c:v>-1.0071640687178121E-2</c:v>
                </c:pt>
                <c:pt idx="5077">
                  <c:v>-8.2551972051439007E-3</c:v>
                </c:pt>
                <c:pt idx="5078">
                  <c:v>-7.1132807880413601E-3</c:v>
                </c:pt>
                <c:pt idx="5079">
                  <c:v>-6.0206618858545547E-3</c:v>
                </c:pt>
                <c:pt idx="5080">
                  <c:v>-4.694229227229927E-3</c:v>
                </c:pt>
                <c:pt idx="5081">
                  <c:v>-3.2448723657975322E-3</c:v>
                </c:pt>
                <c:pt idx="5082">
                  <c:v>-2.0596970596931229E-3</c:v>
                </c:pt>
                <c:pt idx="5083">
                  <c:v>-3.7625299201032858E-4</c:v>
                </c:pt>
                <c:pt idx="5084">
                  <c:v>9.8255451523414014E-4</c:v>
                </c:pt>
                <c:pt idx="5085">
                  <c:v>2.4786731891115205E-3</c:v>
                </c:pt>
                <c:pt idx="5086">
                  <c:v>4.2166167537074934E-3</c:v>
                </c:pt>
                <c:pt idx="5087">
                  <c:v>5.893624298664751E-3</c:v>
                </c:pt>
                <c:pt idx="5088">
                  <c:v>7.6636598730288313E-3</c:v>
                </c:pt>
                <c:pt idx="5089">
                  <c:v>9.4072444902146089E-3</c:v>
                </c:pt>
                <c:pt idx="5090">
                  <c:v>1.0838407410869609E-2</c:v>
                </c:pt>
                <c:pt idx="5091">
                  <c:v>1.2244088671268574E-2</c:v>
                </c:pt>
                <c:pt idx="5092">
                  <c:v>1.3881076565745944E-2</c:v>
                </c:pt>
                <c:pt idx="5093">
                  <c:v>1.5239697612687139E-2</c:v>
                </c:pt>
                <c:pt idx="5094">
                  <c:v>1.6396857564687617E-2</c:v>
                </c:pt>
                <c:pt idx="5095">
                  <c:v>1.7530871347125013E-2</c:v>
                </c:pt>
                <c:pt idx="5096">
                  <c:v>1.8769662702671296E-2</c:v>
                </c:pt>
                <c:pt idx="5097">
                  <c:v>1.9888616495338199E-2</c:v>
                </c:pt>
                <c:pt idx="5098">
                  <c:v>2.0748219041772827E-2</c:v>
                </c:pt>
                <c:pt idx="5099">
                  <c:v>2.1389289870787059E-2</c:v>
                </c:pt>
                <c:pt idx="5100">
                  <c:v>2.1661257297587964E-2</c:v>
                </c:pt>
                <c:pt idx="5101">
                  <c:v>2.1820054663837407E-2</c:v>
                </c:pt>
                <c:pt idx="5102">
                  <c:v>2.1660271601053702E-2</c:v>
                </c:pt>
                <c:pt idx="5103">
                  <c:v>2.1174494987846126E-2</c:v>
                </c:pt>
                <c:pt idx="5104">
                  <c:v>2.0435237813122696E-2</c:v>
                </c:pt>
                <c:pt idx="5105">
                  <c:v>1.9575837058481441E-2</c:v>
                </c:pt>
                <c:pt idx="5106">
                  <c:v>1.8863702267703918E-2</c:v>
                </c:pt>
                <c:pt idx="5107">
                  <c:v>1.8290086823163382E-2</c:v>
                </c:pt>
                <c:pt idx="5108">
                  <c:v>1.747972583422143E-2</c:v>
                </c:pt>
                <c:pt idx="5109">
                  <c:v>1.6642390677526361E-2</c:v>
                </c:pt>
                <c:pt idx="5110">
                  <c:v>1.5977531485682692E-2</c:v>
                </c:pt>
                <c:pt idx="5111">
                  <c:v>1.5241630952709794E-2</c:v>
                </c:pt>
                <c:pt idx="5112">
                  <c:v>1.4173322569277018E-2</c:v>
                </c:pt>
                <c:pt idx="5113">
                  <c:v>1.397783036455936E-2</c:v>
                </c:pt>
                <c:pt idx="5114">
                  <c:v>1.3484435509421659E-2</c:v>
                </c:pt>
                <c:pt idx="5115">
                  <c:v>1.2986710741790841E-2</c:v>
                </c:pt>
                <c:pt idx="5116">
                  <c:v>1.2713611066233801E-2</c:v>
                </c:pt>
                <c:pt idx="5117">
                  <c:v>1.2305882028070531E-2</c:v>
                </c:pt>
                <c:pt idx="5118">
                  <c:v>1.2449127732218146E-2</c:v>
                </c:pt>
                <c:pt idx="5119">
                  <c:v>1.2723101317479927E-2</c:v>
                </c:pt>
                <c:pt idx="5120">
                  <c:v>1.3599209183547819E-2</c:v>
                </c:pt>
                <c:pt idx="5121">
                  <c:v>1.4552876939593814E-2</c:v>
                </c:pt>
                <c:pt idx="5122">
                  <c:v>1.6517590381864927E-2</c:v>
                </c:pt>
                <c:pt idx="5123">
                  <c:v>1.8001550494095069E-2</c:v>
                </c:pt>
                <c:pt idx="5124">
                  <c:v>1.9385431272533192E-2</c:v>
                </c:pt>
                <c:pt idx="5125">
                  <c:v>2.0952818760537686E-2</c:v>
                </c:pt>
                <c:pt idx="5126">
                  <c:v>2.2576068948755315E-2</c:v>
                </c:pt>
                <c:pt idx="5127">
                  <c:v>2.3955800921248514E-2</c:v>
                </c:pt>
                <c:pt idx="5128">
                  <c:v>2.6072888931866871E-2</c:v>
                </c:pt>
                <c:pt idx="5129">
                  <c:v>2.8008109462822166E-2</c:v>
                </c:pt>
                <c:pt idx="5130">
                  <c:v>3.0244064357473954E-2</c:v>
                </c:pt>
                <c:pt idx="5131">
                  <c:v>3.3270152574206083E-2</c:v>
                </c:pt>
                <c:pt idx="5132">
                  <c:v>3.5920728030089069E-2</c:v>
                </c:pt>
                <c:pt idx="5133">
                  <c:v>3.810839699234575E-2</c:v>
                </c:pt>
                <c:pt idx="5134">
                  <c:v>3.9919511369171691E-2</c:v>
                </c:pt>
                <c:pt idx="5135">
                  <c:v>4.1882005797739236E-2</c:v>
                </c:pt>
                <c:pt idx="5136">
                  <c:v>4.3310352686884872E-2</c:v>
                </c:pt>
                <c:pt idx="5137">
                  <c:v>4.4613968700232716E-2</c:v>
                </c:pt>
                <c:pt idx="5138">
                  <c:v>4.5458429453744939E-2</c:v>
                </c:pt>
                <c:pt idx="5139">
                  <c:v>5.5010945798335285E-2</c:v>
                </c:pt>
                <c:pt idx="5140">
                  <c:v>7.0977775184052988E-2</c:v>
                </c:pt>
                <c:pt idx="5141">
                  <c:v>8.8689230886109527E-2</c:v>
                </c:pt>
                <c:pt idx="5142">
                  <c:v>9.3301886011563279E-2</c:v>
                </c:pt>
                <c:pt idx="5143">
                  <c:v>9.2591826860580748E-2</c:v>
                </c:pt>
                <c:pt idx="5144">
                  <c:v>9.1670003070249903E-2</c:v>
                </c:pt>
                <c:pt idx="5145">
                  <c:v>9.0492406021390123E-2</c:v>
                </c:pt>
                <c:pt idx="5146">
                  <c:v>8.9202212033611117E-2</c:v>
                </c:pt>
                <c:pt idx="5147">
                  <c:v>8.7411707588555626E-2</c:v>
                </c:pt>
                <c:pt idx="5148">
                  <c:v>8.5938509191865478E-2</c:v>
                </c:pt>
                <c:pt idx="5149">
                  <c:v>8.4284144557419546E-2</c:v>
                </c:pt>
                <c:pt idx="5150">
                  <c:v>8.2689532037491006E-2</c:v>
                </c:pt>
                <c:pt idx="5151">
                  <c:v>8.1080480247144329E-2</c:v>
                </c:pt>
                <c:pt idx="5152">
                  <c:v>7.9780292477171819E-2</c:v>
                </c:pt>
                <c:pt idx="5153">
                  <c:v>7.8282316784184333E-2</c:v>
                </c:pt>
                <c:pt idx="5154">
                  <c:v>7.6738986246623828E-2</c:v>
                </c:pt>
                <c:pt idx="5155">
                  <c:v>7.5152656700228998E-2</c:v>
                </c:pt>
                <c:pt idx="5156">
                  <c:v>7.3285584417763824E-2</c:v>
                </c:pt>
                <c:pt idx="5157">
                  <c:v>7.0936749242863945E-2</c:v>
                </c:pt>
                <c:pt idx="5158">
                  <c:v>6.9057840598357734E-2</c:v>
                </c:pt>
                <c:pt idx="5159">
                  <c:v>6.6995917892543375E-2</c:v>
                </c:pt>
                <c:pt idx="5160">
                  <c:v>6.5339506686741683E-2</c:v>
                </c:pt>
                <c:pt idx="5161">
                  <c:v>6.4296285642572892E-2</c:v>
                </c:pt>
                <c:pt idx="5162">
                  <c:v>6.3263652361132613E-2</c:v>
                </c:pt>
                <c:pt idx="5163">
                  <c:v>6.2240884992629038E-2</c:v>
                </c:pt>
                <c:pt idx="5164">
                  <c:v>6.1218640951187182E-2</c:v>
                </c:pt>
                <c:pt idx="5165">
                  <c:v>6.039788278841083E-2</c:v>
                </c:pt>
                <c:pt idx="5166">
                  <c:v>5.9598047305862094E-2</c:v>
                </c:pt>
                <c:pt idx="5167">
                  <c:v>5.8925001059881292E-2</c:v>
                </c:pt>
                <c:pt idx="5168">
                  <c:v>5.8267694601545149E-2</c:v>
                </c:pt>
                <c:pt idx="5169">
                  <c:v>5.7268733032432427E-2</c:v>
                </c:pt>
                <c:pt idx="5170">
                  <c:v>5.1695969768805201E-2</c:v>
                </c:pt>
                <c:pt idx="5171">
                  <c:v>3.406456297581844E-2</c:v>
                </c:pt>
                <c:pt idx="5172">
                  <c:v>1.6525269920979288E-2</c:v>
                </c:pt>
                <c:pt idx="5173">
                  <c:v>3.0109375164603845E-2</c:v>
                </c:pt>
                <c:pt idx="5174">
                  <c:v>4.7039087407127957E-2</c:v>
                </c:pt>
                <c:pt idx="5175">
                  <c:v>6.2778049035103714E-2</c:v>
                </c:pt>
                <c:pt idx="5176">
                  <c:v>7.3721961574567299E-2</c:v>
                </c:pt>
                <c:pt idx="5177">
                  <c:v>8.2213356462245979E-2</c:v>
                </c:pt>
                <c:pt idx="5178">
                  <c:v>8.9415445718308742E-2</c:v>
                </c:pt>
                <c:pt idx="5179">
                  <c:v>9.5341877513429096E-2</c:v>
                </c:pt>
                <c:pt idx="5180">
                  <c:v>0.10071310721528075</c:v>
                </c:pt>
                <c:pt idx="5181">
                  <c:v>0.10498886909992627</c:v>
                </c:pt>
                <c:pt idx="5182">
                  <c:v>0.10879758301077751</c:v>
                </c:pt>
                <c:pt idx="5183">
                  <c:v>0.11260900484033751</c:v>
                </c:pt>
                <c:pt idx="5184">
                  <c:v>0.1149350687935769</c:v>
                </c:pt>
                <c:pt idx="5185">
                  <c:v>0.11720296779870878</c:v>
                </c:pt>
                <c:pt idx="5186">
                  <c:v>0.11843795115258024</c:v>
                </c:pt>
                <c:pt idx="5187">
                  <c:v>0.11933741118604632</c:v>
                </c:pt>
                <c:pt idx="5188">
                  <c:v>0.12041177692443303</c:v>
                </c:pt>
                <c:pt idx="5189">
                  <c:v>0.12055354341966346</c:v>
                </c:pt>
                <c:pt idx="5190">
                  <c:v>0.12050687214441416</c:v>
                </c:pt>
                <c:pt idx="5191">
                  <c:v>0.12203288197421816</c:v>
                </c:pt>
                <c:pt idx="5192">
                  <c:v>0.12413551090642974</c:v>
                </c:pt>
                <c:pt idx="5193">
                  <c:v>0.12445642263878695</c:v>
                </c:pt>
                <c:pt idx="5194">
                  <c:v>0.12434349469693712</c:v>
                </c:pt>
                <c:pt idx="5195">
                  <c:v>0.12227201159391121</c:v>
                </c:pt>
                <c:pt idx="5196">
                  <c:v>0.11907887340723952</c:v>
                </c:pt>
                <c:pt idx="5197">
                  <c:v>0.1153980132477887</c:v>
                </c:pt>
                <c:pt idx="5198">
                  <c:v>0.109577736290273</c:v>
                </c:pt>
                <c:pt idx="5199">
                  <c:v>0.10285053153986627</c:v>
                </c:pt>
                <c:pt idx="5200">
                  <c:v>9.3844543911113368E-2</c:v>
                </c:pt>
                <c:pt idx="5201">
                  <c:v>8.385689585192227E-2</c:v>
                </c:pt>
                <c:pt idx="5202">
                  <c:v>7.3318089143258769E-2</c:v>
                </c:pt>
                <c:pt idx="5203">
                  <c:v>6.7738337992713962E-2</c:v>
                </c:pt>
                <c:pt idx="5204">
                  <c:v>6.6292560949971172E-2</c:v>
                </c:pt>
                <c:pt idx="5205">
                  <c:v>6.6909004646946851E-2</c:v>
                </c:pt>
                <c:pt idx="5206">
                  <c:v>6.8441620991771701E-2</c:v>
                </c:pt>
                <c:pt idx="5207">
                  <c:v>7.1973340720830808E-2</c:v>
                </c:pt>
                <c:pt idx="5208">
                  <c:v>7.5280613593068604E-2</c:v>
                </c:pt>
                <c:pt idx="5209">
                  <c:v>7.7215107763953364E-2</c:v>
                </c:pt>
                <c:pt idx="5210">
                  <c:v>7.8632919137494164E-2</c:v>
                </c:pt>
                <c:pt idx="5211">
                  <c:v>7.8953474813385924E-2</c:v>
                </c:pt>
                <c:pt idx="5212">
                  <c:v>7.9661543568697896E-2</c:v>
                </c:pt>
                <c:pt idx="5213">
                  <c:v>7.9641535125684448E-2</c:v>
                </c:pt>
                <c:pt idx="5214">
                  <c:v>7.8412738270377785E-2</c:v>
                </c:pt>
                <c:pt idx="5215">
                  <c:v>7.7182221454630051E-2</c:v>
                </c:pt>
                <c:pt idx="5216">
                  <c:v>7.5254257703935068E-2</c:v>
                </c:pt>
                <c:pt idx="5217">
                  <c:v>7.4211575735249391E-2</c:v>
                </c:pt>
                <c:pt idx="5218">
                  <c:v>7.3653561851524441E-2</c:v>
                </c:pt>
                <c:pt idx="5219">
                  <c:v>7.0978492432290111E-2</c:v>
                </c:pt>
                <c:pt idx="5220">
                  <c:v>6.8576093944497873E-2</c:v>
                </c:pt>
                <c:pt idx="5221">
                  <c:v>7.1080378797388391E-2</c:v>
                </c:pt>
                <c:pt idx="5222">
                  <c:v>7.3947777994175526E-2</c:v>
                </c:pt>
                <c:pt idx="5223">
                  <c:v>7.6940961012046574E-2</c:v>
                </c:pt>
                <c:pt idx="5224">
                  <c:v>7.8832081480106092E-2</c:v>
                </c:pt>
                <c:pt idx="5225">
                  <c:v>8.0144603959911173E-2</c:v>
                </c:pt>
                <c:pt idx="5226">
                  <c:v>8.0204983401294838E-2</c:v>
                </c:pt>
                <c:pt idx="5227">
                  <c:v>8.0754909589642043E-2</c:v>
                </c:pt>
                <c:pt idx="5228">
                  <c:v>7.9432362422695482E-2</c:v>
                </c:pt>
                <c:pt idx="5229">
                  <c:v>7.8531162701397289E-2</c:v>
                </c:pt>
                <c:pt idx="5230">
                  <c:v>7.6992383923714172E-2</c:v>
                </c:pt>
                <c:pt idx="5231">
                  <c:v>7.5543435435981923E-2</c:v>
                </c:pt>
                <c:pt idx="5232">
                  <c:v>7.413993715025298E-2</c:v>
                </c:pt>
                <c:pt idx="5233">
                  <c:v>7.1938972766233386E-2</c:v>
                </c:pt>
                <c:pt idx="5234">
                  <c:v>6.8340774006064323E-2</c:v>
                </c:pt>
                <c:pt idx="5235">
                  <c:v>6.3346870992914861E-2</c:v>
                </c:pt>
                <c:pt idx="5236">
                  <c:v>5.3730543455889353E-2</c:v>
                </c:pt>
                <c:pt idx="5237">
                  <c:v>5.3339694187123525E-2</c:v>
                </c:pt>
                <c:pt idx="5238">
                  <c:v>5.307861420340506E-2</c:v>
                </c:pt>
                <c:pt idx="5239">
                  <c:v>5.2732441978639348E-2</c:v>
                </c:pt>
                <c:pt idx="5240">
                  <c:v>5.2328749405487797E-2</c:v>
                </c:pt>
                <c:pt idx="5241">
                  <c:v>5.242425315626411E-2</c:v>
                </c:pt>
                <c:pt idx="5242">
                  <c:v>5.245549204544956E-2</c:v>
                </c:pt>
                <c:pt idx="5243">
                  <c:v>5.203574610776502E-2</c:v>
                </c:pt>
                <c:pt idx="5244">
                  <c:v>5.1308759588790685E-2</c:v>
                </c:pt>
                <c:pt idx="5245">
                  <c:v>5.5142221539467677E-2</c:v>
                </c:pt>
                <c:pt idx="5246">
                  <c:v>5.5799816649309296E-2</c:v>
                </c:pt>
                <c:pt idx="5247">
                  <c:v>7.1297444299028789E-2</c:v>
                </c:pt>
                <c:pt idx="5248">
                  <c:v>7.6125767291298815E-2</c:v>
                </c:pt>
                <c:pt idx="5249">
                  <c:v>7.7783620866902561E-2</c:v>
                </c:pt>
                <c:pt idx="5250">
                  <c:v>8.7923337987416167E-2</c:v>
                </c:pt>
                <c:pt idx="5251">
                  <c:v>0.10672858086953307</c:v>
                </c:pt>
                <c:pt idx="5252">
                  <c:v>0.1245900255225085</c:v>
                </c:pt>
                <c:pt idx="5253">
                  <c:v>0.14237369054548643</c:v>
                </c:pt>
                <c:pt idx="5254">
                  <c:v>0.156605414639059</c:v>
                </c:pt>
                <c:pt idx="5255">
                  <c:v>0.16826237715073916</c:v>
                </c:pt>
                <c:pt idx="5256">
                  <c:v>0.177138647788285</c:v>
                </c:pt>
                <c:pt idx="5257">
                  <c:v>0.18419332369916647</c:v>
                </c:pt>
                <c:pt idx="5258">
                  <c:v>0.18870181786818013</c:v>
                </c:pt>
                <c:pt idx="5259">
                  <c:v>0.19201180484950564</c:v>
                </c:pt>
                <c:pt idx="5260">
                  <c:v>0.19466976258023616</c:v>
                </c:pt>
                <c:pt idx="5261">
                  <c:v>0.19600067279163233</c:v>
                </c:pt>
                <c:pt idx="5262">
                  <c:v>0.1966586925624649</c:v>
                </c:pt>
                <c:pt idx="5263">
                  <c:v>0.19556942177107925</c:v>
                </c:pt>
                <c:pt idx="5264">
                  <c:v>0.1936804965494284</c:v>
                </c:pt>
                <c:pt idx="5265">
                  <c:v>0.19048779281644085</c:v>
                </c:pt>
                <c:pt idx="5266">
                  <c:v>0.18579837038349076</c:v>
                </c:pt>
                <c:pt idx="5267">
                  <c:v>0.18026124847874997</c:v>
                </c:pt>
                <c:pt idx="5268">
                  <c:v>0.17332219199749943</c:v>
                </c:pt>
                <c:pt idx="5269">
                  <c:v>0.16550071306356662</c:v>
                </c:pt>
                <c:pt idx="5270">
                  <c:v>0.15736642562750944</c:v>
                </c:pt>
                <c:pt idx="5271">
                  <c:v>0.14809332654367527</c:v>
                </c:pt>
                <c:pt idx="5272">
                  <c:v>0.13730206547444773</c:v>
                </c:pt>
                <c:pt idx="5273">
                  <c:v>0.12566456958467959</c:v>
                </c:pt>
                <c:pt idx="5274">
                  <c:v>0.11139686333125831</c:v>
                </c:pt>
                <c:pt idx="5275">
                  <c:v>9.8127015562893813E-2</c:v>
                </c:pt>
                <c:pt idx="5276">
                  <c:v>8.1237179421779965E-2</c:v>
                </c:pt>
                <c:pt idx="5277">
                  <c:v>7.0024370616930259E-2</c:v>
                </c:pt>
                <c:pt idx="5278">
                  <c:v>5.3212909414803271E-2</c:v>
                </c:pt>
                <c:pt idx="5279">
                  <c:v>2.1653828042821059E-2</c:v>
                </c:pt>
                <c:pt idx="5280">
                  <c:v>-7.0743333286124414E-4</c:v>
                </c:pt>
                <c:pt idx="5281">
                  <c:v>-1.3970389165354135E-2</c:v>
                </c:pt>
                <c:pt idx="5282">
                  <c:v>-2.3448264617211292E-2</c:v>
                </c:pt>
                <c:pt idx="5283">
                  <c:v>-2.6619972572349222E-2</c:v>
                </c:pt>
                <c:pt idx="5284">
                  <c:v>-2.8158077732885221E-2</c:v>
                </c:pt>
                <c:pt idx="5285">
                  <c:v>-2.9746154648907765E-2</c:v>
                </c:pt>
                <c:pt idx="5286">
                  <c:v>-3.081361991401016E-2</c:v>
                </c:pt>
                <c:pt idx="5287">
                  <c:v>-3.1970719369473502E-2</c:v>
                </c:pt>
                <c:pt idx="5288">
                  <c:v>-3.3615965169809449E-2</c:v>
                </c:pt>
                <c:pt idx="5289">
                  <c:v>-3.5723650370050146E-2</c:v>
                </c:pt>
                <c:pt idx="5290">
                  <c:v>-3.8190082075730283E-2</c:v>
                </c:pt>
                <c:pt idx="5291">
                  <c:v>-4.0929833082237903E-2</c:v>
                </c:pt>
                <c:pt idx="5292">
                  <c:v>-4.2443767922953235E-2</c:v>
                </c:pt>
                <c:pt idx="5293">
                  <c:v>-4.454709218446308E-2</c:v>
                </c:pt>
                <c:pt idx="5294">
                  <c:v>-4.6107515079045605E-2</c:v>
                </c:pt>
                <c:pt idx="5295">
                  <c:v>-4.7370269272945555E-2</c:v>
                </c:pt>
                <c:pt idx="5296">
                  <c:v>-4.8695961480684335E-2</c:v>
                </c:pt>
                <c:pt idx="5297">
                  <c:v>-4.9521927259681499E-2</c:v>
                </c:pt>
                <c:pt idx="5298">
                  <c:v>-5.0083367598229386E-2</c:v>
                </c:pt>
                <c:pt idx="5299">
                  <c:v>-5.0467737186880544E-2</c:v>
                </c:pt>
                <c:pt idx="5300">
                  <c:v>-5.0547311997323617E-2</c:v>
                </c:pt>
                <c:pt idx="5301">
                  <c:v>-5.024274043822876E-2</c:v>
                </c:pt>
                <c:pt idx="5302">
                  <c:v>-5.0130212499269688E-2</c:v>
                </c:pt>
                <c:pt idx="5303">
                  <c:v>-4.8660475713136905E-2</c:v>
                </c:pt>
                <c:pt idx="5304">
                  <c:v>-4.6613055970915265E-2</c:v>
                </c:pt>
                <c:pt idx="5305">
                  <c:v>-4.4178649124404598E-2</c:v>
                </c:pt>
                <c:pt idx="5306">
                  <c:v>-3.9397176528133189E-2</c:v>
                </c:pt>
                <c:pt idx="5307">
                  <c:v>-3.5509008406401005E-2</c:v>
                </c:pt>
                <c:pt idx="5308">
                  <c:v>-3.2015203983433944E-2</c:v>
                </c:pt>
                <c:pt idx="5309">
                  <c:v>-2.8586958735960927E-2</c:v>
                </c:pt>
                <c:pt idx="5310">
                  <c:v>-2.4682959310592736E-2</c:v>
                </c:pt>
                <c:pt idx="5311">
                  <c:v>-1.6666990773312726E-2</c:v>
                </c:pt>
                <c:pt idx="5312">
                  <c:v>-1.0454090500606861E-2</c:v>
                </c:pt>
                <c:pt idx="5313">
                  <c:v>-6.0210787583043239E-3</c:v>
                </c:pt>
                <c:pt idx="5314">
                  <c:v>-1.3879471098759751E-3</c:v>
                </c:pt>
                <c:pt idx="5315">
                  <c:v>2.7090882122797946E-3</c:v>
                </c:pt>
                <c:pt idx="5316">
                  <c:v>7.3651644527333252E-3</c:v>
                </c:pt>
                <c:pt idx="5317">
                  <c:v>1.1823423532042078E-2</c:v>
                </c:pt>
                <c:pt idx="5318">
                  <c:v>1.472908894161813E-2</c:v>
                </c:pt>
                <c:pt idx="5319">
                  <c:v>1.7523225323594842E-2</c:v>
                </c:pt>
                <c:pt idx="5320">
                  <c:v>1.9108914548365198E-2</c:v>
                </c:pt>
                <c:pt idx="5321">
                  <c:v>1.9397554452825018E-2</c:v>
                </c:pt>
                <c:pt idx="5322">
                  <c:v>2.0532186481101271E-2</c:v>
                </c:pt>
                <c:pt idx="5323">
                  <c:v>2.0685335986098563E-2</c:v>
                </c:pt>
                <c:pt idx="5324">
                  <c:v>2.0956503027705436E-2</c:v>
                </c:pt>
                <c:pt idx="5325">
                  <c:v>2.1017076399034287E-2</c:v>
                </c:pt>
                <c:pt idx="5326">
                  <c:v>2.1186301707894623E-2</c:v>
                </c:pt>
                <c:pt idx="5327">
                  <c:v>2.1619680941935525E-2</c:v>
                </c:pt>
                <c:pt idx="5328">
                  <c:v>2.1339675344559557E-2</c:v>
                </c:pt>
                <c:pt idx="5329">
                  <c:v>2.1335510899085239E-2</c:v>
                </c:pt>
                <c:pt idx="5330">
                  <c:v>2.0723965620277951E-2</c:v>
                </c:pt>
                <c:pt idx="5331">
                  <c:v>2.0797527524950718E-2</c:v>
                </c:pt>
                <c:pt idx="5332">
                  <c:v>2.0303087804921974E-2</c:v>
                </c:pt>
                <c:pt idx="5333">
                  <c:v>1.9514308464452998E-2</c:v>
                </c:pt>
                <c:pt idx="5334">
                  <c:v>1.8431579400656178E-2</c:v>
                </c:pt>
                <c:pt idx="5335">
                  <c:v>1.6437126943612483E-2</c:v>
                </c:pt>
                <c:pt idx="5336">
                  <c:v>1.5394303251300525E-2</c:v>
                </c:pt>
                <c:pt idx="5337">
                  <c:v>1.4090307240076849E-2</c:v>
                </c:pt>
                <c:pt idx="5338">
                  <c:v>1.2497452403619576E-2</c:v>
                </c:pt>
                <c:pt idx="5339">
                  <c:v>1.0977133169925006E-2</c:v>
                </c:pt>
                <c:pt idx="5340">
                  <c:v>9.6979443659195533E-3</c:v>
                </c:pt>
                <c:pt idx="5341">
                  <c:v>1.0477553270228456E-2</c:v>
                </c:pt>
                <c:pt idx="5342">
                  <c:v>1.1440482691193998E-2</c:v>
                </c:pt>
                <c:pt idx="5343">
                  <c:v>1.2170473127875158E-2</c:v>
                </c:pt>
                <c:pt idx="5344">
                  <c:v>1.3098246550276962E-2</c:v>
                </c:pt>
                <c:pt idx="5345">
                  <c:v>1.4042922532201874E-2</c:v>
                </c:pt>
                <c:pt idx="5346">
                  <c:v>1.5156237231119566E-2</c:v>
                </c:pt>
                <c:pt idx="5347">
                  <c:v>1.6196723034031198E-2</c:v>
                </c:pt>
                <c:pt idx="5348">
                  <c:v>1.6765912102384317E-2</c:v>
                </c:pt>
                <c:pt idx="5349">
                  <c:v>1.7387267287454579E-2</c:v>
                </c:pt>
                <c:pt idx="5350">
                  <c:v>1.8265179562893162E-2</c:v>
                </c:pt>
                <c:pt idx="5351">
                  <c:v>1.8393042163003061E-2</c:v>
                </c:pt>
                <c:pt idx="5352">
                  <c:v>1.9277091312450152E-2</c:v>
                </c:pt>
                <c:pt idx="5353">
                  <c:v>2.0001862677221253E-2</c:v>
                </c:pt>
                <c:pt idx="5354">
                  <c:v>2.1081682919053817E-2</c:v>
                </c:pt>
                <c:pt idx="5355">
                  <c:v>2.1302186961154393E-2</c:v>
                </c:pt>
                <c:pt idx="5356">
                  <c:v>2.1500998481814922E-2</c:v>
                </c:pt>
                <c:pt idx="5357">
                  <c:v>2.1456027959012011E-2</c:v>
                </c:pt>
                <c:pt idx="5358">
                  <c:v>2.1374355198115091E-2</c:v>
                </c:pt>
                <c:pt idx="5359">
                  <c:v>2.154780814018975E-2</c:v>
                </c:pt>
                <c:pt idx="5360">
                  <c:v>2.1214337671534626E-2</c:v>
                </c:pt>
                <c:pt idx="5361">
                  <c:v>2.1715386689018901E-2</c:v>
                </c:pt>
                <c:pt idx="5362">
                  <c:v>2.1570916383958659E-2</c:v>
                </c:pt>
                <c:pt idx="5363">
                  <c:v>2.1792061012176102E-2</c:v>
                </c:pt>
                <c:pt idx="5364">
                  <c:v>2.1686346381547907E-2</c:v>
                </c:pt>
                <c:pt idx="5365">
                  <c:v>2.0992848542385749E-2</c:v>
                </c:pt>
                <c:pt idx="5366">
                  <c:v>2.0845062834908334E-2</c:v>
                </c:pt>
                <c:pt idx="5367">
                  <c:v>2.0914408088298767E-2</c:v>
                </c:pt>
                <c:pt idx="5368">
                  <c:v>2.1007570276434497E-2</c:v>
                </c:pt>
                <c:pt idx="5369">
                  <c:v>2.0637865576061239E-2</c:v>
                </c:pt>
                <c:pt idx="5370">
                  <c:v>1.9728448551423895E-2</c:v>
                </c:pt>
                <c:pt idx="5371">
                  <c:v>2.0801854360521586E-2</c:v>
                </c:pt>
                <c:pt idx="5372">
                  <c:v>2.4983237062712445E-2</c:v>
                </c:pt>
                <c:pt idx="5373">
                  <c:v>3.3368184628188712E-2</c:v>
                </c:pt>
                <c:pt idx="5374">
                  <c:v>4.1411517550809698E-2</c:v>
                </c:pt>
                <c:pt idx="5375">
                  <c:v>5.1207101822225619E-2</c:v>
                </c:pt>
                <c:pt idx="5376">
                  <c:v>6.235138753432163E-2</c:v>
                </c:pt>
                <c:pt idx="5377">
                  <c:v>7.422713389795238E-2</c:v>
                </c:pt>
                <c:pt idx="5378">
                  <c:v>8.6371119994636564E-2</c:v>
                </c:pt>
                <c:pt idx="5379">
                  <c:v>9.8917970241186801E-2</c:v>
                </c:pt>
                <c:pt idx="5380">
                  <c:v>0.11180008577244174</c:v>
                </c:pt>
                <c:pt idx="5381">
                  <c:v>0.12593005463142773</c:v>
                </c:pt>
                <c:pt idx="5382">
                  <c:v>0.13941651061251484</c:v>
                </c:pt>
                <c:pt idx="5383">
                  <c:v>0.1528174876380467</c:v>
                </c:pt>
                <c:pt idx="5384">
                  <c:v>0.20000910182800399</c:v>
                </c:pt>
                <c:pt idx="5385">
                  <c:v>0.25075230731266351</c:v>
                </c:pt>
                <c:pt idx="5386">
                  <c:v>0.27139761963861619</c:v>
                </c:pt>
                <c:pt idx="5387">
                  <c:v>0.32308018052887005</c:v>
                </c:pt>
                <c:pt idx="5388">
                  <c:v>0.33111550082559776</c:v>
                </c:pt>
                <c:pt idx="5389">
                  <c:v>0.34648600577531891</c:v>
                </c:pt>
                <c:pt idx="5390">
                  <c:v>0.36906367713436877</c:v>
                </c:pt>
                <c:pt idx="5391">
                  <c:v>0.37491354616473271</c:v>
                </c:pt>
                <c:pt idx="5392">
                  <c:v>0.40493057716591974</c:v>
                </c:pt>
                <c:pt idx="5393">
                  <c:v>0.40696249181690514</c:v>
                </c:pt>
                <c:pt idx="5394">
                  <c:v>0.41472293052459708</c:v>
                </c:pt>
                <c:pt idx="5395">
                  <c:v>0.41986664630634551</c:v>
                </c:pt>
                <c:pt idx="5396">
                  <c:v>0.43026640388564136</c:v>
                </c:pt>
                <c:pt idx="5397">
                  <c:v>0.4329036964038579</c:v>
                </c:pt>
                <c:pt idx="5398">
                  <c:v>0.44396866038014837</c:v>
                </c:pt>
                <c:pt idx="5399">
                  <c:v>0.43702293641347745</c:v>
                </c:pt>
                <c:pt idx="5400">
                  <c:v>0.43250445571599949</c:v>
                </c:pt>
                <c:pt idx="5401">
                  <c:v>0.43336658954988316</c:v>
                </c:pt>
                <c:pt idx="5402">
                  <c:v>0.44878497293732972</c:v>
                </c:pt>
                <c:pt idx="5403">
                  <c:v>0.45587299644054108</c:v>
                </c:pt>
                <c:pt idx="5404">
                  <c:v>0.44817245828034974</c:v>
                </c:pt>
                <c:pt idx="5405">
                  <c:v>0.43992781407741144</c:v>
                </c:pt>
                <c:pt idx="5406">
                  <c:v>0.43737885504684798</c:v>
                </c:pt>
                <c:pt idx="5407">
                  <c:v>0.44069612855453444</c:v>
                </c:pt>
                <c:pt idx="5408">
                  <c:v>0.44211120584284602</c:v>
                </c:pt>
                <c:pt idx="5409">
                  <c:v>0.46035267157682852</c:v>
                </c:pt>
                <c:pt idx="5410">
                  <c:v>0.45493303382933359</c:v>
                </c:pt>
                <c:pt idx="5411">
                  <c:v>0.45086900676859776</c:v>
                </c:pt>
                <c:pt idx="5412">
                  <c:v>0.44720884110398357</c:v>
                </c:pt>
                <c:pt idx="5413">
                  <c:v>0.44898680626036946</c:v>
                </c:pt>
                <c:pt idx="5414">
                  <c:v>0.44960417561739829</c:v>
                </c:pt>
                <c:pt idx="5415">
                  <c:v>0.45054742655552965</c:v>
                </c:pt>
                <c:pt idx="5416">
                  <c:v>0.44943490264727831</c:v>
                </c:pt>
                <c:pt idx="5417">
                  <c:v>0.43815406761922043</c:v>
                </c:pt>
                <c:pt idx="5418">
                  <c:v>0.44503469498697845</c:v>
                </c:pt>
                <c:pt idx="5419">
                  <c:v>0.44980958074348104</c:v>
                </c:pt>
                <c:pt idx="5420">
                  <c:v>0.46572048173154706</c:v>
                </c:pt>
                <c:pt idx="5421">
                  <c:v>0.46780525922899879</c:v>
                </c:pt>
                <c:pt idx="5422">
                  <c:v>0.45599202813264689</c:v>
                </c:pt>
                <c:pt idx="5423">
                  <c:v>0.46169380691293505</c:v>
                </c:pt>
                <c:pt idx="5424">
                  <c:v>0.46568782342332538</c:v>
                </c:pt>
                <c:pt idx="5425">
                  <c:v>0.46826214921741099</c:v>
                </c:pt>
                <c:pt idx="5426">
                  <c:v>0.48491518413503742</c:v>
                </c:pt>
                <c:pt idx="5427">
                  <c:v>0.4832361058411585</c:v>
                </c:pt>
                <c:pt idx="5428">
                  <c:v>0.47489964586996081</c:v>
                </c:pt>
                <c:pt idx="5429">
                  <c:v>0.48093184389457394</c:v>
                </c:pt>
                <c:pt idx="5430">
                  <c:v>0.49040556353455655</c:v>
                </c:pt>
                <c:pt idx="5431">
                  <c:v>0.49546174331850923</c:v>
                </c:pt>
                <c:pt idx="5432">
                  <c:v>0.47731053823262226</c:v>
                </c:pt>
                <c:pt idx="5433">
                  <c:v>0.49065307700907013</c:v>
                </c:pt>
                <c:pt idx="5434">
                  <c:v>0.48833835684820881</c:v>
                </c:pt>
                <c:pt idx="5435">
                  <c:v>0.49020416378233267</c:v>
                </c:pt>
                <c:pt idx="5436">
                  <c:v>0.49237226989474847</c:v>
                </c:pt>
                <c:pt idx="5437">
                  <c:v>0.49621075840570461</c:v>
                </c:pt>
                <c:pt idx="5438">
                  <c:v>0.50482570865808007</c:v>
                </c:pt>
                <c:pt idx="5439">
                  <c:v>0.48758678661384436</c:v>
                </c:pt>
                <c:pt idx="5440">
                  <c:v>0.49734778367729293</c:v>
                </c:pt>
                <c:pt idx="5441">
                  <c:v>0.50172465253197274</c:v>
                </c:pt>
                <c:pt idx="5442">
                  <c:v>0.52829355738277206</c:v>
                </c:pt>
                <c:pt idx="5443">
                  <c:v>0.54985741646123432</c:v>
                </c:pt>
                <c:pt idx="5444">
                  <c:v>0.54677084494726325</c:v>
                </c:pt>
                <c:pt idx="5445">
                  <c:v>0.5391379820777048</c:v>
                </c:pt>
                <c:pt idx="5446">
                  <c:v>0.53985886859104859</c:v>
                </c:pt>
                <c:pt idx="5447">
                  <c:v>0.54244364694671166</c:v>
                </c:pt>
                <c:pt idx="5448">
                  <c:v>0.54682179877769432</c:v>
                </c:pt>
                <c:pt idx="5449">
                  <c:v>0.55418605454261771</c:v>
                </c:pt>
                <c:pt idx="5450">
                  <c:v>0.54444426996014195</c:v>
                </c:pt>
                <c:pt idx="5451">
                  <c:v>0.55536172445575338</c:v>
                </c:pt>
                <c:pt idx="5452">
                  <c:v>0.57596267455136008</c:v>
                </c:pt>
                <c:pt idx="5453">
                  <c:v>0.63048967556765845</c:v>
                </c:pt>
                <c:pt idx="5454">
                  <c:v>0.6591940514647342</c:v>
                </c:pt>
                <c:pt idx="5455">
                  <c:v>0.68105534981031668</c:v>
                </c:pt>
                <c:pt idx="5456">
                  <c:v>0.67508114742743885</c:v>
                </c:pt>
                <c:pt idx="5457">
                  <c:v>0.6925111889019433</c:v>
                </c:pt>
                <c:pt idx="5458">
                  <c:v>0.71015695313375915</c:v>
                </c:pt>
                <c:pt idx="5459">
                  <c:v>0.72374656424426598</c:v>
                </c:pt>
                <c:pt idx="5460">
                  <c:v>0.73426208614042132</c:v>
                </c:pt>
                <c:pt idx="5461">
                  <c:v>0.7415970895142191</c:v>
                </c:pt>
                <c:pt idx="5462">
                  <c:v>0.74687790850304803</c:v>
                </c:pt>
                <c:pt idx="5463">
                  <c:v>0.69963036843903037</c:v>
                </c:pt>
                <c:pt idx="5464">
                  <c:v>0.68995016937351838</c:v>
                </c:pt>
                <c:pt idx="5465">
                  <c:v>0.6854933068846546</c:v>
                </c:pt>
                <c:pt idx="5466">
                  <c:v>0.68120951176852684</c:v>
                </c:pt>
                <c:pt idx="5467">
                  <c:v>0.67583507005011279</c:v>
                </c:pt>
                <c:pt idx="5468">
                  <c:v>0.66931759433897908</c:v>
                </c:pt>
                <c:pt idx="5469">
                  <c:v>0.6615095594945134</c:v>
                </c:pt>
                <c:pt idx="5470">
                  <c:v>0.65126829781406204</c:v>
                </c:pt>
                <c:pt idx="5471">
                  <c:v>0.6286397959212805</c:v>
                </c:pt>
                <c:pt idx="5472">
                  <c:v>0.5523075804830605</c:v>
                </c:pt>
                <c:pt idx="5473">
                  <c:v>0.43237482516535392</c:v>
                </c:pt>
                <c:pt idx="5474">
                  <c:v>0.38097726921292341</c:v>
                </c:pt>
                <c:pt idx="5475">
                  <c:v>0.3140728839993166</c:v>
                </c:pt>
                <c:pt idx="5476">
                  <c:v>0.32389340116808985</c:v>
                </c:pt>
                <c:pt idx="5477">
                  <c:v>0.33457462426455464</c:v>
                </c:pt>
                <c:pt idx="5478">
                  <c:v>0.33950198299831535</c:v>
                </c:pt>
                <c:pt idx="5479">
                  <c:v>0.33639464609551745</c:v>
                </c:pt>
                <c:pt idx="5480">
                  <c:v>0.32326590494846114</c:v>
                </c:pt>
                <c:pt idx="5481">
                  <c:v>0.29497738104019905</c:v>
                </c:pt>
                <c:pt idx="5482">
                  <c:v>0.2697830173453184</c:v>
                </c:pt>
                <c:pt idx="5483">
                  <c:v>0.27467638469831307</c:v>
                </c:pt>
                <c:pt idx="5484">
                  <c:v>0.27758551064865727</c:v>
                </c:pt>
                <c:pt idx="5485">
                  <c:v>0.27397535210835167</c:v>
                </c:pt>
                <c:pt idx="5486">
                  <c:v>0.27764454359185575</c:v>
                </c:pt>
                <c:pt idx="5487">
                  <c:v>0.30850705155393954</c:v>
                </c:pt>
                <c:pt idx="5488">
                  <c:v>0.32370610108132891</c:v>
                </c:pt>
                <c:pt idx="5489">
                  <c:v>0.3319915571591463</c:v>
                </c:pt>
                <c:pt idx="5490">
                  <c:v>0.33960437191828069</c:v>
                </c:pt>
                <c:pt idx="5491">
                  <c:v>0.3438905776606519</c:v>
                </c:pt>
                <c:pt idx="5492">
                  <c:v>0.34476375657953851</c:v>
                </c:pt>
                <c:pt idx="5493">
                  <c:v>0.34178396587961613</c:v>
                </c:pt>
                <c:pt idx="5494">
                  <c:v>0.33608796721422762</c:v>
                </c:pt>
                <c:pt idx="5495">
                  <c:v>0.32872783705775344</c:v>
                </c:pt>
                <c:pt idx="5496">
                  <c:v>0.3194860424749828</c:v>
                </c:pt>
                <c:pt idx="5497">
                  <c:v>0.30903116843798084</c:v>
                </c:pt>
                <c:pt idx="5498">
                  <c:v>0.29559411604298674</c:v>
                </c:pt>
                <c:pt idx="5499">
                  <c:v>0.28015716166098792</c:v>
                </c:pt>
                <c:pt idx="5500">
                  <c:v>0.26021626443392437</c:v>
                </c:pt>
                <c:pt idx="5501">
                  <c:v>0.2364341648237081</c:v>
                </c:pt>
                <c:pt idx="5502">
                  <c:v>0.20642739652014402</c:v>
                </c:pt>
                <c:pt idx="5503">
                  <c:v>0.16526648408902203</c:v>
                </c:pt>
                <c:pt idx="5504">
                  <c:v>9.3896349779771376E-2</c:v>
                </c:pt>
                <c:pt idx="5505">
                  <c:v>3.210117131668757E-2</c:v>
                </c:pt>
                <c:pt idx="5506">
                  <c:v>3.4000647716793349E-2</c:v>
                </c:pt>
                <c:pt idx="5507">
                  <c:v>3.633798403882E-2</c:v>
                </c:pt>
                <c:pt idx="5508">
                  <c:v>3.8958805170985156E-2</c:v>
                </c:pt>
                <c:pt idx="5509">
                  <c:v>4.0036773321587997E-2</c:v>
                </c:pt>
                <c:pt idx="5510">
                  <c:v>4.0614657871351038E-2</c:v>
                </c:pt>
                <c:pt idx="5511">
                  <c:v>4.220091388812959E-2</c:v>
                </c:pt>
                <c:pt idx="5512">
                  <c:v>4.2843735399651507E-2</c:v>
                </c:pt>
                <c:pt idx="5513">
                  <c:v>4.3060490882185241E-2</c:v>
                </c:pt>
                <c:pt idx="5514">
                  <c:v>4.3241590603500281E-2</c:v>
                </c:pt>
                <c:pt idx="5515">
                  <c:v>4.2658422830686854E-2</c:v>
                </c:pt>
                <c:pt idx="5516">
                  <c:v>4.2694553052891139E-2</c:v>
                </c:pt>
                <c:pt idx="5517">
                  <c:v>3.5826026739642254E-2</c:v>
                </c:pt>
                <c:pt idx="5518">
                  <c:v>2.8479891093293068E-2</c:v>
                </c:pt>
                <c:pt idx="5519">
                  <c:v>2.2157078382214382E-2</c:v>
                </c:pt>
                <c:pt idx="5520">
                  <c:v>1.2536668144872124E-2</c:v>
                </c:pt>
                <c:pt idx="5521">
                  <c:v>2.0459407338253473E-3</c:v>
                </c:pt>
                <c:pt idx="5522">
                  <c:v>-5.6892644294064456E-3</c:v>
                </c:pt>
                <c:pt idx="5523">
                  <c:v>-1.0212950299525781E-2</c:v>
                </c:pt>
                <c:pt idx="5524">
                  <c:v>-1.2919562377246611E-2</c:v>
                </c:pt>
                <c:pt idx="5525">
                  <c:v>-1.8988337789154958E-2</c:v>
                </c:pt>
                <c:pt idx="5526">
                  <c:v>-1.9456503369774662E-2</c:v>
                </c:pt>
                <c:pt idx="5527">
                  <c:v>-1.9791038509908928E-2</c:v>
                </c:pt>
                <c:pt idx="5528">
                  <c:v>-1.9789597394771645E-2</c:v>
                </c:pt>
                <c:pt idx="5529">
                  <c:v>-1.9820622564884479E-2</c:v>
                </c:pt>
                <c:pt idx="5530">
                  <c:v>-1.9600238555474336E-2</c:v>
                </c:pt>
                <c:pt idx="5531">
                  <c:v>-1.9325423399413809E-2</c:v>
                </c:pt>
                <c:pt idx="5532">
                  <c:v>-1.9072609800063894E-2</c:v>
                </c:pt>
                <c:pt idx="5533">
                  <c:v>-1.9475114789041157E-2</c:v>
                </c:pt>
                <c:pt idx="5534">
                  <c:v>-1.9649187527571405E-2</c:v>
                </c:pt>
                <c:pt idx="5535">
                  <c:v>-1.9576237626321272E-2</c:v>
                </c:pt>
                <c:pt idx="5536">
                  <c:v>-1.9342072944368044E-2</c:v>
                </c:pt>
                <c:pt idx="5537">
                  <c:v>-1.9431227958054634E-2</c:v>
                </c:pt>
                <c:pt idx="5538">
                  <c:v>-1.9640375782798383E-2</c:v>
                </c:pt>
                <c:pt idx="5539">
                  <c:v>-1.9788800285880058E-2</c:v>
                </c:pt>
                <c:pt idx="5540">
                  <c:v>-1.9953039594465941E-2</c:v>
                </c:pt>
                <c:pt idx="5541">
                  <c:v>-1.9802017555029264E-2</c:v>
                </c:pt>
                <c:pt idx="5542">
                  <c:v>-1.927909420210994E-2</c:v>
                </c:pt>
                <c:pt idx="5543">
                  <c:v>-1.8322036361420616E-2</c:v>
                </c:pt>
                <c:pt idx="5544">
                  <c:v>-1.785357200692957E-2</c:v>
                </c:pt>
                <c:pt idx="5545">
                  <c:v>-1.75519461978654E-2</c:v>
                </c:pt>
                <c:pt idx="5546">
                  <c:v>-1.787800164028492E-2</c:v>
                </c:pt>
                <c:pt idx="5547">
                  <c:v>-1.8572181594514257E-2</c:v>
                </c:pt>
                <c:pt idx="5548">
                  <c:v>-1.9145403785534545E-2</c:v>
                </c:pt>
                <c:pt idx="5549">
                  <c:v>-1.9532270361069852E-2</c:v>
                </c:pt>
                <c:pt idx="5550">
                  <c:v>-1.9827187238301007E-2</c:v>
                </c:pt>
                <c:pt idx="5551">
                  <c:v>-2.0171218020596224E-2</c:v>
                </c:pt>
                <c:pt idx="5552">
                  <c:v>-2.1340731090799578E-2</c:v>
                </c:pt>
                <c:pt idx="5553">
                  <c:v>-2.1786675633312595E-2</c:v>
                </c:pt>
                <c:pt idx="5554">
                  <c:v>-2.1508735353403835E-2</c:v>
                </c:pt>
                <c:pt idx="5555">
                  <c:v>-2.1012231197002077E-2</c:v>
                </c:pt>
                <c:pt idx="5556">
                  <c:v>-2.057124052921987E-2</c:v>
                </c:pt>
                <c:pt idx="5557">
                  <c:v>-2.0189327344579781E-2</c:v>
                </c:pt>
                <c:pt idx="5558">
                  <c:v>-1.9906205156495868E-2</c:v>
                </c:pt>
                <c:pt idx="5559">
                  <c:v>-2.0165308306791301E-2</c:v>
                </c:pt>
                <c:pt idx="5560">
                  <c:v>-2.0729897271157666E-2</c:v>
                </c:pt>
                <c:pt idx="5561">
                  <c:v>-1.9900500381171138E-2</c:v>
                </c:pt>
                <c:pt idx="5562">
                  <c:v>-2.0197211263176983E-2</c:v>
                </c:pt>
                <c:pt idx="5563">
                  <c:v>-2.0520964637041894E-2</c:v>
                </c:pt>
                <c:pt idx="5564">
                  <c:v>-2.065845388892168E-2</c:v>
                </c:pt>
                <c:pt idx="5565">
                  <c:v>-2.0678553930890926E-2</c:v>
                </c:pt>
                <c:pt idx="5566">
                  <c:v>-2.0660220468143416E-2</c:v>
                </c:pt>
                <c:pt idx="5567">
                  <c:v>-2.0552331620738072E-2</c:v>
                </c:pt>
                <c:pt idx="5568">
                  <c:v>-2.0374070062502803E-2</c:v>
                </c:pt>
                <c:pt idx="5569">
                  <c:v>-2.0466591613419658E-2</c:v>
                </c:pt>
                <c:pt idx="5570">
                  <c:v>-2.0644765943108323E-2</c:v>
                </c:pt>
                <c:pt idx="5571">
                  <c:v>-2.0706270134399764E-2</c:v>
                </c:pt>
                <c:pt idx="5572">
                  <c:v>-2.0365641252320814E-2</c:v>
                </c:pt>
                <c:pt idx="5573">
                  <c:v>-2.0747171075725553E-2</c:v>
                </c:pt>
                <c:pt idx="5574">
                  <c:v>-2.1193477107287018E-2</c:v>
                </c:pt>
                <c:pt idx="5575">
                  <c:v>-2.1403171512569534E-2</c:v>
                </c:pt>
                <c:pt idx="5576">
                  <c:v>-2.1589869964337358E-2</c:v>
                </c:pt>
                <c:pt idx="5577">
                  <c:v>-2.1624951432941103E-2</c:v>
                </c:pt>
                <c:pt idx="5578">
                  <c:v>-2.1571436759514756E-2</c:v>
                </c:pt>
                <c:pt idx="5579">
                  <c:v>-2.1538358275256804E-2</c:v>
                </c:pt>
                <c:pt idx="5580">
                  <c:v>-2.1548653749047929E-2</c:v>
                </c:pt>
                <c:pt idx="5581">
                  <c:v>-2.1538887888451298E-2</c:v>
                </c:pt>
                <c:pt idx="5582">
                  <c:v>-2.1611409413735468E-2</c:v>
                </c:pt>
                <c:pt idx="5583">
                  <c:v>-2.1711769645067526E-2</c:v>
                </c:pt>
                <c:pt idx="5584">
                  <c:v>-2.2004784462508246E-2</c:v>
                </c:pt>
                <c:pt idx="5585">
                  <c:v>-2.2420598446103279E-2</c:v>
                </c:pt>
                <c:pt idx="5586">
                  <c:v>-2.2984611726537062E-2</c:v>
                </c:pt>
                <c:pt idx="5587">
                  <c:v>-2.3508860242111546E-2</c:v>
                </c:pt>
                <c:pt idx="5588">
                  <c:v>-2.3883318592885214E-2</c:v>
                </c:pt>
                <c:pt idx="5589">
                  <c:v>-2.3789363357819227E-2</c:v>
                </c:pt>
                <c:pt idx="5590">
                  <c:v>-2.3467555242389554E-2</c:v>
                </c:pt>
                <c:pt idx="5591">
                  <c:v>-2.4765860973970433E-2</c:v>
                </c:pt>
                <c:pt idx="5592">
                  <c:v>-2.4325240058353445E-2</c:v>
                </c:pt>
                <c:pt idx="5593">
                  <c:v>-2.3791363998124648E-2</c:v>
                </c:pt>
                <c:pt idx="5594">
                  <c:v>-2.3427350748832142E-2</c:v>
                </c:pt>
                <c:pt idx="5595">
                  <c:v>-2.3231120735981849E-2</c:v>
                </c:pt>
                <c:pt idx="5596">
                  <c:v>-2.3188086545649474E-2</c:v>
                </c:pt>
                <c:pt idx="5597">
                  <c:v>-2.3145550911656845E-2</c:v>
                </c:pt>
                <c:pt idx="5598">
                  <c:v>-2.3085198306849276E-2</c:v>
                </c:pt>
                <c:pt idx="5599">
                  <c:v>-2.2835472344769701E-2</c:v>
                </c:pt>
                <c:pt idx="5600">
                  <c:v>-2.2492186918428369E-2</c:v>
                </c:pt>
                <c:pt idx="5601">
                  <c:v>-2.0925089989120481E-2</c:v>
                </c:pt>
                <c:pt idx="5602">
                  <c:v>-2.0772489175275102E-2</c:v>
                </c:pt>
                <c:pt idx="5603">
                  <c:v>-2.0109038529998399E-2</c:v>
                </c:pt>
                <c:pt idx="5604">
                  <c:v>-1.8793732408120739E-2</c:v>
                </c:pt>
                <c:pt idx="5605">
                  <c:v>-1.7190925692845156E-2</c:v>
                </c:pt>
                <c:pt idx="5606">
                  <c:v>-1.5497081420794151E-2</c:v>
                </c:pt>
                <c:pt idx="5607">
                  <c:v>-1.3813551984726054E-2</c:v>
                </c:pt>
                <c:pt idx="5608">
                  <c:v>-1.253142290446956E-2</c:v>
                </c:pt>
                <c:pt idx="5609">
                  <c:v>-1.1589426580440536E-2</c:v>
                </c:pt>
                <c:pt idx="5610">
                  <c:v>-1.2241633148231037E-2</c:v>
                </c:pt>
                <c:pt idx="5611">
                  <c:v>-1.3764127541209894E-2</c:v>
                </c:pt>
                <c:pt idx="5612">
                  <c:v>-1.5122483301237635E-2</c:v>
                </c:pt>
                <c:pt idx="5613">
                  <c:v>-1.6200202587653437E-2</c:v>
                </c:pt>
                <c:pt idx="5614">
                  <c:v>-1.6946587690960385E-2</c:v>
                </c:pt>
                <c:pt idx="5615">
                  <c:v>-1.6814246973079629E-2</c:v>
                </c:pt>
                <c:pt idx="5616">
                  <c:v>-1.7273802639045124E-2</c:v>
                </c:pt>
                <c:pt idx="5617">
                  <c:v>-1.7713369311249515E-2</c:v>
                </c:pt>
                <c:pt idx="5618">
                  <c:v>-1.754619731179289E-2</c:v>
                </c:pt>
                <c:pt idx="5619">
                  <c:v>-1.708210201767156E-2</c:v>
                </c:pt>
                <c:pt idx="5620">
                  <c:v>-1.7408355660492779E-2</c:v>
                </c:pt>
                <c:pt idx="5621">
                  <c:v>-1.7781912449169025E-2</c:v>
                </c:pt>
                <c:pt idx="5622">
                  <c:v>-1.7393051467776789E-2</c:v>
                </c:pt>
                <c:pt idx="5623">
                  <c:v>-1.7452659007002908E-2</c:v>
                </c:pt>
                <c:pt idx="5624">
                  <c:v>-1.7833560367712786E-2</c:v>
                </c:pt>
                <c:pt idx="5625">
                  <c:v>-1.8208928773827741E-2</c:v>
                </c:pt>
                <c:pt idx="5626">
                  <c:v>-1.8375241859853286E-2</c:v>
                </c:pt>
                <c:pt idx="5627">
                  <c:v>-1.8486276415673148E-2</c:v>
                </c:pt>
                <c:pt idx="5628">
                  <c:v>-1.8363131178286689E-2</c:v>
                </c:pt>
                <c:pt idx="5629">
                  <c:v>-1.8156688910754962E-2</c:v>
                </c:pt>
                <c:pt idx="5630">
                  <c:v>-1.7782064073307999E-2</c:v>
                </c:pt>
                <c:pt idx="5631">
                  <c:v>-1.8134844246170956E-2</c:v>
                </c:pt>
                <c:pt idx="5632">
                  <c:v>-1.7920578264916168E-2</c:v>
                </c:pt>
                <c:pt idx="5633">
                  <c:v>-1.7062467070641241E-2</c:v>
                </c:pt>
                <c:pt idx="5634">
                  <c:v>-1.6393571267701496E-2</c:v>
                </c:pt>
                <c:pt idx="5635">
                  <c:v>-1.5771394586793122E-2</c:v>
                </c:pt>
                <c:pt idx="5636">
                  <c:v>-1.4880801101261288E-2</c:v>
                </c:pt>
                <c:pt idx="5637">
                  <c:v>-1.4227453551989025E-2</c:v>
                </c:pt>
                <c:pt idx="5638">
                  <c:v>-1.3511428270101652E-2</c:v>
                </c:pt>
                <c:pt idx="5639">
                  <c:v>-1.3207838428025538E-2</c:v>
                </c:pt>
                <c:pt idx="5640">
                  <c:v>-1.3379349104555282E-2</c:v>
                </c:pt>
                <c:pt idx="5641">
                  <c:v>-1.3360472948430976E-2</c:v>
                </c:pt>
                <c:pt idx="5642">
                  <c:v>-1.3160072486185184E-2</c:v>
                </c:pt>
                <c:pt idx="5643">
                  <c:v>-1.3115167745126962E-2</c:v>
                </c:pt>
                <c:pt idx="5644">
                  <c:v>-1.3333957696776831E-2</c:v>
                </c:pt>
                <c:pt idx="5645">
                  <c:v>-1.4716807455101781E-2</c:v>
                </c:pt>
                <c:pt idx="5646">
                  <c:v>-1.5613995608296584E-2</c:v>
                </c:pt>
                <c:pt idx="5647">
                  <c:v>-1.6355750063639214E-2</c:v>
                </c:pt>
                <c:pt idx="5648">
                  <c:v>-1.7775243145840183E-2</c:v>
                </c:pt>
                <c:pt idx="5649">
                  <c:v>-1.9862529480513265E-2</c:v>
                </c:pt>
                <c:pt idx="5650">
                  <c:v>-2.0364913754949504E-2</c:v>
                </c:pt>
                <c:pt idx="5651">
                  <c:v>-2.0228385183262167E-2</c:v>
                </c:pt>
                <c:pt idx="5652">
                  <c:v>-2.0687942192777461E-2</c:v>
                </c:pt>
                <c:pt idx="5653">
                  <c:v>-2.1311166986608822E-2</c:v>
                </c:pt>
                <c:pt idx="5654">
                  <c:v>-2.053553560260217E-2</c:v>
                </c:pt>
                <c:pt idx="5655">
                  <c:v>-1.9837625796692113E-2</c:v>
                </c:pt>
                <c:pt idx="5656">
                  <c:v>-1.9594007939475862E-2</c:v>
                </c:pt>
                <c:pt idx="5657">
                  <c:v>-1.9675084600715952E-2</c:v>
                </c:pt>
                <c:pt idx="5658">
                  <c:v>-1.9831990240209103E-2</c:v>
                </c:pt>
                <c:pt idx="5659">
                  <c:v>-2.0110527577067598E-2</c:v>
                </c:pt>
                <c:pt idx="5660">
                  <c:v>-2.0511294058863417E-2</c:v>
                </c:pt>
                <c:pt idx="5661">
                  <c:v>-2.0943047624302831E-2</c:v>
                </c:pt>
                <c:pt idx="5662">
                  <c:v>-2.1371414646574015E-2</c:v>
                </c:pt>
                <c:pt idx="5663">
                  <c:v>-1.9217463629787317E-2</c:v>
                </c:pt>
                <c:pt idx="5664">
                  <c:v>-1.9426013569500456E-2</c:v>
                </c:pt>
                <c:pt idx="5665">
                  <c:v>-1.9541325666102741E-2</c:v>
                </c:pt>
                <c:pt idx="5666">
                  <c:v>-1.8832191225624208E-2</c:v>
                </c:pt>
                <c:pt idx="5667">
                  <c:v>-1.9124663251259805E-2</c:v>
                </c:pt>
                <c:pt idx="5668">
                  <c:v>-1.9394456137691564E-2</c:v>
                </c:pt>
                <c:pt idx="5669">
                  <c:v>-1.9556725174365359E-2</c:v>
                </c:pt>
                <c:pt idx="5670">
                  <c:v>-1.9486175867111002E-2</c:v>
                </c:pt>
                <c:pt idx="5671">
                  <c:v>-1.9285604133100737E-2</c:v>
                </c:pt>
                <c:pt idx="5672">
                  <c:v>-1.8852520487224661E-2</c:v>
                </c:pt>
                <c:pt idx="5673">
                  <c:v>-1.8760999386564295E-2</c:v>
                </c:pt>
                <c:pt idx="5674">
                  <c:v>-1.8831462353931357E-2</c:v>
                </c:pt>
                <c:pt idx="5675">
                  <c:v>-1.8708009278348446E-2</c:v>
                </c:pt>
                <c:pt idx="5676">
                  <c:v>-1.8160653605783714E-2</c:v>
                </c:pt>
                <c:pt idx="5677">
                  <c:v>-1.7441056450348887E-2</c:v>
                </c:pt>
                <c:pt idx="5678">
                  <c:v>-1.653024134286106E-2</c:v>
                </c:pt>
                <c:pt idx="5679">
                  <c:v>-1.5573358329695225E-2</c:v>
                </c:pt>
                <c:pt idx="5680">
                  <c:v>-1.4699003139077954E-2</c:v>
                </c:pt>
                <c:pt idx="5681">
                  <c:v>-1.3960769587906575E-2</c:v>
                </c:pt>
                <c:pt idx="5682">
                  <c:v>-1.4096991521260628E-2</c:v>
                </c:pt>
                <c:pt idx="5683">
                  <c:v>-1.5102336113370508E-2</c:v>
                </c:pt>
                <c:pt idx="5684">
                  <c:v>-1.5921870738171591E-2</c:v>
                </c:pt>
                <c:pt idx="5685">
                  <c:v>-1.5970969658226815E-2</c:v>
                </c:pt>
                <c:pt idx="5686">
                  <c:v>-1.6008986186448589E-2</c:v>
                </c:pt>
                <c:pt idx="5687">
                  <c:v>-1.5992512560110927E-2</c:v>
                </c:pt>
                <c:pt idx="5688">
                  <c:v>-1.5940743058510336E-2</c:v>
                </c:pt>
                <c:pt idx="5689">
                  <c:v>-1.5922397231615103E-2</c:v>
                </c:pt>
                <c:pt idx="5690">
                  <c:v>-1.582488916202255E-2</c:v>
                </c:pt>
                <c:pt idx="5691">
                  <c:v>-1.5634716081254666E-2</c:v>
                </c:pt>
                <c:pt idx="5692">
                  <c:v>-1.5404052316911825E-2</c:v>
                </c:pt>
                <c:pt idx="5693">
                  <c:v>-1.7061423743614156E-2</c:v>
                </c:pt>
                <c:pt idx="5694">
                  <c:v>-1.6811524534587202E-2</c:v>
                </c:pt>
                <c:pt idx="5695">
                  <c:v>-1.6595667959979903E-2</c:v>
                </c:pt>
                <c:pt idx="5696">
                  <c:v>-1.7761249484649612E-2</c:v>
                </c:pt>
                <c:pt idx="5697">
                  <c:v>-1.7476094951296647E-2</c:v>
                </c:pt>
                <c:pt idx="5698">
                  <c:v>-1.7094686290874746E-2</c:v>
                </c:pt>
                <c:pt idx="5699">
                  <c:v>-1.6660188947246926E-2</c:v>
                </c:pt>
                <c:pt idx="5700">
                  <c:v>-1.6458086219567365E-2</c:v>
                </c:pt>
                <c:pt idx="5701">
                  <c:v>-1.7020284172400799E-2</c:v>
                </c:pt>
                <c:pt idx="5702">
                  <c:v>-1.7813298252118661E-2</c:v>
                </c:pt>
                <c:pt idx="5703">
                  <c:v>-1.8508195780783228E-2</c:v>
                </c:pt>
                <c:pt idx="5704">
                  <c:v>-1.9283535041607205E-2</c:v>
                </c:pt>
                <c:pt idx="5705">
                  <c:v>-1.9967843591479628E-2</c:v>
                </c:pt>
                <c:pt idx="5706">
                  <c:v>-2.0797118629352317E-2</c:v>
                </c:pt>
                <c:pt idx="5707">
                  <c:v>-1.3966301318533247E-2</c:v>
                </c:pt>
                <c:pt idx="5708">
                  <c:v>-1.1047439619346738E-2</c:v>
                </c:pt>
                <c:pt idx="5709">
                  <c:v>-1.0068956644204699E-2</c:v>
                </c:pt>
                <c:pt idx="5710">
                  <c:v>-1.0590102035334361E-2</c:v>
                </c:pt>
                <c:pt idx="5711">
                  <c:v>-1.1129044677909357E-2</c:v>
                </c:pt>
                <c:pt idx="5712">
                  <c:v>-1.1238029239673689E-2</c:v>
                </c:pt>
                <c:pt idx="5713">
                  <c:v>-1.1076983772016491E-2</c:v>
                </c:pt>
                <c:pt idx="5714">
                  <c:v>-1.0819390679789778E-2</c:v>
                </c:pt>
                <c:pt idx="5715">
                  <c:v>-1.1031257875574678E-2</c:v>
                </c:pt>
                <c:pt idx="5716">
                  <c:v>-1.114790949470108E-2</c:v>
                </c:pt>
                <c:pt idx="5717">
                  <c:v>-1.1048458303368815E-2</c:v>
                </c:pt>
                <c:pt idx="5718">
                  <c:v>-1.0872996057873374E-2</c:v>
                </c:pt>
                <c:pt idx="5719">
                  <c:v>-1.0660018441553072E-2</c:v>
                </c:pt>
                <c:pt idx="5720">
                  <c:v>-1.0589994513160002E-2</c:v>
                </c:pt>
                <c:pt idx="5721">
                  <c:v>-1.0703812956889764E-2</c:v>
                </c:pt>
                <c:pt idx="5722">
                  <c:v>-1.0717582882396716E-2</c:v>
                </c:pt>
                <c:pt idx="5723">
                  <c:v>-1.0841068035463558E-2</c:v>
                </c:pt>
                <c:pt idx="5724">
                  <c:v>-1.0860139133866339E-2</c:v>
                </c:pt>
                <c:pt idx="5725">
                  <c:v>-1.0882672371662652E-2</c:v>
                </c:pt>
                <c:pt idx="5726">
                  <c:v>-1.0903010554965903E-2</c:v>
                </c:pt>
                <c:pt idx="5727">
                  <c:v>-1.0861542269617457E-2</c:v>
                </c:pt>
                <c:pt idx="5728">
                  <c:v>-1.087849034907187E-2</c:v>
                </c:pt>
                <c:pt idx="5729">
                  <c:v>-1.091051402616045E-2</c:v>
                </c:pt>
                <c:pt idx="5730">
                  <c:v>-1.077140807827863E-2</c:v>
                </c:pt>
                <c:pt idx="5731">
                  <c:v>-1.0339123530144802E-2</c:v>
                </c:pt>
                <c:pt idx="5732">
                  <c:v>-1.0189705743765766E-2</c:v>
                </c:pt>
                <c:pt idx="5733">
                  <c:v>-1.0198261867642465E-2</c:v>
                </c:pt>
                <c:pt idx="5734">
                  <c:v>-9.9913029181497495E-3</c:v>
                </c:pt>
                <c:pt idx="5735">
                  <c:v>-9.6298140279175905E-3</c:v>
                </c:pt>
                <c:pt idx="5736">
                  <c:v>-9.2096044671042768E-3</c:v>
                </c:pt>
                <c:pt idx="5737">
                  <c:v>-1.2013228504586122E-2</c:v>
                </c:pt>
                <c:pt idx="5738">
                  <c:v>-1.4913682207154036E-2</c:v>
                </c:pt>
                <c:pt idx="5739">
                  <c:v>-1.7487391821225363E-2</c:v>
                </c:pt>
                <c:pt idx="5740">
                  <c:v>-1.7456853909147016E-2</c:v>
                </c:pt>
                <c:pt idx="5741">
                  <c:v>-1.690738555634513E-2</c:v>
                </c:pt>
                <c:pt idx="5742">
                  <c:v>-1.7447109305661804E-2</c:v>
                </c:pt>
                <c:pt idx="5743">
                  <c:v>-1.6945089259175507E-2</c:v>
                </c:pt>
                <c:pt idx="5744">
                  <c:v>-1.6355060788801307E-2</c:v>
                </c:pt>
                <c:pt idx="5745">
                  <c:v>-1.5464210410586824E-2</c:v>
                </c:pt>
                <c:pt idx="5746">
                  <c:v>-1.43791071322817E-2</c:v>
                </c:pt>
                <c:pt idx="5747">
                  <c:v>-1.3742896293063007E-2</c:v>
                </c:pt>
                <c:pt idx="5748">
                  <c:v>-1.3537010518165329E-2</c:v>
                </c:pt>
                <c:pt idx="5749">
                  <c:v>-1.3438236916816587E-2</c:v>
                </c:pt>
                <c:pt idx="5750">
                  <c:v>-1.3719430539572223E-2</c:v>
                </c:pt>
                <c:pt idx="5751">
                  <c:v>-1.4069902856408419E-2</c:v>
                </c:pt>
                <c:pt idx="5752">
                  <c:v>-1.4816511280919575E-2</c:v>
                </c:pt>
                <c:pt idx="5753">
                  <c:v>-1.5709797340114053E-2</c:v>
                </c:pt>
                <c:pt idx="5754">
                  <c:v>-1.6227188555151342E-2</c:v>
                </c:pt>
                <c:pt idx="5755">
                  <c:v>-1.6616210635954795E-2</c:v>
                </c:pt>
                <c:pt idx="5756">
                  <c:v>-1.6746217385438425E-2</c:v>
                </c:pt>
                <c:pt idx="5757">
                  <c:v>-1.6893981978655659E-2</c:v>
                </c:pt>
                <c:pt idx="5758">
                  <c:v>-1.7068273934715748E-2</c:v>
                </c:pt>
                <c:pt idx="5759">
                  <c:v>-1.7387831911436412E-2</c:v>
                </c:pt>
                <c:pt idx="5760">
                  <c:v>-1.8017400292698757E-2</c:v>
                </c:pt>
                <c:pt idx="5761">
                  <c:v>-1.9325962532820866E-2</c:v>
                </c:pt>
                <c:pt idx="5762">
                  <c:v>-1.8393594060086449E-2</c:v>
                </c:pt>
                <c:pt idx="5763">
                  <c:v>-1.815935727717799E-2</c:v>
                </c:pt>
                <c:pt idx="5764">
                  <c:v>-1.753114151098074E-2</c:v>
                </c:pt>
                <c:pt idx="5765">
                  <c:v>-1.7012881700450531E-2</c:v>
                </c:pt>
                <c:pt idx="5766">
                  <c:v>-1.6550771535226893E-2</c:v>
                </c:pt>
                <c:pt idx="5767">
                  <c:v>-1.6031077991226168E-2</c:v>
                </c:pt>
                <c:pt idx="5768">
                  <c:v>-1.590824593365878E-2</c:v>
                </c:pt>
                <c:pt idx="5769">
                  <c:v>-1.4935692833416385E-2</c:v>
                </c:pt>
                <c:pt idx="5770">
                  <c:v>-1.4200140724342723E-2</c:v>
                </c:pt>
                <c:pt idx="5771">
                  <c:v>-1.3690275432341734E-2</c:v>
                </c:pt>
                <c:pt idx="5772">
                  <c:v>-1.3410588246884942E-2</c:v>
                </c:pt>
                <c:pt idx="5773">
                  <c:v>-1.3673395036730093E-2</c:v>
                </c:pt>
                <c:pt idx="5774">
                  <c:v>-1.4405192425691722E-2</c:v>
                </c:pt>
                <c:pt idx="5775">
                  <c:v>-1.5331113494624562E-2</c:v>
                </c:pt>
                <c:pt idx="5776">
                  <c:v>-1.6664993815407536E-2</c:v>
                </c:pt>
                <c:pt idx="5777">
                  <c:v>-1.7702771119474454E-2</c:v>
                </c:pt>
                <c:pt idx="5778">
                  <c:v>-1.8562672770724119E-2</c:v>
                </c:pt>
                <c:pt idx="5779">
                  <c:v>-1.9367576542665323E-2</c:v>
                </c:pt>
                <c:pt idx="5780">
                  <c:v>-2.0056399301877168E-2</c:v>
                </c:pt>
                <c:pt idx="5781">
                  <c:v>-2.0582995082337449E-2</c:v>
                </c:pt>
                <c:pt idx="5782">
                  <c:v>-2.0990889313572764E-2</c:v>
                </c:pt>
                <c:pt idx="5783">
                  <c:v>-2.1448974153710408E-2</c:v>
                </c:pt>
                <c:pt idx="5784">
                  <c:v>-2.1810062888565997E-2</c:v>
                </c:pt>
                <c:pt idx="5785">
                  <c:v>-2.211432947266638E-2</c:v>
                </c:pt>
                <c:pt idx="5786">
                  <c:v>-2.2536863111547935E-2</c:v>
                </c:pt>
                <c:pt idx="5787">
                  <c:v>-2.2962189983330682E-2</c:v>
                </c:pt>
                <c:pt idx="5788">
                  <c:v>-2.3282454599547517E-2</c:v>
                </c:pt>
                <c:pt idx="5789">
                  <c:v>-2.3279919107262955E-2</c:v>
                </c:pt>
                <c:pt idx="5790">
                  <c:v>-2.3050391078002566E-2</c:v>
                </c:pt>
                <c:pt idx="5791">
                  <c:v>-2.2488612463154221E-2</c:v>
                </c:pt>
                <c:pt idx="5792">
                  <c:v>-2.3659976124031486E-2</c:v>
                </c:pt>
                <c:pt idx="5793">
                  <c:v>-2.3017081766266802E-2</c:v>
                </c:pt>
                <c:pt idx="5794">
                  <c:v>-2.2525058862179828E-2</c:v>
                </c:pt>
                <c:pt idx="5795">
                  <c:v>-2.2267439845476106E-2</c:v>
                </c:pt>
                <c:pt idx="5796">
                  <c:v>-2.2280514403376226E-2</c:v>
                </c:pt>
                <c:pt idx="5797">
                  <c:v>-2.2335252280076219E-2</c:v>
                </c:pt>
                <c:pt idx="5798">
                  <c:v>-2.2334504017376446E-2</c:v>
                </c:pt>
                <c:pt idx="5799">
                  <c:v>-2.2878109070914879E-2</c:v>
                </c:pt>
                <c:pt idx="5800">
                  <c:v>-2.275062652705908E-2</c:v>
                </c:pt>
                <c:pt idx="5801">
                  <c:v>-2.3319214007710663E-2</c:v>
                </c:pt>
                <c:pt idx="5802">
                  <c:v>-2.4102977294621734E-2</c:v>
                </c:pt>
                <c:pt idx="5803">
                  <c:v>-2.4753276961536619E-2</c:v>
                </c:pt>
                <c:pt idx="5804">
                  <c:v>-2.5116568463636461E-2</c:v>
                </c:pt>
                <c:pt idx="5805">
                  <c:v>-2.5251848710959278E-2</c:v>
                </c:pt>
                <c:pt idx="5806">
                  <c:v>-2.5130180631974156E-2</c:v>
                </c:pt>
                <c:pt idx="5807">
                  <c:v>-2.4922709522989604E-2</c:v>
                </c:pt>
                <c:pt idx="5808">
                  <c:v>-2.4515596073602861E-2</c:v>
                </c:pt>
                <c:pt idx="5809">
                  <c:v>-2.3963528101719641E-2</c:v>
                </c:pt>
                <c:pt idx="5810">
                  <c:v>-2.3511207512114794E-2</c:v>
                </c:pt>
                <c:pt idx="5811">
                  <c:v>-2.3102134800930395E-2</c:v>
                </c:pt>
                <c:pt idx="5812">
                  <c:v>-2.2690988870485276E-2</c:v>
                </c:pt>
                <c:pt idx="5813">
                  <c:v>-2.2025084360935969E-2</c:v>
                </c:pt>
                <c:pt idx="5814">
                  <c:v>-2.1468943233606555E-2</c:v>
                </c:pt>
                <c:pt idx="5815">
                  <c:v>-2.0986314563123068E-2</c:v>
                </c:pt>
                <c:pt idx="5816">
                  <c:v>-2.0377416321444134E-2</c:v>
                </c:pt>
                <c:pt idx="5817">
                  <c:v>-2.0292665091904465E-2</c:v>
                </c:pt>
                <c:pt idx="5818">
                  <c:v>-2.0235733051362927E-2</c:v>
                </c:pt>
                <c:pt idx="5819">
                  <c:v>-1.9604584180566251E-2</c:v>
                </c:pt>
                <c:pt idx="5820">
                  <c:v>-1.9231671541310037E-2</c:v>
                </c:pt>
                <c:pt idx="5821">
                  <c:v>-1.9261590749872222E-2</c:v>
                </c:pt>
                <c:pt idx="5822">
                  <c:v>-1.9022230136363481E-2</c:v>
                </c:pt>
                <c:pt idx="5823">
                  <c:v>-1.8827943861830294E-2</c:v>
                </c:pt>
                <c:pt idx="5824">
                  <c:v>-1.8858317037054838E-2</c:v>
                </c:pt>
                <c:pt idx="5825">
                  <c:v>-1.904440378461256E-2</c:v>
                </c:pt>
                <c:pt idx="5826">
                  <c:v>-1.90208703231858E-2</c:v>
                </c:pt>
                <c:pt idx="5827">
                  <c:v>-1.8916765566750392E-2</c:v>
                </c:pt>
                <c:pt idx="5828">
                  <c:v>-1.867630733853368E-2</c:v>
                </c:pt>
                <c:pt idx="5829">
                  <c:v>-1.8526230214563264E-2</c:v>
                </c:pt>
                <c:pt idx="5830">
                  <c:v>-1.8562790101031706E-2</c:v>
                </c:pt>
                <c:pt idx="5831">
                  <c:v>-1.8432041003599599E-2</c:v>
                </c:pt>
                <c:pt idx="5832">
                  <c:v>-1.8317755328504437E-2</c:v>
                </c:pt>
                <c:pt idx="5833">
                  <c:v>-1.8490109065865311E-2</c:v>
                </c:pt>
                <c:pt idx="5834">
                  <c:v>-1.8709895502169636E-2</c:v>
                </c:pt>
                <c:pt idx="5835">
                  <c:v>-1.8765038813011902E-2</c:v>
                </c:pt>
                <c:pt idx="5836">
                  <c:v>-1.8346130481641024E-2</c:v>
                </c:pt>
                <c:pt idx="5837">
                  <c:v>-1.7865917818806025E-2</c:v>
                </c:pt>
                <c:pt idx="5838">
                  <c:v>-1.7437740178654147E-2</c:v>
                </c:pt>
                <c:pt idx="5839">
                  <c:v>-1.7206888408263211E-2</c:v>
                </c:pt>
                <c:pt idx="5840">
                  <c:v>-1.7065543632546223E-2</c:v>
                </c:pt>
                <c:pt idx="5841">
                  <c:v>-1.7021935364473439E-2</c:v>
                </c:pt>
                <c:pt idx="5842">
                  <c:v>-1.7208833198274851E-2</c:v>
                </c:pt>
                <c:pt idx="5843">
                  <c:v>-1.7755920157692298E-2</c:v>
                </c:pt>
                <c:pt idx="5844">
                  <c:v>-1.8521881860492688E-2</c:v>
                </c:pt>
                <c:pt idx="5845">
                  <c:v>-1.9327911410852064E-2</c:v>
                </c:pt>
                <c:pt idx="5846">
                  <c:v>-1.9940386421567386E-2</c:v>
                </c:pt>
                <c:pt idx="5847">
                  <c:v>-2.0153209039807378E-2</c:v>
                </c:pt>
                <c:pt idx="5848">
                  <c:v>-2.0245859512131259E-2</c:v>
                </c:pt>
                <c:pt idx="5849">
                  <c:v>-2.0154815668048075E-2</c:v>
                </c:pt>
                <c:pt idx="5850">
                  <c:v>-1.9881367674046975E-2</c:v>
                </c:pt>
                <c:pt idx="5851">
                  <c:v>-1.9685190102536262E-2</c:v>
                </c:pt>
                <c:pt idx="5852">
                  <c:v>-1.9814136036619703E-2</c:v>
                </c:pt>
                <c:pt idx="5853">
                  <c:v>-1.9974199492733498E-2</c:v>
                </c:pt>
                <c:pt idx="5854">
                  <c:v>-1.9951463617555103E-2</c:v>
                </c:pt>
                <c:pt idx="5855">
                  <c:v>-1.9869699261873361E-2</c:v>
                </c:pt>
                <c:pt idx="5856">
                  <c:v>-1.9970991222774317E-2</c:v>
                </c:pt>
                <c:pt idx="5857">
                  <c:v>-2.0220803456696183E-2</c:v>
                </c:pt>
                <c:pt idx="5858">
                  <c:v>-2.0471708032730351E-2</c:v>
                </c:pt>
                <c:pt idx="5859">
                  <c:v>-2.0709664335616374E-2</c:v>
                </c:pt>
                <c:pt idx="5860">
                  <c:v>-2.094578551369073E-2</c:v>
                </c:pt>
                <c:pt idx="5861">
                  <c:v>-2.0899437346571285E-2</c:v>
                </c:pt>
                <c:pt idx="5862">
                  <c:v>-2.0551834372910388E-2</c:v>
                </c:pt>
                <c:pt idx="5863">
                  <c:v>-1.9761355055781717E-2</c:v>
                </c:pt>
                <c:pt idx="5864">
                  <c:v>-1.8779798965981649E-2</c:v>
                </c:pt>
                <c:pt idx="5865">
                  <c:v>-1.7850578635695329E-2</c:v>
                </c:pt>
                <c:pt idx="5866">
                  <c:v>-1.7457171789467318E-2</c:v>
                </c:pt>
                <c:pt idx="5867">
                  <c:v>-1.6928382243056751E-2</c:v>
                </c:pt>
                <c:pt idx="5868">
                  <c:v>-1.6305118580219935E-2</c:v>
                </c:pt>
                <c:pt idx="5869">
                  <c:v>-1.5308662220733417E-2</c:v>
                </c:pt>
                <c:pt idx="5870">
                  <c:v>-1.4027270992005363E-2</c:v>
                </c:pt>
                <c:pt idx="5871">
                  <c:v>-1.2866325343956111E-2</c:v>
                </c:pt>
                <c:pt idx="5872">
                  <c:v>-1.2341513605519107E-2</c:v>
                </c:pt>
                <c:pt idx="5873">
                  <c:v>-1.2775668314165973E-2</c:v>
                </c:pt>
                <c:pt idx="5874">
                  <c:v>-1.4295236806640146E-2</c:v>
                </c:pt>
                <c:pt idx="5875">
                  <c:v>-1.5294593958850196E-2</c:v>
                </c:pt>
                <c:pt idx="5876">
                  <c:v>-1.6632652458000274E-2</c:v>
                </c:pt>
                <c:pt idx="5877">
                  <c:v>-1.818555945901737E-2</c:v>
                </c:pt>
                <c:pt idx="5878">
                  <c:v>-1.9673052251987292E-2</c:v>
                </c:pt>
                <c:pt idx="5879">
                  <c:v>-2.0839347913272355E-2</c:v>
                </c:pt>
                <c:pt idx="5880">
                  <c:v>-2.1826089459095199E-2</c:v>
                </c:pt>
                <c:pt idx="5881">
                  <c:v>-2.2649218478423438E-2</c:v>
                </c:pt>
                <c:pt idx="5882">
                  <c:v>-2.3355407116694232E-2</c:v>
                </c:pt>
                <c:pt idx="5883">
                  <c:v>-2.3984599524109362E-2</c:v>
                </c:pt>
                <c:pt idx="5884">
                  <c:v>-2.4515937528668652E-2</c:v>
                </c:pt>
                <c:pt idx="5885">
                  <c:v>-2.4704635858747589E-2</c:v>
                </c:pt>
                <c:pt idx="5886">
                  <c:v>-2.4617060285099912E-2</c:v>
                </c:pt>
                <c:pt idx="5887">
                  <c:v>-2.4273195630728113E-2</c:v>
                </c:pt>
                <c:pt idx="5888">
                  <c:v>-2.402128725505779E-2</c:v>
                </c:pt>
                <c:pt idx="5889">
                  <c:v>-2.3676386517380733E-2</c:v>
                </c:pt>
                <c:pt idx="5890">
                  <c:v>-2.3334701540776194E-2</c:v>
                </c:pt>
                <c:pt idx="5891">
                  <c:v>-2.2966335964957407E-2</c:v>
                </c:pt>
                <c:pt idx="5892">
                  <c:v>-2.2634942991383938E-2</c:v>
                </c:pt>
                <c:pt idx="5893">
                  <c:v>-2.2461739401542988E-2</c:v>
                </c:pt>
                <c:pt idx="5894">
                  <c:v>-2.2090093461196954E-2</c:v>
                </c:pt>
                <c:pt idx="5895">
                  <c:v>-2.1133626583027074E-2</c:v>
                </c:pt>
                <c:pt idx="5896">
                  <c:v>-2.0256329809102209E-2</c:v>
                </c:pt>
                <c:pt idx="5897">
                  <c:v>-1.9343053861786915E-2</c:v>
                </c:pt>
                <c:pt idx="5898">
                  <c:v>-1.8511685929195568E-2</c:v>
                </c:pt>
                <c:pt idx="5899">
                  <c:v>-1.7896031406694858E-2</c:v>
                </c:pt>
                <c:pt idx="5900">
                  <c:v>-1.7104600798651445E-2</c:v>
                </c:pt>
                <c:pt idx="5901">
                  <c:v>-1.6261826178700957E-2</c:v>
                </c:pt>
                <c:pt idx="5902">
                  <c:v>-1.5859522800137062E-2</c:v>
                </c:pt>
                <c:pt idx="5903">
                  <c:v>-1.5705321225169717E-2</c:v>
                </c:pt>
                <c:pt idx="5904">
                  <c:v>-1.5803936140936836E-2</c:v>
                </c:pt>
                <c:pt idx="5905">
                  <c:v>-1.5953740539093698E-2</c:v>
                </c:pt>
                <c:pt idx="5906">
                  <c:v>-1.6169559430280915E-2</c:v>
                </c:pt>
                <c:pt idx="5907">
                  <c:v>-1.6225479849002161E-2</c:v>
                </c:pt>
                <c:pt idx="5908">
                  <c:v>-1.6127972561866183E-2</c:v>
                </c:pt>
                <c:pt idx="5909">
                  <c:v>-1.6150465018220515E-2</c:v>
                </c:pt>
                <c:pt idx="5910">
                  <c:v>-1.6162246487004605E-2</c:v>
                </c:pt>
                <c:pt idx="5911">
                  <c:v>-1.6199341358577046E-2</c:v>
                </c:pt>
                <c:pt idx="5912">
                  <c:v>-1.6245520936160315E-2</c:v>
                </c:pt>
                <c:pt idx="5913">
                  <c:v>-1.6131844197454788E-2</c:v>
                </c:pt>
                <c:pt idx="5914">
                  <c:v>-1.6139543441888143E-2</c:v>
                </c:pt>
                <c:pt idx="5915">
                  <c:v>-1.6286692853995116E-2</c:v>
                </c:pt>
                <c:pt idx="5916">
                  <c:v>-1.6514583765042445E-2</c:v>
                </c:pt>
                <c:pt idx="5917">
                  <c:v>-1.6599057399950136E-2</c:v>
                </c:pt>
                <c:pt idx="5918">
                  <c:v>-1.6932848816937403E-2</c:v>
                </c:pt>
                <c:pt idx="5919">
                  <c:v>-1.7195326554277569E-2</c:v>
                </c:pt>
                <c:pt idx="5920">
                  <c:v>-1.7316554980646923E-2</c:v>
                </c:pt>
                <c:pt idx="5921">
                  <c:v>-1.7025408130532757E-2</c:v>
                </c:pt>
                <c:pt idx="5922">
                  <c:v>-1.6608635640856698E-2</c:v>
                </c:pt>
                <c:pt idx="5923">
                  <c:v>-1.5555017214761329E-2</c:v>
                </c:pt>
                <c:pt idx="5924">
                  <c:v>-1.4341032137509011E-2</c:v>
                </c:pt>
                <c:pt idx="5925">
                  <c:v>-1.3517137493668851E-2</c:v>
                </c:pt>
                <c:pt idx="5926">
                  <c:v>-1.3144119866122544E-2</c:v>
                </c:pt>
                <c:pt idx="5927">
                  <c:v>-1.3566635472649958E-2</c:v>
                </c:pt>
                <c:pt idx="5928">
                  <c:v>-1.4760933131977478E-2</c:v>
                </c:pt>
                <c:pt idx="5929">
                  <c:v>-1.6567297341099942E-2</c:v>
                </c:pt>
                <c:pt idx="5930">
                  <c:v>-1.8546746069343773E-2</c:v>
                </c:pt>
                <c:pt idx="5931">
                  <c:v>-2.0351414919354494E-2</c:v>
                </c:pt>
                <c:pt idx="5932">
                  <c:v>-2.1633010113777704E-2</c:v>
                </c:pt>
                <c:pt idx="5933">
                  <c:v>-2.2654624267126701E-2</c:v>
                </c:pt>
                <c:pt idx="5934">
                  <c:v>-2.3558666122019137E-2</c:v>
                </c:pt>
                <c:pt idx="5935">
                  <c:v>-2.4189763485991028E-2</c:v>
                </c:pt>
                <c:pt idx="5936">
                  <c:v>-2.4712784706387311E-2</c:v>
                </c:pt>
                <c:pt idx="5937">
                  <c:v>-2.5280808255527476E-2</c:v>
                </c:pt>
                <c:pt idx="5938">
                  <c:v>-2.2288784683614823E-2</c:v>
                </c:pt>
                <c:pt idx="5939">
                  <c:v>-2.2299728067152975E-2</c:v>
                </c:pt>
                <c:pt idx="5940">
                  <c:v>-2.2424329380116841E-2</c:v>
                </c:pt>
                <c:pt idx="5941">
                  <c:v>-2.2430153060781326E-2</c:v>
                </c:pt>
                <c:pt idx="5942">
                  <c:v>-2.1283735595254837E-2</c:v>
                </c:pt>
                <c:pt idx="5943">
                  <c:v>-2.1283866160736166E-2</c:v>
                </c:pt>
                <c:pt idx="5944">
                  <c:v>-2.0931855839811858E-2</c:v>
                </c:pt>
                <c:pt idx="5945">
                  <c:v>-2.0367077727880142E-2</c:v>
                </c:pt>
                <c:pt idx="5946">
                  <c:v>-1.9829730733599352E-2</c:v>
                </c:pt>
                <c:pt idx="5947">
                  <c:v>-1.9384782024618945E-2</c:v>
                </c:pt>
                <c:pt idx="5948">
                  <c:v>-1.9377277059017491E-2</c:v>
                </c:pt>
                <c:pt idx="5949">
                  <c:v>-1.9687679099230228E-2</c:v>
                </c:pt>
                <c:pt idx="5950">
                  <c:v>-1.9483785381924971E-2</c:v>
                </c:pt>
                <c:pt idx="5951">
                  <c:v>-1.9373084375074928E-2</c:v>
                </c:pt>
                <c:pt idx="5952">
                  <c:v>-1.9500667176265918E-2</c:v>
                </c:pt>
                <c:pt idx="5953">
                  <c:v>-1.9599478704450578E-2</c:v>
                </c:pt>
                <c:pt idx="5954">
                  <c:v>-1.9747248842612915E-2</c:v>
                </c:pt>
                <c:pt idx="5955">
                  <c:v>-1.9722719426183644E-2</c:v>
                </c:pt>
                <c:pt idx="5956">
                  <c:v>-1.9696655622261576E-2</c:v>
                </c:pt>
                <c:pt idx="5957">
                  <c:v>-1.9662349367740889E-2</c:v>
                </c:pt>
                <c:pt idx="5958">
                  <c:v>-1.9642714783271648E-2</c:v>
                </c:pt>
                <c:pt idx="5959">
                  <c:v>-1.9560135188539635E-2</c:v>
                </c:pt>
                <c:pt idx="5960">
                  <c:v>-1.9401042912365517E-2</c:v>
                </c:pt>
                <c:pt idx="5961">
                  <c:v>-1.9163413969817668E-2</c:v>
                </c:pt>
                <c:pt idx="5962">
                  <c:v>-1.8995732463332603E-2</c:v>
                </c:pt>
                <c:pt idx="5963">
                  <c:v>-1.8790545353924749E-2</c:v>
                </c:pt>
                <c:pt idx="5964">
                  <c:v>-1.8554605133535386E-2</c:v>
                </c:pt>
                <c:pt idx="5965">
                  <c:v>-1.8355419827297499E-2</c:v>
                </c:pt>
                <c:pt idx="5966">
                  <c:v>-1.8030188750184702E-2</c:v>
                </c:pt>
                <c:pt idx="5967">
                  <c:v>-1.7685408550749224E-2</c:v>
                </c:pt>
                <c:pt idx="5968">
                  <c:v>-2.0750023973549126E-2</c:v>
                </c:pt>
                <c:pt idx="5969">
                  <c:v>-2.0973526209494477E-2</c:v>
                </c:pt>
                <c:pt idx="5970">
                  <c:v>-2.0581608561848902E-2</c:v>
                </c:pt>
                <c:pt idx="5971">
                  <c:v>-2.0270439382599717E-2</c:v>
                </c:pt>
                <c:pt idx="5972">
                  <c:v>-2.125127255891792E-2</c:v>
                </c:pt>
                <c:pt idx="5973">
                  <c:v>-2.0472068552839166E-2</c:v>
                </c:pt>
                <c:pt idx="5974">
                  <c:v>-2.0414808133686745E-2</c:v>
                </c:pt>
                <c:pt idx="5975">
                  <c:v>-2.0081137052689504E-2</c:v>
                </c:pt>
                <c:pt idx="5976">
                  <c:v>-2.0319905489066332E-2</c:v>
                </c:pt>
                <c:pt idx="5977">
                  <c:v>-2.0533027677972455E-2</c:v>
                </c:pt>
                <c:pt idx="5978">
                  <c:v>-1.954780485555617E-2</c:v>
                </c:pt>
                <c:pt idx="5979">
                  <c:v>-1.9579705287477035E-2</c:v>
                </c:pt>
                <c:pt idx="5980">
                  <c:v>-2.0198137161891179E-2</c:v>
                </c:pt>
                <c:pt idx="5981">
                  <c:v>-2.0176005377763519E-2</c:v>
                </c:pt>
                <c:pt idx="5982">
                  <c:v>-2.0060116583187165E-2</c:v>
                </c:pt>
                <c:pt idx="5983">
                  <c:v>-1.9846549374551319E-2</c:v>
                </c:pt>
                <c:pt idx="5984">
                  <c:v>-1.9645488280146887E-2</c:v>
                </c:pt>
                <c:pt idx="5985">
                  <c:v>-1.9585287514677165E-2</c:v>
                </c:pt>
                <c:pt idx="5986">
                  <c:v>-1.9513000045249487E-2</c:v>
                </c:pt>
                <c:pt idx="5987">
                  <c:v>-1.9392431127461848E-2</c:v>
                </c:pt>
                <c:pt idx="5988">
                  <c:v>-1.9389584440223519E-2</c:v>
                </c:pt>
                <c:pt idx="5989">
                  <c:v>-1.9845270697845377E-2</c:v>
                </c:pt>
                <c:pt idx="5990">
                  <c:v>-2.0174739616472658E-2</c:v>
                </c:pt>
                <c:pt idx="5991">
                  <c:v>-2.0353971528972756E-2</c:v>
                </c:pt>
                <c:pt idx="5992">
                  <c:v>-2.0192406837482482E-2</c:v>
                </c:pt>
                <c:pt idx="5993">
                  <c:v>-1.9796575157740443E-2</c:v>
                </c:pt>
                <c:pt idx="5994">
                  <c:v>-1.9431808079128594E-2</c:v>
                </c:pt>
                <c:pt idx="5995">
                  <c:v>-1.9152329690732654E-2</c:v>
                </c:pt>
                <c:pt idx="5996">
                  <c:v>-1.8860791205618427E-2</c:v>
                </c:pt>
                <c:pt idx="5997">
                  <c:v>-1.8611742121185555E-2</c:v>
                </c:pt>
                <c:pt idx="5998">
                  <c:v>-1.8436163021851203E-2</c:v>
                </c:pt>
                <c:pt idx="5999">
                  <c:v>-1.8278120462366092E-2</c:v>
                </c:pt>
                <c:pt idx="6000">
                  <c:v>-1.6889956998685816E-2</c:v>
                </c:pt>
                <c:pt idx="6001">
                  <c:v>-1.5814858334509092E-2</c:v>
                </c:pt>
                <c:pt idx="6002">
                  <c:v>-1.5679864080644208E-2</c:v>
                </c:pt>
                <c:pt idx="6003">
                  <c:v>-1.6210236385695225E-2</c:v>
                </c:pt>
                <c:pt idx="6004">
                  <c:v>-1.6641104088951093E-2</c:v>
                </c:pt>
                <c:pt idx="6005">
                  <c:v>-1.7549844682634926E-2</c:v>
                </c:pt>
                <c:pt idx="6006">
                  <c:v>-1.7651692276391559E-2</c:v>
                </c:pt>
                <c:pt idx="6007">
                  <c:v>-1.7726003100630737E-2</c:v>
                </c:pt>
                <c:pt idx="6008">
                  <c:v>-1.9138559790022533E-2</c:v>
                </c:pt>
                <c:pt idx="6009">
                  <c:v>-1.9113907470292797E-2</c:v>
                </c:pt>
                <c:pt idx="6010">
                  <c:v>-1.8801576329606877E-2</c:v>
                </c:pt>
                <c:pt idx="6011">
                  <c:v>-1.8445285774590488E-2</c:v>
                </c:pt>
                <c:pt idx="6012">
                  <c:v>-1.8121002408927649E-2</c:v>
                </c:pt>
                <c:pt idx="6013">
                  <c:v>-1.7795147319032943E-2</c:v>
                </c:pt>
                <c:pt idx="6014">
                  <c:v>-1.7761082129979594E-2</c:v>
                </c:pt>
                <c:pt idx="6015">
                  <c:v>-1.7230041697422781E-2</c:v>
                </c:pt>
                <c:pt idx="6016">
                  <c:v>-1.6984558216237171E-2</c:v>
                </c:pt>
                <c:pt idx="6017">
                  <c:v>-1.6951565636092042E-2</c:v>
                </c:pt>
                <c:pt idx="6018">
                  <c:v>-1.6976018373446339E-2</c:v>
                </c:pt>
                <c:pt idx="6019">
                  <c:v>-1.6802810856013685E-2</c:v>
                </c:pt>
                <c:pt idx="6020">
                  <c:v>-1.6502148388641332E-2</c:v>
                </c:pt>
                <c:pt idx="6021">
                  <c:v>-1.6612550842236024E-2</c:v>
                </c:pt>
                <c:pt idx="6022">
                  <c:v>-1.6694646805364768E-2</c:v>
                </c:pt>
                <c:pt idx="6023">
                  <c:v>-1.6552222642702744E-2</c:v>
                </c:pt>
                <c:pt idx="6024">
                  <c:v>-1.59803679455712E-2</c:v>
                </c:pt>
                <c:pt idx="6025">
                  <c:v>-1.5177475536658439E-2</c:v>
                </c:pt>
                <c:pt idx="6026">
                  <c:v>-1.4534369271250291E-2</c:v>
                </c:pt>
                <c:pt idx="6027">
                  <c:v>-1.3477856230180919E-2</c:v>
                </c:pt>
                <c:pt idx="6028">
                  <c:v>-1.1949275495867136E-2</c:v>
                </c:pt>
                <c:pt idx="6029">
                  <c:v>-1.0383884563614963E-2</c:v>
                </c:pt>
                <c:pt idx="6030">
                  <c:v>-9.6842393917658566E-3</c:v>
                </c:pt>
                <c:pt idx="6031">
                  <c:v>-9.3153665330165079E-3</c:v>
                </c:pt>
                <c:pt idx="6032">
                  <c:v>-1.077871502759018E-2</c:v>
                </c:pt>
                <c:pt idx="6033">
                  <c:v>-1.1921972918277894E-2</c:v>
                </c:pt>
                <c:pt idx="6034">
                  <c:v>-1.2532192902110439E-2</c:v>
                </c:pt>
                <c:pt idx="6035">
                  <c:v>-1.2556737908958514E-2</c:v>
                </c:pt>
                <c:pt idx="6036">
                  <c:v>-1.2924823691069998E-2</c:v>
                </c:pt>
                <c:pt idx="6037">
                  <c:v>-1.2904997831984323E-2</c:v>
                </c:pt>
                <c:pt idx="6038">
                  <c:v>-1.2869151843501065E-2</c:v>
                </c:pt>
                <c:pt idx="6039">
                  <c:v>-1.2890978090787699E-2</c:v>
                </c:pt>
                <c:pt idx="6040">
                  <c:v>-1.298056341297454E-2</c:v>
                </c:pt>
                <c:pt idx="6041">
                  <c:v>-1.3098473223026687E-2</c:v>
                </c:pt>
                <c:pt idx="6042">
                  <c:v>-1.3126448426534376E-2</c:v>
                </c:pt>
                <c:pt idx="6043">
                  <c:v>-1.3135188481699676E-2</c:v>
                </c:pt>
                <c:pt idx="6044">
                  <c:v>-1.3044147369626171E-2</c:v>
                </c:pt>
                <c:pt idx="6045">
                  <c:v>-1.3371452917161616E-2</c:v>
                </c:pt>
                <c:pt idx="6046">
                  <c:v>-1.3318705320607662E-2</c:v>
                </c:pt>
                <c:pt idx="6047">
                  <c:v>-1.3310308660413193E-2</c:v>
                </c:pt>
                <c:pt idx="6048">
                  <c:v>-1.2805466292884822E-2</c:v>
                </c:pt>
                <c:pt idx="6049">
                  <c:v>-1.2869785102765062E-2</c:v>
                </c:pt>
                <c:pt idx="6050">
                  <c:v>-1.3174648163852797E-2</c:v>
                </c:pt>
                <c:pt idx="6051">
                  <c:v>-1.1184282331890474E-2</c:v>
                </c:pt>
                <c:pt idx="6052">
                  <c:v>-1.0357067968666242E-2</c:v>
                </c:pt>
                <c:pt idx="6053">
                  <c:v>-9.9813923875282408E-3</c:v>
                </c:pt>
                <c:pt idx="6054">
                  <c:v>-1.190054798955684E-2</c:v>
                </c:pt>
                <c:pt idx="6055">
                  <c:v>-1.4531120532187232E-2</c:v>
                </c:pt>
                <c:pt idx="6056">
                  <c:v>-1.59687376070556E-2</c:v>
                </c:pt>
                <c:pt idx="6057">
                  <c:v>-1.716017427194045E-2</c:v>
                </c:pt>
                <c:pt idx="6058">
                  <c:v>-1.8152559217313968E-2</c:v>
                </c:pt>
                <c:pt idx="6059">
                  <c:v>-1.8979501987187317E-2</c:v>
                </c:pt>
                <c:pt idx="6060">
                  <c:v>-1.9744343497873941E-2</c:v>
                </c:pt>
                <c:pt idx="6061">
                  <c:v>-2.0174334406160482E-2</c:v>
                </c:pt>
                <c:pt idx="6062">
                  <c:v>-2.0404344251290084E-2</c:v>
                </c:pt>
                <c:pt idx="6063">
                  <c:v>-2.0559762943366717E-2</c:v>
                </c:pt>
                <c:pt idx="6064">
                  <c:v>-2.0585931897965003E-2</c:v>
                </c:pt>
                <c:pt idx="6065">
                  <c:v>-2.053415352689953E-2</c:v>
                </c:pt>
                <c:pt idx="6066">
                  <c:v>-2.0402589321545404E-2</c:v>
                </c:pt>
                <c:pt idx="6067">
                  <c:v>-2.0239454126956671E-2</c:v>
                </c:pt>
                <c:pt idx="6068">
                  <c:v>-2.0112311109615442E-2</c:v>
                </c:pt>
                <c:pt idx="6069">
                  <c:v>-2.0017560263478704E-2</c:v>
                </c:pt>
                <c:pt idx="6070">
                  <c:v>-1.9983607142380518E-2</c:v>
                </c:pt>
                <c:pt idx="6071">
                  <c:v>-1.9934707050204559E-2</c:v>
                </c:pt>
                <c:pt idx="6072">
                  <c:v>-2.0017491282862027E-2</c:v>
                </c:pt>
                <c:pt idx="6073">
                  <c:v>-2.0127875788840479E-2</c:v>
                </c:pt>
                <c:pt idx="6074">
                  <c:v>-2.0093914930188465E-2</c:v>
                </c:pt>
                <c:pt idx="6075">
                  <c:v>-1.9779692620388121E-2</c:v>
                </c:pt>
                <c:pt idx="6076">
                  <c:v>-1.9463570051688757E-2</c:v>
                </c:pt>
                <c:pt idx="6077">
                  <c:v>-1.8893076896945978E-2</c:v>
                </c:pt>
                <c:pt idx="6078">
                  <c:v>-1.9017589594434166E-2</c:v>
                </c:pt>
                <c:pt idx="6079">
                  <c:v>-1.8033014881420929E-2</c:v>
                </c:pt>
                <c:pt idx="6080">
                  <c:v>-1.7230412604054769E-2</c:v>
                </c:pt>
                <c:pt idx="6081">
                  <c:v>-1.7573945600953225E-2</c:v>
                </c:pt>
                <c:pt idx="6082">
                  <c:v>-1.7391335223033308E-2</c:v>
                </c:pt>
                <c:pt idx="6083">
                  <c:v>-1.7931512824758168E-2</c:v>
                </c:pt>
                <c:pt idx="6084">
                  <c:v>-1.8942527853041211E-2</c:v>
                </c:pt>
                <c:pt idx="6085">
                  <c:v>-1.9777018892277554E-2</c:v>
                </c:pt>
                <c:pt idx="6086">
                  <c:v>-2.0328495574770875E-2</c:v>
                </c:pt>
                <c:pt idx="6087">
                  <c:v>-2.0344989545807265E-2</c:v>
                </c:pt>
                <c:pt idx="6088">
                  <c:v>-1.9982892817898942E-2</c:v>
                </c:pt>
                <c:pt idx="6089">
                  <c:v>-1.8032039034799704E-2</c:v>
                </c:pt>
                <c:pt idx="6090">
                  <c:v>-1.6629849765822401E-2</c:v>
                </c:pt>
                <c:pt idx="6091">
                  <c:v>-1.6946962765880327E-2</c:v>
                </c:pt>
                <c:pt idx="6092">
                  <c:v>-1.7229481576353494E-2</c:v>
                </c:pt>
                <c:pt idx="6093">
                  <c:v>-1.6743092554953758E-2</c:v>
                </c:pt>
                <c:pt idx="6094">
                  <c:v>-1.7054478618867164E-2</c:v>
                </c:pt>
                <c:pt idx="6095">
                  <c:v>-1.7028130002963486E-2</c:v>
                </c:pt>
                <c:pt idx="6096">
                  <c:v>-1.7065852142997689E-2</c:v>
                </c:pt>
                <c:pt idx="6097">
                  <c:v>-1.7124376232946638E-2</c:v>
                </c:pt>
                <c:pt idx="6098">
                  <c:v>-1.7127628352546956E-2</c:v>
                </c:pt>
                <c:pt idx="6099">
                  <c:v>-1.7137902441082611E-2</c:v>
                </c:pt>
                <c:pt idx="6100">
                  <c:v>-1.6767879520897561E-2</c:v>
                </c:pt>
                <c:pt idx="6101">
                  <c:v>-1.6504412400149111E-2</c:v>
                </c:pt>
                <c:pt idx="6102">
                  <c:v>-1.6057130212409076E-2</c:v>
                </c:pt>
                <c:pt idx="6103">
                  <c:v>-1.5150540138677114E-2</c:v>
                </c:pt>
                <c:pt idx="6104">
                  <c:v>-1.4549804006231799E-2</c:v>
                </c:pt>
                <c:pt idx="6105">
                  <c:v>-1.3652066491304149E-2</c:v>
                </c:pt>
                <c:pt idx="6106">
                  <c:v>-1.2357359362206062E-2</c:v>
                </c:pt>
                <c:pt idx="6107">
                  <c:v>-1.1000627586533938E-2</c:v>
                </c:pt>
                <c:pt idx="6108">
                  <c:v>-9.3759274532699416E-3</c:v>
                </c:pt>
                <c:pt idx="6109">
                  <c:v>-7.7876398374943732E-3</c:v>
                </c:pt>
                <c:pt idx="6110">
                  <c:v>-7.3155359062044177E-3</c:v>
                </c:pt>
                <c:pt idx="6111">
                  <c:v>-7.4510822127623376E-3</c:v>
                </c:pt>
                <c:pt idx="6112">
                  <c:v>-7.8124161254163865E-3</c:v>
                </c:pt>
                <c:pt idx="6113">
                  <c:v>-8.3805233962816437E-3</c:v>
                </c:pt>
                <c:pt idx="6114">
                  <c:v>-8.8773458433249984E-3</c:v>
                </c:pt>
                <c:pt idx="6115">
                  <c:v>-9.1127898122866369E-3</c:v>
                </c:pt>
                <c:pt idx="6116">
                  <c:v>-9.1138968736945436E-3</c:v>
                </c:pt>
                <c:pt idx="6117">
                  <c:v>-9.0891666347426882E-3</c:v>
                </c:pt>
                <c:pt idx="6118">
                  <c:v>-9.1236044199927233E-3</c:v>
                </c:pt>
                <c:pt idx="6119">
                  <c:v>-1.022020345104608E-2</c:v>
                </c:pt>
                <c:pt idx="6120">
                  <c:v>-1.1959420248233071E-2</c:v>
                </c:pt>
                <c:pt idx="6121">
                  <c:v>-1.2420692209407868E-2</c:v>
                </c:pt>
                <c:pt idx="6122">
                  <c:v>-1.335109271870368E-2</c:v>
                </c:pt>
                <c:pt idx="6123">
                  <c:v>-1.5490114434315487E-2</c:v>
                </c:pt>
                <c:pt idx="6124">
                  <c:v>-1.6019553645705065E-2</c:v>
                </c:pt>
                <c:pt idx="6125">
                  <c:v>-1.6758558339300979E-2</c:v>
                </c:pt>
                <c:pt idx="6126">
                  <c:v>-1.7218857839127917E-2</c:v>
                </c:pt>
                <c:pt idx="6127">
                  <c:v>-1.73669578786141E-2</c:v>
                </c:pt>
                <c:pt idx="6128">
                  <c:v>-1.7458949639421722E-2</c:v>
                </c:pt>
                <c:pt idx="6129">
                  <c:v>-1.7558029862565265E-2</c:v>
                </c:pt>
                <c:pt idx="6130">
                  <c:v>-1.7849408773703907E-2</c:v>
                </c:pt>
                <c:pt idx="6131">
                  <c:v>-1.7316446332014158E-2</c:v>
                </c:pt>
                <c:pt idx="6132">
                  <c:v>-1.7538377684460926E-2</c:v>
                </c:pt>
                <c:pt idx="6133">
                  <c:v>-1.7902604153009039E-2</c:v>
                </c:pt>
                <c:pt idx="6134">
                  <c:v>-1.8414192032317169E-2</c:v>
                </c:pt>
                <c:pt idx="6135">
                  <c:v>-1.8550277375527086E-2</c:v>
                </c:pt>
                <c:pt idx="6136">
                  <c:v>-1.6920738330247577E-2</c:v>
                </c:pt>
                <c:pt idx="6137">
                  <c:v>-1.553067485685636E-2</c:v>
                </c:pt>
                <c:pt idx="6138">
                  <c:v>-1.4264937882972043E-2</c:v>
                </c:pt>
                <c:pt idx="6139">
                  <c:v>-1.3945744938807104E-2</c:v>
                </c:pt>
                <c:pt idx="6140">
                  <c:v>-1.4247363753859644E-2</c:v>
                </c:pt>
                <c:pt idx="6141">
                  <c:v>-1.4610824922220355E-2</c:v>
                </c:pt>
                <c:pt idx="6142">
                  <c:v>-1.4965335327285235E-2</c:v>
                </c:pt>
                <c:pt idx="6143">
                  <c:v>-1.5040421739423552E-2</c:v>
                </c:pt>
                <c:pt idx="6144">
                  <c:v>-1.5048760277752982E-2</c:v>
                </c:pt>
                <c:pt idx="6145">
                  <c:v>-1.4945298412531461E-2</c:v>
                </c:pt>
                <c:pt idx="6146">
                  <c:v>-1.4462179760759458E-2</c:v>
                </c:pt>
                <c:pt idx="6147">
                  <c:v>-1.38559381289147E-2</c:v>
                </c:pt>
                <c:pt idx="6148">
                  <c:v>-1.3204298144428975E-2</c:v>
                </c:pt>
                <c:pt idx="6149">
                  <c:v>-1.2546284916192783E-2</c:v>
                </c:pt>
                <c:pt idx="6150">
                  <c:v>-1.2562134628223703E-2</c:v>
                </c:pt>
                <c:pt idx="6151">
                  <c:v>-1.2696189710068867E-2</c:v>
                </c:pt>
                <c:pt idx="6152">
                  <c:v>-1.2790840379245752E-2</c:v>
                </c:pt>
                <c:pt idx="6153">
                  <c:v>-1.28421280815318E-2</c:v>
                </c:pt>
                <c:pt idx="6154">
                  <c:v>-1.2990680925448337E-2</c:v>
                </c:pt>
                <c:pt idx="6155">
                  <c:v>-1.295736240207554E-2</c:v>
                </c:pt>
                <c:pt idx="6156">
                  <c:v>-1.313649090182065E-2</c:v>
                </c:pt>
                <c:pt idx="6157">
                  <c:v>-1.3473408804452795E-2</c:v>
                </c:pt>
                <c:pt idx="6158">
                  <c:v>-1.4149778775641841E-2</c:v>
                </c:pt>
                <c:pt idx="6159">
                  <c:v>-1.48609948118642E-2</c:v>
                </c:pt>
                <c:pt idx="6160">
                  <c:v>-1.5560204453673107E-2</c:v>
                </c:pt>
                <c:pt idx="6161">
                  <c:v>-1.5316765123286677E-2</c:v>
                </c:pt>
                <c:pt idx="6162">
                  <c:v>-1.4078937733305215E-2</c:v>
                </c:pt>
                <c:pt idx="6163">
                  <c:v>-1.2889736881378981E-2</c:v>
                </c:pt>
                <c:pt idx="6164">
                  <c:v>-1.2239408841105118E-2</c:v>
                </c:pt>
                <c:pt idx="6165">
                  <c:v>-1.2426037363917806E-2</c:v>
                </c:pt>
                <c:pt idx="6166">
                  <c:v>-1.3433796386698667E-2</c:v>
                </c:pt>
                <c:pt idx="6167">
                  <c:v>-1.1786825046991009E-2</c:v>
                </c:pt>
                <c:pt idx="6168">
                  <c:v>-1.1124047592441094E-2</c:v>
                </c:pt>
                <c:pt idx="6169">
                  <c:v>-1.0620120692070216E-2</c:v>
                </c:pt>
                <c:pt idx="6170">
                  <c:v>-1.0926786512419679E-2</c:v>
                </c:pt>
                <c:pt idx="6171">
                  <c:v>-1.1235522354495443E-2</c:v>
                </c:pt>
                <c:pt idx="6172">
                  <c:v>-1.1656921710321099E-2</c:v>
                </c:pt>
                <c:pt idx="6173">
                  <c:v>-1.2000603689971355E-2</c:v>
                </c:pt>
                <c:pt idx="6174">
                  <c:v>-1.234637177937521E-2</c:v>
                </c:pt>
                <c:pt idx="6175">
                  <c:v>-1.2510385767065316E-2</c:v>
                </c:pt>
                <c:pt idx="6176">
                  <c:v>-1.2608373867545163E-2</c:v>
                </c:pt>
                <c:pt idx="6177">
                  <c:v>-1.2619118563895417E-2</c:v>
                </c:pt>
                <c:pt idx="6178">
                  <c:v>-1.2724307218049902E-2</c:v>
                </c:pt>
                <c:pt idx="6179">
                  <c:v>-1.2870007703156694E-2</c:v>
                </c:pt>
                <c:pt idx="6180">
                  <c:v>-1.2656221670567616E-2</c:v>
                </c:pt>
                <c:pt idx="6181">
                  <c:v>-1.2351189272002419E-2</c:v>
                </c:pt>
                <c:pt idx="6182">
                  <c:v>-1.2150330366056214E-2</c:v>
                </c:pt>
                <c:pt idx="6183">
                  <c:v>-1.2174168914920942E-2</c:v>
                </c:pt>
                <c:pt idx="6184">
                  <c:v>-1.1798177421728917E-2</c:v>
                </c:pt>
                <c:pt idx="6185">
                  <c:v>-1.1643772258633011E-2</c:v>
                </c:pt>
                <c:pt idx="6186">
                  <c:v>-1.1632083696325297E-2</c:v>
                </c:pt>
                <c:pt idx="6187">
                  <c:v>-1.1894259196679729E-2</c:v>
                </c:pt>
                <c:pt idx="6188">
                  <c:v>-1.2231259520621469E-2</c:v>
                </c:pt>
                <c:pt idx="6189">
                  <c:v>-1.2621543801219952E-2</c:v>
                </c:pt>
                <c:pt idx="6190">
                  <c:v>-1.2536363755324435E-2</c:v>
                </c:pt>
                <c:pt idx="6191">
                  <c:v>-1.3162733486842312E-2</c:v>
                </c:pt>
                <c:pt idx="6192">
                  <c:v>-1.3949078519898553E-2</c:v>
                </c:pt>
                <c:pt idx="6193">
                  <c:v>-1.4679757512430414E-2</c:v>
                </c:pt>
                <c:pt idx="6194">
                  <c:v>-1.5192279339697787E-2</c:v>
                </c:pt>
                <c:pt idx="6195">
                  <c:v>-1.5517572089106198E-2</c:v>
                </c:pt>
                <c:pt idx="6196">
                  <c:v>-1.5368078339903026E-2</c:v>
                </c:pt>
                <c:pt idx="6197">
                  <c:v>-1.7198068574222292E-2</c:v>
                </c:pt>
                <c:pt idx="6198">
                  <c:v>-1.8467860018697844E-2</c:v>
                </c:pt>
                <c:pt idx="6199">
                  <c:v>-1.9361078727667368E-2</c:v>
                </c:pt>
                <c:pt idx="6200">
                  <c:v>-1.7692312245923915E-2</c:v>
                </c:pt>
                <c:pt idx="6201">
                  <c:v>-1.6243833977109712E-2</c:v>
                </c:pt>
                <c:pt idx="6202">
                  <c:v>-1.3111228844380103E-2</c:v>
                </c:pt>
                <c:pt idx="6203">
                  <c:v>-9.4064624899833135E-3</c:v>
                </c:pt>
                <c:pt idx="6204">
                  <c:v>-4.7027503096071892E-3</c:v>
                </c:pt>
                <c:pt idx="6205">
                  <c:v>-1.3342643970637551E-3</c:v>
                </c:pt>
                <c:pt idx="6206">
                  <c:v>-1.6625573520877152E-3</c:v>
                </c:pt>
                <c:pt idx="6207">
                  <c:v>-1.8445102773711666E-3</c:v>
                </c:pt>
                <c:pt idx="6208">
                  <c:v>-1.8303305560821315E-3</c:v>
                </c:pt>
                <c:pt idx="6209">
                  <c:v>2.8135046062875854E-2</c:v>
                </c:pt>
                <c:pt idx="6210">
                  <c:v>2.8574105283493516E-2</c:v>
                </c:pt>
                <c:pt idx="6211">
                  <c:v>2.8420211144886798E-2</c:v>
                </c:pt>
                <c:pt idx="6212">
                  <c:v>2.8821751584381404E-2</c:v>
                </c:pt>
                <c:pt idx="6213">
                  <c:v>3.5102415409265141E-2</c:v>
                </c:pt>
                <c:pt idx="6214">
                  <c:v>3.5191096773960893E-2</c:v>
                </c:pt>
                <c:pt idx="6215">
                  <c:v>3.5776675338471398E-2</c:v>
                </c:pt>
                <c:pt idx="6216">
                  <c:v>3.6081441339274579E-2</c:v>
                </c:pt>
                <c:pt idx="6217">
                  <c:v>3.6383055548387513E-2</c:v>
                </c:pt>
                <c:pt idx="6218">
                  <c:v>3.7907317477674264E-2</c:v>
                </c:pt>
                <c:pt idx="6219">
                  <c:v>4.9305820855052064E-2</c:v>
                </c:pt>
                <c:pt idx="6220">
                  <c:v>5.1310183330535976E-2</c:v>
                </c:pt>
                <c:pt idx="6221">
                  <c:v>5.2479573976798623E-2</c:v>
                </c:pt>
                <c:pt idx="6222">
                  <c:v>5.3710696198005663E-2</c:v>
                </c:pt>
                <c:pt idx="6223">
                  <c:v>5.4530515236500994E-2</c:v>
                </c:pt>
                <c:pt idx="6224">
                  <c:v>5.474102641148456E-2</c:v>
                </c:pt>
                <c:pt idx="6225">
                  <c:v>5.3099984041448535E-2</c:v>
                </c:pt>
                <c:pt idx="6226">
                  <c:v>5.142810887902103E-2</c:v>
                </c:pt>
                <c:pt idx="6227">
                  <c:v>5.0367514169806719E-2</c:v>
                </c:pt>
                <c:pt idx="6228">
                  <c:v>5.0330481901028616E-2</c:v>
                </c:pt>
                <c:pt idx="6229">
                  <c:v>5.4665032672124934E-2</c:v>
                </c:pt>
                <c:pt idx="6230">
                  <c:v>5.7818888623248542E-2</c:v>
                </c:pt>
                <c:pt idx="6231">
                  <c:v>5.9078070438293002E-2</c:v>
                </c:pt>
                <c:pt idx="6232">
                  <c:v>6.9308685299302536E-2</c:v>
                </c:pt>
                <c:pt idx="6233">
                  <c:v>7.0130561507915551E-2</c:v>
                </c:pt>
                <c:pt idx="6234">
                  <c:v>7.0018803765515794E-2</c:v>
                </c:pt>
                <c:pt idx="6235">
                  <c:v>7.090339724691494E-2</c:v>
                </c:pt>
                <c:pt idx="6236">
                  <c:v>7.2756117930395561E-2</c:v>
                </c:pt>
                <c:pt idx="6237">
                  <c:v>7.2357087984007515E-2</c:v>
                </c:pt>
                <c:pt idx="6238">
                  <c:v>7.670934360994569E-2</c:v>
                </c:pt>
                <c:pt idx="6239">
                  <c:v>6.8404365592946881E-2</c:v>
                </c:pt>
                <c:pt idx="6240">
                  <c:v>6.7478204649716669E-2</c:v>
                </c:pt>
                <c:pt idx="6241">
                  <c:v>6.6978403249282767E-2</c:v>
                </c:pt>
                <c:pt idx="6242">
                  <c:v>6.559039972893986E-2</c:v>
                </c:pt>
                <c:pt idx="6243">
                  <c:v>6.4626862013310152E-2</c:v>
                </c:pt>
                <c:pt idx="6244">
                  <c:v>6.6028112735925931E-2</c:v>
                </c:pt>
                <c:pt idx="6245">
                  <c:v>6.5513342357799959E-2</c:v>
                </c:pt>
                <c:pt idx="6246">
                  <c:v>6.5730503474439553E-2</c:v>
                </c:pt>
                <c:pt idx="6247">
                  <c:v>6.6889877275831011E-2</c:v>
                </c:pt>
                <c:pt idx="6248">
                  <c:v>7.1427858597378019E-2</c:v>
                </c:pt>
                <c:pt idx="6249">
                  <c:v>7.0603288000505873E-2</c:v>
                </c:pt>
                <c:pt idx="6250">
                  <c:v>6.9513189004827752E-2</c:v>
                </c:pt>
                <c:pt idx="6251">
                  <c:v>7.003785118212083E-2</c:v>
                </c:pt>
                <c:pt idx="6252">
                  <c:v>6.9662344288376046E-2</c:v>
                </c:pt>
                <c:pt idx="6253">
                  <c:v>7.0872510726615073E-2</c:v>
                </c:pt>
                <c:pt idx="6254">
                  <c:v>6.9542290772037912E-2</c:v>
                </c:pt>
                <c:pt idx="6255">
                  <c:v>7.1485475527667139E-2</c:v>
                </c:pt>
                <c:pt idx="6256">
                  <c:v>7.4000430536680775E-2</c:v>
                </c:pt>
                <c:pt idx="6257">
                  <c:v>7.9554949957253915E-2</c:v>
                </c:pt>
                <c:pt idx="6258">
                  <c:v>8.4494299489148661E-2</c:v>
                </c:pt>
                <c:pt idx="6259">
                  <c:v>8.3485559303647219E-2</c:v>
                </c:pt>
                <c:pt idx="6260">
                  <c:v>8.2258940616960957E-2</c:v>
                </c:pt>
                <c:pt idx="6261">
                  <c:v>8.1911587861215218E-2</c:v>
                </c:pt>
                <c:pt idx="6262">
                  <c:v>7.5637418976838913E-2</c:v>
                </c:pt>
                <c:pt idx="6263">
                  <c:v>7.6803282963879088E-2</c:v>
                </c:pt>
                <c:pt idx="6264">
                  <c:v>7.7058265919504598E-2</c:v>
                </c:pt>
                <c:pt idx="6265">
                  <c:v>7.5981222730290246E-2</c:v>
                </c:pt>
                <c:pt idx="6266">
                  <c:v>7.4303715508193161E-2</c:v>
                </c:pt>
                <c:pt idx="6267">
                  <c:v>7.5563864807520295E-2</c:v>
                </c:pt>
                <c:pt idx="6268">
                  <c:v>6.9494891832960606E-2</c:v>
                </c:pt>
                <c:pt idx="6269">
                  <c:v>6.9479445864801134E-2</c:v>
                </c:pt>
                <c:pt idx="6270">
                  <c:v>7.4229079410551277E-2</c:v>
                </c:pt>
                <c:pt idx="6271">
                  <c:v>7.46384211784311E-2</c:v>
                </c:pt>
                <c:pt idx="6272">
                  <c:v>7.4661742960274155E-2</c:v>
                </c:pt>
                <c:pt idx="6273">
                  <c:v>7.4394042907616267E-2</c:v>
                </c:pt>
                <c:pt idx="6274">
                  <c:v>7.4391596632903526E-2</c:v>
                </c:pt>
                <c:pt idx="6275">
                  <c:v>7.3656163737537611E-2</c:v>
                </c:pt>
                <c:pt idx="6276">
                  <c:v>9.2525826110950657E-2</c:v>
                </c:pt>
                <c:pt idx="6277">
                  <c:v>9.1217203325172344E-2</c:v>
                </c:pt>
                <c:pt idx="6278">
                  <c:v>8.6366325905603863E-2</c:v>
                </c:pt>
                <c:pt idx="6279">
                  <c:v>8.3909085401629668E-2</c:v>
                </c:pt>
                <c:pt idx="6280">
                  <c:v>8.3727243333021076E-2</c:v>
                </c:pt>
                <c:pt idx="6281">
                  <c:v>8.3727453486125522E-2</c:v>
                </c:pt>
                <c:pt idx="6282">
                  <c:v>8.3624112278124232E-2</c:v>
                </c:pt>
                <c:pt idx="6283">
                  <c:v>8.2004327288313902E-2</c:v>
                </c:pt>
                <c:pt idx="6284">
                  <c:v>8.1888417967474286E-2</c:v>
                </c:pt>
                <c:pt idx="6285">
                  <c:v>8.0950531801970538E-2</c:v>
                </c:pt>
                <c:pt idx="6286">
                  <c:v>7.9662377509341117E-2</c:v>
                </c:pt>
                <c:pt idx="6287">
                  <c:v>7.8661138315567397E-2</c:v>
                </c:pt>
                <c:pt idx="6288">
                  <c:v>7.5911811511092525E-2</c:v>
                </c:pt>
                <c:pt idx="6289">
                  <c:v>7.4810096420685146E-2</c:v>
                </c:pt>
                <c:pt idx="6290">
                  <c:v>7.4068155235651925E-2</c:v>
                </c:pt>
                <c:pt idx="6291">
                  <c:v>7.7285153854387348E-2</c:v>
                </c:pt>
                <c:pt idx="6292">
                  <c:v>7.5921992023379889E-2</c:v>
                </c:pt>
                <c:pt idx="6293">
                  <c:v>7.6872559529913301E-2</c:v>
                </c:pt>
                <c:pt idx="6294">
                  <c:v>7.810851482919029E-2</c:v>
                </c:pt>
                <c:pt idx="6295">
                  <c:v>7.8163270560123871E-2</c:v>
                </c:pt>
                <c:pt idx="6296">
                  <c:v>7.9705307580960061E-2</c:v>
                </c:pt>
                <c:pt idx="6297">
                  <c:v>7.9273319331830114E-2</c:v>
                </c:pt>
                <c:pt idx="6298">
                  <c:v>7.9287904694946509E-2</c:v>
                </c:pt>
                <c:pt idx="6299">
                  <c:v>0.10724518670054745</c:v>
                </c:pt>
                <c:pt idx="6300">
                  <c:v>0.12733497713028533</c:v>
                </c:pt>
                <c:pt idx="6301">
                  <c:v>0.13526792407070312</c:v>
                </c:pt>
                <c:pt idx="6302">
                  <c:v>0.14063516603618173</c:v>
                </c:pt>
                <c:pt idx="6303">
                  <c:v>0.14458795395977236</c:v>
                </c:pt>
                <c:pt idx="6304">
                  <c:v>0.14468851653480302</c:v>
                </c:pt>
                <c:pt idx="6305">
                  <c:v>0.14409465936070998</c:v>
                </c:pt>
                <c:pt idx="6306">
                  <c:v>0.13566283998828271</c:v>
                </c:pt>
                <c:pt idx="6307">
                  <c:v>0.13568829215255684</c:v>
                </c:pt>
                <c:pt idx="6308">
                  <c:v>0.13562669385520043</c:v>
                </c:pt>
                <c:pt idx="6309">
                  <c:v>0.13320528591199005</c:v>
                </c:pt>
                <c:pt idx="6310">
                  <c:v>0.13240233303368118</c:v>
                </c:pt>
                <c:pt idx="6311">
                  <c:v>0.1322334985434544</c:v>
                </c:pt>
                <c:pt idx="6312">
                  <c:v>0.13184386020675559</c:v>
                </c:pt>
                <c:pt idx="6313">
                  <c:v>0.13238036662474079</c:v>
                </c:pt>
                <c:pt idx="6314">
                  <c:v>0.13453563473702329</c:v>
                </c:pt>
                <c:pt idx="6315">
                  <c:v>0.13583175440767489</c:v>
                </c:pt>
                <c:pt idx="6316">
                  <c:v>0.13685836251708275</c:v>
                </c:pt>
                <c:pt idx="6317">
                  <c:v>0.13781990522837542</c:v>
                </c:pt>
                <c:pt idx="6318">
                  <c:v>0.13697095401655546</c:v>
                </c:pt>
                <c:pt idx="6319">
                  <c:v>0.13651575035465549</c:v>
                </c:pt>
                <c:pt idx="6320">
                  <c:v>0.13532567531122966</c:v>
                </c:pt>
                <c:pt idx="6321">
                  <c:v>0.13506232455981687</c:v>
                </c:pt>
                <c:pt idx="6322">
                  <c:v>0.13562964876174335</c:v>
                </c:pt>
                <c:pt idx="6323">
                  <c:v>0.1356499185890841</c:v>
                </c:pt>
                <c:pt idx="6324">
                  <c:v>0.13558404425386034</c:v>
                </c:pt>
                <c:pt idx="6325">
                  <c:v>0.13507157587016327</c:v>
                </c:pt>
                <c:pt idx="6326">
                  <c:v>0.13358196043088019</c:v>
                </c:pt>
                <c:pt idx="6327">
                  <c:v>0.13326254758798334</c:v>
                </c:pt>
                <c:pt idx="6328">
                  <c:v>0.13407876724409243</c:v>
                </c:pt>
                <c:pt idx="6329">
                  <c:v>0.11796606065820367</c:v>
                </c:pt>
                <c:pt idx="6330">
                  <c:v>9.5248873409883306E-2</c:v>
                </c:pt>
                <c:pt idx="6331">
                  <c:v>9.7109743626840661E-2</c:v>
                </c:pt>
                <c:pt idx="6332">
                  <c:v>9.8012178915571027E-2</c:v>
                </c:pt>
                <c:pt idx="6333">
                  <c:v>8.9913110117780026E-2</c:v>
                </c:pt>
                <c:pt idx="6334">
                  <c:v>8.3781675572310157E-2</c:v>
                </c:pt>
                <c:pt idx="6335">
                  <c:v>8.4188915750970525E-2</c:v>
                </c:pt>
                <c:pt idx="6336">
                  <c:v>8.4191950483063355E-2</c:v>
                </c:pt>
                <c:pt idx="6337">
                  <c:v>8.4056122077827367E-2</c:v>
                </c:pt>
                <c:pt idx="6338">
                  <c:v>8.4194547141172832E-2</c:v>
                </c:pt>
                <c:pt idx="6339">
                  <c:v>8.3857537284669464E-2</c:v>
                </c:pt>
                <c:pt idx="6340">
                  <c:v>8.2382245960662959E-2</c:v>
                </c:pt>
                <c:pt idx="6341">
                  <c:v>8.1765727698442009E-2</c:v>
                </c:pt>
                <c:pt idx="6342">
                  <c:v>8.1784867634417127E-2</c:v>
                </c:pt>
                <c:pt idx="6343">
                  <c:v>8.1981479431391058E-2</c:v>
                </c:pt>
                <c:pt idx="6344">
                  <c:v>8.1011832367265016E-2</c:v>
                </c:pt>
                <c:pt idx="6345">
                  <c:v>8.1027423921529632E-2</c:v>
                </c:pt>
                <c:pt idx="6346">
                  <c:v>8.1828002419072066E-2</c:v>
                </c:pt>
                <c:pt idx="6347">
                  <c:v>8.0513075061250911E-2</c:v>
                </c:pt>
                <c:pt idx="6348">
                  <c:v>7.9860485902521081E-2</c:v>
                </c:pt>
                <c:pt idx="6349">
                  <c:v>8.1202227942122548E-2</c:v>
                </c:pt>
                <c:pt idx="6350">
                  <c:v>8.1190394780875128E-2</c:v>
                </c:pt>
                <c:pt idx="6351">
                  <c:v>8.1389688089453432E-2</c:v>
                </c:pt>
                <c:pt idx="6352">
                  <c:v>8.1536674120880059E-2</c:v>
                </c:pt>
                <c:pt idx="6353">
                  <c:v>8.2798100029416191E-2</c:v>
                </c:pt>
                <c:pt idx="6354">
                  <c:v>8.2034786600727605E-2</c:v>
                </c:pt>
                <c:pt idx="6355">
                  <c:v>8.4746543715188194E-2</c:v>
                </c:pt>
                <c:pt idx="6356">
                  <c:v>8.460494038913019E-2</c:v>
                </c:pt>
                <c:pt idx="6357">
                  <c:v>8.4121243339572646E-2</c:v>
                </c:pt>
                <c:pt idx="6358">
                  <c:v>8.4203533016126902E-2</c:v>
                </c:pt>
                <c:pt idx="6359">
                  <c:v>8.3627177789017237E-2</c:v>
                </c:pt>
                <c:pt idx="6360">
                  <c:v>8.2916033004382772E-2</c:v>
                </c:pt>
                <c:pt idx="6361">
                  <c:v>6.2529011025430611E-2</c:v>
                </c:pt>
                <c:pt idx="6362">
                  <c:v>4.1799894011208545E-2</c:v>
                </c:pt>
                <c:pt idx="6363">
                  <c:v>3.2427037145280037E-2</c:v>
                </c:pt>
                <c:pt idx="6364">
                  <c:v>2.7474737996749689E-2</c:v>
                </c:pt>
                <c:pt idx="6365">
                  <c:v>2.6854852494057217E-2</c:v>
                </c:pt>
                <c:pt idx="6366">
                  <c:v>2.5244837423695016E-2</c:v>
                </c:pt>
                <c:pt idx="6367">
                  <c:v>2.3892123211969755E-2</c:v>
                </c:pt>
                <c:pt idx="6368">
                  <c:v>2.2629296773828363E-2</c:v>
                </c:pt>
                <c:pt idx="6369">
                  <c:v>2.1478889617613996E-2</c:v>
                </c:pt>
                <c:pt idx="6370">
                  <c:v>2.0643845656773803E-2</c:v>
                </c:pt>
                <c:pt idx="6371">
                  <c:v>2.0075100478933801E-2</c:v>
                </c:pt>
                <c:pt idx="6372">
                  <c:v>1.8979245122272177E-2</c:v>
                </c:pt>
                <c:pt idx="6373">
                  <c:v>1.8541087380991417E-2</c:v>
                </c:pt>
                <c:pt idx="6374">
                  <c:v>1.8270757857015915E-2</c:v>
                </c:pt>
                <c:pt idx="6375">
                  <c:v>1.8521969914920798E-2</c:v>
                </c:pt>
                <c:pt idx="6376">
                  <c:v>1.2902146196312097E-2</c:v>
                </c:pt>
                <c:pt idx="6377">
                  <c:v>1.2932627221032904E-2</c:v>
                </c:pt>
                <c:pt idx="6378">
                  <c:v>1.263898108553937E-2</c:v>
                </c:pt>
                <c:pt idx="6379">
                  <c:v>1.6048125729617717E-2</c:v>
                </c:pt>
                <c:pt idx="6380">
                  <c:v>1.6639199101863358E-2</c:v>
                </c:pt>
                <c:pt idx="6381">
                  <c:v>1.8354069753162984E-2</c:v>
                </c:pt>
                <c:pt idx="6382">
                  <c:v>2.236266208158711E-2</c:v>
                </c:pt>
                <c:pt idx="6383">
                  <c:v>2.1818471046602866E-2</c:v>
                </c:pt>
                <c:pt idx="6384">
                  <c:v>2.1707293490481547E-2</c:v>
                </c:pt>
                <c:pt idx="6385">
                  <c:v>1.218568387733702E-2</c:v>
                </c:pt>
                <c:pt idx="6386">
                  <c:v>1.1598817738786371E-2</c:v>
                </c:pt>
                <c:pt idx="6387">
                  <c:v>1.1836394615221736E-2</c:v>
                </c:pt>
                <c:pt idx="6388">
                  <c:v>1.175074827069649E-2</c:v>
                </c:pt>
                <c:pt idx="6389">
                  <c:v>1.1427995825016966E-2</c:v>
                </c:pt>
                <c:pt idx="6390">
                  <c:v>1.2025656954192636E-2</c:v>
                </c:pt>
                <c:pt idx="6391">
                  <c:v>1.1812925199281768E-2</c:v>
                </c:pt>
                <c:pt idx="6392">
                  <c:v>1.1555790818539696E-2</c:v>
                </c:pt>
                <c:pt idx="6393">
                  <c:v>1.0804060470334836E-2</c:v>
                </c:pt>
                <c:pt idx="6394">
                  <c:v>1.0855088389873124E-2</c:v>
                </c:pt>
                <c:pt idx="6395">
                  <c:v>1.0556679118932136E-2</c:v>
                </c:pt>
                <c:pt idx="6396">
                  <c:v>1.0912929124535667E-2</c:v>
                </c:pt>
                <c:pt idx="6397">
                  <c:v>1.12163097122735E-2</c:v>
                </c:pt>
                <c:pt idx="6398">
                  <c:v>1.1582024434623998E-2</c:v>
                </c:pt>
                <c:pt idx="6399">
                  <c:v>1.2376009508633596E-2</c:v>
                </c:pt>
                <c:pt idx="6400">
                  <c:v>1.3224670812912382E-2</c:v>
                </c:pt>
                <c:pt idx="6401">
                  <c:v>1.4032748025486227E-2</c:v>
                </c:pt>
                <c:pt idx="6402">
                  <c:v>1.4266115369591425E-2</c:v>
                </c:pt>
                <c:pt idx="6403">
                  <c:v>1.5263387786627355E-2</c:v>
                </c:pt>
                <c:pt idx="6404">
                  <c:v>1.6078288097025585E-2</c:v>
                </c:pt>
                <c:pt idx="6405">
                  <c:v>1.5704096729391742E-2</c:v>
                </c:pt>
                <c:pt idx="6406">
                  <c:v>1.4726754787834901E-2</c:v>
                </c:pt>
                <c:pt idx="6407">
                  <c:v>1.398080282697658E-2</c:v>
                </c:pt>
                <c:pt idx="6408">
                  <c:v>1.4010471654570035E-2</c:v>
                </c:pt>
                <c:pt idx="6409">
                  <c:v>8.6646218867712736E-3</c:v>
                </c:pt>
                <c:pt idx="6410">
                  <c:v>8.3001372730906412E-3</c:v>
                </c:pt>
                <c:pt idx="6411">
                  <c:v>1.5460930660493311E-3</c:v>
                </c:pt>
                <c:pt idx="6412">
                  <c:v>-1.1633789686568296E-2</c:v>
                </c:pt>
                <c:pt idx="6413">
                  <c:v>-1.6034110760878996E-2</c:v>
                </c:pt>
                <c:pt idx="6414">
                  <c:v>-1.7018509990761543E-2</c:v>
                </c:pt>
                <c:pt idx="6415">
                  <c:v>-1.6966922304445305E-2</c:v>
                </c:pt>
                <c:pt idx="6416">
                  <c:v>-1.7758189834012669E-2</c:v>
                </c:pt>
                <c:pt idx="6417">
                  <c:v>-1.7589740317525509E-2</c:v>
                </c:pt>
                <c:pt idx="6418">
                  <c:v>-1.7403766790170919E-2</c:v>
                </c:pt>
                <c:pt idx="6419">
                  <c:v>-1.7103980449633214E-2</c:v>
                </c:pt>
                <c:pt idx="6420">
                  <c:v>-1.862949309632661E-2</c:v>
                </c:pt>
                <c:pt idx="6421">
                  <c:v>-1.8323328605973372E-2</c:v>
                </c:pt>
                <c:pt idx="6422">
                  <c:v>-1.8427992522848727E-2</c:v>
                </c:pt>
                <c:pt idx="6423">
                  <c:v>-1.7973171949701199E-2</c:v>
                </c:pt>
                <c:pt idx="6424">
                  <c:v>-1.7447047556142081E-2</c:v>
                </c:pt>
                <c:pt idx="6425">
                  <c:v>-1.7345417853819295E-2</c:v>
                </c:pt>
                <c:pt idx="6426">
                  <c:v>-1.7346423772620613E-2</c:v>
                </c:pt>
                <c:pt idx="6427">
                  <c:v>-1.7295015606834465E-2</c:v>
                </c:pt>
                <c:pt idx="6428">
                  <c:v>-1.6922826389083725E-2</c:v>
                </c:pt>
                <c:pt idx="6429">
                  <c:v>-1.6407689470520365E-2</c:v>
                </c:pt>
                <c:pt idx="6430">
                  <c:v>-1.6793951945370179E-2</c:v>
                </c:pt>
                <c:pt idx="6431">
                  <c:v>-1.7378033283472195E-2</c:v>
                </c:pt>
                <c:pt idx="6432">
                  <c:v>-1.791545015085122E-2</c:v>
                </c:pt>
                <c:pt idx="6433">
                  <c:v>-1.3675262067801735E-2</c:v>
                </c:pt>
                <c:pt idx="6434">
                  <c:v>-1.3138576748917462E-2</c:v>
                </c:pt>
                <c:pt idx="6435">
                  <c:v>-1.3434645208917234E-2</c:v>
                </c:pt>
                <c:pt idx="6436">
                  <c:v>-1.3468701622110578E-2</c:v>
                </c:pt>
                <c:pt idx="6437">
                  <c:v>-1.348697606430692E-2</c:v>
                </c:pt>
                <c:pt idx="6438">
                  <c:v>-1.3630367826011014E-2</c:v>
                </c:pt>
                <c:pt idx="6439">
                  <c:v>2.5308596021062564E-2</c:v>
                </c:pt>
                <c:pt idx="6440">
                  <c:v>5.5821263122193716E-2</c:v>
                </c:pt>
                <c:pt idx="6441">
                  <c:v>6.8214502912096311E-2</c:v>
                </c:pt>
                <c:pt idx="6442">
                  <c:v>7.1207535961815421E-2</c:v>
                </c:pt>
                <c:pt idx="6443">
                  <c:v>7.5999545987543771E-2</c:v>
                </c:pt>
                <c:pt idx="6444">
                  <c:v>7.8843499911972648E-2</c:v>
                </c:pt>
                <c:pt idx="6445">
                  <c:v>8.1937925731312047E-2</c:v>
                </c:pt>
                <c:pt idx="6446">
                  <c:v>8.1909358168386973E-2</c:v>
                </c:pt>
                <c:pt idx="6447">
                  <c:v>8.3868941875614639E-2</c:v>
                </c:pt>
                <c:pt idx="6448">
                  <c:v>8.2733204577938868E-2</c:v>
                </c:pt>
                <c:pt idx="6449">
                  <c:v>8.2260786547918546E-2</c:v>
                </c:pt>
                <c:pt idx="6450">
                  <c:v>8.2332258570233838E-2</c:v>
                </c:pt>
                <c:pt idx="6451">
                  <c:v>8.2178073294090659E-2</c:v>
                </c:pt>
                <c:pt idx="6452">
                  <c:v>8.2089382697869501E-2</c:v>
                </c:pt>
                <c:pt idx="6453">
                  <c:v>8.2169202775428302E-2</c:v>
                </c:pt>
                <c:pt idx="6454">
                  <c:v>8.1851358137758096E-2</c:v>
                </c:pt>
                <c:pt idx="6455">
                  <c:v>8.1471673300319514E-2</c:v>
                </c:pt>
                <c:pt idx="6456">
                  <c:v>8.1289593314277597E-2</c:v>
                </c:pt>
                <c:pt idx="6457">
                  <c:v>8.1276046844648842E-2</c:v>
                </c:pt>
                <c:pt idx="6458">
                  <c:v>8.1182652365706681E-2</c:v>
                </c:pt>
                <c:pt idx="6459">
                  <c:v>8.071609536027069E-2</c:v>
                </c:pt>
                <c:pt idx="6460">
                  <c:v>8.0083031836619148E-2</c:v>
                </c:pt>
                <c:pt idx="6461">
                  <c:v>7.9834544879681058E-2</c:v>
                </c:pt>
                <c:pt idx="6462">
                  <c:v>7.9367567367939304E-2</c:v>
                </c:pt>
                <c:pt idx="6463">
                  <c:v>7.9858227595627274E-2</c:v>
                </c:pt>
                <c:pt idx="6464">
                  <c:v>7.9463707422424382E-2</c:v>
                </c:pt>
                <c:pt idx="6465">
                  <c:v>7.9926398432150186E-2</c:v>
                </c:pt>
                <c:pt idx="6466">
                  <c:v>8.047115913010619E-2</c:v>
                </c:pt>
                <c:pt idx="6467">
                  <c:v>8.1755315797002223E-2</c:v>
                </c:pt>
                <c:pt idx="6468">
                  <c:v>8.3029792391381363E-2</c:v>
                </c:pt>
                <c:pt idx="6469">
                  <c:v>7.7094709643878642E-2</c:v>
                </c:pt>
                <c:pt idx="6470">
                  <c:v>7.2056568818849309E-2</c:v>
                </c:pt>
                <c:pt idx="6471">
                  <c:v>9.1803024001902087E-2</c:v>
                </c:pt>
                <c:pt idx="6472">
                  <c:v>0.13199701634181177</c:v>
                </c:pt>
                <c:pt idx="6473">
                  <c:v>0.1499588129776952</c:v>
                </c:pt>
                <c:pt idx="6474">
                  <c:v>0.15509653601373596</c:v>
                </c:pt>
                <c:pt idx="6475">
                  <c:v>0.1551577561164996</c:v>
                </c:pt>
                <c:pt idx="6476">
                  <c:v>0.15370016709148704</c:v>
                </c:pt>
                <c:pt idx="6477">
                  <c:v>0.15295046494064563</c:v>
                </c:pt>
                <c:pt idx="6478">
                  <c:v>0.15333459542352748</c:v>
                </c:pt>
                <c:pt idx="6479">
                  <c:v>0.15317832429150927</c:v>
                </c:pt>
                <c:pt idx="6480">
                  <c:v>0.1525659254260229</c:v>
                </c:pt>
                <c:pt idx="6481">
                  <c:v>0.15150245117662295</c:v>
                </c:pt>
                <c:pt idx="6482">
                  <c:v>0.15183784015438354</c:v>
                </c:pt>
                <c:pt idx="6483">
                  <c:v>0.15121448635690976</c:v>
                </c:pt>
                <c:pt idx="6484">
                  <c:v>0.15147430776045426</c:v>
                </c:pt>
                <c:pt idx="6485">
                  <c:v>0.15160112132389977</c:v>
                </c:pt>
                <c:pt idx="6486">
                  <c:v>0.15098059487028098</c:v>
                </c:pt>
                <c:pt idx="6487">
                  <c:v>0.15101151653055378</c:v>
                </c:pt>
                <c:pt idx="6488">
                  <c:v>0.15045747459723405</c:v>
                </c:pt>
                <c:pt idx="6489">
                  <c:v>0.15107431349017897</c:v>
                </c:pt>
                <c:pt idx="6490">
                  <c:v>0.15098599111798527</c:v>
                </c:pt>
                <c:pt idx="6491">
                  <c:v>0.15238023864701486</c:v>
                </c:pt>
                <c:pt idx="6492">
                  <c:v>0.15418519168601355</c:v>
                </c:pt>
                <c:pt idx="6493">
                  <c:v>0.15585840416209532</c:v>
                </c:pt>
                <c:pt idx="6494">
                  <c:v>0.15626527802195622</c:v>
                </c:pt>
                <c:pt idx="6495">
                  <c:v>0.15745541322527767</c:v>
                </c:pt>
                <c:pt idx="6496">
                  <c:v>0.15700851676948901</c:v>
                </c:pt>
                <c:pt idx="6497">
                  <c:v>0.15530364051147733</c:v>
                </c:pt>
                <c:pt idx="6498">
                  <c:v>0.16109223944117401</c:v>
                </c:pt>
                <c:pt idx="6499">
                  <c:v>0.1642380625514373</c:v>
                </c:pt>
                <c:pt idx="6500">
                  <c:v>0.16632938114400014</c:v>
                </c:pt>
                <c:pt idx="6501">
                  <c:v>0.1551557980995279</c:v>
                </c:pt>
                <c:pt idx="6502">
                  <c:v>0.125216634340579</c:v>
                </c:pt>
                <c:pt idx="6503">
                  <c:v>0.10087522602229766</c:v>
                </c:pt>
                <c:pt idx="6504">
                  <c:v>9.0295560780511167E-2</c:v>
                </c:pt>
                <c:pt idx="6505">
                  <c:v>8.7178309355177536E-2</c:v>
                </c:pt>
                <c:pt idx="6506">
                  <c:v>8.7058072619751403E-2</c:v>
                </c:pt>
                <c:pt idx="6507">
                  <c:v>8.7991175920510326E-2</c:v>
                </c:pt>
                <c:pt idx="6508">
                  <c:v>8.9138928333284448E-2</c:v>
                </c:pt>
                <c:pt idx="6509">
                  <c:v>8.9942187891758743E-2</c:v>
                </c:pt>
                <c:pt idx="6510">
                  <c:v>8.5812158236465874E-2</c:v>
                </c:pt>
                <c:pt idx="6511">
                  <c:v>8.2889146583055184E-2</c:v>
                </c:pt>
                <c:pt idx="6512">
                  <c:v>7.9849196336410216E-2</c:v>
                </c:pt>
                <c:pt idx="6513">
                  <c:v>7.9357553171823275E-2</c:v>
                </c:pt>
                <c:pt idx="6514">
                  <c:v>7.5935847901670323E-2</c:v>
                </c:pt>
                <c:pt idx="6515">
                  <c:v>7.2894008455849937E-2</c:v>
                </c:pt>
                <c:pt idx="6516">
                  <c:v>7.1972671095255403E-2</c:v>
                </c:pt>
                <c:pt idx="6517">
                  <c:v>7.1983669940064526E-2</c:v>
                </c:pt>
                <c:pt idx="6518">
                  <c:v>7.2349547032749109E-2</c:v>
                </c:pt>
                <c:pt idx="6519">
                  <c:v>7.2247059949815673E-2</c:v>
                </c:pt>
                <c:pt idx="6520">
                  <c:v>7.2338353752189041E-2</c:v>
                </c:pt>
                <c:pt idx="6521">
                  <c:v>7.1499917222643358E-2</c:v>
                </c:pt>
                <c:pt idx="6522">
                  <c:v>7.1399549573661611E-2</c:v>
                </c:pt>
                <c:pt idx="6523">
                  <c:v>7.1544704951979315E-2</c:v>
                </c:pt>
                <c:pt idx="6524">
                  <c:v>7.194822448649503E-2</c:v>
                </c:pt>
                <c:pt idx="6525">
                  <c:v>7.1700486959848098E-2</c:v>
                </c:pt>
                <c:pt idx="6526">
                  <c:v>7.2082538609590768E-2</c:v>
                </c:pt>
                <c:pt idx="6527">
                  <c:v>7.0232556566474064E-2</c:v>
                </c:pt>
                <c:pt idx="6528">
                  <c:v>4.0085117895830163E-2</c:v>
                </c:pt>
                <c:pt idx="6529">
                  <c:v>1.8677978505864133E-2</c:v>
                </c:pt>
                <c:pt idx="6530">
                  <c:v>-1.5587315085086786E-3</c:v>
                </c:pt>
                <c:pt idx="6531">
                  <c:v>-3.0644651001080544E-3</c:v>
                </c:pt>
                <c:pt idx="6532">
                  <c:v>-2.9182193189700115E-3</c:v>
                </c:pt>
                <c:pt idx="6533">
                  <c:v>-2.5146032906163546E-3</c:v>
                </c:pt>
                <c:pt idx="6534">
                  <c:v>-5.0083886825634423E-3</c:v>
                </c:pt>
                <c:pt idx="6535">
                  <c:v>-9.1789037501013235E-3</c:v>
                </c:pt>
                <c:pt idx="6536">
                  <c:v>-1.2861064352867589E-2</c:v>
                </c:pt>
                <c:pt idx="6537">
                  <c:v>-1.0928779208526558E-2</c:v>
                </c:pt>
                <c:pt idx="6538">
                  <c:v>-9.2155327379385091E-3</c:v>
                </c:pt>
                <c:pt idx="6539">
                  <c:v>-6.3952176929572887E-3</c:v>
                </c:pt>
                <c:pt idx="6540">
                  <c:v>-5.8567162400188907E-3</c:v>
                </c:pt>
                <c:pt idx="6541">
                  <c:v>-5.8684413563485768E-3</c:v>
                </c:pt>
                <c:pt idx="6542">
                  <c:v>-5.6805865027246133E-3</c:v>
                </c:pt>
                <c:pt idx="6543">
                  <c:v>-5.8087585841694817E-3</c:v>
                </c:pt>
                <c:pt idx="6544">
                  <c:v>-5.701966187832694E-3</c:v>
                </c:pt>
                <c:pt idx="6545">
                  <c:v>-5.7714726211690126E-3</c:v>
                </c:pt>
                <c:pt idx="6546">
                  <c:v>-5.5714045474073767E-3</c:v>
                </c:pt>
                <c:pt idx="6547">
                  <c:v>-4.7250417678819708E-3</c:v>
                </c:pt>
                <c:pt idx="6548">
                  <c:v>-3.4195454008026354E-3</c:v>
                </c:pt>
                <c:pt idx="6549">
                  <c:v>-1.5916567430757072E-3</c:v>
                </c:pt>
                <c:pt idx="6550">
                  <c:v>-1.165504238705789E-3</c:v>
                </c:pt>
                <c:pt idx="6551">
                  <c:v>-2.8570771439297479E-3</c:v>
                </c:pt>
                <c:pt idx="6552">
                  <c:v>-3.5572916945638845E-3</c:v>
                </c:pt>
                <c:pt idx="6553">
                  <c:v>-5.5180855411950808E-3</c:v>
                </c:pt>
                <c:pt idx="6554">
                  <c:v>-7.7801436682411081E-3</c:v>
                </c:pt>
                <c:pt idx="6555">
                  <c:v>-9.3713277022708617E-3</c:v>
                </c:pt>
                <c:pt idx="6556">
                  <c:v>-9.8837341368432988E-3</c:v>
                </c:pt>
                <c:pt idx="6557">
                  <c:v>-1.0205713435487842E-2</c:v>
                </c:pt>
                <c:pt idx="6558">
                  <c:v>-1.0866579895739329E-2</c:v>
                </c:pt>
                <c:pt idx="6559">
                  <c:v>-1.0669384747140111E-2</c:v>
                </c:pt>
                <c:pt idx="6560">
                  <c:v>-1.0700257815970893E-2</c:v>
                </c:pt>
                <c:pt idx="6561">
                  <c:v>-1.1185189042582991E-2</c:v>
                </c:pt>
                <c:pt idx="6562">
                  <c:v>-1.1121175579862202E-2</c:v>
                </c:pt>
                <c:pt idx="6563">
                  <c:v>-1.112269471350907E-2</c:v>
                </c:pt>
                <c:pt idx="6564">
                  <c:v>-1.1114335586894177E-2</c:v>
                </c:pt>
                <c:pt idx="6565">
                  <c:v>-1.114118356458335E-2</c:v>
                </c:pt>
                <c:pt idx="6566">
                  <c:v>-1.1146289241536508E-2</c:v>
                </c:pt>
                <c:pt idx="6567">
                  <c:v>-1.1125652486647297E-2</c:v>
                </c:pt>
                <c:pt idx="6568">
                  <c:v>-1.0681081077439085E-2</c:v>
                </c:pt>
                <c:pt idx="6569">
                  <c:v>-1.0350811574037583E-2</c:v>
                </c:pt>
                <c:pt idx="6570">
                  <c:v>1.6843434547948559E-2</c:v>
                </c:pt>
                <c:pt idx="6571">
                  <c:v>2.5869309426338673E-2</c:v>
                </c:pt>
                <c:pt idx="6572">
                  <c:v>2.4911244909568725E-2</c:v>
                </c:pt>
                <c:pt idx="6573">
                  <c:v>2.4338906228680922E-2</c:v>
                </c:pt>
                <c:pt idx="6574">
                  <c:v>2.3816586681937001E-2</c:v>
                </c:pt>
                <c:pt idx="6575">
                  <c:v>2.336986630810324E-2</c:v>
                </c:pt>
                <c:pt idx="6576">
                  <c:v>2.3461541453353545E-2</c:v>
                </c:pt>
                <c:pt idx="6577">
                  <c:v>2.3190144396136154E-2</c:v>
                </c:pt>
                <c:pt idx="6578">
                  <c:v>2.2967363572767553E-2</c:v>
                </c:pt>
                <c:pt idx="6579">
                  <c:v>2.3153178426961338E-2</c:v>
                </c:pt>
                <c:pt idx="6580">
                  <c:v>2.2851974351265347E-2</c:v>
                </c:pt>
                <c:pt idx="6581">
                  <c:v>2.2472097291759092E-2</c:v>
                </c:pt>
                <c:pt idx="6582">
                  <c:v>2.8889857385858149E-2</c:v>
                </c:pt>
                <c:pt idx="6583">
                  <c:v>2.9010758335981976E-2</c:v>
                </c:pt>
                <c:pt idx="6584">
                  <c:v>2.9301251076093889E-2</c:v>
                </c:pt>
                <c:pt idx="6585">
                  <c:v>2.913291601999167E-2</c:v>
                </c:pt>
                <c:pt idx="6586">
                  <c:v>2.8577774123691953E-2</c:v>
                </c:pt>
                <c:pt idx="6587">
                  <c:v>2.8332796225145992E-2</c:v>
                </c:pt>
                <c:pt idx="6588">
                  <c:v>2.844562148233741E-2</c:v>
                </c:pt>
                <c:pt idx="6589">
                  <c:v>2.8843548305867391E-2</c:v>
                </c:pt>
                <c:pt idx="6590">
                  <c:v>2.9405189122173228E-2</c:v>
                </c:pt>
                <c:pt idx="6591">
                  <c:v>2.9986290910258249E-2</c:v>
                </c:pt>
                <c:pt idx="6592">
                  <c:v>3.0566709198675608E-2</c:v>
                </c:pt>
                <c:pt idx="6593">
                  <c:v>3.0394759114650671E-2</c:v>
                </c:pt>
                <c:pt idx="6594">
                  <c:v>3.0453390682209605E-2</c:v>
                </c:pt>
                <c:pt idx="6595">
                  <c:v>3.0467948074452272E-2</c:v>
                </c:pt>
                <c:pt idx="6596">
                  <c:v>3.0455343848609998E-2</c:v>
                </c:pt>
                <c:pt idx="6597">
                  <c:v>3.0091231045822182E-2</c:v>
                </c:pt>
                <c:pt idx="6598">
                  <c:v>2.9662683018800089E-2</c:v>
                </c:pt>
                <c:pt idx="6599">
                  <c:v>2.9287323117783558E-2</c:v>
                </c:pt>
                <c:pt idx="6600">
                  <c:v>1.4783817188474884E-2</c:v>
                </c:pt>
                <c:pt idx="6601">
                  <c:v>3.0667891043016909E-3</c:v>
                </c:pt>
                <c:pt idx="6602">
                  <c:v>2.5553594149255645E-3</c:v>
                </c:pt>
                <c:pt idx="6603">
                  <c:v>2.3612916935500435E-3</c:v>
                </c:pt>
                <c:pt idx="6604">
                  <c:v>2.3377484580198258E-3</c:v>
                </c:pt>
                <c:pt idx="6605">
                  <c:v>2.2957273563119652E-3</c:v>
                </c:pt>
                <c:pt idx="6606">
                  <c:v>2.0544663329358313E-3</c:v>
                </c:pt>
                <c:pt idx="6607">
                  <c:v>2.4770697168508393E-3</c:v>
                </c:pt>
                <c:pt idx="6608">
                  <c:v>2.5320415538637644E-3</c:v>
                </c:pt>
                <c:pt idx="6609">
                  <c:v>1.6918154996340747E-3</c:v>
                </c:pt>
                <c:pt idx="6610">
                  <c:v>1.6853202113717176E-3</c:v>
                </c:pt>
                <c:pt idx="6611">
                  <c:v>1.9946444747379524E-3</c:v>
                </c:pt>
                <c:pt idx="6612">
                  <c:v>-1.6973830736336494E-2</c:v>
                </c:pt>
                <c:pt idx="6613">
                  <c:v>-1.6493421018197923E-2</c:v>
                </c:pt>
                <c:pt idx="6614">
                  <c:v>-1.6661642932093219E-2</c:v>
                </c:pt>
                <c:pt idx="6615">
                  <c:v>-1.7483602001184831E-2</c:v>
                </c:pt>
                <c:pt idx="6616">
                  <c:v>-1.7023860004845182E-2</c:v>
                </c:pt>
                <c:pt idx="6617">
                  <c:v>-1.5810541525306612E-2</c:v>
                </c:pt>
                <c:pt idx="6618">
                  <c:v>-1.5440208670142482E-2</c:v>
                </c:pt>
                <c:pt idx="6619">
                  <c:v>-1.4326520920769786E-2</c:v>
                </c:pt>
                <c:pt idx="6620">
                  <c:v>-9.0255435804493765E-3</c:v>
                </c:pt>
                <c:pt idx="6621">
                  <c:v>-8.5872482299323913E-3</c:v>
                </c:pt>
                <c:pt idx="6622">
                  <c:v>2.219910034926378E-3</c:v>
                </c:pt>
                <c:pt idx="6623">
                  <c:v>3.212150575748933E-2</c:v>
                </c:pt>
                <c:pt idx="6624">
                  <c:v>5.0250733737933061E-2</c:v>
                </c:pt>
                <c:pt idx="6625">
                  <c:v>5.9394810314595321E-2</c:v>
                </c:pt>
                <c:pt idx="6626">
                  <c:v>6.6938781863135538E-2</c:v>
                </c:pt>
                <c:pt idx="6627">
                  <c:v>6.6885871343121239E-2</c:v>
                </c:pt>
                <c:pt idx="6628">
                  <c:v>6.6249892556394158E-2</c:v>
                </c:pt>
                <c:pt idx="6629">
                  <c:v>6.5164881812496037E-2</c:v>
                </c:pt>
                <c:pt idx="6630">
                  <c:v>6.5356253564550604E-2</c:v>
                </c:pt>
                <c:pt idx="6631">
                  <c:v>6.5494233038391789E-2</c:v>
                </c:pt>
                <c:pt idx="6632">
                  <c:v>6.5163191321621683E-2</c:v>
                </c:pt>
                <c:pt idx="6633">
                  <c:v>6.4551128989846732E-2</c:v>
                </c:pt>
                <c:pt idx="6634">
                  <c:v>6.4976632993859779E-2</c:v>
                </c:pt>
                <c:pt idx="6635">
                  <c:v>6.5846446341012194E-2</c:v>
                </c:pt>
                <c:pt idx="6636">
                  <c:v>6.6655474894263433E-2</c:v>
                </c:pt>
                <c:pt idx="6637">
                  <c:v>6.6663273116214547E-2</c:v>
                </c:pt>
                <c:pt idx="6638">
                  <c:v>6.7119155590323026E-2</c:v>
                </c:pt>
                <c:pt idx="6639">
                  <c:v>6.7518965991985591E-2</c:v>
                </c:pt>
                <c:pt idx="6640">
                  <c:v>6.8343458773943155E-2</c:v>
                </c:pt>
                <c:pt idx="6641">
                  <c:v>6.8124381131227485E-2</c:v>
                </c:pt>
                <c:pt idx="6642">
                  <c:v>6.7724171016095819E-2</c:v>
                </c:pt>
                <c:pt idx="6643">
                  <c:v>6.7457621832981929E-2</c:v>
                </c:pt>
                <c:pt idx="6644">
                  <c:v>6.7435806986313199E-2</c:v>
                </c:pt>
                <c:pt idx="6645">
                  <c:v>6.7191510207194646E-2</c:v>
                </c:pt>
                <c:pt idx="6646">
                  <c:v>6.6920168648318901E-2</c:v>
                </c:pt>
                <c:pt idx="6647">
                  <c:v>6.6492296590240321E-2</c:v>
                </c:pt>
                <c:pt idx="6648">
                  <c:v>6.6686669754671621E-2</c:v>
                </c:pt>
                <c:pt idx="6649">
                  <c:v>6.6326577033601467E-2</c:v>
                </c:pt>
                <c:pt idx="6650">
                  <c:v>6.6994788763236501E-2</c:v>
                </c:pt>
                <c:pt idx="6651">
                  <c:v>6.7302667040424424E-2</c:v>
                </c:pt>
                <c:pt idx="6652">
                  <c:v>6.6529521067190414E-2</c:v>
                </c:pt>
                <c:pt idx="6653">
                  <c:v>5.7064357844464252E-2</c:v>
                </c:pt>
                <c:pt idx="6654">
                  <c:v>4.5005353579148123E-2</c:v>
                </c:pt>
                <c:pt idx="6655">
                  <c:v>3.2464038830002297E-2</c:v>
                </c:pt>
                <c:pt idx="6656">
                  <c:v>2.0145068903869516E-2</c:v>
                </c:pt>
                <c:pt idx="6657">
                  <c:v>4.9979900282221247E-2</c:v>
                </c:pt>
                <c:pt idx="6658">
                  <c:v>6.3458912358602321E-2</c:v>
                </c:pt>
                <c:pt idx="6659">
                  <c:v>6.7880902664038567E-2</c:v>
                </c:pt>
                <c:pt idx="6660">
                  <c:v>6.8186982395764054E-2</c:v>
                </c:pt>
                <c:pt idx="6661">
                  <c:v>6.7554748496489486E-2</c:v>
                </c:pt>
                <c:pt idx="6662">
                  <c:v>6.7370976491809759E-2</c:v>
                </c:pt>
                <c:pt idx="6663">
                  <c:v>6.7419913828211775E-2</c:v>
                </c:pt>
                <c:pt idx="6664">
                  <c:v>6.7278168016002463E-2</c:v>
                </c:pt>
                <c:pt idx="6665">
                  <c:v>6.6664608179634766E-2</c:v>
                </c:pt>
                <c:pt idx="6666">
                  <c:v>6.6566822577356133E-2</c:v>
                </c:pt>
                <c:pt idx="6667">
                  <c:v>6.7510936731560667E-2</c:v>
                </c:pt>
                <c:pt idx="6668">
                  <c:v>6.8396907296142173E-2</c:v>
                </c:pt>
                <c:pt idx="6669">
                  <c:v>6.9509476942622356E-2</c:v>
                </c:pt>
                <c:pt idx="6670">
                  <c:v>6.9842458874409763E-2</c:v>
                </c:pt>
                <c:pt idx="6671">
                  <c:v>7.0655882016878405E-2</c:v>
                </c:pt>
                <c:pt idx="6672">
                  <c:v>7.0379201527003249E-2</c:v>
                </c:pt>
                <c:pt idx="6673">
                  <c:v>6.9441854967887837E-2</c:v>
                </c:pt>
                <c:pt idx="6674">
                  <c:v>6.9871897239819916E-2</c:v>
                </c:pt>
                <c:pt idx="6675">
                  <c:v>6.986593877773066E-2</c:v>
                </c:pt>
                <c:pt idx="6676">
                  <c:v>7.2496251213563678E-2</c:v>
                </c:pt>
                <c:pt idx="6677">
                  <c:v>7.460098666300842E-2</c:v>
                </c:pt>
                <c:pt idx="6678">
                  <c:v>7.4886861936440535E-2</c:v>
                </c:pt>
                <c:pt idx="6679">
                  <c:v>7.4140963090825449E-2</c:v>
                </c:pt>
                <c:pt idx="6680">
                  <c:v>7.3726797703254326E-2</c:v>
                </c:pt>
                <c:pt idx="6681">
                  <c:v>7.2394339244416392E-2</c:v>
                </c:pt>
                <c:pt idx="6682">
                  <c:v>7.2057123245831606E-2</c:v>
                </c:pt>
                <c:pt idx="6683">
                  <c:v>7.1885019484261126E-2</c:v>
                </c:pt>
                <c:pt idx="6684">
                  <c:v>7.1707767361661554E-2</c:v>
                </c:pt>
                <c:pt idx="6685">
                  <c:v>7.23208653652294E-2</c:v>
                </c:pt>
                <c:pt idx="6686">
                  <c:v>7.2922258435951098E-2</c:v>
                </c:pt>
                <c:pt idx="6687">
                  <c:v>5.6936886593399134E-2</c:v>
                </c:pt>
                <c:pt idx="6688">
                  <c:v>4.5202750371785887E-2</c:v>
                </c:pt>
                <c:pt idx="6689">
                  <c:v>3.9483317924374088E-2</c:v>
                </c:pt>
                <c:pt idx="6690">
                  <c:v>3.8769411109735662E-2</c:v>
                </c:pt>
                <c:pt idx="6691">
                  <c:v>3.9238802869144447E-2</c:v>
                </c:pt>
                <c:pt idx="6692">
                  <c:v>3.8476306550650055E-2</c:v>
                </c:pt>
                <c:pt idx="6693">
                  <c:v>3.7908386876954643E-2</c:v>
                </c:pt>
                <c:pt idx="6694">
                  <c:v>3.7231796786242909E-2</c:v>
                </c:pt>
                <c:pt idx="6695">
                  <c:v>3.7004505247866554E-2</c:v>
                </c:pt>
                <c:pt idx="6696">
                  <c:v>3.6867402343864382E-2</c:v>
                </c:pt>
                <c:pt idx="6697">
                  <c:v>4.0723712337887123E-2</c:v>
                </c:pt>
                <c:pt idx="6698">
                  <c:v>6.5375696377395986E-2</c:v>
                </c:pt>
                <c:pt idx="6699">
                  <c:v>8.3242280876070607E-2</c:v>
                </c:pt>
                <c:pt idx="6700">
                  <c:v>9.2166166386942472E-2</c:v>
                </c:pt>
                <c:pt idx="6701">
                  <c:v>9.4174594109757995E-2</c:v>
                </c:pt>
                <c:pt idx="6702">
                  <c:v>9.4245952758803639E-2</c:v>
                </c:pt>
                <c:pt idx="6703">
                  <c:v>9.41598277687372E-2</c:v>
                </c:pt>
                <c:pt idx="6704">
                  <c:v>9.3258020218703802E-2</c:v>
                </c:pt>
                <c:pt idx="6705">
                  <c:v>9.3266292196053688E-2</c:v>
                </c:pt>
                <c:pt idx="6706">
                  <c:v>9.3234425819626945E-2</c:v>
                </c:pt>
                <c:pt idx="6707">
                  <c:v>9.2041657970833496E-2</c:v>
                </c:pt>
                <c:pt idx="6708">
                  <c:v>9.2063408735670579E-2</c:v>
                </c:pt>
                <c:pt idx="6709">
                  <c:v>9.2272912273217975E-2</c:v>
                </c:pt>
                <c:pt idx="6710">
                  <c:v>9.2736344231220263E-2</c:v>
                </c:pt>
                <c:pt idx="6711">
                  <c:v>9.4067952958378706E-2</c:v>
                </c:pt>
                <c:pt idx="6712">
                  <c:v>9.4632990396142272E-2</c:v>
                </c:pt>
                <c:pt idx="6713">
                  <c:v>9.5143402492216686E-2</c:v>
                </c:pt>
                <c:pt idx="6714">
                  <c:v>9.641591265885148E-2</c:v>
                </c:pt>
                <c:pt idx="6715">
                  <c:v>9.9787332023325709E-2</c:v>
                </c:pt>
                <c:pt idx="6716">
                  <c:v>0.11536729131311496</c:v>
                </c:pt>
                <c:pt idx="6717">
                  <c:v>0.12457072631334565</c:v>
                </c:pt>
                <c:pt idx="6718">
                  <c:v>0.12594172205041232</c:v>
                </c:pt>
                <c:pt idx="6719">
                  <c:v>0.12552532254731485</c:v>
                </c:pt>
                <c:pt idx="6720">
                  <c:v>0.12379502300919668</c:v>
                </c:pt>
                <c:pt idx="6721">
                  <c:v>0.12305520753117713</c:v>
                </c:pt>
                <c:pt idx="6722">
                  <c:v>0.12452892672423166</c:v>
                </c:pt>
                <c:pt idx="6723">
                  <c:v>0.12629734425331646</c:v>
                </c:pt>
                <c:pt idx="6724">
                  <c:v>0.12903166828509133</c:v>
                </c:pt>
                <c:pt idx="6725">
                  <c:v>0.13198339677205123</c:v>
                </c:pt>
                <c:pt idx="6726">
                  <c:v>0.13203214169107011</c:v>
                </c:pt>
                <c:pt idx="6727">
                  <c:v>0.13257890887813303</c:v>
                </c:pt>
                <c:pt idx="6728">
                  <c:v>0.12373496538087542</c:v>
                </c:pt>
                <c:pt idx="6729">
                  <c:v>0.11295171987693339</c:v>
                </c:pt>
                <c:pt idx="6730">
                  <c:v>0.10507291335654198</c:v>
                </c:pt>
                <c:pt idx="6731">
                  <c:v>0.10133506507976983</c:v>
                </c:pt>
                <c:pt idx="6732">
                  <c:v>9.9878261349148498E-2</c:v>
                </c:pt>
                <c:pt idx="6733">
                  <c:v>9.8901869169469733E-2</c:v>
                </c:pt>
                <c:pt idx="6734">
                  <c:v>9.8417802067468765E-2</c:v>
                </c:pt>
                <c:pt idx="6735">
                  <c:v>9.7195942014514411E-2</c:v>
                </c:pt>
                <c:pt idx="6736">
                  <c:v>9.634206995453802E-2</c:v>
                </c:pt>
                <c:pt idx="6737">
                  <c:v>9.5556452747786735E-2</c:v>
                </c:pt>
                <c:pt idx="6738">
                  <c:v>9.4252525934289177E-2</c:v>
                </c:pt>
                <c:pt idx="6739">
                  <c:v>9.4005079915849943E-2</c:v>
                </c:pt>
                <c:pt idx="6740">
                  <c:v>9.3723957977876443E-2</c:v>
                </c:pt>
                <c:pt idx="6741">
                  <c:v>9.3039197286371444E-2</c:v>
                </c:pt>
                <c:pt idx="6742">
                  <c:v>9.3082851145306039E-2</c:v>
                </c:pt>
                <c:pt idx="6743">
                  <c:v>9.3234649613204101E-2</c:v>
                </c:pt>
                <c:pt idx="6744">
                  <c:v>9.2924010329208703E-2</c:v>
                </c:pt>
                <c:pt idx="6745">
                  <c:v>8.8080960864374905E-2</c:v>
                </c:pt>
                <c:pt idx="6746">
                  <c:v>6.6497805098097607E-2</c:v>
                </c:pt>
                <c:pt idx="6747">
                  <c:v>4.6337251349987639E-2</c:v>
                </c:pt>
                <c:pt idx="6748">
                  <c:v>3.2555782432076581E-2</c:v>
                </c:pt>
                <c:pt idx="6749">
                  <c:v>3.0892615168559755E-2</c:v>
                </c:pt>
                <c:pt idx="6750">
                  <c:v>3.0883068966152984E-2</c:v>
                </c:pt>
                <c:pt idx="6751">
                  <c:v>3.0874580970735623E-2</c:v>
                </c:pt>
                <c:pt idx="6752">
                  <c:v>3.0791152301816317E-2</c:v>
                </c:pt>
                <c:pt idx="6753">
                  <c:v>3.062659377090398E-2</c:v>
                </c:pt>
                <c:pt idx="6754">
                  <c:v>3.0379176326424513E-2</c:v>
                </c:pt>
                <c:pt idx="6755">
                  <c:v>2.9907777907103833E-2</c:v>
                </c:pt>
                <c:pt idx="6756">
                  <c:v>2.9520051451500474E-2</c:v>
                </c:pt>
                <c:pt idx="6757">
                  <c:v>2.9040742548758859E-2</c:v>
                </c:pt>
                <c:pt idx="6758">
                  <c:v>2.9625327666471871E-2</c:v>
                </c:pt>
                <c:pt idx="6759">
                  <c:v>2.9008444943760349E-2</c:v>
                </c:pt>
                <c:pt idx="6760">
                  <c:v>2.8553175343055244E-2</c:v>
                </c:pt>
                <c:pt idx="6761">
                  <c:v>2.8441436428850532E-2</c:v>
                </c:pt>
                <c:pt idx="6762">
                  <c:v>2.8338953403713445E-2</c:v>
                </c:pt>
                <c:pt idx="6763">
                  <c:v>2.8969464811685282E-2</c:v>
                </c:pt>
                <c:pt idx="6764">
                  <c:v>2.9436542542958959E-2</c:v>
                </c:pt>
                <c:pt idx="6765">
                  <c:v>2.9693359525028863E-2</c:v>
                </c:pt>
                <c:pt idx="6766">
                  <c:v>2.9755235229871002E-2</c:v>
                </c:pt>
                <c:pt idx="6767">
                  <c:v>2.9546718363947518E-2</c:v>
                </c:pt>
                <c:pt idx="6768">
                  <c:v>2.932160314059671E-2</c:v>
                </c:pt>
                <c:pt idx="6769">
                  <c:v>2.9091698216405483E-2</c:v>
                </c:pt>
                <c:pt idx="6770">
                  <c:v>2.9060636730025895E-2</c:v>
                </c:pt>
                <c:pt idx="6771">
                  <c:v>2.9530577692010694E-2</c:v>
                </c:pt>
                <c:pt idx="6772">
                  <c:v>2.9387914542408945E-2</c:v>
                </c:pt>
                <c:pt idx="6773">
                  <c:v>2.9237703618493809E-2</c:v>
                </c:pt>
                <c:pt idx="6774">
                  <c:v>2.8976866358657906E-2</c:v>
                </c:pt>
                <c:pt idx="6775">
                  <c:v>2.7273068651627701E-2</c:v>
                </c:pt>
                <c:pt idx="6776">
                  <c:v>1.5383706279066376E-2</c:v>
                </c:pt>
                <c:pt idx="6777">
                  <c:v>-2.408062353820373E-3</c:v>
                </c:pt>
                <c:pt idx="6778">
                  <c:v>-7.0450597241763207E-3</c:v>
                </c:pt>
                <c:pt idx="6779">
                  <c:v>-9.7772321549863834E-3</c:v>
                </c:pt>
                <c:pt idx="6780">
                  <c:v>-1.0748354949678946E-2</c:v>
                </c:pt>
                <c:pt idx="6781">
                  <c:v>-1.0733008972467652E-2</c:v>
                </c:pt>
                <c:pt idx="6782">
                  <c:v>-1.0757436808086223E-2</c:v>
                </c:pt>
                <c:pt idx="6783">
                  <c:v>-1.0697985195925299E-2</c:v>
                </c:pt>
                <c:pt idx="6784">
                  <c:v>-1.0603017926176394E-2</c:v>
                </c:pt>
                <c:pt idx="6785">
                  <c:v>-9.8352413874248073E-3</c:v>
                </c:pt>
                <c:pt idx="6786">
                  <c:v>-9.3284753708759455E-3</c:v>
                </c:pt>
                <c:pt idx="6787">
                  <c:v>-8.8123460533312357E-3</c:v>
                </c:pt>
                <c:pt idx="6788">
                  <c:v>-1.6239673349790061E-2</c:v>
                </c:pt>
                <c:pt idx="6789">
                  <c:v>-1.7140682447183475E-2</c:v>
                </c:pt>
                <c:pt idx="6790">
                  <c:v>-1.6703832303816696E-2</c:v>
                </c:pt>
                <c:pt idx="6791">
                  <c:v>-1.6564225068615795E-2</c:v>
                </c:pt>
                <c:pt idx="6792">
                  <c:v>-1.6265524906483399E-2</c:v>
                </c:pt>
                <c:pt idx="6793">
                  <c:v>-1.6461391913822003E-2</c:v>
                </c:pt>
                <c:pt idx="6794">
                  <c:v>-1.5587691411039495E-2</c:v>
                </c:pt>
                <c:pt idx="6795">
                  <c:v>-1.2764841228347566E-2</c:v>
                </c:pt>
                <c:pt idx="6796">
                  <c:v>-8.5900954499111039E-3</c:v>
                </c:pt>
                <c:pt idx="6797">
                  <c:v>-6.3913940351553681E-3</c:v>
                </c:pt>
                <c:pt idx="6798">
                  <c:v>-5.5788099681010166E-3</c:v>
                </c:pt>
                <c:pt idx="6799">
                  <c:v>-5.4407176976698293E-3</c:v>
                </c:pt>
                <c:pt idx="6800">
                  <c:v>-5.4528339710358947E-3</c:v>
                </c:pt>
                <c:pt idx="6801">
                  <c:v>-6.274092761168271E-3</c:v>
                </c:pt>
                <c:pt idx="6802">
                  <c:v>-6.1969599640372165E-3</c:v>
                </c:pt>
                <c:pt idx="6803">
                  <c:v>-1.1666331203061941E-3</c:v>
                </c:pt>
                <c:pt idx="6804">
                  <c:v>1.2678298506051853E-2</c:v>
                </c:pt>
                <c:pt idx="6805">
                  <c:v>1.3538932949095356E-2</c:v>
                </c:pt>
                <c:pt idx="6806">
                  <c:v>1.4077261091486397E-2</c:v>
                </c:pt>
                <c:pt idx="6807">
                  <c:v>1.5066212004730373E-2</c:v>
                </c:pt>
                <c:pt idx="6808">
                  <c:v>1.5178768958664825E-2</c:v>
                </c:pt>
                <c:pt idx="6809">
                  <c:v>1.51453594643418E-2</c:v>
                </c:pt>
                <c:pt idx="6810">
                  <c:v>1.5053392692300696E-2</c:v>
                </c:pt>
                <c:pt idx="6811">
                  <c:v>2.1732722838692438E-2</c:v>
                </c:pt>
                <c:pt idx="6812">
                  <c:v>2.656105516087829E-2</c:v>
                </c:pt>
                <c:pt idx="6813">
                  <c:v>2.6518760975599347E-2</c:v>
                </c:pt>
                <c:pt idx="6814">
                  <c:v>2.6514990160063465E-2</c:v>
                </c:pt>
                <c:pt idx="6815">
                  <c:v>2.5828641266121333E-2</c:v>
                </c:pt>
                <c:pt idx="6816">
                  <c:v>2.5330003101946573E-2</c:v>
                </c:pt>
                <c:pt idx="6817">
                  <c:v>2.4744360717758339E-2</c:v>
                </c:pt>
                <c:pt idx="6818">
                  <c:v>2.5226370437085012E-2</c:v>
                </c:pt>
                <c:pt idx="6819">
                  <c:v>2.5353101668460609E-2</c:v>
                </c:pt>
                <c:pt idx="6820">
                  <c:v>2.5650842585835727E-2</c:v>
                </c:pt>
                <c:pt idx="6821">
                  <c:v>2.6987732601583561E-2</c:v>
                </c:pt>
                <c:pt idx="6822">
                  <c:v>2.7685246133294483E-2</c:v>
                </c:pt>
                <c:pt idx="6823">
                  <c:v>2.7327940770914681E-2</c:v>
                </c:pt>
                <c:pt idx="6824">
                  <c:v>2.5529851198934812E-2</c:v>
                </c:pt>
                <c:pt idx="6825">
                  <c:v>2.5142770291433324E-2</c:v>
                </c:pt>
                <c:pt idx="6826">
                  <c:v>2.4633150706105535E-2</c:v>
                </c:pt>
                <c:pt idx="6827">
                  <c:v>2.4601690003262781E-2</c:v>
                </c:pt>
                <c:pt idx="6828">
                  <c:v>2.4611091053413518E-2</c:v>
                </c:pt>
                <c:pt idx="6829">
                  <c:v>2.4736953795195367E-2</c:v>
                </c:pt>
                <c:pt idx="6830">
                  <c:v>2.4930001609368369E-2</c:v>
                </c:pt>
                <c:pt idx="6831">
                  <c:v>2.4912224064001461E-2</c:v>
                </c:pt>
                <c:pt idx="6832">
                  <c:v>2.4779449327485367E-2</c:v>
                </c:pt>
                <c:pt idx="6833">
                  <c:v>2.2913614347722967E-2</c:v>
                </c:pt>
                <c:pt idx="6834">
                  <c:v>1.2877974540853114E-2</c:v>
                </c:pt>
                <c:pt idx="6835">
                  <c:v>1.2394787415154327E-2</c:v>
                </c:pt>
                <c:pt idx="6836">
                  <c:v>1.2256990467522365E-2</c:v>
                </c:pt>
                <c:pt idx="6837">
                  <c:v>1.1261712401929138E-2</c:v>
                </c:pt>
                <c:pt idx="6838">
                  <c:v>1.1207706871933407E-2</c:v>
                </c:pt>
                <c:pt idx="6839">
                  <c:v>1.1097839729678262E-2</c:v>
                </c:pt>
                <c:pt idx="6840">
                  <c:v>1.1671499829292832E-2</c:v>
                </c:pt>
                <c:pt idx="6841">
                  <c:v>4.9041292857170526E-3</c:v>
                </c:pt>
                <c:pt idx="6842">
                  <c:v>-5.6525634403587471E-3</c:v>
                </c:pt>
                <c:pt idx="6843">
                  <c:v>-6.7282146358450413E-3</c:v>
                </c:pt>
                <c:pt idx="6844">
                  <c:v>-6.3295784935882577E-3</c:v>
                </c:pt>
                <c:pt idx="6845">
                  <c:v>-5.7495689202677076E-3</c:v>
                </c:pt>
                <c:pt idx="6846">
                  <c:v>-4.8751736466278693E-3</c:v>
                </c:pt>
                <c:pt idx="6847">
                  <c:v>-5.2778016975196206E-3</c:v>
                </c:pt>
                <c:pt idx="6848">
                  <c:v>-4.8158261534769955E-3</c:v>
                </c:pt>
                <c:pt idx="6849">
                  <c:v>-3.6035316146624339E-3</c:v>
                </c:pt>
                <c:pt idx="6850">
                  <c:v>-2.2806834558505591E-3</c:v>
                </c:pt>
                <c:pt idx="6851">
                  <c:v>-1.058802586376929E-3</c:v>
                </c:pt>
                <c:pt idx="6852">
                  <c:v>-8.5075415901932246E-4</c:v>
                </c:pt>
                <c:pt idx="6853">
                  <c:v>-8.1798562341548788E-4</c:v>
                </c:pt>
                <c:pt idx="6854">
                  <c:v>-8.0169435198086669E-4</c:v>
                </c:pt>
                <c:pt idx="6855">
                  <c:v>-8.3661112496730486E-4</c:v>
                </c:pt>
                <c:pt idx="6856">
                  <c:v>-8.2693307465435059E-4</c:v>
                </c:pt>
                <c:pt idx="6857">
                  <c:v>-5.489320035564349E-4</c:v>
                </c:pt>
                <c:pt idx="6858">
                  <c:v>2.5050515601414934E-4</c:v>
                </c:pt>
                <c:pt idx="6859">
                  <c:v>1.1214259435534616E-3</c:v>
                </c:pt>
                <c:pt idx="6860">
                  <c:v>2.3482335223929274E-3</c:v>
                </c:pt>
                <c:pt idx="6861">
                  <c:v>2.7478340542672498E-3</c:v>
                </c:pt>
                <c:pt idx="6862">
                  <c:v>3.021574293858938E-3</c:v>
                </c:pt>
                <c:pt idx="6863">
                  <c:v>3.3948345509910386E-3</c:v>
                </c:pt>
                <c:pt idx="6864">
                  <c:v>3.7039881619103706E-3</c:v>
                </c:pt>
                <c:pt idx="6865">
                  <c:v>3.9304730536428873E-3</c:v>
                </c:pt>
                <c:pt idx="6866">
                  <c:v>3.5143539422619764E-3</c:v>
                </c:pt>
                <c:pt idx="6867">
                  <c:v>3.5017234932195902E-3</c:v>
                </c:pt>
                <c:pt idx="6868">
                  <c:v>3.3783152813114999E-3</c:v>
                </c:pt>
                <c:pt idx="6869">
                  <c:v>3.404554176634331E-3</c:v>
                </c:pt>
                <c:pt idx="6870">
                  <c:v>8.3687667612640515E-4</c:v>
                </c:pt>
                <c:pt idx="6871">
                  <c:v>-8.0755128132114599E-3</c:v>
                </c:pt>
                <c:pt idx="6872">
                  <c:v>-9.9343889711247975E-3</c:v>
                </c:pt>
                <c:pt idx="6873">
                  <c:v>-1.2286278828699867E-2</c:v>
                </c:pt>
                <c:pt idx="6874">
                  <c:v>-1.3821341192268615E-2</c:v>
                </c:pt>
                <c:pt idx="6875">
                  <c:v>-3.6144971691273609E-3</c:v>
                </c:pt>
                <c:pt idx="6876">
                  <c:v>1.4330523255634437E-2</c:v>
                </c:pt>
                <c:pt idx="6877">
                  <c:v>5.1241180104308247E-2</c:v>
                </c:pt>
                <c:pt idx="6878">
                  <c:v>6.7990879734857623E-2</c:v>
                </c:pt>
                <c:pt idx="6879">
                  <c:v>6.8107393296103449E-2</c:v>
                </c:pt>
                <c:pt idx="6880">
                  <c:v>7.2893613350266867E-2</c:v>
                </c:pt>
                <c:pt idx="6881">
                  <c:v>7.3393427420553964E-2</c:v>
                </c:pt>
                <c:pt idx="6882">
                  <c:v>7.2332161910771867E-2</c:v>
                </c:pt>
                <c:pt idx="6883">
                  <c:v>7.1470490509110848E-2</c:v>
                </c:pt>
                <c:pt idx="6884">
                  <c:v>7.1061379421537202E-2</c:v>
                </c:pt>
                <c:pt idx="6885">
                  <c:v>7.1460157698326365E-2</c:v>
                </c:pt>
                <c:pt idx="6886">
                  <c:v>7.1410570735818801E-2</c:v>
                </c:pt>
                <c:pt idx="6887">
                  <c:v>7.1785340886776058E-2</c:v>
                </c:pt>
                <c:pt idx="6888">
                  <c:v>7.1952555087373443E-2</c:v>
                </c:pt>
                <c:pt idx="6889">
                  <c:v>7.2518061111357668E-2</c:v>
                </c:pt>
                <c:pt idx="6890">
                  <c:v>7.2661147970541323E-2</c:v>
                </c:pt>
                <c:pt idx="6891">
                  <c:v>7.2393620772705197E-2</c:v>
                </c:pt>
                <c:pt idx="6892">
                  <c:v>7.2110251400267E-2</c:v>
                </c:pt>
                <c:pt idx="6893">
                  <c:v>7.1925162997307807E-2</c:v>
                </c:pt>
                <c:pt idx="6894">
                  <c:v>7.1882266167088177E-2</c:v>
                </c:pt>
                <c:pt idx="6895">
                  <c:v>7.1758638143313375E-2</c:v>
                </c:pt>
                <c:pt idx="6896">
                  <c:v>7.2103375301649314E-2</c:v>
                </c:pt>
                <c:pt idx="6897">
                  <c:v>7.2503815099410576E-2</c:v>
                </c:pt>
                <c:pt idx="6898">
                  <c:v>7.2814197794249885E-2</c:v>
                </c:pt>
                <c:pt idx="6899">
                  <c:v>7.3121331330725584E-2</c:v>
                </c:pt>
                <c:pt idx="6900">
                  <c:v>7.3680419193780905E-2</c:v>
                </c:pt>
                <c:pt idx="6901">
                  <c:v>7.4279143070403189E-2</c:v>
                </c:pt>
                <c:pt idx="6902">
                  <c:v>7.5713803562831888E-2</c:v>
                </c:pt>
                <c:pt idx="6903">
                  <c:v>7.6321528341770278E-2</c:v>
                </c:pt>
                <c:pt idx="6904">
                  <c:v>7.6531706160964663E-2</c:v>
                </c:pt>
                <c:pt idx="6905">
                  <c:v>8.1910915255096819E-2</c:v>
                </c:pt>
                <c:pt idx="6906">
                  <c:v>8.2928551526213257E-2</c:v>
                </c:pt>
                <c:pt idx="6907">
                  <c:v>6.7228603250784474E-2</c:v>
                </c:pt>
                <c:pt idx="6908">
                  <c:v>5.3338045122435861E-2</c:v>
                </c:pt>
                <c:pt idx="6909">
                  <c:v>5.3256655740637794E-2</c:v>
                </c:pt>
                <c:pt idx="6910">
                  <c:v>4.6816769978959789E-2</c:v>
                </c:pt>
                <c:pt idx="6911">
                  <c:v>4.3767860104923929E-2</c:v>
                </c:pt>
                <c:pt idx="6912">
                  <c:v>4.6264872416700888E-2</c:v>
                </c:pt>
                <c:pt idx="6913">
                  <c:v>4.6355764019237307E-2</c:v>
                </c:pt>
                <c:pt idx="6914">
                  <c:v>4.6207012722607667E-2</c:v>
                </c:pt>
                <c:pt idx="6915">
                  <c:v>4.6206729878773507E-2</c:v>
                </c:pt>
                <c:pt idx="6916">
                  <c:v>4.591089177932247E-2</c:v>
                </c:pt>
                <c:pt idx="6917">
                  <c:v>4.5910599057699029E-2</c:v>
                </c:pt>
                <c:pt idx="6918">
                  <c:v>4.5570426256935782E-2</c:v>
                </c:pt>
                <c:pt idx="6919">
                  <c:v>4.5031386084770531E-2</c:v>
                </c:pt>
                <c:pt idx="6920">
                  <c:v>4.6199561220354811E-2</c:v>
                </c:pt>
                <c:pt idx="6921">
                  <c:v>4.7429375551571035E-2</c:v>
                </c:pt>
                <c:pt idx="6922">
                  <c:v>4.8946135289795745E-2</c:v>
                </c:pt>
                <c:pt idx="6923">
                  <c:v>4.9950779168052774E-2</c:v>
                </c:pt>
                <c:pt idx="6924">
                  <c:v>5.1168761527758393E-2</c:v>
                </c:pt>
                <c:pt idx="6925">
                  <c:v>5.323078722550615E-2</c:v>
                </c:pt>
                <c:pt idx="6926">
                  <c:v>5.3892461873338536E-2</c:v>
                </c:pt>
                <c:pt idx="6927">
                  <c:v>5.3771989797808138E-2</c:v>
                </c:pt>
                <c:pt idx="6928">
                  <c:v>5.3927715777333761E-2</c:v>
                </c:pt>
                <c:pt idx="6929">
                  <c:v>5.4233712509642075E-2</c:v>
                </c:pt>
                <c:pt idx="6930">
                  <c:v>5.4769558383272167E-2</c:v>
                </c:pt>
                <c:pt idx="6931">
                  <c:v>5.4262746950010148E-2</c:v>
                </c:pt>
                <c:pt idx="6932">
                  <c:v>4.8104296176646778E-2</c:v>
                </c:pt>
                <c:pt idx="6933">
                  <c:v>4.5756706221632061E-2</c:v>
                </c:pt>
                <c:pt idx="6934">
                  <c:v>4.1980860040269574E-2</c:v>
                </c:pt>
                <c:pt idx="6935">
                  <c:v>2.621505949638659E-2</c:v>
                </c:pt>
                <c:pt idx="6936">
                  <c:v>1.2094638576805773E-2</c:v>
                </c:pt>
                <c:pt idx="6937">
                  <c:v>1.0778864867010492E-2</c:v>
                </c:pt>
                <c:pt idx="6938">
                  <c:v>9.0478217743356851E-3</c:v>
                </c:pt>
                <c:pt idx="6939">
                  <c:v>8.1200397682893981E-3</c:v>
                </c:pt>
                <c:pt idx="6940">
                  <c:v>7.3150650784680974E-3</c:v>
                </c:pt>
                <c:pt idx="6941">
                  <c:v>7.2680337737851489E-3</c:v>
                </c:pt>
                <c:pt idx="6942">
                  <c:v>-2.3092048534893838E-3</c:v>
                </c:pt>
                <c:pt idx="6943">
                  <c:v>-4.4004921304437155E-3</c:v>
                </c:pt>
                <c:pt idx="6944">
                  <c:v>-5.1275461219451538E-3</c:v>
                </c:pt>
                <c:pt idx="6945">
                  <c:v>-5.444812317336763E-3</c:v>
                </c:pt>
                <c:pt idx="6946">
                  <c:v>-5.2206689517998017E-3</c:v>
                </c:pt>
                <c:pt idx="6947">
                  <c:v>-5.3911466696593673E-3</c:v>
                </c:pt>
                <c:pt idx="6948">
                  <c:v>-4.980441872321056E-3</c:v>
                </c:pt>
                <c:pt idx="6949">
                  <c:v>-4.389420090194331E-3</c:v>
                </c:pt>
                <c:pt idx="6950">
                  <c:v>-4.0320763768150209E-3</c:v>
                </c:pt>
                <c:pt idx="6951">
                  <c:v>-3.4915776988972743E-3</c:v>
                </c:pt>
                <c:pt idx="6952">
                  <c:v>-3.0803457970572899E-3</c:v>
                </c:pt>
                <c:pt idx="6953">
                  <c:v>-3.1625814447390783E-3</c:v>
                </c:pt>
                <c:pt idx="6954">
                  <c:v>-2.6244499424444082E-3</c:v>
                </c:pt>
                <c:pt idx="6955">
                  <c:v>-4.4648047107041112E-3</c:v>
                </c:pt>
                <c:pt idx="6956">
                  <c:v>-7.2946784782515015E-3</c:v>
                </c:pt>
                <c:pt idx="6957">
                  <c:v>-6.6995534171831756E-3</c:v>
                </c:pt>
                <c:pt idx="6958">
                  <c:v>-5.5542886003840195E-3</c:v>
                </c:pt>
                <c:pt idx="6959">
                  <c:v>-3.9576859110291972E-3</c:v>
                </c:pt>
                <c:pt idx="6960">
                  <c:v>-2.6566463752339363E-3</c:v>
                </c:pt>
                <c:pt idx="6961">
                  <c:v>-5.9008142568855483E-4</c:v>
                </c:pt>
                <c:pt idx="6962">
                  <c:v>-7.1890069578902337E-4</c:v>
                </c:pt>
                <c:pt idx="6963">
                  <c:v>-8.1551192932882884E-4</c:v>
                </c:pt>
                <c:pt idx="6964">
                  <c:v>-6.7573979848001633E-4</c:v>
                </c:pt>
                <c:pt idx="6965">
                  <c:v>-6.9729710561378284E-4</c:v>
                </c:pt>
                <c:pt idx="6966">
                  <c:v>-9.5847653726452257E-4</c:v>
                </c:pt>
                <c:pt idx="6967">
                  <c:v>-9.4696389208293909E-4</c:v>
                </c:pt>
                <c:pt idx="6968">
                  <c:v>-9.5527262595762781E-4</c:v>
                </c:pt>
                <c:pt idx="6969">
                  <c:v>-9.0575546346871767E-4</c:v>
                </c:pt>
                <c:pt idx="6970">
                  <c:v>-6.220187170837034E-4</c:v>
                </c:pt>
                <c:pt idx="6971">
                  <c:v>-4.0115730332351465E-3</c:v>
                </c:pt>
                <c:pt idx="6972">
                  <c:v>-3.8353844529474771E-3</c:v>
                </c:pt>
                <c:pt idx="6973">
                  <c:v>-3.6244002800170511E-3</c:v>
                </c:pt>
                <c:pt idx="6974">
                  <c:v>-3.5096654716766287E-3</c:v>
                </c:pt>
                <c:pt idx="6975">
                  <c:v>-3.3069398566954265E-3</c:v>
                </c:pt>
                <c:pt idx="6976">
                  <c:v>-3.1016947161605583E-3</c:v>
                </c:pt>
                <c:pt idx="6977">
                  <c:v>-2.7982956544214798E-3</c:v>
                </c:pt>
                <c:pt idx="6978">
                  <c:v>-2.4666451735880172E-3</c:v>
                </c:pt>
                <c:pt idx="6979">
                  <c:v>-2.6024390293709568E-3</c:v>
                </c:pt>
                <c:pt idx="6980">
                  <c:v>-2.3393752445512745E-3</c:v>
                </c:pt>
                <c:pt idx="6981">
                  <c:v>-1.9345554537480002E-3</c:v>
                </c:pt>
                <c:pt idx="6982">
                  <c:v>-3.3289552713931629E-4</c:v>
                </c:pt>
                <c:pt idx="6983">
                  <c:v>2.0737742866091275E-3</c:v>
                </c:pt>
                <c:pt idx="6984">
                  <c:v>3.3261838250131567E-3</c:v>
                </c:pt>
                <c:pt idx="6985">
                  <c:v>6.7243068840054637E-3</c:v>
                </c:pt>
                <c:pt idx="6986">
                  <c:v>6.7355815192927711E-3</c:v>
                </c:pt>
                <c:pt idx="6987">
                  <c:v>6.5761616135974841E-3</c:v>
                </c:pt>
                <c:pt idx="6988">
                  <c:v>7.4632499526715735E-3</c:v>
                </c:pt>
                <c:pt idx="6989">
                  <c:v>6.8225104039587332E-3</c:v>
                </c:pt>
                <c:pt idx="6990">
                  <c:v>7.6837546059934352E-3</c:v>
                </c:pt>
                <c:pt idx="6991">
                  <c:v>7.6499246853520362E-3</c:v>
                </c:pt>
                <c:pt idx="6992">
                  <c:v>9.273489582657864E-3</c:v>
                </c:pt>
                <c:pt idx="6993">
                  <c:v>1.0984593447523705E-2</c:v>
                </c:pt>
                <c:pt idx="6994">
                  <c:v>1.4674456740196696E-2</c:v>
                </c:pt>
                <c:pt idx="6995">
                  <c:v>-1.6345275038990529E-3</c:v>
                </c:pt>
                <c:pt idx="6996">
                  <c:v>-8.3787101835248543E-3</c:v>
                </c:pt>
              </c:numCache>
            </c:numRef>
          </c:val>
          <c:smooth val="0"/>
          <c:extLst>
            <c:ext xmlns:c16="http://schemas.microsoft.com/office/drawing/2014/chart" uri="{C3380CC4-5D6E-409C-BE32-E72D297353CC}">
              <c16:uniqueId val="{00000001-0AED-3E4A-81E3-78C09792B83D}"/>
            </c:ext>
          </c:extLst>
        </c:ser>
        <c:dLbls>
          <c:showLegendKey val="0"/>
          <c:showVal val="0"/>
          <c:showCatName val="0"/>
          <c:showSerName val="0"/>
          <c:showPercent val="0"/>
          <c:showBubbleSize val="0"/>
        </c:dLbls>
        <c:smooth val="0"/>
        <c:axId val="1852032047"/>
        <c:axId val="1852033679"/>
      </c:lineChart>
      <c:catAx>
        <c:axId val="1852032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2033679"/>
        <c:crosses val="autoZero"/>
        <c:auto val="1"/>
        <c:lblAlgn val="ctr"/>
        <c:lblOffset val="500"/>
        <c:noMultiLvlLbl val="0"/>
      </c:catAx>
      <c:valAx>
        <c:axId val="1852033679"/>
        <c:scaling>
          <c:orientation val="minMax"/>
          <c:max val="3"/>
          <c:min val="-0.1"/>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2032047"/>
        <c:crosses val="autoZero"/>
        <c:crossBetween val="between"/>
      </c:valAx>
      <c:spPr>
        <a:noFill/>
        <a:ln>
          <a:noFill/>
        </a:ln>
        <a:effectLst/>
      </c:spPr>
    </c:plotArea>
    <c:legend>
      <c:legendPos val="b"/>
      <c:layout>
        <c:manualLayout>
          <c:xMode val="edge"/>
          <c:yMode val="edge"/>
          <c:x val="0.42400042634264623"/>
          <c:y val="0.89521952309152852"/>
          <c:w val="0.20952875814381069"/>
          <c:h val="2.392941307868431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esalination_Unit_Data (2)'!$A$3:$A$7000</cx:f>
        <cx:lvl ptCount="65" formatCode="General">
          <cx:pt idx="0">117.563383</cx:pt>
          <cx:pt idx="1">117.39601330000001</cx:pt>
          <cx:pt idx="2">117.366699</cx:pt>
          <cx:pt idx="3">117.23257390000001</cx:pt>
          <cx:pt idx="4">117.071591</cx:pt>
          <cx:pt idx="5">116.8939858</cx:pt>
          <cx:pt idx="6">116.7407</cx:pt>
          <cx:pt idx="7">116.43688880000001</cx:pt>
          <cx:pt idx="8">116.1306039</cx:pt>
          <cx:pt idx="9">115.8097856</cx:pt>
          <cx:pt idx="10">115.5058198</cx:pt>
          <cx:pt idx="11">115.5035007</cx:pt>
          <cx:pt idx="12">115.20200869999999</cx:pt>
          <cx:pt idx="13">114.8907762</cx:pt>
          <cx:pt idx="14">114.5844913</cx:pt>
          <cx:pt idx="15">114.2636729</cx:pt>
          <cx:pt idx="16">113.95738799999999</cx:pt>
          <cx:pt idx="17">113.65589610000001</cx:pt>
          <cx:pt idx="18">113.3398706</cx:pt>
          <cx:pt idx="19">113.2845198</cx:pt>
          <cx:pt idx="20">113.0312666</cx:pt>
          <cx:pt idx="21">112.72730079999999</cx:pt>
          <cx:pt idx="22">112.3921036</cx:pt>
          <cx:pt idx="23">112.1025167</cx:pt>
          <cx:pt idx="24">112.10019749999999</cx:pt>
          <cx:pt idx="25">111.79870560000001</cx:pt>
          <cx:pt idx="26">111.4924206</cx:pt>
          <cx:pt idx="27">111.1691285</cx:pt>
          <cx:pt idx="28">111.1570688</cx:pt>
          <cx:pt idx="29">110.8653174</cx:pt>
          <cx:pt idx="30">110.56135159999999</cx:pt>
          <cx:pt idx="31">110.252593</cx:pt>
          <cx:pt idx="32">109.946308</cx:pt>
          <cx:pt idx="33">109.62548959999999</cx:pt>
          <cx:pt idx="34">109.3216785</cx:pt>
          <cx:pt idx="35">109.3192047</cx:pt>
          <cx:pt idx="36">109.0177128</cx:pt>
          <cx:pt idx="37">108.7016873</cx:pt>
          <cx:pt idx="38">108.3930833</cx:pt>
          <cx:pt idx="39">108.0891175</cx:pt>
          <cx:pt idx="40">107.7682992</cx:pt>
          <cx:pt idx="41">107.7514465</cx:pt>
          <cx:pt idx="42">107.464488</cx:pt>
          <cx:pt idx="43">107.1605223</cx:pt>
          <cx:pt idx="44">106.8542374</cx:pt>
          <cx:pt idx="45">106.53341899999999</cx:pt>
          <cx:pt idx="46">106.22945319999999</cx:pt>
          <cx:pt idx="47">106.2271341</cx:pt>
          <cx:pt idx="48">105.9256421</cx:pt>
          <cx:pt idx="49">105.6144097</cx:pt>
          <cx:pt idx="50">105.3081248</cx:pt>
          <cx:pt idx="51">104.98730639999999</cx:pt>
          <cx:pt idx="52">104.6810215</cx:pt>
          <cx:pt idx="53">104.3795295</cx:pt>
          <cx:pt idx="54">104.0635041</cx:pt>
          <cx:pt idx="55">104.0081533</cx:pt>
          <cx:pt idx="56">103.75490000000001</cx:pt>
          <cx:pt idx="57">103.10654049999999</cx:pt>
          <cx:pt idx="58">102.42223420000001</cx:pt>
          <cx:pt idx="59">102.3915642</cx:pt>
          <cx:pt idx="60">101.7742045</cx:pt>
          <cx:pt idx="61">101.768928</cx:pt>
          <cx:pt idx="62">101.125845</cx:pt>
          <cx:pt idx="63">100.4725387</cx:pt>
          <cx:pt idx="64">99.788232500000007</cx:pt>
        </cx:lvl>
      </cx:numDim>
    </cx:data>
    <cx:data id="1">
      <cx:numDim type="val">
        <cx:f>'Desalination_Unit_Data (2)'!$B$3:$B$7000</cx:f>
        <cx:lvl ptCount="65" formatCode="General">
          <cx:pt idx="0">24.433589999999999</cx:pt>
          <cx:pt idx="1">6.3720699999999999</cx:pt>
          <cx:pt idx="2">50.818508219999998</cx:pt>
          <cx:pt idx="3">254.1797</cx:pt>
          <cx:pt idx="4">109.1602</cx:pt>
          <cx:pt idx="5">30.585940000000001</cx:pt>
          <cx:pt idx="6">5.0976559999999997</cx:pt>
          <cx:pt idx="7">108.6328</cx:pt>
          <cx:pt idx="8">251.78469999999999</cx:pt>
          <cx:pt idx="9">84.836429999999993</cx:pt>
          <cx:pt idx="10">25.763214399999999</cx:pt>
          <cx:pt idx="11">25.3125</cx:pt>
          <cx:pt idx="12">7.1411129999999998</cx:pt>
          <cx:pt idx="13">181.01070000000001</cx:pt>
          <cx:pt idx="14">229.81200000000001</cx:pt>
          <cx:pt idx="15">71.433109999999999</cx:pt>
          <cx:pt idx="16">25.708010000000002</cx:pt>
          <cx:pt idx="17">4.240723</cx:pt>
          <cx:pt idx="18">278.26170000000002</cx:pt>
          <cx:pt idx="19">255.3409274</cx:pt>
          <cx:pt idx="20">150.46879999999999</cx:pt>
          <cx:pt idx="21">55.964359999999999</cx:pt>
          <cx:pt idx="22">11.62354</cx:pt>
          <cx:pt idx="23">-7.2100096560000004</cx:pt>
          <cx:pt idx="24">-7.3608399999999996</cx:pt>
          <cx:pt idx="25">303.22269999999997</cx:pt>
          <cx:pt idx="26">127.59520000000001</cx:pt>
          <cx:pt idx="27">41.107104800000002</cx:pt>
          <cx:pt idx="28">37.880859999999998</cx:pt>
          <cx:pt idx="29">5.7788089999999999</cx:pt>
          <cx:pt idx="30">180.70310000000001</cx:pt>
          <cx:pt idx="31">196.98490000000001</cx:pt>
          <cx:pt idx="32">59.633789999999998</cx:pt>
          <cx:pt idx="33">22.52197</cx:pt>
          <cx:pt idx="34">-0.75528887499999997</cx:pt>
          <cx:pt idx="35">-0.9448242</cx:pt>
          <cx:pt idx="36">288.06150000000002</cx:pt>
          <cx:pt idx="37">127.8369</cx:pt>
          <cx:pt idx="38">49.108890000000002</cx:pt>
          <cx:pt idx="39">6.6357419999999996</cx:pt>
          <cx:pt idx="40">2.8780556530000001</cx:pt>
          <cx:pt idx="41">2.6806640000000002</cx:pt>
          <cx:pt idx="42">298.45460000000003</cx:pt>
          <cx:pt idx="43">118.3447</cx:pt>
          <cx:pt idx="44">35.090330000000002</cx:pt>
          <cx:pt idx="45">3.9550779999999999</cx:pt>
          <cx:pt idx="46">-8.3872773120000002</cx:pt>
          <cx:pt idx="47">-8.4814450000000008</cx:pt>
          <cx:pt idx="48">32.871090000000002</cx:pt>
          <cx:pt idx="49">313.98930000000001</cx:pt>
          <cx:pt idx="50">112.6099</cx:pt>
          <cx:pt idx="51">30.036619999999999</cx:pt>
          <cx:pt idx="52">12.031977169999999</cx:pt>
          <cx:pt idx="53">-5.6909179999999999</cx:pt>
          <cx:pt idx="54">-8.9648439999999994</cx:pt>
          <cx:pt idx="55">5.9753902630000004</cx:pt>
          <cx:pt idx="56">74.333260240000001</cx:pt>
          <cx:pt idx="57">156.3794</cx:pt>
          <cx:pt idx="58">292.88578680000001</cx:pt>
          <cx:pt idx="59">299.00389999999999</cx:pt>
          <cx:pt idx="60">114.34201</cx:pt>
          <cx:pt idx="61">112.7637</cx:pt>
          <cx:pt idx="62">30.520019999999999</cx:pt>
          <cx:pt idx="63">8.3056640000000002</cx:pt>
          <cx:pt idx="64">-8.1738280000000003</cx:pt>
        </cx:lvl>
      </cx:numDim>
    </cx:data>
    <cx:data id="2">
      <cx:numDim type="val">
        <cx:f>'Desalination_Unit_Data (2)'!$C$3:$C$7000</cx:f>
        <cx:lvl ptCount="65" formatCode="General">
          <cx:pt idx="0">99</cx:pt>
          <cx:pt idx="1">99</cx:pt>
          <cx:pt idx="2">99</cx:pt>
          <cx:pt idx="3">99</cx:pt>
          <cx:pt idx="4">99</cx:pt>
          <cx:pt idx="5">99</cx:pt>
          <cx:pt idx="6">99</cx:pt>
          <cx:pt idx="7">99</cx:pt>
          <cx:pt idx="8">99</cx:pt>
          <cx:pt idx="9">99</cx:pt>
          <cx:pt idx="10">99</cx:pt>
          <cx:pt idx="11">99</cx:pt>
          <cx:pt idx="12">99</cx:pt>
          <cx:pt idx="13">99</cx:pt>
          <cx:pt idx="14">99</cx:pt>
          <cx:pt idx="15">99</cx:pt>
          <cx:pt idx="16">99</cx:pt>
          <cx:pt idx="17">99</cx:pt>
          <cx:pt idx="18">99</cx:pt>
          <cx:pt idx="19">99</cx:pt>
          <cx:pt idx="20">99</cx:pt>
          <cx:pt idx="21">99</cx:pt>
          <cx:pt idx="22">99</cx:pt>
          <cx:pt idx="23">99</cx:pt>
          <cx:pt idx="24">99</cx:pt>
          <cx:pt idx="25">99</cx:pt>
          <cx:pt idx="26">99</cx:pt>
          <cx:pt idx="27">99</cx:pt>
          <cx:pt idx="28">99</cx:pt>
          <cx:pt idx="29">99</cx:pt>
          <cx:pt idx="30">99</cx:pt>
          <cx:pt idx="31">99</cx:pt>
          <cx:pt idx="32">99</cx:pt>
          <cx:pt idx="33">99</cx:pt>
          <cx:pt idx="34">99</cx:pt>
          <cx:pt idx="35">99</cx:pt>
          <cx:pt idx="36">98.566353469999996</cx:pt>
          <cx:pt idx="37">98.111802979999993</cx:pt>
          <cx:pt idx="38">97.667926829999999</cx:pt>
          <cx:pt idx="39">97.230722220000004</cx:pt>
          <cx:pt idx="40">96.769277829999993</cx:pt>
          <cx:pt idx="41">96.745038109999996</cx:pt>
          <cx:pt idx="42">96.332295529999996</cx:pt>
          <cx:pt idx="43">95.895090920000001</cx:pt>
          <cx:pt idx="44">95.45455054</cx:pt>
          <cx:pt idx="45">94.993106150000003</cx:pt>
          <cx:pt idx="46">94.555901489999997</cx:pt>
          <cx:pt idx="47">94.552565779999995</cx:pt>
          <cx:pt idx="48">94.118919239999997</cx:pt>
          <cx:pt idx="49">93.671262600000006</cx:pt>
          <cx:pt idx="50">93.230722220000004</cx:pt>
          <cx:pt idx="51">92.769277829999993</cx:pt>
          <cx:pt idx="52">92.328737450000006</cx:pt>
          <cx:pt idx="53">91.895090920000001</cx:pt>
          <cx:pt idx="54">91.440540380000002</cx:pt>
          <cx:pt idx="55">91.360927369999999</cx:pt>
          <cx:pt idx="56">90.996664289999998</cx:pt>
          <cx:pt idx="57">90.559459619999998</cx:pt>
          <cx:pt idx="58">90.098015230000001</cx:pt>
          <cx:pt idx="59">90.077333640000006</cx:pt>
          <cx:pt idx="60">89.661032989999995</cx:pt>
          <cx:pt idx="61">89.657474859999994</cx:pt>
          <cx:pt idx="62">89.223828319999996</cx:pt>
          <cx:pt idx="63">88.783287939999994</cx:pt>
          <cx:pt idx="64">88.321843560000005</cx:pt>
        </cx:lvl>
      </cx:numDim>
    </cx:data>
    <cx:data id="3">
      <cx:numDim type="val">
        <cx:f>'Desalination_Unit_Data (2)'!$D$3:$D$7000</cx:f>
        <cx:lvl ptCount="65" formatCode="General">
          <cx:pt idx="0">603.99189999999999</cx:pt>
          <cx:pt idx="1">751.33579999999995</cx:pt>
          <cx:pt idx="2">675.76049230000001</cx:pt>
          <cx:pt idx="3">329.97160000000002</cx:pt>
          <cx:pt idx="4">454.52629999999999</cx:pt>
          <cx:pt idx="5">629.37440000000004</cx:pt>
          <cx:pt idx="6">746.5421</cx:pt>
          <cx:pt idx="7">604.54190000000006</cx:pt>
          <cx:pt idx="8">353.3895</cx:pt>
          <cx:pt idx="9">481.7946</cx:pt>
          <cx:pt idx="10">647.05212489999997</cx:pt>
          <cx:pt idx="11">648.31299999999999</cx:pt>
          <cx:pt idx="12">790.47019999999998</cx:pt>
          <cx:pt idx="13">500.49759999999998</cx:pt>
          <cx:pt idx="14">356.21850000000001</cx:pt>
          <cx:pt idx="15">511.34210000000002</cx:pt>
          <cx:pt idx="16">652.79219999999998</cx:pt>
          <cx:pt idx="17">789.21310000000005</cx:pt>
          <cx:pt idx="18">368.16320000000002</cx:pt>
          <cx:pt idx="19">375.2527844</cx:pt>
          <cx:pt idx="20">407.69060000000002</cx:pt>
          <cx:pt idx="21">543.79700000000003</cx:pt>
          <cx:pt idx="22">724.06730000000005</cx:pt>
          <cx:pt idx="23">836.87407580000001</cx:pt>
          <cx:pt idx="24">837.77750000000003</cx:pt>
          <cx:pt idx="25">333.66500000000002</cx:pt>
          <cx:pt idx="26">420.49959999999999</cx:pt>
          <cx:pt idx="27">588.90848359999995</cx:pt>
          <cx:pt idx="28">595.19060000000002</cx:pt>
          <cx:pt idx="29">733.10429999999997</cx:pt>
          <cx:pt idx="30">461.0487</cx:pt>
          <cx:pt idx="31">357.55439999999999</cx:pt>
          <cx:pt idx="32">511.10640000000001</cx:pt>
          <cx:pt idx="33">667.25160000000005</cx:pt>
          <cx:pt idx="34">790.25464639999996</cx:pt>
          <cx:pt idx="35">791.25620000000004</cx:pt>
          <cx:pt idx="36">337.12270000000001</cx:pt>
          <cx:pt idx="37">420.57819999999998</cx:pt>
          <cx:pt idx="38">560.29960000000005</cx:pt>
          <cx:pt idx="39">717.78060000000005</cx:pt>
          <cx:pt idx="40">706.28278160000002</cx:pt>
          <cx:pt idx="41">705.67880000000002</cx:pt>
          <cx:pt idx="42">335.94400000000002</cx:pt>
          <cx:pt idx="43">444.9391</cx:pt>
          <cx:pt idx="44">600.69129999999996</cx:pt>
          <cx:pt idx="45">747.72090000000003</cx:pt>
          <cx:pt idx="46">909.46872289999999</cx:pt>
          <cx:pt idx="47">910.70280000000002</cx:pt>
          <cx:pt idx="48">676.68140000000005</cx:pt>
          <cx:pt idx="49">327.2998</cx:pt>
          <cx:pt idx="50">488.71010000000001</cx:pt>
          <cx:pt idx="51">646.66269999999997</cx:pt>
          <cx:pt idx="52">778.36839999999995</cx:pt>
          <cx:pt idx="53">923.59059999999999</cx:pt>
          <cx:pt idx="54">1063.9400000000001</cx:pt>
          <cx:pt idx="55">1090.2266219999999</cx:pt>
          <cx:pt idx="56">1210.499</cx:pt>
          <cx:pt idx="57">672.75229999999999</cx:pt>
          <cx:pt idx="58">387.09561680000002</cx:pt>
          <cx:pt idx="59">374.29270000000002</cx:pt>
          <cx:pt idx="60">495.76586570000001</cx:pt>
          <cx:pt idx="61">496.80410000000001</cx:pt>
          <cx:pt idx="62">649.02009999999996</cx:pt>
          <cx:pt idx="63">792.27760000000001</cx:pt>
          <cx:pt idx="64">937.81410000000005</cx:pt>
        </cx:lvl>
      </cx:numDim>
    </cx:data>
    <cx:data id="4">
      <cx:numDim type="val">
        <cx:f>'Desalination_Unit_Data (2)'!$E$3:$E$7000</cx:f>
        <cx:lvl ptCount="65" formatCode="General">
          <cx:pt idx="0">727.5327082</cx:pt>
          <cx:pt idx="1">747.7881304</cx:pt>
          <cx:pt idx="2">751.33579999999995</cx:pt>
          <cx:pt idx="3">757.32145360000004</cx:pt>
          <cx:pt idx="4">764.5056998</cx:pt>
          <cx:pt idx="5">772.43175719999999</cx:pt>
          <cx:pt idx="6">779.27250400000003</cx:pt>
          <cx:pt idx="7">786.4530962</cx:pt>
          <cx:pt idx="8">793.69215559999998</cx:pt>
          <cx:pt idx="9">801.27471449999996</cx:pt>
          <cx:pt idx="10">808.4589598</cx:pt>
          <cx:pt idx="11">808.51377390000005</cx:pt>
          <cx:pt idx="12">815.63955199999998</cx:pt>
          <cx:pt idx="13">822.99554750000004</cx:pt>
          <cx:pt idx="14">830.23460699999998</cx:pt>
          <cx:pt idx="15">837.8171658</cx:pt>
          <cx:pt idx="16">845.05622519999997</cx:pt>
          <cx:pt idx="17">852.18200339999999</cx:pt>
          <cx:pt idx="18">859.65128010000001</cx:pt>
          <cx:pt idx="19">860.95950000000005</cx:pt>
          <cx:pt idx="20">867.66816630000005</cx:pt>
          <cx:pt idx="21">875.72020450000002</cx:pt>
          <cx:pt idx="22">884.59956239999997</cx:pt>
          <cx:pt idx="23">892.27070490000006</cx:pt>
          <cx:pt idx="24">892.33213999999998</cx:pt>
          <cx:pt idx="25">900.31864670000004</cx:pt>
          <cx:pt idx="26">908.43211989999998</cx:pt>
          <cx:pt idx="27">916.99611270000003</cx:pt>
          <cx:pt idx="28">917.31557329999998</cx:pt>
          <cx:pt idx="29">925.04405540000005</cx:pt>
          <cx:pt idx="30">933.09609260000002</cx:pt>
          <cx:pt idx="31">941.27509529999998</cx:pt>
          <cx:pt idx="32">949.38856850000002</cx:pt>
          <cx:pt idx="33">957.88703180000005</cx:pt>
          <cx:pt idx="34">965.93497360000003</cx:pt>
          <cx:pt idx="35">966.00050409999994</cx:pt>
          <cx:pt idx="36">973.98701170000004</cx:pt>
          <cx:pt idx="37">982.35850949999997</cx:pt>
          <cx:pt idx="38">990.53341680000005</cx:pt>
          <cx:pt idx="39">998.58545400000003</cx:pt>
          <cx:pt idx="40">1007.083917</cx:pt>
          <cx:pt idx="41">1007.530342</cx:pt>
          <cx:pt idx="42">1015.13186</cx:pt>
          <cx:pt idx="43">1023.183897</cx:pt>
          <cx:pt idx="44">1031.2973689999999</cx:pt>
          <cx:pt idx="45">1039.7958329999999</cx:pt>
          <cx:pt idx="46">1047.8478709999999</cx:pt>
          <cx:pt idx="47">1047.9093049999999</cx:pt>
          <cx:pt idx="48">1055.8958130000001</cx:pt>
          <cx:pt idx="49">1064.1403459999999</cx:pt>
          <cx:pt idx="50">1072.2538179999999</cx:pt>
          <cx:pt idx="51">1080.752281</cx:pt>
          <cx:pt idx="52">1088.8657539999999</cx:pt>
          <cx:pt idx="53">1096.852261</cx:pt>
          <cx:pt idx="54">1105.2237600000001</cx:pt>
          <cx:pt idx="55">1106.6900000000001</cx:pt>
          <cx:pt idx="56">1116.483148</cx:pt>
          <cx:pt idx="57">1128.2373170000001</cx:pt>
          <cx:pt idx="58">1140.6431669999999</cx:pt>
          <cx:pt idx="59">1141.199188</cx:pt>
          <cx:pt idx="60">1152.3913560000001</cx:pt>
          <cx:pt idx="61">1152.487016</cx:pt>
          <cx:pt idx="62">1164.145526</cx:pt>
          <cx:pt idx="63">1175.9893750000001</cx:pt>
          <cx:pt idx="64">1188.395225</cx:pt>
        </cx:lvl>
      </cx:numDim>
    </cx:data>
    <cx:data id="5">
      <cx:numDim type="val">
        <cx:f>'Desalination_Unit_Data (2)'!$F$3:$F$7000</cx:f>
        <cx:lvl ptCount="65"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lvl>
      </cx:numDim>
    </cx:data>
    <cx:data id="6">
      <cx:numDim type="val">
        <cx:f>'Desalination_Unit_Data (2)'!$G$3:$G$7000</cx:f>
        <cx:lvl ptCount="65" formatCode="General">
          <cx:pt idx="0">382.23369109999999</cx:pt>
          <cx:pt idx="1">382.18841450000002</cx:pt>
          <cx:pt idx="2">382.18048440000001</cx:pt>
          <cx:pt idx="3">382.14420109999998</cx:pt>
          <cx:pt idx="4">382.10065229999998</cx:pt>
          <cx:pt idx="5">382.05260679999998</cx:pt>
          <cx:pt idx="6">382.0111402</cx:pt>
          <cx:pt idx="7">381.96761350000003</cx:pt>
          <cx:pt idx="8">381.92373240000001</cx:pt>
          <cx:pt idx="9">381.87776919999999</cx:pt>
          <cx:pt idx="10">381.83422030000003</cx:pt>
          <cx:pt idx="11">381.83388810000002</cx:pt>
          <cx:pt idx="12">381.7906936</cx:pt>
          <cx:pt idx="13">381.74610369999999</cx:pt>
          <cx:pt idx="14">381.70222260000003</cx:pt>
          <cx:pt idx="15">381.65625940000001</cx:pt>
          <cx:pt idx="16">381.61237829999999</cx:pt>
          <cx:pt idx="17">381.56918380000002</cx:pt>
          <cx:pt idx="18">381.5239072</cx:pt>
          <cx:pt idx="19">381.51597720000001</cx:pt>
          <cx:pt idx="20">381.47969389999997</cx:pt>
          <cx:pt idx="21">381.43614509999998</cx:pt>
          <cx:pt idx="22">381.3881217</cx:pt>
          <cx:pt idx="23">381.346633</cx:pt>
          <cx:pt idx="24">381.34630069999997</cx:pt>
          <cx:pt idx="25">381.30310630000002</cx:pt>
          <cx:pt idx="26">381.2592252</cx:pt>
          <cx:pt idx="27">381.21290749999997</cx:pt>
          <cx:pt idx="28">381.2111797</cx:pt>
          <cx:pt idx="29">381.1693808</cx:pt>
          <cx:pt idx="30">381.125832</cx:pt>
          <cx:pt idx="31">381.08159649999999</cx:pt>
          <cx:pt idx="32">381.03771540000002</cx:pt>
          <cx:pt idx="33">380.99175209999999</cx:pt>
          <cx:pt idx="34">380.94822540000001</cx:pt>
          <cx:pt idx="35">380.94787100000002</cx:pt>
          <cx:pt idx="36">380.90467660000002</cx:pt>
          <cx:pt idx="37">380.85939999999999</cx:pt>
          <cx:pt idx="38">380.88837640000003</cx:pt>
          <cx:pt idx="39">380.91691730000002</cx:pt>
          <cx:pt idx="40">380.94704050000001</cx:pt>
          <cx:pt idx="41">380.94862289999998</cx:pt>
          <cx:pt idx="42">380.97556689999999</cx:pt>
          <cx:pt idx="43">381.00410770000002</cx:pt>
          <cx:pt idx="44">381.03286639999999</cx:pt>
          <cx:pt idx="45">381.06298959999998</cx:pt>
          <cx:pt idx="46">381.09153049999998</cx:pt>
          <cx:pt idx="47">381.09174819999998</cx:pt>
          <cx:pt idx="48">381.12005679999999</cx:pt>
          <cx:pt idx="49">381.14927999999998</cx:pt>
          <cx:pt idx="50">381.1780387</cx:pt>
          <cx:pt idx="51">381.20816189999999</cx:pt>
          <cx:pt idx="52">381.2369205</cx:pt>
          <cx:pt idx="53">381.2652291</cx:pt>
          <cx:pt idx="54">381.29490229999999</cx:pt>
          <cx:pt idx="55">381.30009949999999</cx:pt>
          <cx:pt idx="56">381.32387870000002</cx:pt>
          <cx:pt idx="57">381.35241960000002</cx:pt>
          <cx:pt idx="58">381.38254289999998</cx:pt>
          <cx:pt idx="59">381.383893</cx:pt>
          <cx:pt idx="60">381.41106919999999</cx:pt>
          <cx:pt idx="61">381.41130149999998</cx:pt>
          <cx:pt idx="62">381.43961009999998</cx:pt>
          <cx:pt idx="63">381.46836869999998</cx:pt>
          <cx:pt idx="64">381.498492</cx:pt>
        </cx:lvl>
      </cx:numDim>
    </cx:data>
    <cx:data id="7">
      <cx:numDim type="val">
        <cx:f>'Desalination_Unit_Data (2)'!$H$3:$H$7000</cx:f>
        <cx:lvl ptCount="65" formatCode="General">
          <cx:pt idx="0">0.85096174719999995</cx:pt>
          <cx:pt idx="1">0.85084251960000001</cx:pt>
          <cx:pt idx="2">0.85082163719999993</cx:pt>
          <cx:pt idx="3">0.85072609170000002</cx:pt>
          <cx:pt idx="4">0.85061141379999994</cx:pt>
          <cx:pt idx="5">0.8504848948</cx:pt>
          <cx:pt idx="6">0.85037570000000007</cx:pt>
          <cx:pt idx="7">0.81999889999999998</cx:pt>
          <cx:pt idx="8">0.83763039210000001</cx:pt>
          <cx:pt idx="9">0.85609851329999997</cx:pt>
          <cx:pt idx="10">0.8735965</cx:pt>
          <cx:pt idx="11">0.8733932754</cx:pt>
          <cx:pt idx="12">0.8469742562</cx:pt>
          <cx:pt idx="13">0.81970169999999998</cx:pt>
          <cx:pt idx="14">0.85343027550000006</cx:pt>
          <cx:pt idx="15">0.88875929999999992</cx:pt>
          <cx:pt idx="16">0.86933426260000002</cx:pt>
          <cx:pt idx="17">0.8502132</cx:pt>
          <cx:pt idx="18">0.87063174739999993</cx:pt>
          <cx:pt idx="19">0.87420799059999998</cx:pt>
          <cx:pt idx="20">0.8905708</cx:pt>
          <cx:pt idx="21">0.87756296180000004</cx:pt>
          <cx:pt idx="22">0.86321861200000005</cx:pt>
          <cx:pt idx="23">0.85082610000000003</cx:pt>
          <cx:pt idx="24">0.85091169050000004</cx:pt>
          <cx:pt idx="25">0.86203838250000009</cx:pt>
          <cx:pt idx="26">0.87334196239999995</cx:pt>
          <cx:pt idx="27">0.88527319999999998</cx:pt>
          <cx:pt idx="28">0.88444732790000002</cx:pt>
          <cx:pt idx="29">0.86446759240000004</cx:pt>
          <cx:pt idx="30">0.84365139999999994</cx:pt>
          <cx:pt idx="31">0.88928700000000005</cx:pt>
          <cx:pt idx="32">0.87848345900000002</cx:pt>
          <cx:pt idx="33">0.86716728230000006</cx:pt>
          <cx:pt idx="34">0.85645099999999996</cx:pt>
          <cx:pt idx="35">0.85675241270000002</cx:pt>
          <cx:pt idx="36">0.89348700969999995</cx:pt>
          <cx:pt idx="37">0.93199240000000005</cx:pt>
          <cx:pt idx="38">0.90622981520000001</cx:pt>
          <cx:pt idx="39">0.88085444620000009</cx:pt>
          <cx:pt idx="40">0.85407219999999995</cx:pt>
          <cx:pt idx="41">0.85687493000000003</cx:pt>
          <cx:pt idx="42">0.90459849739999998</cx:pt>
          <cx:pt idx="43">0.95515050000000001</cx:pt>
          <cx:pt idx="44">0.91898728390000006</cx:pt>
          <cx:pt idx="45">0.88110809300000004</cx:pt>
          <cx:pt idx="46">0.8452187000000001</cx:pt>
          <cx:pt idx="47">0.84533201680000003</cx:pt>
          <cx:pt idx="48">0.8600633365</cx:pt>
          <cx:pt idx="49">0.87527059089999992</cx:pt>
          <cx:pt idx="50">0.89023610000000009</cx:pt>
          <cx:pt idx="51">0.87517623979999992</cx:pt>
          <cx:pt idx="52">0.86079861010000003</cx:pt>
          <cx:pt idx="53">0.84664597029999999</cx:pt>
          <cx:pt idx="54">0.83181110000000003</cx:pt>
          <cx:pt idx="55">0.82110967959999992</cx:pt>
          <cx:pt idx="56">0.77214617020000009</cx:pt>
          <cx:pt idx="57">0.71337800000000007</cx:pt>
          <cx:pt idx="58">0.83803749999999999</cx:pt>
          <cx:pt idx="59">0.83915244389999999</cx:pt>
          <cx:pt idx="60">0.86159520000000001</cx:pt>
          <cx:pt idx="61">0.861346528</cx:pt>
          <cx:pt idx="62">0.83103968730000011</cx:pt>
          <cx:pt idx="63">0.80025104709999995</cx:pt>
          <cx:pt idx="64">0.76800146029999994</cx:pt>
        </cx:lvl>
      </cx:numDim>
    </cx:data>
    <cx:data id="8">
      <cx:numDim type="val">
        <cx:f>'Desalination_Unit_Data (2)'!$I$3:$I$7000</cx:f>
        <cx:lvl ptCount="65" formatCode="General">
          <cx:pt idx="0">1</cx:pt>
          <cx:pt idx="1">1</cx:pt>
          <cx:pt idx="2">1</cx:pt>
          <cx:pt idx="3">1</cx:pt>
          <cx:pt idx="4">1</cx:pt>
          <cx:pt idx="5">1</cx:pt>
          <cx:pt idx="6">1</cx:pt>
          <cx:pt idx="7">1</cx:pt>
          <cx:pt idx="8">1</cx:pt>
          <cx:pt idx="9">1</cx:pt>
          <cx:pt idx="10">1</cx:pt>
          <cx:pt idx="11">1</cx:pt>
          <cx:pt idx="12">1</cx:pt>
          <cx:pt idx="13">1</cx:pt>
          <cx:pt idx="14">1</cx:pt>
          <cx:pt idx="15">1</cx:pt>
          <cx:pt idx="16">1</cx:pt>
          <cx:pt idx="17">1</cx:pt>
          <cx:pt idx="18">1</cx:pt>
          <cx:pt idx="19">1</cx:pt>
          <cx:pt idx="20">1</cx:pt>
          <cx:pt idx="21">1</cx:pt>
          <cx:pt idx="22">1</cx:pt>
          <cx:pt idx="23">1</cx:pt>
          <cx:pt idx="24">1</cx:pt>
          <cx:pt idx="25">1</cx:pt>
          <cx:pt idx="26">1</cx:pt>
          <cx:pt idx="27">1</cx:pt>
          <cx:pt idx="28">1</cx:pt>
          <cx:pt idx="29">1</cx:pt>
          <cx:pt idx="30">1</cx:pt>
          <cx:pt idx="31">1</cx:pt>
          <cx:pt idx="32">1</cx:pt>
          <cx:pt idx="33">1</cx:pt>
          <cx:pt idx="34">1</cx:pt>
          <cx:pt idx="35">1</cx:pt>
          <cx:pt idx="36">1</cx:pt>
          <cx:pt idx="37">1</cx:pt>
          <cx:pt idx="38">1</cx:pt>
          <cx:pt idx="39">1</cx:pt>
          <cx:pt idx="40">1</cx:pt>
          <cx:pt idx="41">1</cx:pt>
          <cx:pt idx="42">1</cx:pt>
          <cx:pt idx="43">1</cx:pt>
          <cx:pt idx="44">1</cx:pt>
          <cx:pt idx="45">1</cx:pt>
          <cx:pt idx="46">1</cx:pt>
          <cx:pt idx="47">1</cx:pt>
          <cx:pt idx="48">1</cx:pt>
          <cx:pt idx="49">1</cx:pt>
          <cx:pt idx="50">1</cx:pt>
          <cx:pt idx="51">1</cx:pt>
          <cx:pt idx="52">1</cx:pt>
          <cx:pt idx="53">1</cx:pt>
          <cx:pt idx="54">1</cx:pt>
          <cx:pt idx="55">1</cx:pt>
          <cx:pt idx="56">1</cx:pt>
          <cx:pt idx="57">1</cx:pt>
          <cx:pt idx="58">1</cx:pt>
          <cx:pt idx="59">1</cx:pt>
          <cx:pt idx="60">1</cx:pt>
          <cx:pt idx="61">1</cx:pt>
          <cx:pt idx="62">1</cx:pt>
          <cx:pt idx="63">1</cx:pt>
          <cx:pt idx="64">1</cx:pt>
        </cx:lvl>
      </cx:numDim>
    </cx:data>
  </cx:chartData>
  <cx:chart>
    <cx:title pos="t" align="ctr" overlay="0">
      <cx:tx>
        <cx:txData>
          <cx:v>YES</cx:v>
        </cx:txData>
      </cx:tx>
      <cx:txPr>
        <a:bodyPr spcFirstLastPara="1" vertOverflow="ellipsis" horzOverflow="overflow" wrap="square" lIns="0" tIns="0" rIns="0" bIns="0" anchor="ctr" anchorCtr="1"/>
        <a:lstStyle/>
        <a:p>
          <a:pPr algn="ctr" rtl="0">
            <a:defRPr/>
          </a:pPr>
          <a:r>
            <a:rPr lang="en-US" sz="1400" b="1" i="0" u="none" strike="noStrike" baseline="0">
              <a:solidFill>
                <a:sysClr val="windowText" lastClr="000000">
                  <a:lumMod val="65000"/>
                  <a:lumOff val="35000"/>
                </a:sysClr>
              </a:solidFill>
              <a:latin typeface="Calibri" panose="020F0502020204030204"/>
            </a:rPr>
            <a:t>YES</a:t>
          </a:r>
        </a:p>
      </cx:txPr>
    </cx:title>
    <cx:plotArea>
      <cx:plotAreaRegion>
        <cx:series layoutId="boxWhisker" uniqueId="{9EAD988E-3FD1-E542-8F84-F44B1C8E6B33}">
          <cx:tx>
            <cx:txData>
              <cx:f>'Desalination_Unit_Data (2)'!$A$1:$A$2</cx:f>
              <cx:v>SURJEK_FLOW_METER_1</cx:v>
            </cx:txData>
          </cx:tx>
          <cx:dataId val="0"/>
          <cx:layoutPr>
            <cx:visibility meanLine="0" meanMarker="1" nonoutliers="0" outliers="1"/>
            <cx:statistics quartileMethod="exclusive"/>
          </cx:layoutPr>
        </cx:series>
        <cx:series layoutId="boxWhisker" uniqueId="{E052F244-E2D1-E446-9A89-6DEEA01FD1DF}">
          <cx:tx>
            <cx:txData>
              <cx:f>'Desalination_Unit_Data (2)'!$B$1:$B$2</cx:f>
              <cx:v>SURJEK_FLOW_METER_2</cx:v>
            </cx:txData>
          </cx:tx>
          <cx:dataId val="1"/>
          <cx:layoutPr>
            <cx:visibility meanLine="0" meanMarker="1" nonoutliers="0" outliers="1"/>
            <cx:statistics quartileMethod="exclusive"/>
          </cx:layoutPr>
        </cx:series>
        <cx:series layoutId="boxWhisker" uniqueId="{DBA98640-7195-144E-A861-72663A567FFC}">
          <cx:tx>
            <cx:txData>
              <cx:f>'Desalination_Unit_Data (2)'!$C$1:$C$2</cx:f>
              <cx:v>ROTATIONAL_PUMP_RPM</cx:v>
            </cx:txData>
          </cx:tx>
          <cx:dataId val="2"/>
          <cx:layoutPr>
            <cx:visibility meanLine="0" meanMarker="1" nonoutliers="0" outliers="1"/>
            <cx:statistics quartileMethod="exclusive"/>
          </cx:layoutPr>
        </cx:series>
        <cx:series layoutId="boxWhisker" uniqueId="{08BF456C-73EB-8344-8639-CB0C242AE372}">
          <cx:tx>
            <cx:txData>
              <cx:f>'Desalination_Unit_Data (2)'!$D$1:$D$2</cx:f>
              <cx:v>SURJEK_PUMP_TORQUE</cx:v>
            </cx:txData>
          </cx:tx>
          <cx:dataId val="3"/>
          <cx:layoutPr>
            <cx:visibility meanLine="0" meanMarker="1" nonoutliers="0" outliers="1"/>
            <cx:statistics quartileMethod="exclusive"/>
          </cx:layoutPr>
        </cx:series>
        <cx:series layoutId="boxWhisker" uniqueId="{4E457DCE-ADE7-AD43-A0E4-171B16867D88}">
          <cx:tx>
            <cx:txData>
              <cx:f>'Desalination_Unit_Data (2)'!$E$1:$E$2</cx:f>
              <cx:v>MAXIMUM_DAILY_PUMP_TORQUE</cx:v>
            </cx:txData>
          </cx:tx>
          <cx:dataId val="4"/>
          <cx:layoutPr>
            <cx:visibility meanLine="0" meanMarker="1" nonoutliers="0" outliers="1"/>
            <cx:statistics quartileMethod="exclusive"/>
          </cx:layoutPr>
        </cx:series>
        <cx:series layoutId="boxWhisker" uniqueId="{BA8E8D30-C6AB-9D48-82E7-09D9B453B386}">
          <cx:tx>
            <cx:txData>
              <cx:f>'Desalination_Unit_Data (2)'!$F$1:$F$2</cx:f>
              <cx:v>SURJEK_AMMONIA_FLOW_RATE</cx:v>
            </cx:txData>
          </cx:tx>
          <cx:dataId val="5"/>
          <cx:layoutPr>
            <cx:visibility meanLine="0" meanMarker="1" nonoutliers="0" outliers="1"/>
            <cx:statistics quartileMethod="exclusive"/>
          </cx:layoutPr>
        </cx:series>
        <cx:series layoutId="boxWhisker" uniqueId="{00BEB3F8-C172-C94A-A3CA-F92EE5A1D3B5}">
          <cx:tx>
            <cx:txData>
              <cx:f>'Desalination_Unit_Data (2)'!$G$1:$G$2</cx:f>
              <cx:v>SURJEK_TUBE_PRESSURE</cx:v>
            </cx:txData>
          </cx:tx>
          <cx:dataId val="6"/>
          <cx:layoutPr>
            <cx:visibility meanLine="0" meanMarker="1" nonoutliers="0" outliers="1"/>
            <cx:statistics quartileMethod="exclusive"/>
          </cx:layoutPr>
        </cx:series>
        <cx:series layoutId="boxWhisker" uniqueId="{127B6DEB-E0C0-D045-AD80-660D405B789C}">
          <cx:tx>
            <cx:txData>
              <cx:f>'Desalination_Unit_Data (2)'!$H$1:$H$2</cx:f>
              <cx:v>SURJEK_ESTIMATED_EFFICIENCY</cx:v>
            </cx:txData>
          </cx:tx>
          <cx:dataId val="7"/>
          <cx:layoutPr>
            <cx:visibility meanLine="0" meanMarker="1" nonoutliers="0" outliers="1"/>
            <cx:statistics quartileMethod="exclusive"/>
          </cx:layoutPr>
        </cx:series>
        <cx:series layoutId="boxWhisker" uniqueId="{842C0BAA-4E80-EF4C-AE51-6EDE0462801E}">
          <cx:tx>
            <cx:txData>
              <cx:f>'Desalination_Unit_Data (2)'!$I$1:$I$2</cx:f>
              <cx:v>PUMP FAILURE (1 or 0)</cx:v>
            </cx:txData>
          </cx:tx>
          <cx:dataId val="8"/>
          <cx:layoutPr>
            <cx:visibility meanLine="0" meanMarker="1" nonoutliers="0" outliers="1"/>
            <cx:statistics quartileMethod="exclusive"/>
          </cx:layoutPr>
        </cx:series>
      </cx:plotAreaRegion>
      <cx:axis id="0">
        <cx:catScaling gapWidth="1"/>
        <cx:tickLabels/>
      </cx:axis>
      <cx:axis id="1">
        <cx:valScaling/>
        <cx:majorGridline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esalination_Unit_Data (3)'!$A$3:$A$7000</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52734380000000003</cx:pt>
          <cx:pt idx="414">-0.52554822999999995</cx:pt>
          <cx:pt idx="415">-0.52272894599999997</cx:pt>
          <cx:pt idx="416">-0.52143735099999999</cx:pt>
          <cx:pt idx="417">-0.52119138799999998</cx:pt>
          <cx:pt idx="418">-0.51350128900000003</cx:pt>
          <cx:pt idx="419">-0.50785669600000005</cx:pt>
          <cx:pt idx="420">-0.50597909600000002</cx:pt>
          <cx:pt idx="421">-0.50171018000000001</cx:pt>
          <cx:pt idx="422">-0.50144819500000004</cx:pt>
          <cx:pt idx="423">-0.50042653100000001</cx:pt>
          <cx:pt idx="424">-0.49914480500000002</cx:pt>
          <cx:pt idx="425">-0.49606956099999999</cx:pt>
          <cx:pt idx="426">-0.49555776699999998</cx:pt>
          <cx:pt idx="427">-0.49222451099999998</cx:pt>
          <cx:pt idx="428">-0.48965721400000001</cx:pt>
          <cx:pt idx="429">-0.48760773499999999</cx:pt>
          <cx:pt idx="430">-0.48709786399999999</cx:pt>
          <cx:pt idx="431">-0.478126039</cx:pt>
          <cx:pt idx="432">-0.47581854800000001</cx:pt>
          <cx:pt idx="433">-0.474792783</cx:pt>
          <cx:pt idx="434">-0.473255225</cx:pt>
          <cx:pt idx="435">-0.47273933000000001</cx:pt>
          <cx:pt idx="436">-0.47146170599999998</cx:pt>
          <cx:pt idx="437">-0.46863832</cx:pt>
          <cx:pt idx="438">-0.46735864500000002</cx:pt>
          <cx:pt idx="439">-0.46428340000000001</cx:pt>
          <cx:pt idx="440">-0.46274584099999999</cx:pt>
          <cx:pt idx="441">-0.46197206400000002</cx:pt>
          <cx:pt idx="442">-0.46017841599999998</cx:pt>
          <cx:pt idx="443">-0.45992450600000001</cx:pt>
          <cx:pt idx="444">-0.45940861199999999</cx:pt>
          <cx:pt idx="445">-0.45223440799999998</cx:pt>
          <cx:pt idx="446">-0.45172261400000002</cx:pt>
          <cx:pt idx="447">-0.451210693</cx:pt>
          <cx:pt idx="448">-0.44992896700000001</cx:pt>
          <cx:pt idx="449">-0.448903202</cx:pt>
          <cx:pt idx="450">-0.44864736999999999</cx:pt>
          <cx:pt idx="451">-0.44838935800000002</cx:pt>
          <cx:pt idx="452">-0.44557007399999998</cx:pt>
          <cx:pt idx="453">-0.44480231999999997</cx:pt>
          <cx:pt idx="454">-0.44018746600000003</cx:pt>
          <cx:pt idx="455">-0.43890573999999999</cx:pt>
          <cx:pt idx="456">-0.43608645600000001</cx:pt>
          <cx:pt idx="457">-0.43583049499999998</cx:pt>
          <cx:pt idx="458">-0.425319061</cx:pt>
          <cx:pt idx="459">-0.425063101</cx:pt>
          <cx:pt idx="460">-0.42480726800000002</cx:pt>
          <cx:pt idx="461">-0.422751765</cx:pt>
          <cx:pt idx="462">-0.42224381700000002</cx:pt>
          <cx:pt idx="463">-0.41967652</cx:pt>
          <cx:pt idx="464">-0.41942453200000002</cx:pt>
          <cx:pt idx="465">-0.41788492300000002</cx:pt>
          <cx:pt idx="466">-0.416091404</cx:pt>
          <cx:pt idx="467">-0.41455371800000002</cx:pt>
          <cx:pt idx="468">-0.41352795199999998</cx:pt>
          <cx:pt idx="469">-0.41301615899999999</cx:pt>
          <cx:pt idx="470">-0.41249821399999997</cx:pt>
          <cx:pt idx="471">-0.40686361900000001</cx:pt>
          <cx:pt idx="472">-0.406605736</cx:pt>
          <cx:pt idx="473">-0.40327453000000002</cx:pt>
          <cx:pt idx="474">-0.40250472500000001</cx:pt>
          <cx:pt idx="475">-0.39096560400000002</cx:pt>
          <cx:pt idx="476">-0.389943812</cx:pt>
          <cx:pt idx="477">-0.38892009700000002</cx:pt>
          <cx:pt idx="478">-0.38865619000000001</cx:pt>
          <cx:pt idx="479">-0.380972115</cx:pt>
          <cx:pt idx="480">-0.37866667500000001</cx:pt>
          <cx:pt idx="481">-0.37430765300000002</cx:pt>
          <cx:pt idx="482">-0.37148247299999998</cx:pt>
          <cx:pt idx="483">-0.37097247500000002</cx:pt>
          <cx:pt idx="484">-0.37020267000000001</cx:pt>
          <cx:pt idx="485">-0.36891504800000002</cx:pt>
          <cx:pt idx="486">-0.36763934599999998</cx:pt>
          <cx:pt idx="487">-0.36661755499999998</cx:pt>
          <cx:pt idx="488">-0.36635172500000002</cx:pt>
          <cx:pt idx="489">-0.36584377699999998</cx:pt>
          <cx:pt idx="490">-0.36559191800000002</cx:pt>
          <cx:pt idx="491">-0.36174276700000002</cx:pt>
          <cx:pt idx="492">-0.36071507899999999</cx:pt>
          <cx:pt idx="493">-0.35943745399999999</cx:pt>
          <cx:pt idx="494">-0.33969426200000002</cx:pt>
          <cx:pt idx="495">-0.33021256599999999</cx:pt>
          <cx:pt idx="496">-0.32970474700000002</cx:pt>
          <cx:pt idx="497">-0.32944083899999999</cx:pt>
          <cx:pt idx="498">-0.32918885199999998</cx:pt>
          <cx:pt idx="499">-0.32611168499999998</cx:pt>
          <cx:pt idx="500">-0.325603737</cx:pt>
          <cx:pt idx="501">-0.32432213900000001</cx:pt>
          <cx:pt idx="502">-0.319697287</cx:pt>
          <cx:pt idx="503">-0.31791171499999998</cx:pt>
          <cx:pt idx="504">-0.31560230099999997</cx:pt>
          <cx:pt idx="505">-0.31226904500000002</cx:pt>
          <cx:pt idx="506">-0.31073546000000002</cx:pt>
          <cx:pt idx="507">-0.31047155300000001</cx:pt>
          <cx:pt idx="508">-0.30944976099999999</cx:pt>
          <cx:pt idx="509">-0.30867995599999998</cx:pt>
          <cx:pt idx="510">-0.30458291999999998</cx:pt>
          <cx:pt idx="511">-0.30381516600000003</cx:pt>
          <cx:pt idx="512">-0.30201357200000001</cx:pt>
          <cx:pt idx="513">-0.30073787000000002</cx:pt>
          <cx:pt idx="514">-0.29484141800000002</cx:pt>
          <cx:pt idx="515">-0.28023102500000002</cx:pt>
          <cx:pt idx="516">-0.27971513100000001</cx:pt>
          <cx:pt idx="517">-0.27946122099999998</cx:pt>
          <cx:pt idx="518">-0.27816949699999999</cx:pt>
          <cx:pt idx="519">-0.27714770500000002</cx:pt>
          <cx:pt idx="520">-0.27637597800000002</cx:pt>
          <cx:pt idx="521">-0.27124920299999999</cx:pt>
          <cx:pt idx="522">-0.27022343799999998</cx:pt>
          <cx:pt idx="523">-0.26945363300000003</cx:pt>
          <cx:pt idx="524">-0.26843197000000002</cx:pt>
          <cx:pt idx="525">-0.26792607200000002</cx:pt>
          <cx:pt idx="526">-0.267658063</cx:pt>
          <cx:pt idx="527">-0.26561460799999997</cx:pt>
          <cx:pt idx="528">-0.265096791</cx:pt>
          <cx:pt idx="529">-0.26125174099999998</cx:pt>
          <cx:pt idx="530">-0.25996796500000002</cx:pt>
          <cx:pt idx="531">-0.25587105599999999</cx:pt>
          <cx:pt idx="532">-0.25330568199999998</cx:pt>
          <cx:pt idx="533">-0.24228232599999999</cx:pt>
          <cx:pt idx="534">-0.240490858</cx:pt>
          <cx:pt idx="535">-0.228193852</cx:pt>
          <cx:pt idx="536">-0.22639828200000001</cx:pt>
          <cx:pt idx="537">-0.225630528</cx:pt>
          <cx:pt idx="538">-0.223067077</cx:pt>
          <cx:pt idx="539">-0.22152554499999999</cx:pt>
          <cx:pt idx="540">-0.22127163499999999</cx:pt>
          <cx:pt idx="541">-0.20691707400000001</cx:pt>
          <cx:pt idx="542">-0.19435218700000001</cx:pt>
          <cx:pt idx="543">-0.19256264200000001</cx:pt>
          <cx:pt idx="544">-0.189999318</cx:pt>
          <cx:pt idx="545">-0.185384464</cx:pt>
          <cx:pt idx="546">-0.184092741</cx:pt>
          <cx:pt idx="547">-0.183842804</cx:pt>
          <cx:pt idx="548">-0.18359094500000001</cx:pt>
          <cx:pt idx="549">-0.18332498699999999</cx:pt>
          <cx:pt idx="550">-0.18230127300000001</cx:pt>
          <cx:pt idx="551">-0.180257689</cx:pt>
          <cx:pt idx="552">-0.176658603</cx:pt>
          <cx:pt idx="553">-0.17640866599999999</cx:pt>
          <cx:pt idx="554">-0.174615147</cx:pt>
          <cx:pt idx="555">-0.171279968</cx:pt>
          <cx:pt idx="556">-0.17102605800000001</cx:pt>
          <cx:pt idx="557">-0.17051016399999999</cx:pt>
          <cx:pt idx="558">-0.16769690400000001</cx:pt>
          <cx:pt idx="559">-0.167174985</cx:pt>
          <cx:pt idx="560">-0.16666908799999999</cx:pt>
          <cx:pt idx="561">-0.165647296</cx:pt>
          <cx:pt idx="562">-0.16384185700000001</cx:pt>
          <cx:pt idx="563">-0.16333198600000001</cx:pt>
          <cx:pt idx="564">-0.16025264</cx:pt>
          <cx:pt idx="565">-0.15999475599999999</cx:pt>
          <cx:pt idx="566">-0.15538195299999999</cx:pt>
          <cx:pt idx="567">-0.154360161</cx:pt>
          <cx:pt idx="568">-0.15410817399999999</cx:pt>
          <cx:pt idx="569">-0.13385318800000001</cx:pt>
          <cx:pt idx="570">-0.13128589099999999</cx:pt>
          <cx:pt idx="571">-0.13103390400000001</cx:pt>
          <cx:pt idx="572">-0.12642699700000001</cx:pt>
          <cx:pt idx="573">-0.12615911599999999</cx:pt>
          <cx:pt idx="574">-0.12513732399999999</cx:pt>
          <cx:pt idx="575">-0.123089895</cx:pt>
          <cx:pt idx="576">-0.122574001</cx:pt>
          <cx:pt idx="577">-0.120782404</cx:pt>
          <cx:pt idx="578">-0.11283647300000001</cx:pt>
          <cx:pt idx="579">-0.11000911400000001</cx:pt>
          <cx:pt idx="580">-0.10975315300000001</cx:pt>
          <cx:pt idx="581">-0.10386862099999999</cx:pt>
          <cx:pt idx="582">-0.10283888300000001</cx:pt>
          <cx:pt idx="583">-0.10181311799999999</cx:pt>
          <cx:pt idx="584">-0.10154921</cx:pt>
          <cx:pt idx="585">-0.098735950000000003</cx:pt>
          <cx:pt idx="586">-0.098473964999999997</cx:pt>
          <cx:pt idx="587">-0.097196341000000006</cx:pt>
          <cx:pt idx="588">-0.096944353999999996</cx:pt>
          <cx:pt idx="589">-0.096424486000000004</cx:pt>
          <cx:pt idx="590">-0.095652630000000002</cx:pt>
          <cx:pt idx="591">-0.094628915999999993</cx:pt>
          <cx:pt idx="592">-0.089766176000000003</cx:pt>
          <cx:pt idx="593">-0.084127479000000005</cx:pt>
          <cx:pt idx="594">-0.083607610999999998</cx:pt>
          <cx:pt idx="595">-0.071306759999999997</cx:pt>
          <cx:pt idx="596">-0.065918000000000004</cx:pt>
          <cx:pt idx="597">-0.065154219999999999</cx:pt>
          <cx:pt idx="598">-0.057720080999999999</cx:pt>
          <cx:pt idx="599">-0.049770047999999997</cx:pt>
          <cx:pt idx="600">-0.049258126999999999</cx:pt>
          <cx:pt idx="601">-0.048754280999999997</cx:pt>
          <cx:pt idx="602">-0.045928971999999998</cx:pt>
          <cx:pt idx="603">-0.045673011999999999</cx:pt>
          <cx:pt idx="604">-0.044641351000000003</cx:pt>
          <cx:pt idx="605">-0.042085973999999998</cx:pt>
          <cx:pt idx="606">-0.041833985999999997</cx:pt>
          <cx:pt idx="607">-0.037209134999999997</cx:pt>
          <cx:pt idx="608">-0.03567555</cx:pt>
          <cx:pt idx="609">-0.035415615999999997</cx:pt>
          <cx:pt idx="610">-0.031056594</cx:pt>
          <cx:pt idx="611">-0.0046571429999999999</cx:pt>
          <cx:pt idx="612">0.0032828929999999998</cx:pt>
          <cx:pt idx="613">0.0035487219999999998</cx:pt>
          <cx:pt idx="614">0.017897258999999999</cx:pt>
          <cx:pt idx="615">0.018157192999999999</cx:pt>
          <cx:pt idx="616">0.026619019000000001</cx:pt>
          <cx:pt idx="617">0.027402922999999999</cx:pt>
          <cx:pt idx="618">0.027644783999999999</cx:pt>
          <cx:pt idx="619">0.028150682</cx:pt>
          <cx:pt idx="620">0.028920485999999999</cx:pt>
          <cx:pt idx="621">0.029954198000000001</cx:pt>
          <cx:pt idx="622">0.043794787000000002</cx:pt>
          <cx:pt idx="623">0.044300684</cx:pt>
          <cx:pt idx="624">0.044564591000000001</cx:pt>
          <cx:pt idx="625">0.046354136999999997</cx:pt>
          <cx:pt idx="626">0.048917588999999997</cx:pt>
          <cx:pt idx="627">0.049173548999999997</cx:pt>
          <cx:pt idx="628">0.049691367</cx:pt>
          <cx:pt idx="629">0.050201237000000003</cx:pt>
          <cx:pt idx="630">0.050453223999999998</cx:pt>
          <cx:pt idx="631">0.050971042000000001</cx:pt>
          <cx:pt idx="632">0.051484886000000001</cx:pt>
          <cx:pt idx="633">0.055841856000000002</cx:pt>
          <cx:pt idx="634">0.056369671000000003</cx:pt>
          <cx:pt idx="635">0.057381465</cx:pt>
          <cx:pt idx="636">0.058661141</cx:pt>
          <cx:pt idx="637">0.059174984</cx:pt>
          <cx:pt idx="638">0.059680881999999998</cx:pt>
          <cx:pt idx="639">0.061496446000000003</cx:pt>
          <cx:pt idx="640">0.063020034000000003</cx:pt>
          <cx:pt idx="641">0.064829574000000001</cx:pt>
          <cx:pt idx="642">0.066601175999999998</cx:pt>
          <cx:pt idx="643">0.067121044000000005</cx:pt>
          <cx:pt idx="644">0.067370980999999996</cx:pt>
          <cx:pt idx="645">0.067636938999999993</cx:pt>
          <cx:pt idx="646">0.079162090000000004</cx:pt>
          <cx:pt idx="647">0.082247332000000006</cx:pt>
          <cx:pt idx="648">0.082761176000000006</cx:pt>
          <cx:pt idx="649">0.084566743</cx:pt>
          <cx:pt idx="650">0.087118147000000007</cx:pt>
          <cx:pt idx="651">0.109924408</cx:pt>
          <cx:pt idx="652">0.11351362500000001</cx:pt>
          <cx:pt idx="653">0.113789452</cx:pt>
          <cx:pt idx="654">0.116594765</cx:pt>
          <cx:pt idx="655">0.11761450699999999</cx:pt>
          <cx:pt idx="656">0.11812847899999999</cx:pt>
          <cx:pt idx="657">0.13607802399999999</cx:pt>
          <cx:pt idx="658">0.14043486699999999</cx:pt>
          <cx:pt idx="659">0.143254151</cx:pt>
          <cx:pt idx="660">0.143504087</cx:pt>
          <cx:pt idx="661">0.14709330400000001</cx:pt>
          <cx:pt idx="662">0.14761317199999999</cx:pt>
          <cx:pt idx="663">0.151728153</cx:pt>
          <cx:pt idx="664">0.153523723</cx:pt>
          <cx:pt idx="665">0.154535389</cx:pt>
          <cx:pt idx="666">0.156836856</cx:pt>
          <cx:pt idx="667">0.15838043900000001</cx:pt>
          <cx:pt idx="668">0.15941825200000001</cx:pt>
          <cx:pt idx="669">0.159912101</cx:pt>
          <cx:pt idx="670">0.16580663000000001</cx:pt>
          <cx:pt idx="671">0.16734623900000001</cx:pt>
          <cx:pt idx="672">0.16838994900000001</cx:pt>
          <cx:pt idx="673">0.18195663300000001</cx:pt>
          <cx:pt idx="674">0.182218617</cx:pt>
          <cx:pt idx="675">0.18247445000000001</cx:pt>
          <cx:pt idx="676">0.185037902</cx:pt>
          <cx:pt idx="677">0.18555379599999999</cx:pt>
          <cx:pt idx="678">0.186335521</cx:pt>
          <cx:pt idx="679">0.18734129099999999</cx:pt>
          <cx:pt idx="680">0.19223005000000001</cx:pt>
          <cx:pt idx="681">0.19375568800000001</cx:pt>
          <cx:pt idx="682">0.194265559</cx:pt>
          <cx:pt idx="683">0.19479350200000001</cx:pt>
          <cx:pt idx="684">0.19529132399999999</cx:pt>
          <cx:pt idx="685">0.19759881500000001</cx:pt>
          <cx:pt idx="686">0.200945914</cx:pt>
          <cx:pt idx="687">0.20400321499999999</cx:pt>
          <cx:pt idx="688">0.205026929</cx:pt>
          <cx:pt idx="689">0.205560768</cx:pt>
          <cx:pt idx="690">0.20940581799999999</cx:pt>
          <cx:pt idx="691">0.20990171699999999</cx:pt>
          <cx:pt idx="692">0.21092350900000001</cx:pt>
          <cx:pt idx="693">0.21119933699999999</cx:pt>
          <cx:pt idx="694">0.212213182</cx:pt>
          <cx:pt idx="695">0.21246504099999999</cx:pt>
          <cx:pt idx="696">0.212717028</cx:pt>
          <cx:pt idx="697">0.21325086700000001</cx:pt>
          <cx:pt idx="698">0.214256637</cx:pt>
          <cx:pt idx="699">0.21478855399999999</cx:pt>
          <cx:pt idx="700">0.215030415</cx:pt>
          <cx:pt idx="701">0.21528240300000001</cx:pt>
          <cx:pt idx="702">0.21580021999999999</cx:pt>
          <cx:pt idx="703">0.217095916</cx:pt>
          <cx:pt idx="704">0.21810168699999999</cx:pt>
          <cx:pt idx="705">0.219127452</cx:pt>
          <cx:pt idx="706">0.219383413</cx:pt>
          <cx:pt idx="707">0.22092904599999999</cx:pt>
          <cx:pt idx="708">0.22171077</cx:pt>
          <cx:pt idx="709">0.22194673600000001</cx:pt>
          <cx:pt idx="710">0.225283966</cx:pt>
          <cx:pt idx="711">0.22732934399999999</cx:pt>
          <cx:pt idx="712">0.22784728900000001</cx:pt>
          <cx:pt idx="713">0.22938689900000001</cx:pt>
          <cx:pt idx="714">0.23041061299999999</cx:pt>
          <cx:pt idx="715">0.23247611400000001</cx:pt>
          <cx:pt idx="716">0.23886859399999999</cx:pt>
          <cx:pt idx="717">0.24040820299999999</cx:pt>
          <cx:pt idx="718">0.241431917</cx:pt>
          <cx:pt idx="719">0.25014778199999999</cx:pt>
          <cx:pt idx="720">0.25039964100000001</cx:pt>
          <cx:pt idx="721">0.250675596</cx:pt>
          <cx:pt idx="722">0.25425071399999999</cx:pt>
          <cx:pt idx="723">0.25450270200000003</cx:pt>
          <cx:pt idx="724">0.25477865700000002</cx:pt>
          <cx:pt idx="725">0.257341981</cx:pt>
          <cx:pt idx="726">0.25783582999999999</cx:pt>
          <cx:pt idx="727">0.25939146000000002</cx:pt>
          <cx:pt idx="728">0.265274069</cx:pt>
          <cx:pt idx="729">0.26681162800000002</cx:pt>
          <cx:pt idx="730">0.26785136399999998</cx:pt>
          <cx:pt idx="731">0.26862116800000002</cx:pt>
          <cx:pt idx="732">0.26886315799999999</cx:pt>
          <cx:pt idx="733">0.269632963</cx:pt>
          <cx:pt idx="734">0.27065667700000001</cx:pt>
          <cx:pt idx="735">0.27116859900000001</cx:pt>
          <cx:pt idx="736">0.27169641300000003</cx:pt>
          <cx:pt idx="737">0.27219026200000002</cx:pt>
          <cx:pt idx="738">0.279898433</cx:pt>
          <cx:pt idx="739">0.28347150100000001</cx:pt>
          <cx:pt idx="740">0.28372541099999998</cx:pt>
          <cx:pt idx="741">0.28400136599999998</cx:pt>
          <cx:pt idx="742">0.28526707000000001</cx:pt>
          <cx:pt idx="743">0.28656469000000001</cx:pt>
          <cx:pt idx="744">0.29039384600000001</cx:pt>
          <cx:pt idx="745">0.29090961199999998</cx:pt>
          <cx:pt idx="746">0.29169146499999998</cx:pt>
          <cx:pt idx="747">0.29245921899999999</cx:pt>
          <cx:pt idx="748">0.29295319600000003</cx:pt>
          <cx:pt idx="749">0.29500459800000001</cx:pt>
          <cx:pt idx="750">0.29526453200000002</cx:pt>
          <cx:pt idx="751">0.29553651399999997</cx:pt>
          <cx:pt idx="752">0.30450833900000002</cx:pt>
          <cx:pt idx="753">0.30552000499999998</cx:pt>
          <cx:pt idx="754">0.30604589799999998</cx:pt>
          <cx:pt idx="755">0.308083457</cx:pt>
          <cx:pt idx="756">0.30937915399999999</cx:pt>
          <cx:pt idx="757">0.309634986</cx:pt>
          <cx:pt idx="758">0.310146908</cx:pt>
          <cx:pt idx="759">0.31064472999999998</cx:pt>
          <cx:pt idx="760">0.31117267300000001</cx:pt>
          <cx:pt idx="761">0.31141453499999999</cx:pt>
          <cx:pt idx="762">0.311666522</cx:pt>
          <cx:pt idx="763">0.32191994400000001</cx:pt>
          <cx:pt idx="764">0.32245186100000001</cx:pt>
          <cx:pt idx="765">0.323989419</cx:pt>
          <cx:pt idx="766">0.32423345999999997</cx:pt>
          <cx:pt idx="767">0.32604094900000002</cx:pt>
          <cx:pt idx="768">0.33063580799999998</cx:pt>
          <cx:pt idx="769">0.330911764</cx:pt>
          <cx:pt idx="770">0.33653431099999997</cx:pt>
          <cx:pt idx="771">0.34398447100000001</cx:pt>
          <cx:pt idx="772">0.34449639199999998</cx:pt>
          <cx:pt idx="773">0.34832542</cx:pt>
          <cx:pt idx="774">0.350648933</cx:pt>
          <cx:pt idx="775">0.35140463799999999</cx:pt>
          <cx:pt idx="776">0.35166265000000002</cx:pt>
          <cx:pt idx="777">0.35218649099999999</cx:pt>
          <cx:pt idx="778">0.36064639399999998</cx:pt>
          <cx:pt idx="779">0.36551720900000001</cx:pt>
          <cx:pt idx="780">0.36652695299999999</cx:pt>
          <cx:pt idx="781">0.36729470600000003</cx:pt>
          <cx:pt idx="782">0.369106298</cx:pt>
          <cx:pt idx="783">0.36960617099999998</cx:pt>
          <cx:pt idx="784">0.37062988499999999</cx:pt>
          <cx:pt idx="785">0.37498480499999998</cx:pt>
          <cx:pt idx="786">0.37679639700000001</cx:pt>
          <cx:pt idx="787">0.38115336700000002</cx:pt>
          <cx:pt idx="788">0.38320476999999997</cx:pt>
          <cx:pt idx="789">0.38344676</cx:pt>
          <cx:pt idx="790">0.386010083</cx:pt>
          <cx:pt idx="791">0.38628001499999998</cx:pt>
          <cx:pt idx="792">0.38653597499999998</cx:pt>
          <cx:pt idx="793">0.38857148400000002</cx:pt>
          <cx:pt idx="794">0.390639036</cx:pt>
          <cx:pt idx="795">0.39550780000000002</cx:pt>
          <cx:pt idx="796">0.387473385</cx:pt>
          <cx:pt idx="797">0.38505393700000001</cx:pt>
          <cx:pt idx="798">0.383017789</cx:pt>
          <cx:pt idx="799">0.38223527499999999</cx:pt>
          <cx:pt idx="800">0.381003596</cx:pt>
          <cx:pt idx="801">0.37740262200000002</cx:pt>
          <cx:pt idx="802">0.37455898399999998</cx:pt>
          <cx:pt idx="803">0.37174052400000002</cx:pt>
          <cx:pt idx="804">0.37053079999999999</cx:pt>
          <cx:pt idx="805">0.368918841</cx:pt>
          <cx:pt idx="806">0.36854178399999998</cx:pt>
          <cx:pt idx="807">0.36287646299999998</cx:pt>
          <cx:pt idx="808">0.35524730399999999</cx:pt>
          <cx:pt idx="809">0.35441785999999997</cx:pt>
          <cx:pt idx="810">0.35079170799999998</cx:pt>
          <cx:pt idx="811">0.35038947399999998</cx:pt>
          <cx:pt idx="812">0.34879967099999998</cx:pt>
          <cx:pt idx="813">0.34638022299999999</cx:pt>
          <cx:pt idx="814">0.34437227300000001</cx:pt>
          <cx:pt idx="815">0.33832365199999997</cx:pt>
          <cx:pt idx="816">0.33792141799999997</cx:pt>
          <cx:pt idx="817">0.327448621</cx:pt>
          <cx:pt idx="818">0.31212121599999998</cx:pt>
          <cx:pt idx="819">0.30771275199999998</cx:pt>
          <cx:pt idx="820">0.30567338199999999</cx:pt>
          <cx:pt idx="821">0.30446688</cx:pt>
          <cx:pt idx="822">0.29963100399999998</cx:pt>
          <cx:pt idx="823">0.29925394700000002</cx:pt>
          <cx:pt idx="824">0.29642924300000001</cx:pt>
          <cx:pt idx="825">0.29481728400000001</cx:pt>
          <cx:pt idx="826">0.29399408399999999</cx:pt>
          <cx:pt idx="827">0.29358862699999999</cx:pt>
          <cx:pt idx="828">0.29321156999999998</cx:pt>
          <cx:pt idx="829">0.29238212499999999</cx:pt>
          <cx:pt idx="830">0.29117240100000003</cx:pt>
          <cx:pt idx="831">0.28714421600000001</cx:pt>
          <cx:pt idx="832">0.27871058799999998</cx:pt>
          <cx:pt idx="833">0.27264303299999998</cx:pt>
          <cx:pt idx="834">0.26780715700000002</cx:pt>
          <cx:pt idx="835">0.26458646299999999</cx:pt>
          <cx:pt idx="836">0.26420638499999999</cx:pt>
          <cx:pt idx="837">0.25653009399999999</cx:pt>
          <cx:pt idx="838">0.25614679299999998</cx:pt>
          <cx:pt idx="839">0.25532036899999999</cx:pt>
          <cx:pt idx="840">0.236791002</cx:pt>
          <cx:pt idx="841">0.23074862400000001</cx:pt>
          <cx:pt idx="842">0.23036532400000001</cx:pt>
          <cx:pt idx="843">0.22994113499999999</cx:pt>
          <cx:pt idx="844">0.22793016399999999</cx:pt>
          <cx:pt idx="845">0.22631820599999999</cx:pt>
          <cx:pt idx="846">0.225912749</cx:pt>
          <cx:pt idx="847">0.21987037100000001</cx:pt>
          <cx:pt idx="848">0.21221925699999999</cx:pt>
          <cx:pt idx="849">0.210205064</cx:pt>
          <cx:pt idx="850">0.20577162399999999</cx:pt>
          <cx:pt idx="851">0.196910585</cx:pt>
          <cx:pt idx="852">0.194111058</cx:pt>
          <cx:pt idx="853">0.19328463500000001</cx:pt>
          <cx:pt idx="854">0.184423797</cx:pt>
          <cx:pt idx="855">0.18321407200000001</cx:pt>
          <cx:pt idx="856">0.182428537</cx:pt>
          <cx:pt idx="857">0.17396973199999999</cx:pt>
          <cx:pt idx="858">0.16188497700000001</cx:pt>
          <cx:pt idx="859">0.16146078799999999</cx:pt>
          <cx:pt idx="860">0.16067525299999999</cx:pt>
          <cx:pt idx="861">0.159848829</cx:pt>
          <cx:pt idx="862">0.15783483800000001</cx:pt>
          <cx:pt idx="863">0.157030369</cx:pt>
          <cx:pt idx="864">0.156628135</cx:pt>
          <cx:pt idx="865">0.146152115</cx:pt>
          <cx:pt idx="866">0.140936161</cx:pt>
          <cx:pt idx="867">0.14051519500000001</cx:pt>
          <cx:pt idx="868">0.14010973800000001</cx:pt>
          <cx:pt idx="869">0.12520652199999999</cx:pt>
          <cx:pt idx="870">0.123192329</cx:pt>
          <cx:pt idx="871">0.12279029599999999</cx:pt>
          <cx:pt idx="872">0.118359877</cx:pt>
          <cx:pt idx="873">0.11795442</cx:pt>
          <cx:pt idx="874">0.10909358199999999</cx:pt>
          <cx:pt idx="875">0.106677155</cx:pt>
          <cx:pt idx="876">0.106271899</cx:pt>
          <cx:pt idx="877">0.10425770600000001</cx:pt>
          <cx:pt idx="878">0.098620786000000002</cx:pt>
          <cx:pt idx="879">0.097411060999999993</cx:pt>
          <cx:pt idx="880">0.097030781999999996</cx:pt>
          <cx:pt idx="881">0.094187144</cx:pt>
          <cx:pt idx="882">0.091770717000000002</cx:pt>
          <cx:pt idx="883">0.086938265000000001</cx:pt>
          <cx:pt idx="884">0.085728541000000005</cx:pt>
          <cx:pt idx="885">0.084924072000000003</cx:pt>
          <cx:pt idx="886">0.082909879000000006</cx:pt>
          <cx:pt idx="887">0.081297919999999996</cx:pt>
          <cx:pt idx="888">0.075657776999999996</cx:pt>
          <cx:pt idx="889">0.074853509999999998</cx:pt>
          <cx:pt idx="890">0.074451274999999997</cx:pt>
          <cx:pt idx="891">0.072433860000000003</cx:pt>
          <cx:pt idx="892">0.072031827000000007</cx:pt>
          <cx:pt idx="893">0.068405674999999999</cx:pt>
          <cx:pt idx="894">0.068003440999999998</cx:pt>
          <cx:pt idx="895">0.053926649</cx:pt>
          <cx:pt idx="896">0.040207979999999997</cx:pt>
          <cx:pt idx="897">0.038193787</cx:pt>
          <cx:pt idx="898">0.036179795000000001</cx:pt>
          <cx:pt idx="899">0.035777560999999999</cx:pt>
          <cx:pt idx="900">0.034165602000000003</cx:pt>
          <cx:pt idx="901">0.028525459</cx:pt>
          <cx:pt idx="902">0.021678612999999999</cx:pt>
          <cx:pt idx="903">0.019262386999999999</cx:pt>
          <cx:pt idx="904">0.016038469999999999</cx:pt>
          <cx:pt idx="905">0.015636234999999998</cx:pt>
          <cx:pt idx="906">0.015234001</cx:pt>
          <cx:pt idx="907">0.00075175199999999995</cx:pt>
          <cx:pt idx="908">0.00032756300000000001</cx:pt>
          <cx:pt idx="909">-0.00047670500000000001</cx:pt>
          <cx:pt idx="910">-0.0045050910000000001</cx:pt>
          <cx:pt idx="911">-0.0081310410000000003</cx:pt>
          <cx:pt idx="912">-0.0093407649999999991</cx:pt>
          <cx:pt idx="913">-0.017397335999999999</cx:pt>
          <cx:pt idx="914">-0.017799570000000001</cx:pt>
          <cx:pt idx="915">-0.018182871</cx:pt>
          <cx:pt idx="916">-0.019006071999999999</cx:pt>
          <cx:pt idx="917">-0.038342928999999998</cx:pt>
          <cx:pt idx="918">-0.045595031000000001</cx:pt>
          <cx:pt idx="919">-0.048011458</cx:pt>
          <cx:pt idx="920">-0.049221183000000002</cx:pt>
          <cx:pt idx="921">-0.053252590000000002</cx:pt>
          <cx:pt idx="922">-0.058484254999999999</cx:pt>
          <cx:pt idx="923">-0.058889509999999999</cx:pt>
          <cx:pt idx="924">-0.060498245999999999</cx:pt>
          <cx:pt idx="925">-0.060900480999999999</cx:pt>
          <cx:pt idx="926">-0.066521891999999999</cx:pt>
          <cx:pt idx="927">-0.067750348000000002</cx:pt>
          <cx:pt idx="928">-0.068554817000000004</cx:pt>
          <cx:pt idx="929">-0.070166776</cx:pt>
          <cx:pt idx="930">-0.071778733999999997</cx:pt>
          <cx:pt idx="931">-0.072985235999999995</cx:pt>
          <cx:pt idx="932">-0.074597195000000005</cx:pt>
          <cx:pt idx="933">-0.077418877999999997</cx:pt>
          <cx:pt idx="934">-0.077821111999999998</cx:pt>
          <cx:pt idx="935">-0.080639572000000007</cx:pt>
          <cx:pt idx="936">-0.084667756999999996</cx:pt>
          <cx:pt idx="937">-0.086279716000000006</cx:pt>
          <cx:pt idx="938">-0.086681949999999994</cx:pt>
          <cx:pt idx="939">-0.091112368999999999</cx:pt>
          <cx:pt idx="940">-0.092322092999999994</cx:pt>
          <cx:pt idx="941">-0.092727550000000006</cx:pt>
          <cx:pt idx="942">-0.095546011</cx:pt>
          <cx:pt idx="943">-0.102392655</cx:pt>
          <cx:pt idx="944">-0.10279489</cx:pt>
          <cx:pt idx="945">-0.103200347</cx:pt>
          <cx:pt idx="946">-0.104809083</cx:pt>
          <cx:pt idx="947">-0.10601880700000001</cx:pt>
          <cx:pt idx="948">-0.11085146</cx:pt>
          <cx:pt idx="949">-0.11165895000000001</cx:pt>
          <cx:pt idx="950">-0.11407537800000001</cx:pt>
          <cx:pt idx="951">-0.114879645</cx:pt>
          <cx:pt idx="952">-0.12535566400000001</cx:pt>
          <cx:pt idx="953">-0.12696440000000001</cx:pt>
          <cx:pt idx="954">-0.12777189</cx:pt>
          <cx:pt idx="955">-0.129383849</cx:pt>
          <cx:pt idx="956">-0.130188318</cx:pt>
          <cx:pt idx="957">-0.13542622600000001</cx:pt>
          <cx:pt idx="958">-0.139052378</cx:pt>
          <cx:pt idx="959">-0.13945461200000001</cx:pt>
          <cx:pt idx="960">-0.14912294000000001</cx:pt>
          <cx:pt idx="961">-0.15113713300000001</cx:pt>
          <cx:pt idx="962">-0.151941401</cx:pt>
          <cx:pt idx="963">-0.153553359</cx:pt>
          <cx:pt idx="964">-0.168054542</cx:pt>
          <cx:pt idx="965">-0.17570887800000001</cx:pt>
          <cx:pt idx="966">-0.179737063</cx:pt>
          <cx:pt idx="967">-0.20310210400000001</cx:pt>
          <cx:pt idx="968">-0.218813011</cx:pt>
          <cx:pt idx="969">-0.22324342999999999</cx:pt>
          <cx:pt idx="970">-0.22767384900000001</cx:pt>
          <cx:pt idx="971">-0.228079105</cx:pt>
          <cx:pt idx="972">-0.23251274699999999</cx:pt>
          <cx:pt idx="973">-0.23774441099999999</cx:pt>
          <cx:pt idx="974">-0.24298252200000001</cx:pt>
          <cx:pt idx="975">-0.243786789</cx:pt>
          <cx:pt idx="976">-0.24459125800000001</cx:pt>
          <cx:pt idx="977">-0.244996513</cx:pt>
          <cx:pt idx="978">-0.247412941</cx:pt>
          <cx:pt idx="979">-0.25869645000000002</cx:pt>
          <cx:pt idx="980">-0.259095462</cx:pt>
          <cx:pt idx="981">-0.26030216499999997</cx:pt>
          <cx:pt idx="982">-0.26795629999999998</cx:pt>
          <cx:pt idx="983">-0.27520840099999999</cx:pt>
          <cx:pt idx="984">-0.28125077900000001</cx:pt>
          <cx:pt idx="985">-0.282862738</cx:pt>
          <cx:pt idx="986">-0.31267239099999999</cx:pt>
          <cx:pt idx="987">-0.31710301200000002</cx:pt>
          <cx:pt idx="988">-0.31750504499999999</cx:pt>
          <cx:pt idx="989">-0.31992147199999998</cx:pt>
          <cx:pt idx="990">-0.32958979999999999</cx:pt>
          <cx:pt idx="991">-0.32369318600000002</cx:pt>
          <cx:pt idx="992">-0.323437223</cx:pt>
          <cx:pt idx="993">-0.32241145199999999</cx:pt>
          <cx:pt idx="994">-0.32138568099999998</cx:pt>
          <cx:pt idx="995">-0.32112984700000002</cx:pt>
          <cx:pt idx="996">-0.31600304200000001</cx:pt>
          <cx:pt idx="997">-0.31010847800000002</cx:pt>
          <cx:pt idx="998">-0.30933866900000001</cx:pt>
          <cx:pt idx="999">-0.30651539500000002</cx:pt>
          <cx:pt idx="1000">-0.304723788</cx:pt>
          <cx:pt idx="1001">-0.304467826</cx:pt>
          <cx:pt idx="1002">-0.30241628300000001</cx:pt>
          <cx:pt idx="1003">-0.29242068500000001</cx:pt>
          <cx:pt idx="1004">-0.29139094100000001</cx:pt>
          <cx:pt idx="1005">-0.29113907999999999</cx:pt>
          <cx:pt idx="1006">-0.27857411999999998</cx:pt>
          <cx:pt idx="1007">-0.27627058799999998</cx:pt>
          <cx:pt idx="1008">-0.27575674100000003</cx:pt>
          <cx:pt idx="1009">-0.27268147799999998</cx:pt>
          <cx:pt idx="1010">-0.26781063500000002</cx:pt>
          <cx:pt idx="1011">-0.266017106</cx:pt>
          <cx:pt idx="1012">-0.26524332299999998</cx:pt>
          <cx:pt idx="1013">-0.26370562800000003</cx:pt>
          <cx:pt idx="1014">-0.261916072</cx:pt>
          <cx:pt idx="1015">-0.26088632699999997</cx:pt>
          <cx:pt idx="1016">-0.25832298799999998</cx:pt>
          <cx:pt idx="1017">-0.25807099999999999</cx:pt>
          <cx:pt idx="1018">-0.25781311499999998</cx:pt>
          <cx:pt idx="1019">-0.25217066799999999</cx:pt>
          <cx:pt idx="1020">-0.25165848699999999</cx:pt>
          <cx:pt idx="1021">-0.25114412800000002</cx:pt>
          <cx:pt idx="1022">-0.25037585699999998</cx:pt>
          <cx:pt idx="1023">-0.248322776</cx:pt>
          <cx:pt idx="1024">-0.24704014599999999</cx:pt>
          <cx:pt idx="1025">-0.24550129700000001</cx:pt>
          <cx:pt idx="1026">-0.24524328400000001</cx:pt>
          <cx:pt idx="1027">-0.23756339400000001</cx:pt>
          <cx:pt idx="1028">-0.23703506299999999</cx:pt>
          <cx:pt idx="1029">-0.23576845399999999</cx:pt>
          <cx:pt idx="1030">-0.23167446899999999</cx:pt>
          <cx:pt idx="1031">-0.222952014</cx:pt>
          <cx:pt idx="1032">-0.21858989400000001</cx:pt>
          <cx:pt idx="1033">-0.21833393200000001</cx:pt>
          <cx:pt idx="1034">-0.217051942</cx:pt>
          <cx:pt idx="1035">-0.21089782800000001</cx:pt>
          <cx:pt idx="1036">-0.206539678</cx:pt>
          <cx:pt idx="1037">-0.20217960500000001</cx:pt>
          <cx:pt idx="1038">-0.201667553</cx:pt>
          <cx:pt idx="1039">-0.19807754599999999</cx:pt>
          <cx:pt idx="1040">-0.195001386</cx:pt>
          <cx:pt idx="1041">-0.19320542099999999</cx:pt>
          <cx:pt idx="1042">-0.192179393</cx:pt>
          <cx:pt idx="1043">-0.19141137899999999</cx:pt>
          <cx:pt idx="1044">-0.19012938900000001</cx:pt>
          <cx:pt idx="1045">-0.189375345</cx:pt>
          <cx:pt idx="1046">-0.187837265</cx:pt>
          <cx:pt idx="1047">-0.18475726000000001</cx:pt>
          <cx:pt idx="1048">-0.18115520399999999</cx:pt>
          <cx:pt idx="1049">-0.176559677</cx:pt>
          <cx:pt idx="1050">-0.17604172900000001</cx:pt>
          <cx:pt idx="1051">-0.17578974</cx:pt>
          <cx:pt idx="1052">-0.17501787999999999</cx:pt>
          <cx:pt idx="1053">-0.17347813400000001</cx:pt>
          <cx:pt idx="1054">-0.171938388</cx:pt>
          <cx:pt idx="1055">-0.17014460200000001</cx:pt>
          <cx:pt idx="1056">-0.16961870700000001</cx:pt>
          <cx:pt idx="1057">-0.16937466500000001</cx:pt>
          <cx:pt idx="1058">-0.16835286699999999</cx:pt>
          <cx:pt idx="1059">-0.16807896</cx:pt>
          <cx:pt idx="1060">-0.16758292899999999</cx:pt>
          <cx:pt idx="1061">-0.16525927500000001</cx:pt>
          <cx:pt idx="1062">-0.16245573999999999</cx:pt>
          <cx:pt idx="1063">-0.16219772700000001</cx:pt>
          <cx:pt idx="1064">-0.16038804700000001</cx:pt>
          <cx:pt idx="1065">-0.16014605600000001</cx:pt>
          <cx:pt idx="1066">-0.14733589999999999</cx:pt>
          <cx:pt idx="1067">-0.14579012899999999</cx:pt>
          <cx:pt idx="1068">-0.14451634299999999</cx:pt>
          <cx:pt idx="1069">-0.14092492600000001</cx:pt>
          <cx:pt idx="1070">-0.133484463</cx:pt>
          <cx:pt idx="1071">-0.131434844</cx:pt>
          <cx:pt idx="1072">-0.13090689799999999</cx:pt>
          <cx:pt idx="1073">-0.12348642999999999</cx:pt>
          <cx:pt idx="1074">-0.12298258099999999</cx:pt>
          <cx:pt idx="1075">-0.119127383</cx:pt>
          <cx:pt idx="1076">-0.116827825</cx:pt>
          <cx:pt idx="1077">-0.116551868</cx:pt>
          <cx:pt idx="1078">-0.11630987700000001</cx:pt>
          <cx:pt idx="1079">-0.115540068</cx:pt>
          <cx:pt idx="1080">-0.114516219</cx:pt>
          <cx:pt idx="1081">-0.114000322</cx:pt>
          <cx:pt idx="1082">-0.099907278000000002</cx:pt>
          <cx:pt idx="1083">-0.098619649000000004</cx:pt>
          <cx:pt idx="1084">-0.096572080000000005</cx:pt>
          <cx:pt idx="1085">-0.095032461999999998</cx:pt>
          <cx:pt idx="1086">-0.093758675</cx:pt>
          <cx:pt idx="1087">-0.093492844000000005</cx:pt>
          <cx:pt idx="1088">-0.092982969999999998</cx:pt>
          <cx:pt idx="1089">-0.092722905999999994</cx:pt>
          <cx:pt idx="1090">-0.090931427999999995</cx:pt>
          <cx:pt idx="1091">-0.087596100999999996</cx:pt>
          <cx:pt idx="1092">-0.086814372000000001</cx:pt>
          <cx:pt idx="1093">-0.085292698</cx:pt>
          <cx:pt idx="1094">-0.084264876000000002</cx:pt>
          <cx:pt idx="1095">-0.083761027000000002</cx:pt>
          <cx:pt idx="1096">-0.082457375999999999</cx:pt>
          <cx:pt idx="1097">-0.081191663999999997</cx:pt>
          <cx:pt idx="1098">-0.080421726999999998</cx:pt>
          <cx:pt idx="1099">-0.077344541000000003</cx:pt>
          <cx:pt idx="1100">-0.074019212000000001</cx:pt>
          <cx:pt idx="1101">-0.073755302999999994</cx:pt>
          <cx:pt idx="1102">-0.072215685000000002</cx:pt>
          <cx:pt idx="1103">-0.069150420000000004</cx:pt>
          <cx:pt idx="1104">-0.068380482000000006</cx:pt>
          <cx:pt idx="1105">-0.067860611000000001</cx:pt>
          <cx:pt idx="1106">-0.067076831000000003</cx:pt>
          <cx:pt idx="1107">-0.065561181999999996</cx:pt>
          <cx:pt idx="1108">-0.058892834999999998</cx:pt>
          <cx:pt idx="1109">-0.057349115999999999</cx:pt>
          <cx:pt idx="1110">-0.055817573000000002</cx:pt>
          <cx:pt idx="1111">-0.055303597000000003</cx:pt>
          <cx:pt idx="1112">-0.053766029999999999</cx:pt>
          <cx:pt idx="1113">-0.052478272999999999</cx:pt>
          <cx:pt idx="1114">-0.052224360999999997</cx:pt>
          <cx:pt idx="1115">-0.051718461</cx:pt>
          <cx:pt idx="1116">-0.051452629</cx:pt>
          <cx:pt idx="1117">-0.051198590000000002</cx:pt>
          <cx:pt idx="1118">-0.049900963</cx:pt>
          <cx:pt idx="1119">-0.049661022999999999</cx:pt>
          <cx:pt idx="1120">-0.049409033999999998</cx:pt>
          <cx:pt idx="1121">-0.047357618999999997</cx:pt>
          <cx:pt idx="1122">-0.045815951000000001</cx:pt>
          <cx:pt idx="1123">-0.043762484999999997</cx:pt>
          <cx:pt idx="1124">-0.041464978</cx:pt>
          <cx:pt idx="1125">-0.036844072999999998</cx:pt>
          <cx:pt idx="1126">-0.032489127999999999</cx:pt>
          <cx:pt idx="1127">-0.032213169999999999</cx:pt>
          <cx:pt idx="1128">-0.029649832000000001</cx:pt>
          <cx:pt idx="1129">-0.029409891000000001</cx:pt>
          <cx:pt idx="1130">-0.028382198000000001</cx:pt>
          <cx:pt idx="1131">-0.021467887000000001</cx:pt>
          <cx:pt idx="1132">-0.021211925</cx:pt>
          <cx:pt idx="1133">-0.020438014000000001</cx:pt>
          <cx:pt idx="1134">-0.01710884</cx:pt>
          <cx:pt idx="1135">-0.016591018999999999</cx:pt>
          <cx:pt idx="1136">-0.015821209999999999</cx:pt>
          <cx:pt idx="1137">-0.013521781</cx:pt>
          <cx:pt idx="1138">-0.013243773</cx:pt>
          <cx:pt idx="1139">-0.011210303</cx:pt>
          <cx:pt idx="1140">-0.0078771550000000003</cx:pt>
          <cx:pt idx="1141">-0.003772147</cx:pt>
          <cx:pt idx="1142">0.0064814629999999998</cx:pt>
          <cx:pt idx="1143">0.008031079</cx:pt>
          <cx:pt idx="1144">0.011344231999999999</cx:pt>
          <cx:pt idx="1145">0.01186218</cx:pt>
          <cx:pt idx="1146">0.012114041000000001</cx:pt>
          <cx:pt idx="1147">0.017494757</cx:pt>
          <cx:pt idx="1148">0.018782387000000001</cx:pt>
          <cx:pt idx="1149">0.020849950999999999</cx:pt>
          <cx:pt idx="1150">0.026726570000000002</cx:pt>
          <cx:pt idx="1151">0.030061768999999999</cx:pt>
          <cx:pt idx="1152">0.033644855000000001</cx:pt>
          <cx:pt idx="1153">0.040587234999999999</cx:pt>
          <cx:pt idx="1154">0.040831148999999997</cx:pt>
          <cx:pt idx="1155">0.045955903999999999</cx:pt>
          <cx:pt idx="1156">0.046483721999999998</cx:pt>
          <cx:pt idx="1157">0.047251608</cx:pt>
          <cx:pt idx="1158">0.048001422000000002</cx:pt>
          <cx:pt idx="1159">0.050564761</cx:pt>
          <cx:pt idx="1160">0.050822645</cx:pt>
          <cx:pt idx="1161">0.051594504999999999</cx:pt>
          <cx:pt idx="1162">0.060068429</cx:pt>
          <cx:pt idx="1163">0.062873759000000001</cx:pt>
          <cx:pt idx="1164">0.069554152999999994</cx:pt>
          <cx:pt idx="1165">0.077244297000000003</cx:pt>
          <cx:pt idx="1166">0.111318154</cx:pt>
          <cx:pt idx="1167">0.111835974</cx:pt>
          <cx:pt idx="1168">0.112363792</cx:pt>
          <cx:pt idx="1169">0.122617403</cx:pt>
          <cx:pt idx="1170">0.13184511400000001</cx:pt>
          <cx:pt idx="1171">0.13234306800000001</cx:pt>
          <cx:pt idx="1172">0.14131084399999999</cx:pt>
          <cx:pt idx="1173">0.14157077900000001</cx:pt>
          <cx:pt idx="1174">0.142082703</cx:pt>
          <cx:pt idx="1175">0.14362027099999999</cx:pt>
          <cx:pt idx="1176">0.143892255</cx:pt>
          <cx:pt idx="1177">0.145929698</cx:pt>
          <cx:pt idx="1178">0.15260816999999999</cx:pt>
          <cx:pt idx="1179">0.15361984200000001</cx:pt>
          <cx:pt idx="1180">0.15387183099999999</cx:pt>
          <cx:pt idx="1181">0.15541350000000001</cx:pt>
          <cx:pt idx="1182">0.156951067</cx:pt>
          <cx:pt idx="1183">0.15746491400000001</cx:pt>
          <cx:pt idx="1184">0.16875826699999999</cx:pt>
          <cx:pt idx="1185">0.173115135</cx:pt>
          <cx:pt idx="1186">0.190784855</cx:pt>
          <cx:pt idx="1187">0.197981147</cx:pt>
          <cx:pt idx="1188">0.198992948</cx:pt>
          <cx:pt idx="1189">0.20028865200000001</cx:pt>
          <cx:pt idx="1190">0.218216257</cx:pt>
          <cx:pt idx="1191">0.21873215400000001</cx:pt>
          <cx:pt idx="1192">0.21925805000000001</cx:pt>
          <cx:pt idx="1193">0.22129357</cx:pt>
          <cx:pt idx="1194">0.22206338</cx:pt>
          <cx:pt idx="1195">0.22231921399999999</cx:pt>
          <cx:pt idx="1196">0.224128893</cx:pt>
          <cx:pt idx="1197">0.22565248900000001</cx:pt>
          <cx:pt idx="1198">0.22744409600000001</cx:pt>
          <cx:pt idx="1199">0.237443668</cx:pt>
          <cx:pt idx="1200">0.23923719700000001</cx:pt>
          <cx:pt idx="1201">0.24154457400000001</cx:pt>
          <cx:pt idx="1202">0.24771112100000001</cx:pt>
          <cx:pt idx="1203">0.24897888400000001</cx:pt>
          <cx:pt idx="1204">0.24923471799999999</cx:pt>
          <cx:pt idx="1205">0.25487344699999998</cx:pt>
          <cx:pt idx="1206">0.25538934499999999</cx:pt>
          <cx:pt idx="1207">0.25641498800000001</cx:pt>
          <cx:pt idx="1208">0.26770629000000001</cx:pt>
          <cx:pt idx="1209">0.27871368800000001</cx:pt>
          <cx:pt idx="1210">0.27948541999999998</cx:pt>
          <cx:pt idx="1211">0.28231882000000003</cx:pt>
          <cx:pt idx="1212">0.28513811999999999</cx:pt>
          <cx:pt idx="1213">0.28923915500000003</cx:pt>
          <cx:pt idx="1214">0.292828264</cx:pt>
          <cx:pt idx="1215">0.29334006099999999</cx:pt>
          <cx:pt idx="1216">0.29641737400000001</cx:pt>
          <cx:pt idx="1217">0.29692929899999998</cx:pt>
          <cx:pt idx="1218">0.29742712399999999</cx:pt>
          <cx:pt idx="1219">0.301030205</cx:pt>
          <cx:pt idx="1220">0.301288218</cx:pt>
          <cx:pt idx="1221">0.302809891</cx:pt>
          <cx:pt idx="1222">0.30768060600000002</cx:pt>
          <cx:pt idx="1223">0.30795259000000003</cx:pt>
          <cx:pt idx="1224">0.31000208200000001</cx:pt>
          <cx:pt idx="1225">0.31564273399999998</cx:pt>
          <cx:pt idx="1226">0.31844806399999998</cx:pt>
          <cx:pt idx="1227">0.31871991999999999</cx:pt>
          <cx:pt idx="1228">0.31972979699999998</cx:pt>
          <cx:pt idx="1229">0.32205114499999998</cx:pt>
          <cx:pt idx="1230">0.32282095399999999</cx:pt>
          <cx:pt idx="1231">0.32511243699999998</cx:pt>
          <cx:pt idx="1232">0.334340148</cx:pt>
          <cx:pt idx="1233">0.337419513</cx:pt>
          <cx:pt idx="1234">0.33871316600000001</cx:pt>
          <cx:pt idx="1235">0.34255823800000001</cx:pt>
          <cx:pt idx="1236">0.34357003800000002</cx:pt>
          <cx:pt idx="1237">0.34536356800000001</cx:pt>
          <cx:pt idx="1238">0.35895032599999999</cx:pt>
          <cx:pt idx="1239">0.36458892799999998</cx:pt>
          <cx:pt idx="1240">0.38125287200000002</cx:pt>
          <cx:pt idx="1241">0.38229056300000003</cx:pt>
          <cx:pt idx="1242">0.38331838499999998</cx:pt>
          <cx:pt idx="1243">0.38357229700000001</cx:pt>
          <cx:pt idx="1244">0.38458409700000001</cx:pt>
          <cx:pt idx="1245">0.38485403000000001</cx:pt>
          <cx:pt idx="1246">0.38535390600000002</cx:pt>
          <cx:pt idx="1247">0.38765936000000001</cx:pt>
          <cx:pt idx="1248">0.39227424100000002</cx:pt>
          <cx:pt idx="1249">0.40613080400000001</cx:pt>
          <cx:pt idx="1250">0.40972004200000001</cx:pt>
          <cx:pt idx="1251">0.41177145700000001</cx:pt>
          <cx:pt idx="1252">0.41433492300000002</cx:pt>
          <cx:pt idx="1253">0.41484672</cx:pt>
          <cx:pt idx="1254">0.415344673</cx:pt>
          <cx:pt idx="1255">0.41611448200000001</cx:pt>
          <cx:pt idx="1256">0.41869179200000001</cx:pt>
          <cx:pt idx="1257">0.41920576700000001</cx:pt>
          <cx:pt idx="1258">0.41946160100000002</cx:pt>
          <cx:pt idx="1259">0.42176910499999998</cx:pt>
          <cx:pt idx="1260">0.42330667300000002</cx:pt>
          <cx:pt idx="1261">0.42510033000000003</cx:pt>
          <cx:pt idx="1262">0.42688181200000003</cx:pt>
          <cx:pt idx="1263">0.42715174500000003</cx:pt>
          <cx:pt idx="1264">0.42766366900000002</cx:pt>
          <cx:pt idx="1265">0.42867546899999998</cx:pt>
          <cx:pt idx="1266">0.42944527799999999</cx:pt>
          <cx:pt idx="1267">0.43099681699999998</cx:pt>
          <cx:pt idx="1268">0.437917151</cx:pt>
          <cx:pt idx="1269">0.43894292299999998</cx:pt>
          <cx:pt idx="1270">0.440466519</cx:pt>
          <cx:pt idx="1271">0.440738503</cx:pt>
          <cx:pt idx="1272">0.44432761300000001</cx:pt>
          <cx:pt idx="1273">0.45278564300000002</cx:pt>
          <cx:pt idx="1274">0.454579173</cx:pt>
          <cx:pt idx="1275">0.45483705800000002</cx:pt>
          <cx:pt idx="1276">0.45714251099999997</cx:pt>
          <cx:pt idx="1277">0.45841219599999999</cx:pt>
          <cx:pt idx="1278">0.45893809200000002</cx:pt>
          <cx:pt idx="1279">0.46073162099999998</cx:pt>
          <cx:pt idx="1280">0.46201335500000001</cx:pt>
          <cx:pt idx="1281">0.462271239</cx:pt>
          <cx:pt idx="1282">0.46432085899999997</cx:pt>
          <cx:pt idx="1283">0.46533253099999999</cx:pt>
          <cx:pt idx="1284">0.46687214999999999</cx:pt>
          <cx:pt idx="1285">0.47071529899999998</cx:pt>
          <cx:pt idx="1286">0.47149907899999999</cx:pt>
          <cx:pt idx="1287">0.473022675</cx:pt>
          <cx:pt idx="1288">0.47457434199999998</cx:pt>
          <cx:pt idx="1289">0.476369922</cx:pt>
          <cx:pt idx="1290">0.47713768000000001</cx:pt>
          <cx:pt idx="1291">0.48098275200000001</cx:pt>
          <cx:pt idx="1292">0.48149659900000003</cx:pt>
          <cx:pt idx="1293">0.482778333</cx:pt>
          <cx:pt idx="1294">0.483546219</cx:pt>
          <cx:pt idx="1295">0.48455994200000002</cx:pt>
          <cx:pt idx="1296">0.48534167099999997</cx:pt>
          <cx:pt idx="1297">0.49098040100000001</cx:pt>
          <cx:pt idx="1298">0.49405758700000002</cx:pt>
          <cx:pt idx="1299">0.49456951100000002</cx:pt>
          <cx:pt idx="1300">0.51405083299999998</cx:pt>
          <cx:pt idx="1301">0.515846413</cx:pt>
          <cx:pt idx="1302">0.52456219999999998</cx:pt>
          <cx:pt idx="1303">0.52507412499999995</cx:pt>
          <cx:pt idx="1304">0.52609989599999996</cx:pt>
          <cx:pt idx="1305">0.52635585799999995</cx:pt>
          <cx:pt idx="1306">0.52686970499999997</cx:pt>
          <cx:pt idx="1307">0.53276426899999996</cx:pt>
          <cx:pt idx="1308">0.53302023099999996</cx:pt>
          <cx:pt idx="1309">0.53430183600000003</cx:pt>
          <cx:pt idx="1310">0.53917267899999999</cx:pt>
          <cx:pt idx="1311">0.54096825999999998</cx:pt>
          <cx:pt idx="1312">0.54148018399999998</cx:pt>
          <cx:pt idx="1313">0.54378755999999995</cx:pt>
          <cx:pt idx="1314">0.54404352199999995</cx:pt>
          <cx:pt idx="1315">0.55737431900000001</cx:pt>
          <cx:pt idx="1316">0.557886243</cx:pt>
          <cx:pt idx="1317">0.55967977300000005</cx:pt>
          <cx:pt idx="1318">0.56019361899999998</cx:pt>
          <cx:pt idx="1319">0.56198714900000002</cx:pt>
          <cx:pt idx="1320">0.56250112399999996</cx:pt>
          <cx:pt idx="1321">0.56326888200000003</cx:pt>
          <cx:pt idx="1322">0.56890953499999997</cx:pt>
          <cx:pt idx="1323">0.56916549699999996</cx:pt>
          <cx:pt idx="1324">0.57019126799999997</cx:pt>
          <cx:pt idx="1325">0.57070306400000004</cx:pt>
          <cx:pt idx="1326">0.57941897899999995</cx:pt>
          <cx:pt idx="1327">0.57967494200000003</cx:pt>
          <cx:pt idx="1328">0.582494242</cx:pt>
          <cx:pt idx="1329">0.58352001399999998</cx:pt>
          <cx:pt idx="1330">0.58531559399999999</cx:pt>
          <cx:pt idx="1331">0.588902653</cx:pt>
          <cx:pt idx="1332">0.5932617</cx:pt>
          <cx:pt idx="1333">0.59462803399999997</cx:pt>
          <cx:pt idx="1334">0.59479995799999996</cx:pt>
          <cx:pt idx="1335">0.60283142000000001</cx:pt>
          <cx:pt idx="1336">0.60454032099999999</cx:pt>
          <cx:pt idx="1337">0.60488288700000004</cx:pt>
          <cx:pt idx="1338">0.60522417100000003</cx:pt>
          <cx:pt idx="1339">0.60642123000000003</cx:pt>
          <cx:pt idx="1340">0.60693307100000005</cx:pt>
          <cx:pt idx="1341">0.60727435500000004</cx:pt>
          <cx:pt idx="1342">0.607787564</cx:pt>
          <cx:pt idx="1343">0.608128848</cx:pt>
          <cx:pt idx="1344">0.60915526499999995</cx:pt>
          <cx:pt idx="1345">0.61103480700000001</cx:pt>
          <cx:pt idx="1346">0.61479389200000001</cx:pt>
          <cx:pt idx="1347">0.61564838399999999</cx:pt>
          <cx:pt idx="1348">0.61667480100000005</cx:pt>
          <cx:pt idx="1349">0.61940883599999996</cx:pt>
          <cx:pt idx="1350">0.61975003500000003</cx:pt>
          <cx:pt idx="1351">0.62026324300000002</cx:pt>
          <cx:pt idx="1352">0.62094709400000003</cx:pt>
          <cx:pt idx="1353">0.62214278499999998</cx:pt>
          <cx:pt idx="1354">0.62265599400000005</cx:pt>
          <cx:pt idx="1355">0.62316920200000003</cx:pt>
          <cx:pt idx="1356">0.62351048600000003</cx:pt>
          <cx:pt idx="1357">0.62368112899999995</cx:pt>
          <cx:pt idx="1358">0.62914919899999999</cx:pt>
          <cx:pt idx="1359">0.62966240699999998</cx:pt>
          <cx:pt idx="1360">0.631030023</cx:pt>
          <cx:pt idx="1361">0.63137130699999999</cx:pt>
          <cx:pt idx="1362">0.63393469999999996</cx:pt>
          <cx:pt idx="1363">0.63649809199999996</cx:pt>
          <cx:pt idx="1364">0.64128359400000001</cx:pt>
          <cx:pt idx="1365">0.64521331999999998</cx:pt>
          <cx:pt idx="1366">0.64538532999999998</cx:pt>
          <cx:pt idx="1367">0.655466891</cx:pt>
          <cx:pt idx="1368">0.65837293600000002</cx:pt>
          <cx:pt idx="1369">0.65871413499999998</cx:pt>
          <cx:pt idx="1370">0.66025247799999998</cx:pt>
          <cx:pt idx="1371">0.66059632599999996</cx:pt>
          <cx:pt idx="1372">0.66213202000000004</cx:pt>
          <cx:pt idx="1373">0.66281587099999995</cx:pt>
          <cx:pt idx="1374">0.66332907900000004</cx:pt>
          <cx:pt idx="1375">0.66349963599999995</cx:pt>
          <cx:pt idx="1376">0.663670278</cx:pt>
          <cx:pt idx="1377">0.67101925699999998</cx:pt>
          <cx:pt idx="1378">0.67768430099999999</cx:pt>
          <cx:pt idx="1379">0.67870943500000003</cx:pt>
          <cx:pt idx="1380">0.67905063399999999</cx:pt>
          <cx:pt idx="1381">0.68076226900000003</cx:pt>
          <cx:pt idx="1382">0.68178603699999996</cx:pt>
          <cx:pt idx="1383">0.69186759799999997</cx:pt>
          <cx:pt idx="1384">0.694260349</cx:pt>
          <cx:pt idx="1385">0.69853272700000002</cx:pt>
          <cx:pt idx="1386">0.70041355100000002</cx:pt>
          <cx:pt idx="1387">0.70058419299999997</cx:pt>
          <cx:pt idx="1388">0.70092547800000005</cx:pt>
          <cx:pt idx="1389">0.70314758600000005</cx:pt>
          <cx:pt idx="1390">0.70348887000000004</cx:pt>
          <cx:pt idx="1391">0.70417272099999995</cx:pt>
          <cx:pt idx="1392">0.70485657099999999</cx:pt>
          <cx:pt idx="1393">0.70491117299999995</cx:pt>
          <cx:pt idx="1394">0.70844501400000004</cx:pt>
          <cx:pt idx="1395">0.70912886399999997</cx:pt>
          <cx:pt idx="1396">0.71003667699999995</cx:pt>
          <cx:pt idx="1397">0.71015391400000005</cx:pt>
          <cx:pt idx="1398">0.71117904899999995</cx:pt>
          <cx:pt idx="1399">0.711521615</cx:pt>
          <cx:pt idx="1400">0.71374508999999997</cx:pt>
          <cx:pt idx="1401">0.71784682600000005</cx:pt>
          <cx:pt idx="1402">0.71801473400000004</cx:pt>
          <cx:pt idx="1403">0.72177518600000001</cx:pt>
          <cx:pt idx="1404">0.72656068699999998</cx:pt>
          <cx:pt idx="1405">0.72878151300000005</cx:pt>
          <cx:pt idx="1406">0.72929472200000001</cx:pt>
          <cx:pt idx="1407">0.72946536399999995</cx:pt>
          <cx:pt idx="1408">0.73134490600000002</cx:pt>
          <cx:pt idx="1409">0.73202875700000003</cx:pt>
          <cx:pt idx="1410">0.73630105000000001</cx:pt>
          <cx:pt idx="1411">0.73664233400000001</cx:pt>
          <cx:pt idx="1412">0.73766875099999996</cx:pt>
          <cx:pt idx="1413">0.73801003499999995</cx:pt>
          <cx:pt idx="1414">0.73903508500000004</cx:pt>
          <cx:pt idx="1415">0.74057607700000005</cx:pt>
          <cx:pt idx="1416">0.74365002899999999</cx:pt>
          <cx:pt idx="1417">0.75903038499999997</cx:pt>
          <cx:pt idx="1418">0.75920094199999999</cx:pt>
          <cx:pt idx="1419">0.75954359400000004</cx:pt>
          <cx:pt idx="1420">0.760226077</cx:pt>
          <cx:pt idx="1421">0.76056864300000004</cx:pt>
          <cx:pt idx="1422">0.76894267199999999</cx:pt>
          <cx:pt idx="1423">0.76945451300000001</cx:pt>
          <cx:pt idx="1424">0.76962652300000001</cx:pt>
          <cx:pt idx="1425">0.772189915</cx:pt>
          <cx:pt idx="1426">0.77680349299999996</cx:pt>
          <cx:pt idx="1427">0.79713999199999996</cx:pt>
          <cx:pt idx="1428">0.80705227899999998</cx:pt>
          <cx:pt idx="1429">0.81029952199999999</cx:pt>
          <cx:pt idx="1430">0.811324657</cx:pt>
          <cx:pt idx="1431">0.81457181499999998</cx:pt>
          <cx:pt idx="1432">0.81935740199999996</cx:pt>
          <cx:pt idx="1433">0.82602381199999997</cx:pt>
          <cx:pt idx="1434">0.83149316399999995</cx:pt>
          <cx:pt idx="1435">0.83183179900000004</cx:pt>
          <cx:pt idx="1436">0.83422454999999995</cx:pt>
          <cx:pt idx="1437">0.83576545700000004</cx:pt>
          <cx:pt idx="1438">0.83610537399999996</cx:pt>
          <cx:pt idx="1439">0.84448076999999999</cx:pt>
          <cx:pt idx="1440">0.84482068700000001</cx:pt>
          <cx:pt idx="1441">0.84533526299999995</cx:pt>
          <cx:pt idx="1442">0.84584847100000005</cx:pt>
          <cx:pt idx="1443">0.84635766300000004</cx:pt>
          <cx:pt idx="1444">0.84892105600000001</cx:pt>
          <cx:pt idx="1445">0.85011811500000001</cx:pt>
          <cx:pt idx="1446">0.85028875699999995</cx:pt>
          <cx:pt idx="1447">0.85268150799999998</cx:pt>
          <cx:pt idx="1448">0.85387719900000003</cx:pt>
          <cx:pt idx="1449">0.85473169199999999</cx:pt>
          <cx:pt idx="1450">0.85644324100000002</cx:pt>
          <cx:pt idx="1451">0.85951719299999996</cx:pt>
          <cx:pt idx="1452">0.86173930099999996</cx:pt>
          <cx:pt idx="1453">0.86225122799999998</cx:pt>
          <cx:pt idx="1454">0.86259379400000002</cx:pt>
          <cx:pt idx="1455">0.87284736500000004</cx:pt>
          <cx:pt idx="1456">0.87626525099999997</cx:pt>
          <cx:pt idx="1457">0.88498047800000001</cx:pt>
          <cx:pt idx="1458">0.88515112100000004</cx:pt>
          <cx:pt idx="1459">0.88566697800000005</cx:pt>
          <cx:pt idx="1460">0.89027790600000001</cx:pt>
          <cx:pt idx="1461">0.89062047200000005</cx:pt>
          <cx:pt idx="1462">0.89831065099999996</cx:pt>
          <cx:pt idx="1463">0.899335785</cx:pt>
          <cx:pt idx="1464">0.89950634200000001</cx:pt>
          <cx:pt idx="1465">0.90070340100000001</cx:pt>
          <cx:pt idx="1466">0.90087669199999998</cx:pt>
          <cx:pt idx="1467">0.90514633600000005</cx:pt>
          <cx:pt idx="1468">0.90925072100000004</cx:pt>
          <cx:pt idx="1469">0.90942136299999998</cx:pt>
          <cx:pt idx="1470">0.91027585600000005</cx:pt>
          <cx:pt idx="1471">0.91403493999999996</cx:pt>
          <cx:pt idx="1472">0.91437750699999998</cx:pt>
          <cx:pt idx="1473">0.91762338300000001</cx:pt>
          <cx:pt idx="1474">0.91779539200000004</cx:pt>
          <cx:pt idx="1475">0.91830458400000003</cx:pt>
          <cx:pt idx="1476">0.92873281399999996</cx:pt>
          <cx:pt idx="1477">0.944967577</cx:pt>
          <cx:pt idx="1478">0.95163005700000003</cx:pt>
          <cx:pt idx="1479">0.96342188600000001</cx:pt>
          <cx:pt idx="1480">0.97094407100000002</cx:pt>
          <cx:pt idx="1481">0.97128270699999997</cx:pt>
          <cx:pt idx="1482">0.97247976599999997</cx:pt>
          <cx:pt idx="1483">0.97402340700000001</cx:pt>
          <cx:pt idx="1484">0.97436195699999995</cx:pt>
          <cx:pt idx="1485">0.97777984200000001</cx:pt>
          <cx:pt idx="1486">0.98512873599999995</cx:pt>
          <cx:pt idx="1487">0.98598049399999999</cx:pt>
          <cx:pt idx="1488">0.98683498700000005</cx:pt>
          <cx:pt idx="1489">0.98734691399999996</cx:pt>
          <cx:pt idx="1490">0.99845489200000004</cx:pt>
          <cx:pt idx="1491">0.99897074900000005</cx:pt>
          <cx:pt idx="1492">0.99999588399999995</cx:pt>
          <cx:pt idx="1493">1.0003358010000001</cx:pt>
          <cx:pt idx="1494">1.003240479</cx:pt>
          <cx:pt idx="1495">1.0034137700000001</cx:pt>
          <cx:pt idx="1496">1.012676898</cx:pt>
          <cx:pt idx="1497">1.01349405</cx:pt>
          <cx:pt idx="1498">1.0136646060000001</cx:pt>
          <cx:pt idx="1499">1.015376241</cx:pt>
          <cx:pt idx="1500">1.0158894489999999</cx:pt>
          <cx:pt idx="1501">1.0165706510000001</cx:pt>
          <cx:pt idx="1502">1.0234063360000001</cx:pt>
          <cx:pt idx="1503">1.02443412</cx:pt>
          <cx:pt idx="1504">1.025115236</cx:pt>
          <cx:pt idx="1505">1.0264829369999999</cx:pt>
          <cx:pt idx="1506">1.026657596</cx:pt>
          <cx:pt idx="1507">1.0295609059999999</cx:pt>
          <cx:pt idx="1508">1.0302446709999999</cx:pt>
          <cx:pt idx="1509">1.033149348</cx:pt>
          <cx:pt idx="1510">1.0471607220000001</cx:pt>
          <cx:pt idx="1511">1.0514330140000001</cx:pt>
          <cx:pt idx="1512">1.0526313549999999</cx:pt>
          <cx:pt idx="1513">1.0529793039999999</cx:pt>
          <cx:pt idx="1514">1.0548508999999999</cx:pt>
          <cx:pt idx="1515">1.07040318</cx:pt>
          <cx:pt idx="1516">1.0712656199999999</cx:pt>
          <cx:pt idx="1517">1.0714348950000001</cx:pt>
          <cx:pt idx="1518">1.075703257</cx:pt>
          <cx:pt idx="1519">1.078434643</cx:pt>
          <cx:pt idx="1520">1.080830043</cx:pt>
          <cx:pt idx="1521">1.081512526</cx:pt>
          <cx:pt idx="1522">1.0866393110000001</cx:pt>
          <cx:pt idx="1523">1.086815251</cx:pt>
          <cx:pt idx="1524">1.0869832450000001</cx:pt>
          <cx:pt idx="1525">1.0900584790000001</cx:pt>
          <cx:pt idx="1526">1.090747712</cx:pt>
          <cx:pt idx="1527">1.0958664659999999</cx:pt>
          <cx:pt idx="1528">1.099285633</cx:pt>
          <cx:pt idx="1529">1.0994549929999999</cx:pt>
          <cx:pt idx="1530">1.099802857</cx:pt>
          <cx:pt idx="1531">1.100138759</cx:pt>
          <cx:pt idx="1532">1.1085141549999999</cx:pt>
          <cx:pt idx="1533">1.108854072</cx:pt>
          <cx:pt idx="1534">1.1132996559999999</cx:pt>
          <cx:pt idx="1535">1.117745325</cx:pt>
          <cx:pt idx="1536">1.1191143079999999</cx:pt>
          <cx:pt idx="1537">1.123386601</cx:pt>
          <cx:pt idx="1538">1.124924944</cx:pt>
          <cx:pt idx="1539">1.1266311950000001</cx:pt>
          <cx:pt idx="1540">1.1269711120000001</cx:pt>
          <cx:pt idx="1541">1.1274856879999999</cx:pt>
          <cx:pt idx="1542">1.128342744</cx:pt>
          <cx:pt idx="1543">1.128849287</cx:pt>
          <cx:pt idx="1544">1.14253809</cx:pt>
          <cx:pt idx="1545">1.143548528</cx:pt>
          <cx:pt idx="1546">1.1454280699999999</cx:pt>
          <cx:pt idx="1547">1.1456053770000001</cx:pt>
          <cx:pt idx="1548">1.146453119</cx:pt>
          <cx:pt idx="1549">1.1591141380000001</cx:pt>
          <cx:pt idx="1550">1.1601245760000001</cx:pt>
          <cx:pt idx="1551">1.16405567</cx:pt>
          <cx:pt idx="1552">1.1642316100000001</cx:pt>
          <cx:pt idx="1553">1.1645688780000001</cx:pt>
          <cx:pt idx="1554">1.1666243599999999</cx:pt>
          <cx:pt idx="1555">1.171580504</cx:pt>
          <cx:pt idx="1556">1.1732841060000001</cx:pt>
          <cx:pt idx="1557">1.1739719719999999</cx:pt>
          <cx:pt idx="1558">1.174486462</cx:pt>
          <cx:pt idx="1559">1.1749996709999999</cx:pt>
          <cx:pt idx="1560">1.1790987580000001</cx:pt>
          <cx:pt idx="1561">1.1799505159999999</cx:pt>
          <cx:pt idx="1562">1.180126456</cx:pt>
          <cx:pt idx="1563">1.1826831840000001</cx:pt>
          <cx:pt idx="1564">1.1833737</cx:pt>
          <cx:pt idx="1565">1.183552374</cx:pt>
          <cx:pt idx="1566">1.18388161</cx:pt>
          <cx:pt idx="1567">1.1924249140000001</cx:pt>
          <cx:pt idx="1568">1.1926008539999999</cx:pt>
          <cx:pt idx="1569">1.1946497570000001</cx:pt>
          <cx:pt idx="1570">1.198578116</cx:pt>
          <cx:pt idx="1571">1.1997778240000001</cx:pt>
          <cx:pt idx="1572">1.201154839</cx:pt>
          <cx:pt idx="1573">1.2013161670000001</cx:pt>
          <cx:pt idx="1574">1.201484075</cx:pt>
          <cx:pt idx="1575">1.2018293760000001</cx:pt>
          <cx:pt idx="1576">1.2021692930000001</cx:pt>
          <cx:pt idx="1577">1.2127654299999999</cx:pt>
          <cx:pt idx="1578">1.2218233089999999</cx:pt>
          <cx:pt idx="1579">1.2254117520000001</cx:pt>
          <cx:pt idx="1580">1.226092953</cx:pt>
          <cx:pt idx="1581">1.227463303</cx:pt>
          <cx:pt idx="1582">1.231732947</cx:pt>
          <cx:pt idx="1583">1.238912566</cx:pt>
          <cx:pt idx="1584">1.239264446</cx:pt>
          <cx:pt idx="1585">1.240110906</cx:pt>
          <cx:pt idx="1586">1.24455256</cx:pt>
          <cx:pt idx="1587">1.2447204679999999</cx:pt>
          <cx:pt idx="1588">1.2515588870000001</cx:pt>
          <cx:pt idx="1589">1.253779714</cx:pt>
          <cx:pt idx="1590">1.2563404579999999</cx:pt>
          <cx:pt idx="1591">1.257366875</cx:pt>
          <cx:pt idx="1592">1.2606180490000001</cx:pt>
          <cx:pt idx="1593">1.2618124580000001</cx:pt>
          <cx:pt idx="1594">1.261980452</cx:pt>
          <cx:pt idx="1595">1.2712088880000001</cx:pt>
          <cx:pt idx="1596">1.275651823</cx:pt>
          <cx:pt idx="1597">1.2761676799999999</cx:pt>
          <cx:pt idx="1598">1.276508964</cx:pt>
          <cx:pt idx="1599">1.281975667</cx:pt>
          <cx:pt idx="1600">1.2905336679999999</cx:pt>
          <cx:pt idx="1601">1.2915480370000001</cx:pt>
          <cx:pt idx="1602">1.2956604540000001</cx:pt>
          <cx:pt idx="1603">1.2966748219999999</cx:pt>
          <cx:pt idx="1604">1.29963282</cx:pt>
          <cx:pt idx="1605">1.303341233</cx:pt>
          <cx:pt idx="1606">1.311370046</cx:pt>
          <cx:pt idx="1607">1.3125697540000001</cx:pt>
          <cx:pt idx="1608">1.313252238</cx:pt>
          <cx:pt idx="1609">1.314790581</cx:pt>
          <cx:pt idx="1610">1.3211130579999999</cx:pt>
          <cx:pt idx="1611">1.325725268</cx:pt>
          <cx:pt idx="1612">1.3259092400000001</cx:pt>
          <cx:pt idx="1613">1.3320478309999999</cx:pt>
          <cx:pt idx="1614">1.334103313</cx:pt>
          <cx:pt idx="1615">1.3382036820000001</cx:pt>
          <cx:pt idx="1616">1.341105625</cx:pt>
          <cx:pt idx="1617">1.3412895970000001</cx:pt>
          <cx:pt idx="1618">1.3418028049999999</cx:pt>
          <cx:pt idx="1619">1.3477840830000001</cx:pt>
          <cx:pt idx="1620">1.351704496</cx:pt>
          <cx:pt idx="1621">1.3535853200000001</cx:pt>
          <cx:pt idx="1622">1.3544491270000001</cx:pt>
          <cx:pt idx="1623">1.354961053</cx:pt>
          <cx:pt idx="1624">1.3573538039999999</cx:pt>
          <cx:pt idx="1625">1.3588814659999999</cx:pt>
          <cx:pt idx="1626">1.3593933069999999</cx:pt>
          <cx:pt idx="1627">1.359746554</cx:pt>
          <cx:pt idx="1628">1.360258481</cx:pt>
          <cx:pt idx="1629">1.3607716889999999</cx:pt>
          <cx:pt idx="1630">1.360942246</cx:pt>
          <cx:pt idx="1631">1.3672660910000001</cx:pt>
          <cx:pt idx="1632">1.367607375</cx:pt>
          <cx:pt idx="1633">1.3708546180000001</cx:pt>
          <cx:pt idx="1634">1.3716997120000001</cx:pt>
          <cx:pt idx="1635">1.375810762</cx:pt>
          <cx:pt idx="1636">1.3766545729999999</cx:pt>
          <cx:pt idx="1637">1.3768358110000001</cx:pt>
          <cx:pt idx="1638">1.3775196620000001</cx:pt>
          <cx:pt idx="1639">1.3787060390000001</cx:pt>
          <cx:pt idx="1640">1.3804136579999999</cx:pt>
          <cx:pt idx="1641">1.3961472610000001</cx:pt>
          <cx:pt idx="1642">1.397161715</cx:pt>
          <cx:pt idx="1643">1.3973429530000001</cx:pt>
          <cx:pt idx="1644">1.3980188570000001</cx:pt>
          <cx:pt idx="1645">1.4105025680000001</cx:pt>
          <cx:pt idx="1646">1.4197216909999999</cx:pt>
          <cx:pt idx="1647">1.420404174</cx:pt>
          <cx:pt idx="1648">1.424848476</cx:pt>
          <cx:pt idx="1649">1.425199074</cx:pt>
          <cx:pt idx="1650">1.4453608309999999</cx:pt>
          <cx:pt idx="1651">1.4549288419999999</cx:pt>
          <cx:pt idx="1652">1.4607397339999999</cx:pt>
          <cx:pt idx="1653">1.4616037120000001</cx:pt>
          <cx:pt idx="1654">1.4621170910000001</cx:pt>
          <cx:pt idx="1655">1.4622784200000001</cx:pt>
          <cx:pt idx="1656">1.4627864159999999</cx:pt>
          <cx:pt idx="1657">1.463130434</cx:pt>
          <cx:pt idx="1658">1.463299795</cx:pt>
          <cx:pt idx="1659">1.463470437</cx:pt>
          <cx:pt idx="1660">1.463709097</cx:pt>
          <cx:pt idx="1661">1.4639971460000001</cx:pt>
          <cx:pt idx="1662">1.464495828</cx:pt>
          <cx:pt idx="1663">1.4646664700000001</cx:pt>
          <cx:pt idx="1664">1.4648371979999999</cx:pt>
          <cx:pt idx="1665">1.4651838660000001</cx:pt>
          <cx:pt idx="1666">1.465350492</cx:pt>
          <cx:pt idx="1667">1.465690494</cx:pt>
          <cx:pt idx="1668">1.465862504</cx:pt>
          <cx:pt idx="1669">1.4660398969999999</cx:pt>
          <cx:pt idx="1670">1.4662065230000001</cx:pt>
          <cx:pt idx="1671">1.466375883</cx:pt>
          <cx:pt idx="1672">1.466546525</cx:pt>
          <cx:pt idx="1673">1.466718535</cx:pt>
          <cx:pt idx="1674">1.466886613</cx:pt>
          <cx:pt idx="1675">1.467230547</cx:pt>
          <cx:pt idx="1676">1.467401274</cx:pt>
          <cx:pt idx="1677">1.467741277</cx:pt>
          <cx:pt idx="1678">1.4679132859999999</cx:pt>
          <cx:pt idx="1679">1.4679145680000001</cx:pt>
          <cx:pt idx="1680">1.4680852959999999</cx:pt>
          <cx:pt idx="1681">1.468254656</cx:pt>
          <cx:pt idx="1682">1.46859859</cx:pt>
          <cx:pt idx="1683">1.468941327</cx:pt>
          <cx:pt idx="1684">1.4691093200000001</cx:pt>
          <cx:pt idx="1685">1.4692799620000001</cx:pt>
          <cx:pt idx="1686">1.4703053530000001</cx:pt>
          <cx:pt idx="1687">1.470649372</cx:pt>
          <cx:pt idx="1688">1.4709920240000001</cx:pt>
          <cx:pt idx="1689">1.4715054030000001</cx:pt>
          <cx:pt idx="1690">1.4716733959999999</cx:pt>
          <cx:pt idx="1691">1.4720144150000001</cx:pt>
          <cx:pt idx="1692">1.4723587849999999</cx:pt>
          <cx:pt idx="1693">1.4725280599999999</cx:pt>
          <cx:pt idx="1694">1.472698788</cx:pt>
          <cx:pt idx="1695">1.473042806</cx:pt>
          <cx:pt idx="1696">1.473213449</cx:pt>
          <cx:pt idx="1697">1.4739654879999999</cx:pt>
          <cx:pt idx="1698">1.4740681120000001</cx:pt>
          <cx:pt idx="1699">1.4742388399999999</cx:pt>
          <cx:pt idx="1700">1.4745788419999999</cx:pt>
          <cx:pt idx="1701">1.474922861</cx:pt>
          <cx:pt idx="1702">1.475092136</cx:pt>
          <cx:pt idx="1703">1.4754361549999999</cx:pt>
          <cx:pt idx="1704">1.475606883</cx:pt>
          <cx:pt idx="1705">1.475777525</cx:pt>
          <cx:pt idx="1706">1.4759468849999999</cx:pt>
          <cx:pt idx="1707">1.4762909040000001</cx:pt>
          <cx:pt idx="1708">1.4764588970000001</cx:pt>
          <cx:pt idx="1709">1.476529564</cx:pt>
          <cx:pt idx="1710">1.476632189</cx:pt>
          <cx:pt idx="1711">1.476972191</cx:pt>
          <cx:pt idx="1712">1.4773135610000001</cx:pt>
          <cx:pt idx="1713">1.47748557</cx:pt>
          <cx:pt idx="1714">1.478000231</cx:pt>
          <cx:pt idx="1715">1.4781709590000001</cx:pt>
          <cx:pt idx="1716">1.4785122429999999</cx:pt>
          <cx:pt idx="1717">1.4786842529999999</cx:pt>
          <cx:pt idx="1718">1.4790269039999999</cx:pt>
          <cx:pt idx="1719">1.4790775759999999</cx:pt>
          <cx:pt idx="1720">1.4791975470000001</cx:pt>
          <cx:pt idx="1721">1.4795388309999999</cx:pt>
          <cx:pt idx="1722">1.479706824</cx:pt>
          <cx:pt idx="1723">1.4798774669999999</cx:pt>
          <cx:pt idx="1724">1.4803920420000001</cx:pt>
          <cx:pt idx="1725">1.485007414</cx:pt>
          <cx:pt idx="1726">1.48569135</cx:pt>
          <cx:pt idx="1727">1.485861992</cx:pt>
          <cx:pt idx="1728">1.486031267</cx:pt>
          <cx:pt idx="1729">1.486201909</cx:pt>
          <cx:pt idx="1730">1.4863751999999999</cx:pt>
          <cx:pt idx="1731">1.4865472099999999</cx:pt>
          <cx:pt idx="1732">1.4867164850000001</cx:pt>
          <cx:pt idx="1733">1.4867685230000001</cx:pt>
          <cx:pt idx="1734">1.4868871269999999</cx:pt>
          <cx:pt idx="1735">1.487056487</cx:pt>
          <cx:pt idx="1736">1.488254999</cx:pt>
          <cx:pt idx="1737">1.4884229069999999</cx:pt>
          <cx:pt idx="1738">1.488594916</cx:pt>
          <cx:pt idx="1739">1.4887655580000001</cx:pt>
          <cx:pt idx="1740">1.488938849</cx:pt>
          <cx:pt idx="1741">1.4891068430000001</cx:pt>
          <cx:pt idx="1742">1.489281501</cx:pt>
          <cx:pt idx="1743">1.4894521430000001</cx:pt>
          <cx:pt idx="1744">1.4896227849999999</cx:pt>
          <cx:pt idx="1745">1.4897934269999999</cx:pt>
          <cx:pt idx="1746">1.4899640700000001</cx:pt>
          <cx:pt idx="1747">1.4901347119999999</cx:pt>
          <cx:pt idx="1748">1.4903039870000001</cx:pt>
          <cx:pt idx="1749">1.4904746289999999</cx:pt>
          <cx:pt idx="1750">1.49064792</cx:pt>
          <cx:pt idx="1751">1.490815913</cx:pt>
          <cx:pt idx="1752">1.490989205</cx:pt>
          <cx:pt idx="1753">1.491159847</cx:pt>
          <cx:pt idx="1754">1.491331856</cx:pt>
          <cx:pt idx="1755">1.491502498</cx:pt>
          <cx:pt idx="1756">1.4916731409999999</cx:pt>
          <cx:pt idx="1757">1.491843783</cx:pt>
          <cx:pt idx="1758">1.492186434</cx:pt>
          <cx:pt idx="1759">1.4923570770000001</cx:pt>
          <cx:pt idx="1760">1.4926969940000001</cx:pt>
          <cx:pt idx="1761">1.492869003</cx:pt>
          <cx:pt idx="1762">1.4932089200000001</cx:pt>
          <cx:pt idx="1763">1.4933822109999999</cx:pt>
          <cx:pt idx="1764">1.493550205</cx:pt>
          <cx:pt idx="1765">1.493895505</cx:pt>
          <cx:pt idx="1766">1.494234141</cx:pt>
          <cx:pt idx="1767">1.4944100810000001</cx:pt>
          <cx:pt idx="1768">1.4947513649999999</cx:pt>
          <cx:pt idx="1769">1.4950886329999999</cx:pt>
          <cx:pt idx="1770">1.49526201</cx:pt>
          <cx:pt idx="1771">1.4956019270000001</cx:pt>
          <cx:pt idx="1772">1.4957752179999999</cx:pt>
          <cx:pt idx="1773">1.495943212</cx:pt>
          <cx:pt idx="1774">1.49679779</cx:pt>
          <cx:pt idx="1775">1.496972363</cx:pt>
          <cx:pt idx="1776">1.4973136469999999</cx:pt>
          <cx:pt idx="1777">1.497484289</cx:pt>
          <cx:pt idx="1778">1.4976549320000001</cx:pt>
          <cx:pt idx="1779">1.497824292</cx:pt>
          <cx:pt idx="1780">1.4979975830000001</cx:pt>
          <cx:pt idx="1781">1.4981682249999999</cx:pt>
          <cx:pt idx="1782">1.4985068610000001</cx:pt>
          <cx:pt idx="1783">1.4986801519999999</cx:pt>
          <cx:pt idx="1784">1.4990228029999999</cx:pt>
          <cx:pt idx="1785">1.499193446</cx:pt>
          <cx:pt idx="1786">1.4993614390000001</cx:pt>
          <cx:pt idx="1787">1.499586683</cx:pt>
          <cx:pt idx="1788">1.4997066539999999</cx:pt>
          <cx:pt idx="1789">1.4998746469999999</cx:pt>
          <cx:pt idx="1790">1.500217299</cx:pt>
          <cx:pt idx="1791">1.500389223</cx:pt>
          <cx:pt idx="1792">1.500731874</cx:pt>
          <cx:pt idx="1793">1.5009025170000001</cx:pt>
          <cx:pt idx="1794">1.5010705099999999</cx:pt>
          <cx:pt idx="1795">1.501243801</cx:pt>
          <cx:pt idx="1796">1.5014158099999999</cx:pt>
          <cx:pt idx="1797">1.501583718</cx:pt>
          <cx:pt idx="1798">1.501925003</cx:pt>
          <cx:pt idx="1799">1.5020996609999999</cx:pt>
          <cx:pt idx="1800">1.502150332</cx:pt>
          <cx:pt idx="1801">1.502270303</cx:pt>
          <cx:pt idx="1802">1.502438296</cx:pt>
          <cx:pt idx="1803">1.5026115879999999</cx:pt>
          <cx:pt idx="1804">1.502779581</cx:pt>
          <cx:pt idx="1805">1.5029528720000001</cx:pt>
          <cx:pt idx="1806">1.5031222319999999</cx:pt>
          <cx:pt idx="1807">1.5032955240000001</cx:pt>
          <cx:pt idx="1808">1.5034635169999999</cx:pt>
          <cx:pt idx="1809">1.503806083</cx:pt>
          <cx:pt idx="1810">1.503976725</cx:pt>
          <cx:pt idx="1811">1.5041500160000001</cx:pt>
          <cx:pt idx="1812">1.50431801</cx:pt>
          <cx:pt idx="1813">1.5044913010000001</cx:pt>
          <cx:pt idx="1814">1.504660661</cx:pt>
          <cx:pt idx="1815">1.504715263</cx:pt>
          <cx:pt idx="1816">1.505005876</cx:pt>
          <cx:pt idx="1817">1.505175237</cx:pt>
          <cx:pt idx="1818">1.505345793</cx:pt>
          <cx:pt idx="1819">1.505515154</cx:pt>
          <cx:pt idx="1820">1.5056857960000001</cx:pt>
          <cx:pt idx="1821">1.5058590869999999</cx:pt>
          <cx:pt idx="1822">1.506026995</cx:pt>
          <cx:pt idx="1823">1.5062002860000001</cx:pt>
          <cx:pt idx="1824">1.5063696470000001</cx:pt>
          <cx:pt idx="1825">1.506544219</cx:pt>
          <cx:pt idx="1826">1.5068814880000001</cx:pt>
          <cx:pt idx="1827">1.507053497</cx:pt>
          <cx:pt idx="1828">1.5072267880000001</cx:pt>
          <cx:pt idx="1829">1.5072827579999999</cx:pt>
          <cx:pt idx="1830">1.507394782</cx:pt>
          <cx:pt idx="1831">1.507565338</cx:pt>
          <cx:pt idx="1832">1.5077387149999999</cx:pt>
          <cx:pt idx="1833">1.507906623</cx:pt>
          <cx:pt idx="1834">1.5080786319999999</cx:pt>
          <cx:pt idx="1835">1.508251923</cx:pt>
          <cx:pt idx="1836">1.5084198310000001</cx:pt>
          <cx:pt idx="1837">1.5085904729999999</cx:pt>
          <cx:pt idx="1838">1.508933125</cx:pt>
          <cx:pt idx="1839">1.509105049</cx:pt>
          <cx:pt idx="1840">1.5091064160000001</cx:pt>
          <cx:pt idx="1841">1.5092743239999999</cx:pt>
          <cx:pt idx="1842">1.509444966</cx:pt>
          <cx:pt idx="1843">1.5096169749999999</cx:pt>
          <cx:pt idx="1844">1.5099609089999999</cx:pt>
          <cx:pt idx="1845">1.5101288159999999</cx:pt>
          <cx:pt idx="1846">1.5108127520000001</cx:pt>
          <cx:pt idx="1847">1.510983309</cx:pt>
          <cx:pt idx="1848">1.5111539510000001</cx:pt>
          <cx:pt idx="1849">1.5114966030000001</cx:pt>
          <cx:pt idx="1850">1.5116711759999999</cx:pt>
          <cx:pt idx="1851">1.511840536</cx:pt>
          <cx:pt idx="1852">1.512181735</cx:pt>
          <cx:pt idx="1853">1.512351096</cx:pt>
          <cx:pt idx="1854">1.512521652</cx:pt>
          <cx:pt idx="1855">1.512865586</cx:pt>
          <cx:pt idx="1856">1.5130349460000001</cx:pt>
          <cx:pt idx="1857">1.5132055879999999</cx:pt>
          <cx:pt idx="1858">1.5133761450000001</cx:pt>
          <cx:pt idx="1859">1.5135495219999999</cx:pt>
          <cx:pt idx="1860">1.51371743</cx:pt>
          <cx:pt idx="1861">1.5138907210000001</cx:pt>
          <cx:pt idx="1862">1.5142306379999999</cx:pt>
          <cx:pt idx="1863">1.514404015</cx:pt>
          <cx:pt idx="1864">1.51457329</cx:pt>
          <cx:pt idx="1865">1.514743932</cx:pt>
          <cx:pt idx="1866">1.5150878649999999</cx:pt>
          <cx:pt idx="1867">1.515255773</cx:pt>
          <cx:pt idx="1868">1.5154290640000001</cx:pt>
          <cx:pt idx="1869">1.5157690669999999</cx:pt>
          <cx:pt idx="1870">1.515939623</cx:pt>
          <cx:pt idx="1871">1.516113</cx:pt>
          <cx:pt idx="1872">1.709172194</cx:pt>
          <cx:pt idx="1873">2.1031505159999999</cx:pt>
          <cx:pt idx="1874">2.303873136</cx:pt>
          <cx:pt idx="1875">2.4985043170000001</cx:pt>
          <cx:pt idx="1876">2.6916617760000001</cx:pt>
          <cx:pt idx="1877">3.4825658850000001</cx:pt>
          <cx:pt idx="1878">3.6771970660000002</cx:pt>
          <cx:pt idx="1879">3.8719265119999999</cx:pt>
          <cx:pt idx="1880">4.0711754109999996</cx:pt>
          <cx:pt idx="1881">4.2642346050000004</cx:pt>
          <cx:pt idx="1882">4.65664094</cx:pt>
          <cx:pt idx="1883">4.8544160940000003</cx:pt>
          <cx:pt idx="1884">5.0536649929999999</cx:pt>
          <cx:pt idx="1885">5.2467241869999999</cx:pt>
          <cx:pt idx="1886">5.6421762299999996</cx:pt>
          <cx:pt idx="1887">5.8369056759999998</cx:pt>
          <cx:pt idx="1888">6.0361545750000003</cx:pt>
          <cx:pt idx="1889">6.4254169369999996</cx:pt>
          <cx:pt idx="1890">6.6231920899999999</cx:pt>
          <cx:pt idx="1891">6.8224409660000003</cx:pt>
          <cx:pt idx="1892">7.214847324</cx:pt>
          <cx:pt idx="1893">7.4079065179999999</cx:pt>
          <cx:pt idx="1894">7.6071553940000003</cx:pt>
          <cx:pt idx="1895">7.9979897649999998</cx:pt>
          <cx:pt idx="1896">8.1988106270000003</cx:pt>
          <cx:pt idx="1897">8.3934418080000004</cx:pt>
          <cx:pt idx="1898">8.7858481659999992</cx:pt>
          <cx:pt idx="1899">8.9804793469999993</cx:pt>
          <cx:pt idx="1900">9.1798264879999998</cx:pt>
          <cx:pt idx="1901">9.3728856819999997</cx:pt>
          <cx:pt idx="1902">10.159172099999999</cx:pt>
          <cx:pt idx="1903">10.355375260000001</cx:pt>
          <cx:pt idx="1904">10.55462414</cx:pt>
          <cx:pt idx="1905">10.94545851</cx:pt>
          <cx:pt idx="1906">11.144707390000001</cx:pt>
          <cx:pt idx="1907">11.337864850000001</cx:pt>
          <cx:pt idx="1908">11.535640000000001</cx:pt>
          <cx:pt idx="1909">12.181631619999999</cx:pt>
          <cx:pt idx="1910">12.817670039999999</cx:pt>
          <cx:pt idx="1911">13.468798700000001</cx:pt>
          <cx:pt idx="1912">14.75114978</cx:pt>
          <cx:pt idx="1913">15.38718828</cx:pt>
          <cx:pt idx="1914">16.03863806</cx:pt>
          <cx:pt idx="1915">16.669539360000002</cx:pt>
          <cx:pt idx="1916">17.310714900000001</cx:pt>
          <cx:pt idx="1917">17.95702756</cx:pt>
          <cx:pt idx="1918">18.59788206</cx:pt>
          <cx:pt idx="1919">19.239057599999999</cx:pt>
          <cx:pt idx="1920">20.531361799999999</cx:pt>
          <cx:pt idx="1921">21.162584219999999</cx:pt>
          <cx:pt idx="1922">21.818850000000001</cx:pt>
          <cx:pt idx="1923">23.495703580000001</cx:pt>
          <cx:pt idx="1924">24.389167220000001</cx:pt>
          <cx:pt idx="1925">25.654692839999999</cx:pt>
          <cx:pt idx="1926">26.960128090000001</cx:pt>
          <cx:pt idx="1927">32.102049999999998</cx:pt>
          <cx:pt idx="1928">35.65186542</cx:pt>
          <cx:pt idx="1929">36.090362910000003</cx:pt>
          <cx:pt idx="1930">36.525540149999998</cx:pt>
          <cx:pt idx="1931">37.412938689999997</cx:pt>
          <cx:pt idx="1932">37.861839680000003</cx:pt>
          <cx:pt idx="1933">38.297016919999997</cx:pt>
          <cx:pt idx="1934">38.739056040000001</cx:pt>
          <cx:pt idx="1935">39.626454580000001</cx:pt>
          <cx:pt idx="1936">40.068493699999998</cx:pt>
          <cx:pt idx="1937">40.520714990000002</cx:pt>
          <cx:pt idx="1938">41.39793135</cx:pt>
          <cx:pt idx="1939">41.84683235</cx:pt>
          <cx:pt idx="1940">42.282009590000001</cx:pt>
          <cx:pt idx="1941">43.176270000000002</cx:pt>
          <cx:pt idx="1942">43.769878310000003</cx:pt>
          <cx:pt idx="1943">44.382206670000002</cx:pt>
          <cx:pt idx="1944">45.587841419999997</cx:pt>
          <cx:pt idx="1945">46.181449729999997</cx:pt>
          <cx:pt idx="1946">46.793778080000003</cx:pt>
          <cx:pt idx="1947">47.994883819999998</cx:pt>
          <cx:pt idx="1948">48.607212169999997</cx:pt>
          <cx:pt idx="1949">49.200820479999997</cx:pt>
          <cx:pt idx="1950">50.420646259999998</cx:pt>
          <cx:pt idx="1951">51.014254569999999</cx:pt>
          <cx:pt idx="1952">51.617222900000002</cx:pt>
          <cx:pt idx="1953">52.82768858</cx:pt>
          <cx:pt idx="1954">53.440017009999998</cx:pt>
          <cx:pt idx="1955">54.645953669999997</cx:pt>
          <cx:pt idx="1956">55.239260000000002</cx:pt>
          <cx:pt idx="1957">56.027448460000002</cx:pt>
          <cx:pt idx="1958">56.419970290000002</cx:pt>
          <cx:pt idx="1959">56.821533629999998</cx:pt>
          <cx:pt idx="1960">57.603432300000001</cx:pt>
          <cx:pt idx="1961">58.394569060000002</cx:pt>
          <cx:pt idx="1962">58.77785274</cx:pt>
          <cx:pt idx="1963">59.176467770000002</cx:pt>
          <cx:pt idx="1964">59.958366439999999</cx:pt>
          <cx:pt idx="1965">60.356981470000001</cx:pt>
          <cx:pt idx="1966">60.743409999999997</cx:pt>
          <cx:pt idx="1967">61.53140192</cx:pt>
          <cx:pt idx="1968">61.923923700000003</cx:pt>
          <cx:pt idx="1969">62.316445479999999</cx:pt>
          <cx:pt idx="1970">63.101489039999997</cx:pt>
          <cx:pt idx="1971">63.50010408</cx:pt>
          <cx:pt idx="1972">63.88948096</cx:pt>
          <cx:pt idx="1973">64.680617769999998</cx:pt>
          <cx:pt idx="1974">65.069994660000006</cx:pt>
          <cx:pt idx="1975">65.462516440000002</cx:pt>
          <cx:pt idx="1976">66.247559999999993</cx:pt>
          <cx:pt idx="1977">66.147246580000001</cx:pt>
          <cx:pt idx="1978">66.046078789999996</cx:pt>
          <cx:pt idx="1979">65.944157149999995</cx:pt>
          <cx:pt idx="1980">65.542752710000002</cx:pt>
          <cx:pt idx="1981">65.441584910000003</cx:pt>
          <cx:pt idx="1982">65.240103700000006</cx:pt>
          <cx:pt idx="1983">65.207939080000003</cx:pt>
          <cx:pt idx="1984">65.142102120000004</cx:pt>
          <cx:pt idx="1985">65.04098458</cx:pt>
          <cx:pt idx="1986">64.840257230000006</cx:pt>
          <cx:pt idx="1987">64.739893559999999</cx:pt>
          <cx:pt idx="1988">64.637971919999998</cx:pt>
          <cx:pt idx="1989">64.538412350000002</cx:pt>
          <cx:pt idx="1990">64.337684999999993</cx:pt>
          <cx:pt idx="1991">64.235763360000007</cx:pt>
          <cx:pt idx="1992">64.136957649999999</cx:pt>
          <cx:pt idx="1993">63.935476440000002</cx:pt>
          <cx:pt idx="1994">63.833554800000002</cx:pt>
          <cx:pt idx="1995">63.734749090000001</cx:pt>
          <cx:pt idx="1996">63.533267879999997</cx:pt>
          <cx:pt idx="1997">63.432904209999997</cx:pt>
          <cx:pt idx="1998">63.330982570000003</cx:pt>
          <cx:pt idx="1999">63.130305470000003</cx:pt>
          <cx:pt idx="2000">63.030695649999998</cx:pt>
          <cx:pt idx="2001">62.93038224</cx:pt>
          <cx:pt idx="2002">62.729654879999998</cx:pt>
          <cx:pt idx="2003">62.62692912</cx:pt>
          <cx:pt idx="2004">62.528173690000003</cx:pt>
          <cx:pt idx="2005">62.426252030000001</cx:pt>
          <cx:pt idx="2006">62.22708265</cx:pt>
          <cx:pt idx="2007">62.12671898</cx:pt>
          <cx:pt idx="2008">61.925237780000003</cx:pt>
          <cx:pt idx="2009">61.121624779999998</cx:pt>
          <cx:pt idx="2010">61.019703130000003</cx:pt>
          <cx:pt idx="2011">60.920093319999999</cx:pt>
          <cx:pt idx="2012">60.719416219999999</cx:pt>
          <cx:pt idx="2013">60.617494569999998</cx:pt>
          <cx:pt idx="2014">60.517884760000001</cx:pt>
          <cx:pt idx="2015">60.417571340000002</cx:pt>
          <cx:pt idx="2016">60.317207660000001</cx:pt>
          <cx:pt idx="2017">60.216843990000001</cx:pt>
          <cx:pt idx="2018">60.115676200000003</cx:pt>
          <cx:pt idx="2019">60.014558659999999</cx:pt>
          <cx:pt idx="2020">59.914999109999997</cx:pt>
          <cx:pt idx="2021">59.813077450000002</cx:pt>
          <cx:pt idx="2022">59.714271760000003</cx:pt>
          <cx:pt idx="2023">59.512790549999998</cx:pt>
          <cx:pt idx="2024">59.412426869999997</cx:pt>
          <cx:pt idx="2025">59.312063199999997</cx:pt>
          <cx:pt idx="2026">59.109777870000002</cx:pt>
          <cx:pt idx="2027">59.01021832</cx:pt>
          <cx:pt idx="2028">58.909854639999999</cx:pt>
          <cx:pt idx="2029">58.70917755</cx:pt>
          <cx:pt idx="2030">58.608813869999999</cx:pt>
          <cx:pt idx="2031">58.506892219999997</cx:pt>
          <cx:pt idx="2032">58.407282410000001</cx:pt>
          <cx:pt idx="2033">58.306968990000001</cx:pt>
          <cx:pt idx="2034">58.205047350000001</cx:pt>
          <cx:pt idx="2035">58.105437530000003</cx:pt>
          <cx:pt idx="2036">57.704033080000002</cx:pt>
          <cx:pt idx="2037">57.603669410000002</cx:pt>
          <cx:pt idx="2038">57.199902880000003</cx:pt>
          <cx:pt idx="2039">57.10034332</cx:pt>
          <cx:pt idx="2040">56.998421669999999</cx:pt>
          <cx:pt idx="2041">56.797694329999999</cx:pt>
          <cx:pt idx="2042">56.698938869999999</cx:pt>
          <cx:pt idx="2043">56.597771080000001</cx:pt>
          <cx:pt idx="2044">56.196366640000001</cx:pt>
          <cx:pt idx="2045">55.994885439999997</cx:pt>
          <cx:pt idx="2046">55.892963790000003</cx:pt>
          <cx:pt idx="2047">55.794158080000003</cx:pt>
          <cx:pt idx="2048">55.593430740000002</cx:pt>
          <cx:pt idx="2049">55.492313209999999</cx:pt>
          <cx:pt idx="2050">55.390391559999998</cx:pt>
          <cx:pt idx="2051">55.189664209999997</cx:pt>
          <cx:pt idx="2052">55.090104650000001</cx:pt>
          <cx:pt idx="2053">54.989740980000001</cx:pt>
          <cx:pt idx="2054">54.889377289999999</cx:pt>
          <cx:pt idx="2055">54.787455649999998</cx:pt>
          <cx:pt idx="2056">54.68870021</cx:pt>
          <cx:pt idx="2057">54.586778559999999</cx:pt>
          <cx:pt idx="2058">54.38524709</cx:pt>
          <cx:pt idx="2059">54.286491650000002</cx:pt>
          <cx:pt idx="2060">54.184570000000001</cx:pt>
          <cx:pt idx="2061">54.101708739999999</cx:pt>
          <cx:pt idx="2062">54.018262180000001</cx:pt>
          <cx:pt idx="2063">53.348432109999997</cx:pt>
          <cx:pt idx="2064">53.264316649999998</cx:pt>
          <cx:pt idx="2065">53.182124289999997</cx:pt>
          <cx:pt idx="2066">53.097339900000001</cx:pt>
          <cx:pt idx="2067">53.015189360000001</cx:pt>
          <cx:pt idx="2068">52.930404979999999</cx:pt>
          <cx:pt idx="2069">52.846916610000001</cx:pt>
          <cx:pt idx="2070">52.76405535</cx:pt>
          <cx:pt idx="2071">52.68060878</cx:pt>
          <cx:pt idx="2072">52.597120420000003</cx:pt>
          <cx:pt idx="2073">52.512336040000001</cx:pt>
          <cx:pt idx="2074">52.34602821</cx:pt>
          <cx:pt idx="2075">52.262539840000002</cx:pt>
          <cx:pt idx="2076">52.179051469999997</cx:pt>
          <cx:pt idx="2077">52.011447629999999</cx:pt>
          <cx:pt idx="2078">51.927959260000002</cx:pt>
          <cx:pt idx="2079">51.843174879999999</cx:pt>
          <cx:pt idx="2080">51.76098253</cx:pt>
          <cx:pt idx="2081">51.676198149999998</cx:pt>
          <cx:pt idx="2082">51.593378690000002</cx:pt>
          <cx:pt idx="2083">51.509890319999997</cx:pt>
          <cx:pt idx="2084">51.34295539</cx:pt>
          <cx:pt idx="2085">51.258798110000001</cx:pt>
          <cx:pt idx="2086">51.17468264</cx:pt>
          <cx:pt idx="2087">50.841398079999998</cx:pt>
          <cx:pt idx="2088">50.81464167</cx:pt>
          <cx:pt idx="2089">50.757282609999997</cx:pt>
          <cx:pt idx="2090">50.589009859999997</cx:pt>
          <cx:pt idx="2091">50.506817499999997</cx:pt>
          <cx:pt idx="2092">50.422033120000002</cx:pt>
          <cx:pt idx="2093">50.339213669999999</cx:pt>
          <cx:pt idx="2094">50.172236920000003</cx:pt>
          <cx:pt idx="2095">50.087452550000002</cx:pt>
          <cx:pt idx="2096">50.005302</cx:pt>
          <cx:pt idx="2097">49.669425410000002</cx:pt>
          <cx:pt idx="2098">49.586564150000001</cx:pt>
          <cx:pt idx="2099">49.503075780000003</cx:pt>
          <cx:pt idx="2100">49.419629219999997</cx:pt>
          <cx:pt idx="2101">49.334844830000002</cx:pt>
          <cx:pt idx="2102">49.252652480000002</cx:pt>
          <cx:pt idx="2103">49.083752619999999</cx:pt>
          <cx:pt idx="2104">49.001560269999999</cx:pt>
          <cx:pt idx="2105">48.916775889999997</cx:pt>
          <cx:pt idx="2106">48.834583539999997</cx:pt>
          <cx:pt idx="2107">48.666979699999999</cx:pt>
          <cx:pt idx="2108">48.582195310000003</cx:pt>
          <cx:pt idx="2109">48.500002960000003</cx:pt>
          <cx:pt idx="2110">48.41521857</cx:pt>
          <cx:pt idx="2111">48.332399119999998</cx:pt>
          <cx:pt idx="2112">48.247614730000002</cx:pt>
          <cx:pt idx="2113">48.165422380000003</cx:pt>
          <cx:pt idx="2114">47.998487449999999</cx:pt>
          <cx:pt idx="2115">47.91433018</cx:pt>
          <cx:pt idx="2116">47.829545789999997</cx:pt>
          <cx:pt idx="2117">47.662610870000002</cx:pt>
          <cx:pt idx="2118">47.580418510000001</cx:pt>
          <cx:pt idx="2119">47.328030290000001</cx:pt>
          <cx:pt idx="2120">47.161053559999999</cx:pt>
          <cx:pt idx="2121">47.077565180000001</cx:pt>
          <cx:pt idx="2122">47.051477679999998</cx:pt>
          <cx:pt idx="2123">46.994745719999997</cx:pt>
          <cx:pt idx="2124">46.660165149999997</cx:pt>
          <cx:pt idx="2125">46.575380770000002</cx:pt>
          <cx:pt idx="2126">46.409741850000003</cx:pt>
          <cx:pt idx="2127">46.324957470000001</cx:pt>
          <cx:pt idx="2128">46.240800190000002</cx:pt>
          <cx:pt idx="2129">46.073865259999998</cx:pt>
          <cx:pt idx="2130">45.991672909999998</cx:pt>
          <cx:pt idx="2131">45.906888530000003</cx:pt>
          <cx:pt idx="2132">45.822773050000002</cx:pt>
          <cx:pt idx="2133">45.795347739999997</cx:pt>
          <cx:pt idx="2134">45.740580700000002</cx:pt>
          <cx:pt idx="2135">45.657092329999998</cx:pt>
          <cx:pt idx="2136">45.572307950000003</cx:pt>
          <cx:pt idx="2137">45.490115590000002</cx:pt>
          <cx:pt idx="2138">45.405331220000001</cx:pt>
          <cx:pt idx="2139">45.322511749999997</cx:pt>
          <cx:pt idx="2140">45.237727380000003</cx:pt>
          <cx:pt idx="2141">45.155576830000001</cx:pt>
          <cx:pt idx="2142">44.987931189999998</cx:pt>
          <cx:pt idx="2143">44.903146800000002</cx:pt>
          <cx:pt idx="2144">44.82099625</cx:pt>
          <cx:pt idx="2145">44.6527235</cx:pt>
          <cx:pt idx="2146">44.569904049999998</cx:pt>
          <cx:pt idx="2147">44.485119660000002</cx:pt>
          <cx:pt idx="2148">44.235950580000001</cx:pt>
          <cx:pt idx="2149">44.151166189999998</cx:pt>
          <cx:pt idx="2150">44.068346730000002</cx:pt>
          <cx:pt idx="2151">43.90137</cx:pt>
          <cx:pt idx="2152">43.839164410000002</cx:pt>
          <cx:pt idx="2153">43.778400480000002</cx:pt>
          <cx:pt idx="2154">43.7157348</cx:pt>
          <cx:pt idx="2155">43.594667029999997</cx:pt>
          <cx:pt idx="2156">43.532461439999999</cx:pt>
          <cx:pt idx="2157">43.471697509999998</cx:pt>
          <cx:pt idx="2158">43.410442799999998</cx:pt>
          <cx:pt idx="2159">43.286982510000001</cx:pt>
          <cx:pt idx="2160">43.225727800000001</cx:pt>
          <cx:pt idx="2161">43.164963870000001</cx:pt>
          <cx:pt idx="2162">43.041503579999997</cx:pt>
          <cx:pt idx="2163">42.981199740000001</cx:pt>
          <cx:pt idx="2164">42.918994159999997</cx:pt>
          <cx:pt idx="2165">42.796975519999997</cx:pt>
          <cx:pt idx="2166">42.735751479999998</cx:pt>
          <cx:pt idx="2167">42.673545900000001</cx:pt>
          <cx:pt idx="2168">42.612751289999999</cx:pt>
          <cx:pt idx="2169">42.489321670000002</cx:pt>
          <cx:pt idx="2170">42.42901784</cx:pt>
          <cx:pt idx="2171">42.366812260000003</cx:pt>
          <cx:pt idx="2172">42.244793610000002</cx:pt>
          <cx:pt idx="2173">42.183538900000002</cx:pt>
          <cx:pt idx="2174">42.061029490000003</cx:pt>
          <cx:pt idx="2175">41.998823909999999</cx:pt>
          <cx:pt idx="2176">41.753375640000002</cx:pt>
          <cx:pt idx="2177">41.570102300000002</cx:pt>
          <cx:pt idx="2178">41.507405929999997</cx:pt>
          <cx:pt idx="2179">41.446641999999997</cx:pt>
          <cx:pt idx="2180">41.13990836</cx:pt>
          <cx:pt idx="2181">41.079144429999999</cx:pt>
          <cx:pt idx="2182">41.017889719999999</cx:pt>
          <cx:pt idx="2183">40.955684130000002</cx:pt>
          <cx:pt idx="2184">40.834156270000001</cx:pt>
          <cx:pt idx="2185">40.771950680000003</cx:pt>
          <cx:pt idx="2186">40.711186750000003</cx:pt>
          <cx:pt idx="2187">40.588677330000003</cx:pt>
          <cx:pt idx="2188">40.526471739999998</cx:pt>
          <cx:pt idx="2189">40.465707809999998</cx:pt>
          <cx:pt idx="2190">40.343198399999999</cx:pt>
          <cx:pt idx="2191">40.280992820000002</cx:pt>
          <cx:pt idx="2192">40.220688979999998</cx:pt>
          <cx:pt idx="2193">40.09771946</cx:pt>
          <cx:pt idx="2194">40.035053779999998</cx:pt>
          <cx:pt idx="2195">39.974259170000003</cx:pt>
          <cx:pt idx="2196">39.852240530000003</cx:pt>
          <cx:pt idx="2197">39.790034949999999</cx:pt>
          <cx:pt idx="2198">39.72881091</cx:pt>
          <cx:pt idx="2199">39.606301500000001</cx:pt>
          <cx:pt idx="2200">39.54553756</cx:pt>
          <cx:pt idx="2201">39.483331980000003</cx:pt>
          <cx:pt idx="2202">39.36177343</cx:pt>
          <cx:pt idx="2203">39.299567850000003</cx:pt>
          <cx:pt idx="2204">39.238803910000001</cx:pt>
          <cx:pt idx="2205">39.177549200000001</cx:pt>
          <cx:pt idx="2206">39.115343629999998</cx:pt>
          <cx:pt idx="2207">38.992864879999999</cx:pt>
          <cx:pt idx="2208">38.932070269999997</cx:pt>
          <cx:pt idx="2209">38.870846239999999</cx:pt>
          <cx:pt idx="2210">38.625367310000001</cx:pt>
          <cx:pt idx="2211">38.563161719999997</cx:pt>
          <cx:pt idx="2212">38.441603180000001</cx:pt>
          <cx:pt idx="2213">38.379397599999997</cx:pt>
          <cx:pt idx="2214">38.257378959999997</cx:pt>
          <cx:pt idx="2215">38.133918659999999</cx:pt>
          <cx:pt idx="2216">38.07269462</cx:pt>
          <cx:pt idx="2217">38.011900019999999</cx:pt>
          <cx:pt idx="2218">37.949694430000001</cx:pt>
          <cx:pt idx="2219">37.888470400000003</cx:pt>
          <cx:pt idx="2220">37.82816657</cx:pt>
          <cx:pt idx="2221">37.765960980000003</cx:pt>
          <cx:pt idx="2222">37.705197050000002</cx:pt>
          <cx:pt idx="2223">37.643942340000002</cx:pt>
          <cx:pt idx="2224">37.581736759999998</cx:pt>
          <cx:pt idx="2225">37.521432930000003</cx:pt>
          <cx:pt idx="2226">37.397972629999998</cx:pt>
          <cx:pt idx="2227">37.337208699999998</cx:pt>
          <cx:pt idx="2228">37.275003120000001</cx:pt>
          <cx:pt idx="2229">37.214729949999999</cx:pt>
          <cx:pt idx="2230">36.416087570000002</cx:pt>
          <cx:pt idx="2231">36.354832860000002</cx:pt>
          <cx:pt idx="2232">36.293578160000003</cx:pt>
          <cx:pt idx="2233">36.232814210000001</cx:pt>
          <cx:pt idx="2234">36.171559510000002</cx:pt>
          <cx:pt idx="2235">36.109353929999997</cx:pt>
          <cx:pt idx="2236">35.986384409999999</cx:pt>
          <cx:pt idx="2237">35.926111249999998</cx:pt>
          <cx:pt idx="2238">35.86390566</cx:pt>
          <cx:pt idx="2239">35.741396250000001</cx:pt>
          <cx:pt idx="2240">35.680141540000001</cx:pt>
          <cx:pt idx="2241">35.619377610000001</cx:pt>
          <cx:pt idx="2242">35.496868190000001</cx:pt>
          <cx:pt idx="2243">35.434662609999997</cx:pt>
          <cx:pt idx="2244">35.373407899999997</cx:pt>
          <cx:pt idx="2245">35.312643970000003</cx:pt>
          <cx:pt idx="2246">35.250438379999999</cx:pt>
          <cx:pt idx="2247">35.190165219999997</cx:pt>
          <cx:pt idx="2248">35.128910509999997</cx:pt>
          <cx:pt idx="2249">35.06621415</cx:pt>
          <cx:pt idx="2250">35.005940989999999</cx:pt>
          <cx:pt idx="2251">34.943735420000003</cx:pt>
          <cx:pt idx="2252">34.88343158</cx:pt>
          <cx:pt idx="2253">34.821225990000002</cx:pt>
          <cx:pt idx="2254">34.76092216</cx:pt>
          <cx:pt idx="2255">34.392013609999999</cx:pt>
          <cx:pt idx="2256">34.331218999999997</cx:pt>
          <cx:pt idx="2257">34.085279970000002</cx:pt>
          <cx:pt idx="2258">33.962310449999997</cx:pt>
          <cx:pt idx="2259">33.902006610000001</cx:pt>
          <cx:pt idx="2260">33.839801039999998</cx:pt>
          <cx:pt idx="2261">33.33019376</cx:pt>
          <cx:pt idx="2262">33.28857</cx:pt>
          <cx:pt idx="2263">30.54237856</cx:pt>
          <cx:pt idx="2264">23.034276070000001</cx:pt>
          <cx:pt idx="2265">22.34619</cx:pt>
          <cx:pt idx="2266">20.27317833</cx:pt>
          <cx:pt idx="2267">16.553348840000002</cx:pt>
          <cx:pt idx="2268">16.13357177</cx:pt>
          <cx:pt idx="2269">15.726628079999999</cx:pt>
          <cx:pt idx="2270">15.30374613</cx:pt>
          <cx:pt idx="2271">14.89680244</cx:pt>
          <cx:pt idx="2272">13.65692827</cx:pt>
          <cx:pt idx="2273">11.997070000000001</cx:pt>
          <cx:pt idx="2274">11.555861760000001</cx:pt>
          <cx:pt idx="2275">10.680242079999999</cx:pt>
          <cx:pt idx="2276">10.097616240000001</cx:pt>
          <cx:pt idx="2277">9.6575773460000001</cx:pt>
          <cx:pt idx="2278">8.9290027129999991</cx:pt>
          <cx:pt idx="2279">6.733120145</cx:pt>
          <cx:pt idx="2280">6.5895100580000001</cx:pt>
          <cx:pt idx="2281">6.0034492740000003</cx:pt>
          <cx:pt idx="2282">5.2737783909999996</cx:pt>
          <cx:pt idx="2283">4.9785189399999998</cx:pt>
          <cx:pt idx="2284">4.248848057</cx:pt>
          <cx:pt idx="2285">3.3732283810000001</cx:pt>
          <cx:pt idx="2286">2.9331163889999998</cx:pt>
          <cx:pt idx="2287">2.642388151</cx:pt>
          <cx:pt idx="2288">1.911621</cx:pt>
          <cx:pt idx="2289">1.905212232</cx:pt>
          <cx:pt idx="2290">1.8988034650000001</cx:pt>
          <cx:pt idx="2291">1.888555845</cx:pt>
          <cx:pt idx="2292">1.885976316</cx:pt>
          <cx:pt idx="2293">1.82316078</cx:pt>
          <cx:pt idx="2294">1.8154824359999999</cx:pt>
          <cx:pt idx="2295">1.80524507</cx:pt>
          <cx:pt idx="2296">1.8026655410000001</cx:pt>
          <cx:pt idx="2297">1.794987197</cx:pt>
          <cx:pt idx="2298">1.7898582599999999</cx:pt>
          <cx:pt idx="2299">1.7834700000000001</cx:pt>
          <cx:pt idx="2300">1.779590773</cx:pt>
          <cx:pt idx="2301">1.7757615339999999</cx:pt>
          <cx:pt idx="2302">1.7398698720000001</cx:pt>
          <cx:pt idx="2303">1.7334508500000001</cx:pt>
          <cx:pt idx="2304">1.729601744</cx:pt>
          <cx:pt idx="2305">1.724493316</cx:pt>
          <cx:pt idx="2306">1.7155050190000001</cx:pt>
          <cx:pt idx="2307">1.7078068070000001</cx:pt>
          <cx:pt idx="2308">1.706567352</cx:pt>
          <cx:pt idx="2309">1.7039775690000001</cx:pt>
          <cx:pt idx="2310">1.6975591880000001</cx:pt>
          <cx:pt idx="2311">1.68601187</cx:pt>
          <cx:pt idx="2312">1.6821928859999999</cx:pt>
          <cx:pt idx="2313">1.642461731</cx:pt>
          <cx:pt idx="2314">1.6270653070000001</cx:pt>
          <cx:pt idx="2315">1.6129781949999999</cx:pt>
          <cx:pt idx="2316">1.605290237</cx:pt>
          <cx:pt idx="2317">1.603990539</cx:pt>
          <cx:pt idx="2318">1.6027203210000001</cx:pt>
          <cx:pt idx="2319">1.6001612999999999</cx:pt>
          <cx:pt idx="2320">1.593752533</cx:pt>
          <cx:pt idx="2321">1.5911928710000001</cx:pt>
          <cx:pt idx="2322">1.5898835600000001</cx:pt>
          <cx:pt idx="2323">1.5886235959999999</cx:pt>
          <cx:pt idx="2324">1.587343765</cx:pt>
          <cx:pt idx="2325">1.586064575</cx:pt>
          <cx:pt idx="2326">1.584764877</cx:pt>
          <cx:pt idx="2327">1.5834850460000001</cx:pt>
          <cx:pt idx="2328">1.5822052150000001</cx:pt>
          <cx:pt idx="2329">1.5809253839999999</cx:pt>
          <cx:pt idx="2330">1.578356109</cx:pt>
          <cx:pt idx="2331">1.573227173</cx:pt>
          <cx:pt idx="2332">1.5719672090000001</cx:pt>
          <cx:pt idx="2333">1.5706578980000001</cx:pt>
          <cx:pt idx="2334">1.566828659</cx:pt>
          <cx:pt idx="2335">1.5642593840000001</cx:pt>
          <cx:pt idx="2336">1.5629898069999999</cx:pt>
          <cx:pt idx="2337">1.561699722</cx:pt>
          <cx:pt idx="2338">1.5616901089999999</cx:pt>
          <cx:pt idx="2339">1.560430145</cx:pt>
          <cx:pt idx="2340">1.559130447</cx:pt>
          <cx:pt idx="2341">1.5578608700000001</cx:pt>
          <cx:pt idx="2342">1.5578506160000001</cx:pt>
          <cx:pt idx="2343">1.55658104</cx:pt>
          <cx:pt idx="2344">1.555290955</cx:pt>
          <cx:pt idx="2345">1.5501626589999999</cx:pt>
          <cx:pt idx="2346">1.547613251</cx:pt>
          <cx:pt idx="2347">1.516849884</cx:pt>
          <cx:pt idx="2348">1.5104411170000001</cx:pt>
          <cx:pt idx="2349">1.5091619270000001</cx:pt>
          <cx:pt idx="2350">1.5078622290000001</cx:pt>
          <cx:pt idx="2351">1.506592011</cx:pt>
          <cx:pt idx="2352">1.5001736299999999</cx:pt>
          <cx:pt idx="2353">1.498904053</cx:pt>
          <cx:pt idx="2354">1.4899362650000001</cx:pt>
          <cx:pt idx="2355">1.487366349</cx:pt>
          <cx:pt idx="2356">1.4822380530000001</cx:pt>
          <cx:pt idx="2357">1.4809582219999999</cx:pt>
          <cx:pt idx="2358">1.479678391</cx:pt>
          <cx:pt idx="2359">1.47839856</cx:pt>
          <cx:pt idx="2360">1.4770886080000001</cx:pt>
          <cx:pt idx="2361">1.469420518</cx:pt>
          <cx:pt idx="2362">1.4655714120000001</cx:pt>
          <cx:pt idx="2363">1.46173256</cx:pt>
          <cx:pt idx="2364">1.460442475</cx:pt>
          <cx:pt idx="2365">1.4578930670000001</cx:pt>
          <cx:pt idx="2366">1.45276413</cx:pt>
          <cx:pt idx="2367">1.4501948549999999</cx:pt>
          <cx:pt idx="2368">1.448915025</cx:pt>
          <cx:pt idx="2369">1.4450761729999999</cx:pt>
          <cx:pt idx="2370">1.441216813</cx:pt>
          <cx:pt idx="2371">1.43609813</cx:pt>
          <cx:pt idx="2372">1.4296797489999999</cx:pt>
          <cx:pt idx="2373">1.4220014050000001</cx:pt>
          <cx:pt idx="2374">1.415592637</cx:pt>
          <cx:pt idx="2375">1.40918451</cx:pt>
          <cx:pt idx="2376">1.404055574</cx:pt>
          <cx:pt idx="2377">1.4027654890000001</cx:pt>
          <cx:pt idx="2378">1.4002064679999999</cx:pt>
          <cx:pt idx="2379">1.3950871439999999</cx:pt>
          <cx:pt idx="2380">1.392517869</cx:pt>
          <cx:pt idx="2381">1.391228425</cx:pt>
          <cx:pt idx="2382">1.3848299120000001</cx:pt>
          <cx:pt idx="2383">1.3822503829999999</cx:pt>
          <cx:pt idx="2384">1.3681632699999999</cx:pt>
          <cx:pt idx="2385">1.365604249</cx:pt>
          <cx:pt idx="2386">1.360465059</cx:pt>
          <cx:pt idx="2387">1.3579060380000001</cx:pt>
          <cx:pt idx="2388">1.355346376</cx:pt>
          <cx:pt idx="2389">1.347658418</cx:pt>
          <cx:pt idx="2390">1.3425294809999999</cx:pt>
          <cx:pt idx="2391">1.3386701219999999</cx:pt>
          <cx:pt idx="2392">1.3322818620000001</cx:pt>
          <cx:pt idx="2393">1.3232839519999999</cx:pt>
          <cx:pt idx="2394">1.3130561999999999</cx:pt>
          <cx:pt idx="2395">1.2963895590000001</cx:pt>
          <cx:pt idx="2396">1.277144029</cx:pt>
          <cx:pt idx="2397">1.259218065</cx:pt>
          <cx:pt idx="2398">1.257918367</cx:pt>
          <cx:pt idx="2399">1.2438113879999999</cx:pt>
          <cx:pt idx="2400">1.23998279</cx:pt>
          <cx:pt idx="2401">1.233574022</cx:pt>
          <cx:pt idx="2402">1.227155642</cx:pt>
          <cx:pt idx="2403">1.1566611200000001</cx:pt>
          <cx:pt idx="2404">1.1541020989999999</cx:pt>
          <cx:pt idx="2405">1.129787235</cx:pt>
          <cx:pt idx="2406">1.115650775</cx:pt>
          <cx:pt idx="2407">1.114370944</cx:pt>
          <cx:pt idx="2408">1.1105615719999999</cx:pt>
          <cx:pt idx="2409">1.1066823450000001</cx:pt>
          <cx:pt idx="2410">1.1002838319999999</cx:pt>
          <cx:pt idx="2411">1.0989943879999999</cx:pt>
          <cx:pt idx="2412">1.0938757050000001</cx:pt>
          <cx:pt idx="2413">1.0848976619999999</cx:pt>
          <cx:pt idx="2414">1.0810581699999999</cx:pt>
          <cx:pt idx="2415">1.078488895</cx:pt>
          <cx:pt idx="2416">1.0759196200000001</cx:pt>
          <cx:pt idx="2417">1.0733702119999999</cx:pt>
          <cx:pt idx="2418">1.0669614439999999</cx:pt>
          <cx:pt idx="2419">1.063112338</cx:pt>
          <cx:pt idx="2420">1.052834598</cx:pt>
          <cx:pt idx="2421">1.0490156129999999</cx:pt>
          <cx:pt idx="2422">1.0387577400000001</cx:pt>
          <cx:pt idx="2423">1.033608936</cx:pt>
          <cx:pt idx="2424">1.010554035</cx:pt>
          <cx:pt idx="2425">1.009284458</cx:pt>
          <cx:pt idx="2426">1.0067151830000001</cx:pt>
          <cx:pt idx="2427">0.96570419699999999</cx:pt>
          <cx:pt idx="2428">0.836233632</cx:pt>
          <cx:pt idx="2429">0.83496405500000004</cx:pt>
          <cx:pt idx="2430">0.75037280799999995</cx:pt>
          <cx:pt idx="2431">0.57346326299999995</cx:pt>
          <cx:pt idx="2432">0.56450508700000002</cx:pt>
          <cx:pt idx="2433">0.50427869299999994</cx:pt>
          <cx:pt idx="2434">0.49528078399999997</cx:pt>
          <cx:pt idx="2435">0.46837677700000002</cx:pt>
          <cx:pt idx="2436">0.42992545300000001</cx:pt>
          <cx:pt idx="2437">0.40557085399999998</cx:pt>
          <cx:pt idx="2438">0.39916208600000003</cx:pt>
          <cx:pt idx="2439">0.39661267900000002</cx:pt>
          <cx:pt idx="2440">0.35047339599999999</cx:pt>
          <cx:pt idx="2441">0.34917369799999998</cx:pt>
          <cx:pt idx="2442">0.34276493099999999</cx:pt>
          <cx:pt idx="2443">0.33635680400000001</cx:pt>
          <cx:pt idx="2444">0.314581734</cx:pt>
          <cx:pt idx="2445">0.28636777499999999</cx:pt>
          <cx:pt idx="2446">0.17870240100000001</cx:pt>
          <cx:pt idx="2447">0.15564750099999999</cx:pt>
          <cx:pt idx="2448">0.147939035</cx:pt>
          <cx:pt idx="2449">0.140251077</cx:pt>
          <cx:pt idx="2450">0.13384230899999999</cx:pt>
          <cx:pt idx="2451">0.12359468999999999</cx:pt>
          <cx:pt idx="2452">0.121025415</cx:pt>
          <cx:pt idx="2453">0.119755838</cx:pt>
          <cx:pt idx="2454">0.11846575299999999</cx:pt>
          <cx:pt idx="2455">0.117196176</cx:pt>
          <cx:pt idx="2456">0.11204737200000001</cx:pt>
          <cx:pt idx="2457">0.112037118</cx:pt>
          <cx:pt idx="2458">0.110757287</cx:pt>
          <cx:pt idx="2459">0.10821813399999999</cx:pt>
          <cx:pt idx="2460">0.10820788000000001</cx:pt>
          <cx:pt idx="2461">0.105648859</cx:pt>
          <cx:pt idx="2462">0.104379282</cx:pt>
          <cx:pt idx="2463">0.103079584</cx:pt>
          <cx:pt idx="2464">0.10179975300000001</cx:pt>
          <cx:pt idx="2465">0.097970513999999995</cx:pt>
          <cx:pt idx="2466">0.096690682999999999</cx:pt>
          <cx:pt idx="2467">0.094121408000000004</cx:pt>
          <cx:pt idx="2468">0.092821710000000002</cx:pt>
          <cx:pt idx="2469">0.085133111999999997</cx:pt>
          <cx:pt idx="2470">0.076165322999999993</cx:pt>
          <cx:pt idx="2471">0.067197534000000003</cx:pt>
          <cx:pt idx="2472">0.064628260000000007</cx:pt>
          <cx:pt idx="2473">0.062078851999999997</cx:pt>
          <cx:pt idx="2474">0.060788767</cx:pt>
          <cx:pt idx="2475">0.058239358999999997</cx:pt>
          <cx:pt idx="2476">0.055670084000000002</cx:pt>
          <cx:pt idx="2477">0.053080301000000003</cx:pt>
          <cx:pt idx="2478">0.050541147000000002</cx:pt>
          <cx:pt idx="2479">0.049251703000000001</cx:pt>
          <cx:pt idx="2480">0.047971871999999999</cx:pt>
          <cx:pt idx="2481">0.046692042000000003</cx:pt>
          <cx:pt idx="2482">0.046681788000000002</cx:pt>
          <cx:pt idx="2483">0.045412211000000001</cx:pt>
          <cx:pt idx="2484">0.040283274000000001</cx:pt>
          <cx:pt idx="2485">0.035144724000000002</cx:pt>
          <cx:pt idx="2486">0.035134470000000001</cx:pt>
          <cx:pt idx="2487">0.033875147000000001</cx:pt>
          <cx:pt idx="2488">0.032595315999999999</cx:pt>
          <cx:pt idx="2489">0.031315484999999997</cx:pt>
          <cx:pt idx="2490">0.028755823999999999</cx:pt>
          <cx:pt idx="2491">0.024897104</cx:pt>
          <cx:pt idx="2492">0.022337442999999998</cx:pt>
          <cx:pt idx="2493">0.021057612</cx:pt>
          <cx:pt idx="2494">0.019778422</cx:pt>
          <cx:pt idx="2495">0.018498591000000002</cx:pt>
          <cx:pt idx="2496">0.018488337000000001</cx:pt>
          <cx:pt idx="2497">0.015908808</cx:pt>
          <cx:pt idx="2498">0.014639231000000001</cx:pt>
          <cx:pt idx="2499">0.0133594</cx:pt>
          <cx:pt idx="2500">0.012079569</cx:pt>
          <cx:pt idx="2501">0.010800379000000001</cx:pt>
          <cx:pt idx="2502">0.0095301610000000005</cx:pt>
          <cx:pt idx="2503">0.006951273</cx:pt>
          <cx:pt idx="2504">0.0056714419999999996</cx:pt>
          <cx:pt idx="2505">0.0044018649999999996</cx:pt>
          <cx:pt idx="2506">0.00055276000000000001</cx:pt>
          <cx:pt idx="2507">-0.00073732500000000005</cx:pt>
          <cx:pt idx="2508">-0.0045966849999999997</cx:pt>
          <cx:pt idx="2509">-0.0071460930000000001</cx:pt>
          <cx:pt idx="2510">-0.0096955010000000005</cx:pt>
          <cx:pt idx="2511">-0.012274389</cx:pt>
          <cx:pt idx="2512">-0.014823797</cx:pt>
          <cx:pt idx="2513">-0.017393711999999999</cx:pt>
          <cx:pt idx="2514">-0.018672902000000002</cx:pt>
          <cx:pt idx="2515">-0.022542515999999999</cx:pt>
          <cx:pt idx="2516">-0.025091924000000002</cx:pt>
          <cx:pt idx="2517">-0.026361500999999999</cx:pt>
          <cx:pt idx="2518">-0.027641332000000001</cx:pt>
          <cx:pt idx="2519">-0.02894103</cx:pt>
          <cx:pt idx="2520">-0.031490438000000003</cx:pt>
          <cx:pt idx="2521">-0.035329289999999999</cx:pt>
          <cx:pt idx="2522">-0.036619375000000003</cx:pt>
          <cx:pt idx="2523">-0.040468480000000001</cx:pt>
          <cx:pt idx="2524">-0.043048008999999998</cx:pt>
          <cx:pt idx="2525">-0.044307331999999998</cx:pt>
          <cx:pt idx="2526">-0.046876607000000001</cx:pt>
          <cx:pt idx="2527">-0.048146824999999997</cx:pt>
          <cx:pt idx="2528">-0.057134481000000001</cx:pt>
          <cx:pt idx="2529">-0.058414312000000003</cx:pt>
          <cx:pt idx="2530">-0.069951374999999996</cx:pt>
          <cx:pt idx="2531">-0.080219502999999998</cx:pt>
          <cx:pt idx="2532">-0.085318318000000004</cx:pt>
          <cx:pt idx="2533">-0.086598148999999999</cx:pt>
          <cx:pt idx="2534">-0.094305974000000001</cx:pt>
          <cx:pt idx="2535">-0.103264149</cx:pt>
          <cx:pt idx="2536">-0.104563848</cx:pt>
          <cx:pt idx="2537">-0.10840269900000001</cx:pt>
          <cx:pt idx="2538">-0.11095210699999999</cx:pt>
          <cx:pt idx="2539">-0.114811467</cx:pt>
          <cx:pt idx="2540">-0.11608104399999999</cx:pt>
          <cx:pt idx="2541">-0.117360875</cx:pt>
          <cx:pt idx="2542">-0.11867082700000001</cx:pt>
          <cx:pt idx="2543">-0.11996027099999999</cx:pt>
          <cx:pt idx="2544">-0.121220235</cx:pt>
          <cx:pt idx="2545">-0.12378951000000001</cx:pt>
          <cx:pt idx="2546">-0.12889857900000001</cx:pt>
          <cx:pt idx="2547">-0.130177769</cx:pt>
          <cx:pt idx="2548">-0.13145760000000001</cx:pt>
          <cx:pt idx="2549">-0.13789648900000001</cx:pt>
          <cx:pt idx="2550">-0.139166066</cx:pt>
          <cx:pt idx="2551">-0.14171547400000001</cx:pt>
          <cx:pt idx="2552">-0.143015172</cx:pt>
          <cx:pt idx="2553">-0.144275135</cx:pt>
          <cx:pt idx="2554">-0.14429500300000001</cx:pt>
          <cx:pt idx="2555">-0.169928791</cx:pt>
          <cx:pt idx="2556">-0.17635742600000001</cx:pt>
          <cx:pt idx="2557">-0.18274632699999999</cx:pt>
          <cx:pt idx="2558">-0.19042467099999999</cx:pt>
          <cx:pt idx="2559">-0.191703861</cx:pt>
          <cx:pt idx="2560">-0.19298369200000001</cx:pt>
          <cx:pt idx="2561">-0.19428339</cx:pt>
          <cx:pt idx="2562">-0.21092952300000001</cx:pt>
          <cx:pt idx="2563">-0.213489185</cx:pt>
          <cx:pt idx="2564">-0.217348545</cx:pt>
          <cx:pt idx="2565">-0.22888560899999999</cx:pt>
          <cx:pt idx="2566">-0.237843784</cx:pt>
          <cx:pt idx="2567">-0.24169288999999999</cx:pt>
          <cx:pt idx="2568">-0.24170314400000001</cx:pt>
          <cx:pt idx="2569">-0.24427241899999999</cx:pt>
          <cx:pt idx="2570">-0.248101658</cx:pt>
          <cx:pt idx="2571">-0.24938084799999999</cx:pt>
          <cx:pt idx="2572">-0.25196037700000001</cx:pt>
          <cx:pt idx="2573">-0.254520038</cx:pt>
          <cx:pt idx="2574">-0.25578961500000003</cx:pt>
          <cx:pt idx="2575">-0.25706944599999998</cx:pt>
          <cx:pt idx="2576">-0.258369144</cx:pt>
          <cx:pt idx="2577">-0.25963872100000002</cx:pt>
          <cx:pt idx="2578">-0.259648975</cx:pt>
          <cx:pt idx="2579">-0.26091855200000003</cx:pt>
          <cx:pt idx="2580">-0.262207996</cx:pt>
          <cx:pt idx="2581">-0.26476765800000002</cx:pt>
          <cx:pt idx="2582">-0.26732731999999998</cx:pt>
          <cx:pt idx="2583">-0.280144214</cx:pt>
          <cx:pt idx="2584">-0.28143365799999998</cx:pt>
          <cx:pt idx="2585">-0.28655298200000001</cx:pt>
          <cx:pt idx="2586">-0.28924210099999997</cx:pt>
          <cx:pt idx="2587">-0.29426080700000001</cx:pt>
          <cx:pt idx="2588">-0.29810029900000001</cx:pt>
          <cx:pt idx="2589">-0.30577864399999999</cx:pt>
          <cx:pt idx="2590">-0.31604613100000001</cx:pt>
          <cx:pt idx="2591">-0.317315707</cx:pt>
          <cx:pt idx="2592">-0.31859553800000001</cx:pt>
          <cx:pt idx="2593">-0.31989523600000003</cx:pt>
          <cx:pt idx="2594">-0.32122505600000001</cx:pt>
          <cx:pt idx="2595">-0.322444644</cx:pt>
          <cx:pt idx="2596">-0.32372447500000001</cx:pt>
          <cx:pt idx="2597">-0.32628349600000001</cx:pt>
          <cx:pt idx="2598">-0.33143230000000001</cx:pt>
          <cx:pt idx="2599">-0.33269226400000002</cx:pt>
          <cx:pt idx="2600">-0.335261539</cx:pt>
          <cx:pt idx="2601">-0.33654137000000001</cx:pt>
          <cx:pt idx="2602">-0.33912089899999998</cx:pt>
          <cx:pt idx="2603">-0.34295013699999999</cx:pt>
          <cx:pt idx="2604">-0.346808856</cx:pt>
          <cx:pt idx="2605">-0.349378772</cx:pt>
          <cx:pt idx="2606">-0.34938838500000002</cx:pt>
          <cx:pt idx="2607">-0.351937793</cx:pt>
          <cx:pt idx="2608">-0.35704686299999999</cx:pt>
          <cx:pt idx="2609">-0.35834656100000001</cx:pt>
          <cx:pt idx="2610">-0.36486491799999998</cx:pt>
          <cx:pt idx="2611">-0.36603451799999998</cx:pt>
          <cx:pt idx="2612">-0.36730473600000002</cx:pt>
          <cx:pt idx="2613">-0.36989387800000001</cx:pt>
          <cx:pt idx="2614">-0.37116345499999998</cx:pt>
          <cx:pt idx="2615">-0.372433032</cx:pt>
          <cx:pt idx="2616">-0.37372311699999999</cx:pt>
          <cx:pt idx="2617">-0.37499269400000002</cx:pt>
          <cx:pt idx="2618">-0.37627252500000002</cx:pt>
          <cx:pt idx="2619">-0.37757222299999998</cx:pt>
          <cx:pt idx="2620">-0.37884180000000001</cx:pt>
          <cx:pt idx="2621">-0.38141107499999999</cx:pt>
          <cx:pt idx="2622">-0.38268129200000001</cx:pt>
          <cx:pt idx="2623">-0.38531016899999998</cx:pt>
          <cx:pt idx="2624">-0.39550780000000002</cx:pt>
          <cx:pt idx="2625">-0.39517139299999998</cx:pt>
          <cx:pt idx="2626">-0.39466551799999999</cx:pt>
          <cx:pt idx="2627">-0.39448939700000002</cx:pt>
          <cx:pt idx="2628">-0.39448156400000001</cx:pt>
          <cx:pt idx="2629">-0.39264328399999998</cx:pt>
          <cx:pt idx="2630">-0.39230561400000002</cx:pt>
          <cx:pt idx="2631">-0.39196263599999998</cx:pt>
          <cx:pt idx="2632">-0.39195480300000002</cx:pt>
          <cx:pt idx="2633">-0.391463332</cx:pt>
          <cx:pt idx="2634">-0.39096015299999998</cx:pt>
          <cx:pt idx="2635">-0.39062113399999998</cx:pt>
          <cx:pt idx="2636">-0.39044770899999998</cx:pt>
          <cx:pt idx="2637">-0.390284727</cx:pt>
          <cx:pt idx="2638">-0.39011652400000002</cx:pt>
          <cx:pt idx="2639">-0.38994840400000003</cx:pt>
          <cx:pt idx="2640">-0.38978146400000002</cx:pt>
          <cx:pt idx="2641">-0.38960668999999998</cx:pt>
          <cx:pt idx="2642">-0.389441182</cx:pt>
          <cx:pt idx="2643">-0.389274326</cx:pt>
          <cx:pt idx="2644">-0.38893530799999998</cx:pt>
          <cx:pt idx="2645">-0.38860151199999998</cx:pt>
          <cx:pt idx="2646">-0.38843339199999999</cx:pt>
          <cx:pt idx="2647">-0.38809698500000001</cx:pt>
          <cx:pt idx="2648">-0.38792751800000003</cx:pt>
          <cx:pt idx="2649">-0.38775796600000001</cx:pt>
          <cx:pt idx="2650">-0.38742290699999998</cx:pt>
          <cx:pt idx="2651">-0.38725470299999998</cx:pt>
          <cx:pt idx="2652">-0.38707731899999998</cx:pt>
          <cx:pt idx="2653">-0.38691703199999999</cx:pt>
          <cx:pt idx="2654">-0.38657936199999998</cx:pt>
          <cx:pt idx="2655">-0.38640981000000002</cx:pt>
          <cx:pt idx="2656">-0.38624034299999999</cx:pt>
          <cx:pt idx="2657">-0.38607475099999999</cx:pt>
          <cx:pt idx="2658">-0.385906631</cx:pt>
          <cx:pt idx="2659">-0.38590528400000002</cx:pt>
          <cx:pt idx="2660">-0.38556365399999998</cx:pt>
          <cx:pt idx="2661">-0.384220805</cx:pt>
          <cx:pt idx="2662">-0.382536241</cx:pt>
          <cx:pt idx="2663">-0.380683559</cx:pt>
          <cx:pt idx="2664">-0.38050878500000002</cx:pt>
          <cx:pt idx="2665">-0.38034723500000001</cx:pt>
          <cx:pt idx="2666">-0.38017903199999997</cx:pt>
          <cx:pt idx="2667">-0.38000948099999998</cx:pt>
          <cx:pt idx="2668">-0.379667851</cx:pt>
          <cx:pt idx="2669">-0.37950234300000002</cx:pt>
          <cx:pt idx="2670">-0.37882952800000003</cx:pt>
          <cx:pt idx="2671">-0.378494469</cx:pt>
          <cx:pt idx="2672">-0.378493205</cx:pt>
          <cx:pt idx="2673">-0.37832634900000001</cx:pt>
          <cx:pt idx="2674">-0.37765092300000003</cx:pt>
          <cx:pt idx="2675">-0.37748271999999999</cx:pt>
          <cx:pt idx="2676">-0.37730803099999999</cx:pt>
          <cx:pt idx="2677">-0.376976845</cx:pt>
          <cx:pt idx="2678">-0.37512416300000001</cx:pt>
          <cx:pt idx="2679">-0.37428196499999999</cx:pt>
          <cx:pt idx="2680">-0.37343968399999999</cx:pt>
          <cx:pt idx="2681">-0.37327147999999999</cx:pt>
          <cx:pt idx="2682">-0.37309670700000003</cx:pt>
          <cx:pt idx="2683">-0.372933809</cx:pt>
          <cx:pt idx="2684">-0.37276695300000001</cx:pt>
          <cx:pt idx="2685">-0.37259740200000002</cx:pt>
          <cx:pt idx="2686">-0.37242919800000002</cx:pt>
          <cx:pt idx="2687">-0.37226107899999999</cx:pt>
          <cx:pt idx="2688">-0.372091528</cx:pt>
          <cx:pt idx="2689">-0.37124798199999998</cx:pt>
          <cx:pt idx="2690">-0.37040570099999998</cx:pt>
          <cx:pt idx="2691">-0.36939791100000002</cx:pt>
          <cx:pt idx="2692">-0.36922844399999999</cx:pt>
          <cx:pt idx="2693">-0.36889068899999999</cx:pt>
          <cx:pt idx="2694">-0.36855301800000001</cx:pt>
          <cx:pt idx="2695">-0.368211389</cx:pt>
          <cx:pt idx="2696">-0.36804579599999998</cx:pt>
          <cx:pt idx="2697">-0.36771208399999999</cx:pt>
          <cx:pt idx="2698">-0.36754387999999999</cx:pt>
          <cx:pt idx="2699">-0.36736910699999997</cx:pt>
          <cx:pt idx="2700">-0.36720225099999998</cx:pt>
          <cx:pt idx="2701">-0.36501711999999997</cx:pt>
          <cx:pt idx="2702">-0.36451124499999998</cx:pt>
          <cx:pt idx="2703">-0.36181628100000002</cx:pt>
          <cx:pt idx="2704">-0.36046820899999998</cx:pt>
          <cx:pt idx="2705">-0.358272549</cx:pt>
          <cx:pt idx="2706">-0.35810308200000002</cx:pt>
          <cx:pt idx="2707">-0.35777324500000002</cx:pt>
          <cx:pt idx="2708">-0.35760504100000001</cx:pt>
          <cx:pt idx="2709">-0.357099167</cx:pt>
          <cx:pt idx="2710">-0.356764107</cx:pt>
          <cx:pt idx="2711">-0.35658933399999998</cx:pt>
          <cx:pt idx="2712">-0.35608741799999999</cx:pt>
          <cx:pt idx="2713">-0.35591795100000001</cx:pt>
          <cx:pt idx="2714">-0.35557758499999997</cx:pt>
          <cx:pt idx="2715">-0.355408118</cx:pt>
          <cx:pt idx="2716">-0.355070363</cx:pt>
          <cx:pt idx="2717">-0.35490485500000002</cx:pt>
          <cx:pt idx="2718">-0.354739262</cx:pt>
          <cx:pt idx="2719">-0.35372355500000002</cx:pt>
          <cx:pt idx="2720">-0.353560657</cx:pt>
          <cx:pt idx="2721">-0.35321902799999999</cx:pt>
          <cx:pt idx="2722">-0.35288792699999999</cx:pt>
          <cx:pt idx="2723">-0.35271972299999999</cx:pt>
          <cx:pt idx="2724">-0.35254629700000001</cx:pt>
          <cx:pt idx="2725">-0.35238070500000002</cx:pt>
          <cx:pt idx="2726">-0.352215112</cx:pt>
          <cx:pt idx="2727">-0.35203907499999998</cx:pt>
          <cx:pt idx="2728">-0.35187744199999998</cx:pt>
          <cx:pt idx="2729">-0.35170140500000002</cx:pt>
          <cx:pt idx="2730">-0.351535812</cx:pt>
          <cx:pt idx="2731">-0.35137030400000002</cx:pt>
          <cx:pt idx="2732">-0.35120336400000002</cx:pt>
          <cx:pt idx="2733">-0.35086173399999998</cx:pt>
          <cx:pt idx="2734">-0.35034667899999999</cx:pt>
          <cx:pt idx="2735">-0.34950439700000002</cx:pt>
          <cx:pt idx="2736">-0.34716032699999999</cx:pt>
          <cx:pt idx="2737">-0.34345361400000002</cx:pt>
          <cx:pt idx="2738">-0.340591794</cx:pt>
          <cx:pt idx="2739">-0.33637398400000001</cx:pt>
          <cx:pt idx="2740">-0.33587333200000002</cx:pt>
          <cx:pt idx="2741">-0.33569855900000001</cx:pt>
          <cx:pt idx="2742">-0.33266727099999999</cx:pt>
          <cx:pt idx="2743">-0.33250167800000002</cx:pt>
          <cx:pt idx="2744">-0.33233616999999999</cx:pt>
          <cx:pt idx="2745">-0.33199184500000001</cx:pt>
          <cx:pt idx="2746">-0.33182633700000003</cx:pt>
          <cx:pt idx="2747">-0.33149515200000002</cx:pt>
          <cx:pt idx="2748">-0.33132046300000001</cx:pt>
          <cx:pt idx="2749">-0.33081980999999999</cx:pt>
          <cx:pt idx="2750">-0.33014312099999998</cx:pt>
          <cx:pt idx="2751">-0.32980283999999999</cx:pt>
          <cx:pt idx="2752">-0.32964120600000002</cx:pt>
          <cx:pt idx="2753">-0.32946643199999998</cx:pt>
          <cx:pt idx="2754">-0.32913533099999998</cx:pt>
          <cx:pt idx="2755">-0.32879235400000001</cx:pt>
          <cx:pt idx="2756">-0.32846125300000001</cx:pt>
          <cx:pt idx="2757">-0.32829304999999998</cx:pt>
          <cx:pt idx="2758">-0.32795537899999999</cx:pt>
          <cx:pt idx="2759">-0.32778060599999997</cx:pt>
          <cx:pt idx="2760">-0.32777403599999999</cx:pt>
          <cx:pt idx="2761">-0.32744950499999997</cx:pt>
          <cx:pt idx="2762">-0.32728391200000001</cx:pt>
          <cx:pt idx="2763">-0.32711444499999998</cx:pt>
          <cx:pt idx="2764">-0.32693967200000001</cx:pt>
          <cx:pt idx="2765">-0.32660857100000001</cx:pt>
          <cx:pt idx="2766">-0.326272163</cx:pt>
          <cx:pt idx="2767">-0.32609738999999999</cx:pt>
          <cx:pt idx="2768">-0.32608955699999997</cx:pt>
          <cx:pt idx="2769">-0.32593188200000001</cx:pt>
          <cx:pt idx="2770">-0.325591515</cx:pt>
          <cx:pt idx="2771">-0.32558494599999999</cx:pt>
          <cx:pt idx="2772">-0.32408046200000001</cx:pt>
          <cx:pt idx="2773">-0.32391487000000002</cx:pt>
          <cx:pt idx="2774">-0.323738833</cx:pt>
          <cx:pt idx="2775">-0.32357323999999998</cx:pt>
          <cx:pt idx="2776">-0.323407732</cx:pt>
          <cx:pt idx="2777">-0.32306736600000002</cx:pt>
          <cx:pt idx="2778">-0.322727084</cx:pt>
          <cx:pt idx="2779">-0.32256149099999998</cx:pt>
          <cx:pt idx="2780">-0.322395983</cx:pt>
          <cx:pt idx="2781">-0.322230391</cx:pt>
          <cx:pt idx="2782">-0.32172451600000002</cx:pt>
          <cx:pt idx="2783">-0.31818465899999998</cx:pt>
          <cx:pt idx="2784">-0.31801654000000001</cx:pt>
          <cx:pt idx="2785">-0.317175606</cx:pt>
          <cx:pt idx="2786">-0.314634358</cx:pt>
          <cx:pt idx="2787">-0.31447533500000002</cx:pt>
          <cx:pt idx="2788">-0.31245579600000001</cx:pt>
          <cx:pt idx="2789">-0.31211551399999998</cx:pt>
          <cx:pt idx="2790">-0.31060572400000003</cx:pt>
          <cx:pt idx="2791">-0.30857700500000002</cx:pt>
          <cx:pt idx="2792">-0.30824582</cx:pt>
          <cx:pt idx="2793">-0.30790553799999998</cx:pt>
          <cx:pt idx="2794">-0.30773994500000001</cx:pt>
          <cx:pt idx="2795">-0.30757443699999998</cx:pt>
          <cx:pt idx="2796">-0.30739966400000002</cx:pt>
          <cx:pt idx="2797">-0.30723280800000002</cx:pt>
          <cx:pt idx="2798">-0.30706856300000002</cx:pt>
          <cx:pt idx="2799">-0.30672819699999998</cx:pt>
          <cx:pt idx="2800">-0.30656268800000003</cx:pt>
          <cx:pt idx="2801">-0.30638791500000001</cx:pt>
          <cx:pt idx="2802">-0.30621836299999999</cx:pt>
          <cx:pt idx="2803">-0.30621179399999998</cx:pt>
          <cx:pt idx="2804">-0.30605285500000001</cx:pt>
          <cx:pt idx="2805">-0.30588726300000002</cx:pt>
          <cx:pt idx="2806">-0.30572175400000001</cx:pt>
          <cx:pt idx="2807">-0.30555220300000002</cx:pt>
          <cx:pt idx="2808">-0.30521579599999998</cx:pt>
          <cx:pt idx="2809">-0.30504110600000001</cx:pt>
          <cx:pt idx="2810">-0.30436963900000003</cx:pt>
          <cx:pt idx="2811">-0.30420404699999998</cx:pt>
          <cx:pt idx="2812">-0.30386376500000001</cx:pt>
          <cx:pt idx="2813">-0.30352348299999998</cx:pt>
          <cx:pt idx="2814">-0.30335789099999999</cx:pt>
          <cx:pt idx="2815">-0.30268516000000001</cx:pt>
          <cx:pt idx="2816">-0.29846996199999998</cx:pt>
          <cx:pt idx="2817">-0.29830436900000001</cx:pt>
          <cx:pt idx="2818">-0.29813877700000002</cx:pt>
          <cx:pt idx="2819">-0.297798495</cx:pt>
          <cx:pt idx="2820">-0.297467394</cx:pt>
          <cx:pt idx="2821">-0.29661854300000001</cx:pt>
          <cx:pt idx="2822">-0.29645168599999999</cx:pt>
          <cx:pt idx="2823">-0.29458847500000002</cx:pt>
          <cx:pt idx="2824">-0.29240730300000001</cx:pt>
          <cx:pt idx="2825">-0.29123391999999998</cx:pt>
          <cx:pt idx="2826">-0.29072543499999998</cx:pt>
          <cx:pt idx="2827">-0.29039163800000001</cx:pt>
          <cx:pt idx="2828">-0.29021955999999999</cx:pt>
          <cx:pt idx="2829">-0.28852446799999998</cx:pt>
          <cx:pt idx="2830">-0.28819993700000002</cx:pt>
          <cx:pt idx="2831">-0.28735378099999997</cx:pt>
          <cx:pt idx="2832">-0.28601219500000002</cx:pt>
          <cx:pt idx="2833">-0.28500044600000002</cx:pt>
          <cx:pt idx="2834">-0.28380735400000001</cx:pt>
          <cx:pt idx="2835">-0.28281009299999998</cx:pt>
          <cx:pt idx="2836">-0.282468463</cx:pt>
          <cx:pt idx="2837">-0.28230287100000001</cx:pt>
          <cx:pt idx="2838">-0.28196258899999999</cx:pt>
          <cx:pt idx="2839">-0.28163140399999997</cx:pt>
          <cx:pt idx="2840">-0.28145662999999999</cx:pt>
          <cx:pt idx="2841">-0.28112552899999999</cx:pt>
          <cx:pt idx="2842">-0.28095867299999999</cx:pt>
          <cx:pt idx="2843">-0.28061839199999999</cx:pt>
          <cx:pt idx="2844">-0.28061704399999998</cx:pt>
          <cx:pt idx="2845">-0.28045279899999997</cx:pt>
          <cx:pt idx="2846">-0.280283332</cx:pt>
          <cx:pt idx="2847">-0.28011251700000001</cx:pt>
          <cx:pt idx="2848">-0.27994692500000001</cx:pt>
          <cx:pt idx="2849">-0.27977215100000002</cx:pt>
          <cx:pt idx="2850">-0.27976431800000001</cx:pt>
          <cx:pt idx="2851">-0.278258487</cx:pt>
          <cx:pt idx="2852">-0.27589066499999998</cx:pt>
          <cx:pt idx="2853">-0.27489340299999998</cx:pt>
          <cx:pt idx="2854">-0.27471079700000001</cx:pt>
          <cx:pt idx="2855">-0.27438752900000002</cx:pt>
          <cx:pt idx="2856">-0.27404724699999999</cx:pt>
          <cx:pt idx="2857">-0.27354128799999999</cx:pt>
          <cx:pt idx="2858">-0.27169256400000003</cx:pt>
          <cx:pt idx="2859">-0.270510001</cx:pt>
          <cx:pt idx="2860">-0.27017233000000002</cx:pt>
          <cx:pt idx="2861">-0.26949960000000001</cx:pt>
          <cx:pt idx="2862">-0.26933400699999999</cx:pt>
          <cx:pt idx="2863">-0.26798189300000003</cx:pt>
          <cx:pt idx="2864">-0.26629876099999999</cx:pt>
          <cx:pt idx="2865">-0.266133169</cx:pt>
          <cx:pt idx="2866">-0.26595839500000001</cx:pt>
          <cx:pt idx="2867">-0.26578892799999998</cx:pt>
          <cx:pt idx="2868">-0.265783622</cx:pt>
          <cx:pt idx="2869">-0.26562333500000002</cx:pt>
          <cx:pt idx="2870">-0.26545782699999998</cx:pt>
          <cx:pt idx="2871">-0.26529223499999999</cx:pt>
          <cx:pt idx="2872">-0.26512276699999998</cx:pt>
          <cx:pt idx="2873">-0.26478636</cx:pt>
          <cx:pt idx="2874">-0.26428048599999998</cx:pt>
          <cx:pt idx="2875">-0.26394020400000001</cx:pt>
          <cx:pt idx="2876">-0.26377461099999999</cx:pt>
          <cx:pt idx="2877">-0.26359983799999998</cx:pt>
          <cx:pt idx="2878">-0.26326873699999997</cx:pt>
          <cx:pt idx="2879">-0.26309396400000001</cx:pt>
          <cx:pt idx="2880">-0.26308739399999997</cx:pt>
          <cx:pt idx="2881">-0.26276286300000001</cx:pt>
          <cx:pt idx="2882">-0.26225698800000002</cx:pt>
          <cx:pt idx="2883">-0.26191662199999999</cx:pt>
          <cx:pt idx="2884">-0.26040295800000002</cx:pt>
          <cx:pt idx="2885">-0.260237365</cx:pt>
          <cx:pt idx="2886">-0.259897084</cx:pt>
          <cx:pt idx="2887">-0.25939120900000001</cx:pt>
          <cx:pt idx="2888">-0.25922561700000002</cx:pt>
          <cx:pt idx="2889">-0.25905092699999999</cx:pt>
          <cx:pt idx="2890">-0.25854505300000002</cx:pt>
          <cx:pt idx="2891">-0.25837946000000001</cx:pt>
          <cx:pt idx="2892">-0.25821386800000001</cx:pt>
          <cx:pt idx="2893">-0.25634939299999998</cx:pt>
          <cx:pt idx="2894">-0.25534943599999999</cx:pt>
          <cx:pt idx="2895">-0.25518384399999999</cx:pt>
          <cx:pt idx="2896">-0.255015724</cx:pt>
          <cx:pt idx="2897">-0.25484356200000002</cx:pt>
          <cx:pt idx="2898">-0.25467796999999998</cx:pt>
          <cx:pt idx="2899">-0.25366622100000003</cx:pt>
          <cx:pt idx="2900">-0.25316034599999998</cx:pt>
          <cx:pt idx="2901">-0.252994838</cx:pt>
          <cx:pt idx="2902">-0.25282006499999998</cx:pt>
          <cx:pt idx="2903">-0.252148598</cx:pt>
          <cx:pt idx="2904">-0.25198308899999999</cx:pt>
          <cx:pt idx="2905">-0.25164272300000001</cx:pt>
          <cx:pt idx="2906">-0.25147721499999998</cx:pt>
          <cx:pt idx="2907">-0.25130244200000001</cx:pt>
          <cx:pt idx="2908">-0.251136849</cx:pt>
          <cx:pt idx="2909">-0.25097134100000001</cx:pt>
          <cx:pt idx="2910">-0.25063628100000002</cx:pt>
          <cx:pt idx="2911">-0.25029591499999998</cx:pt>
          <cx:pt idx="2912">-0.24574304599999999</cx:pt>
          <cx:pt idx="2913">-0.24573773900000001</cx:pt>
          <cx:pt idx="2914">-0.245242393</cx:pt>
          <cx:pt idx="2915">-0.24507680100000001</cx:pt>
          <cx:pt idx="2916">-0.24490868099999999</cx:pt>
          <cx:pt idx="2917">-0.24473651900000001</cx:pt>
          <cx:pt idx="2918">-0.244389667</cx:pt>
          <cx:pt idx="2919">-0.23798799000000001</cx:pt>
          <cx:pt idx="2920">-0.23766345899999999</cx:pt>
          <cx:pt idx="2921">-0.236977505</cx:pt>
          <cx:pt idx="2922">-0.236817218</cx:pt>
          <cx:pt idx="2923">-0.23513534999999999</cx:pt>
          <cx:pt idx="2924">-0.23496984200000001</cx:pt>
          <cx:pt idx="2925">-0.234629476</cx:pt>
          <cx:pt idx="2926">-0.23311185300000001</cx:pt>
          <cx:pt idx="2927">-0.23277157100000001</cx:pt>
          <cx:pt idx="2928">-0.232766265</cx:pt>
          <cx:pt idx="2929">-0.23260597899999999</cx:pt>
          <cx:pt idx="2930">-0.232440386</cx:pt>
          <cx:pt idx="2931">-0.23227353000000001</cx:pt>
          <cx:pt idx="2932">-0.232100104</cx:pt>
          <cx:pt idx="2933">-0.231769003</cx:pt>
          <cx:pt idx="2934">-0.23142863699999999</cx:pt>
          <cx:pt idx="2935">-0.23059031399999999</cx:pt>
          <cx:pt idx="2936">-0.23024742200000001</cx:pt>
          <cx:pt idx="2937">-0.22991632100000001</cx:pt>
          <cx:pt idx="2938">-0.22974154699999999</cx:pt>
          <cx:pt idx="2939">-0.22973362999999999</cx:pt>
          <cx:pt idx="2940">-0.229235673</cx:pt>
          <cx:pt idx="2941">-0.22872979800000001</cx:pt>
          <cx:pt idx="2942">-0.22856420599999999</cx:pt>
          <cx:pt idx="2943">-0.22822392399999999</cx:pt>
          <cx:pt idx="2944">-0.228058331</cx:pt>
          <cx:pt idx="2945">-0.22789273900000001</cx:pt>
          <cx:pt idx="2946">-0.22771805000000001</cx:pt>
          <cx:pt idx="2947">-0.22738686499999999</cx:pt>
          <cx:pt idx="2948">-0.22738560099999999</cx:pt>
          <cx:pt idx="2949">-0.223669707</cx:pt>
          <cx:pt idx="2950">-0.22233334299999999</cx:pt>
          <cx:pt idx="2951">-0.22166195999999999</cx:pt>
          <cx:pt idx="2952">-0.221156086</cx:pt>
          <cx:pt idx="2953">-0.22081571999999999</cx:pt>
          <cx:pt idx="2954">-0.22065021200000001</cx:pt>
          <cx:pt idx="2955">-0.22013903100000001</cx:pt>
          <cx:pt idx="2956">-0.21980793000000001</cx:pt>
          <cx:pt idx="2957">-0.21946764799999999</cx:pt>
          <cx:pt idx="2958">-0.219302056</cx:pt>
          <cx:pt idx="2959">-0.21879618100000001</cx:pt>
          <cx:pt idx="2960">-0.21862140799999999</cx:pt>
          <cx:pt idx="2961">-0.218455815</cx:pt>
          <cx:pt idx="2962">-0.218115533</cx:pt>
          <cx:pt idx="2963">-0.21794994100000001</cx:pt>
          <cx:pt idx="2964">-0.21761884000000001</cx:pt>
          <cx:pt idx="2965">-0.21744406599999999</cx:pt>
          <cx:pt idx="2966">-0.21710900699999999</cx:pt>
          <cx:pt idx="2967">-0.216607091</cx:pt>
          <cx:pt idx="2968">-0.216266809</cx:pt>
          <cx:pt idx="2969">-0.21576093499999999</cx:pt>
          <cx:pt idx="2970">-0.21542056900000001</cx:pt>
          <cx:pt idx="2971">-0.215260283</cx:pt>
          <cx:pt idx="2972">-0.21508550900000001</cx:pt>
          <cx:pt idx="2973">-0.212565318</cx:pt>
          <cx:pt idx="2974">-0.21222503700000001</cx:pt>
          <cx:pt idx="2975">-0.211884671</cx:pt>
          <cx:pt idx="2976">-0.21171916199999999</cx:pt>
          <cx:pt idx="2977">-0.21155357</cx:pt>
          <cx:pt idx="2978">-0.211213288</cx:pt>
          <cx:pt idx="2979">-0.21070741300000001</cx:pt>
          <cx:pt idx="2980">-0.21020676099999999</cx:pt>
          <cx:pt idx="2981">-0.21002541799999999</cx:pt>
          <cx:pt idx="2982">-0.20986647899999999</cx:pt>
          <cx:pt idx="2983">-0.209532683</cx:pt>
          <cx:pt idx="2984">-0.20935791000000001</cx:pt>
          <cx:pt idx="2985">-0.20902680900000001</cx:pt>
          <cx:pt idx="2986">-0.207674778</cx:pt>
          <cx:pt idx="2987">-0.20649743700000001</cx:pt>
          <cx:pt idx="2988">-0.20615715500000001</cx:pt>
          <cx:pt idx="2989">-0.20599156299999999</cx:pt>
          <cx:pt idx="2990">-0.20582597</cx:pt>
          <cx:pt idx="2991">-0.20565119700000001</cx:pt>
          <cx:pt idx="2992">-0.205485688</cx:pt>
          <cx:pt idx="2993">-0.20363426900000001</cx:pt>
          <cx:pt idx="2994">-0.20278937599999999</cx:pt>
          <cx:pt idx="2995">-0.202449095</cx:pt>
          <cx:pt idx="2996">-0.202117994</cx:pt>
          <cx:pt idx="2997">-0.20194978999999999</cx:pt>
          <cx:pt idx="2998">-0.20194844200000001</cx:pt>
          <cx:pt idx="2999">-0.20147762799999999</cx:pt>
          <cx:pt idx="3000">-0.201271753</cx:pt>
          <cx:pt idx="3001">-0.20126518299999999</cx:pt>
          <cx:pt idx="3002">-0.200940652</cx:pt>
          <cx:pt idx="3003">-0.20060037</cx:pt>
          <cx:pt idx="3004">-0.20043351400000001</cx:pt>
          <cx:pt idx="3005">-0.20009971800000001</cx:pt>
          <cx:pt idx="3006">-0.19992494499999999</cx:pt>
          <cx:pt idx="3007">-0.19975943600000001</cx:pt>
          <cx:pt idx="3008">-0.19959384399999999</cx:pt>
          <cx:pt idx="3009">-0.19942563999999999</cx:pt>
          <cx:pt idx="3010">-0.199253562</cx:pt>
          <cx:pt idx="3011">-0.19908797</cx:pt>
          <cx:pt idx="3012">-0.19891319599999999</cx:pt>
          <cx:pt idx="3013">-0.19874768800000001</cx:pt>
          <cx:pt idx="3014">-0.19858209499999999</cx:pt>
          <cx:pt idx="3015">-0.198076221</cx:pt>
          <cx:pt idx="3016">-0.19773585499999999</cx:pt>
          <cx:pt idx="3017">-0.19757034600000001</cx:pt>
          <cx:pt idx="3018">-0.19689626800000001</cx:pt>
          <cx:pt idx="3019">-0.19621166200000001</cx:pt>
          <cx:pt idx="3020">-0.19588713099999999</cx:pt>
          <cx:pt idx="3021">-0.19503305700000001</cx:pt>
          <cx:pt idx="3022">-0.19454032199999999</cx:pt>
          <cx:pt idx="3023">-0.19318829200000001</cx:pt>
          <cx:pt idx="3024">-0.19184274700000001</cx:pt>
          <cx:pt idx="3025">-0.190653614</cx:pt>
          <cx:pt idx="3026">-0.18898092699999999</cx:pt>
          <cx:pt idx="3027">-0.188806153</cx:pt>
          <cx:pt idx="3028">-0.188640645</cx:pt>
          <cx:pt idx="3029">-0.18830027899999999</cx:pt>
          <cx:pt idx="3030">-0.18813477000000001</cx:pt>
          <cx:pt idx="3031">-0.18796917799999999</cx:pt>
          <cx:pt idx="3032">-0.18728330800000001</cx:pt>
          <cx:pt idx="3033">-0.18645155499999999</cx:pt>
          <cx:pt idx="3034">-0.186104619</cx:pt>
          <cx:pt idx="3035">-0.184929973</cx:pt>
          <cx:pt idx="3036">-0.184598872</cx:pt>
          <cx:pt idx="3037">-0.18425850599999999</cx:pt>
          <cx:pt idx="3038">-0.18409299800000001</cx:pt>
          <cx:pt idx="3039">-0.18392740499999999</cx:pt>
          <cx:pt idx="3040">-0.183752632</cx:pt>
          <cx:pt idx="3041">-0.18342018299999999</cx:pt>
          <cx:pt idx="3042">-0.18291565600000001</cx:pt>
          <cx:pt idx="3043">-0.18274088299999999</cx:pt>
          <cx:pt idx="3044">-0.182235008</cx:pt>
          <cx:pt idx="3045">-0.18139803299999999</cx:pt>
          <cx:pt idx="3046">-0.18123244099999999</cx:pt>
          <cx:pt idx="3047">-0.18105766700000001</cx:pt>
          <cx:pt idx="3048">-0.18072656600000001</cx:pt>
          <cx:pt idx="3049">-0.18038628400000001</cx:pt>
          <cx:pt idx="3050">-0.18022069199999999</cx:pt>
          <cx:pt idx="3051">-0.180040696</cx:pt>
          <cx:pt idx="3052">-0.17869784699999999</cx:pt>
          <cx:pt idx="3053">-0.178532254</cx:pt>
          <cx:pt idx="3054">-0.17836666200000001</cx:pt>
          <cx:pt idx="3055">-0.17802638000000001</cx:pt>
          <cx:pt idx="3056">-0.17768609799999999</cx:pt>
          <cx:pt idx="3057">-0.177354913</cx:pt>
          <cx:pt idx="3058">-0.17701463100000001</cx:pt>
          <cx:pt idx="3059">-0.17684903799999999</cx:pt>
          <cx:pt idx="3060">-0.176343164</cx:pt>
          <cx:pt idx="3061">-0.17617765599999999</cx:pt>
          <cx:pt idx="3062">-0.17583729000000001</cx:pt>
          <cx:pt idx="3063">-0.17567043399999999</cx:pt>
          <cx:pt idx="3064">-0.17549700800000001</cx:pt>
          <cx:pt idx="3065">-0.17499113399999999</cx:pt>
          <cx:pt idx="3066">-0.17483084700000001</cx:pt>
          <cx:pt idx="3067">-0.17465607399999999</cx:pt>
          <cx:pt idx="3068">-0.17432497299999999</cx:pt>
          <cx:pt idx="3069">-0.17381901399999999</cx:pt>
          <cx:pt idx="3070">-0.17364432499999999</cx:pt>
          <cx:pt idx="3071">-0.17363901900000001</cx:pt>
          <cx:pt idx="3072">-0.17331314</cx:pt>
          <cx:pt idx="3073">-0.17297285800000001</cx:pt>
          <cx:pt idx="3074">-0.17280726599999999</cx:pt>
          <cx:pt idx="3075">-0.17263257600000001</cx:pt>
          <cx:pt idx="3076">-0.172301391</cx:pt>
          <cx:pt idx="3077">-0.171961109</cx:pt>
          <cx:pt idx="3078">-0.17195453999999999</cx:pt>
          <cx:pt idx="3079">-0.17162739699999999</cx:pt>
          <cx:pt idx="3080">-0.17112413400000001</cx:pt>
          <cx:pt idx="3081">-0.17094936099999999</cx:pt>
          <cx:pt idx="3082">-0.170783768</cx:pt>
          <cx:pt idx="3083">-0.17061825999999999</cx:pt>
          <cx:pt idx="3084">-0.17044348600000001</cx:pt>
          <cx:pt idx="3085">-0.170112385</cx:pt>
          <cx:pt idx="3086">-0.16960255199999999</cx:pt>
          <cx:pt idx="3087">-0.16927145099999999</cx:pt>
          <cx:pt idx="3088">-0.16910324800000001</cx:pt>
          <cx:pt idx="3089">-0.16876549299999999</cx:pt>
          <cx:pt idx="3090">-0.16859080400000001</cx:pt>
          <cx:pt idx="3091">-0.16842521099999999</cx:pt>
          <cx:pt idx="3092">-0.168259618</cx:pt>
          <cx:pt idx="3093">-0.167919337</cx:pt>
          <cx:pt idx="3094">-0.167579055</cx:pt>
          <cx:pt idx="3095">-0.16757509600000001</cx:pt>
          <cx:pt idx="3096">-0.16724786999999999</cx:pt>
          <cx:pt idx="3097">-0.16707318099999999</cx:pt>
          <cx:pt idx="3098">-0.166907588</cx:pt>
          <cx:pt idx="3099">-0.16657387600000001</cx:pt>
          <cx:pt idx="3100">-0.16623612099999999</cx:pt>
          <cx:pt idx="3101">-0.165730247</cx:pt>
          <cx:pt idx="3102">-0.16556473799999999</cx:pt>
          <cx:pt idx="3103">-0.16522437200000001</cx:pt>
          <cx:pt idx="3104">-0.165058864</cx:pt>
          <cx:pt idx="3105">-0.16454903100000001</cx:pt>
          <cx:pt idx="3106">-0.16421793000000001</cx:pt>
          <cx:pt idx="3107">-0.163877564</cx:pt>
          <cx:pt idx="3108">-0.16353728200000001</cx:pt>
          <cx:pt idx="3109">-0.16337169000000001</cx:pt>
          <cx:pt idx="3110">-0.162865815</cx:pt>
          <cx:pt idx="3111">-0.162525533</cx:pt>
          <cx:pt idx="3112">-0.16219434799999999</cx:pt>
          <cx:pt idx="3113">-0.16201965900000001</cx:pt>
          <cx:pt idx="3114">-0.16184749700000001</cx:pt>
          <cx:pt idx="3115">-0.161688474</cx:pt>
          <cx:pt idx="3116">-0.161520354</cx:pt>
          <cx:pt idx="3117">-0.161348192</cx:pt>
          <cx:pt idx="3118">-0.16118260000000001</cx:pt>
          <cx:pt idx="3119">-0.161017091</cx:pt>
          <cx:pt idx="3120">-0.16084231800000001</cx:pt>
          <cx:pt idx="3121">-0.160170851</cx:pt>
          <cx:pt idx="3122">-0.15949550900000001</cx:pt>
          <cx:pt idx="3123">-0.15932991699999999</cx:pt>
          <cx:pt idx="3124">-0.15696217900000001</cx:pt>
          <cx:pt idx="3125">-0.15596357</cx:pt>
          <cx:pt idx="3126">-0.15578879600000001</cx:pt>
          <cx:pt idx="3127">-0.15562320399999999</cx:pt>
          <cx:pt idx="3128">-0.155117329</cx:pt>
          <cx:pt idx="3129">-0.15495182099999999</cx:pt>
          <cx:pt idx="3130">-0.15495047300000001</cx:pt>
          <cx:pt idx="3131">-0.154777048</cx:pt>
          <cx:pt idx="3132">-0.15477174099999999</cx:pt>
          <cx:pt idx="3133">-0.15460749600000001</cx:pt>
          <cx:pt idx="3134">-0.154441988</cx:pt>
          <cx:pt idx="3135">-0.15427639500000001</cx:pt>
          <cx:pt idx="3136">-0.15275877199999999</cx:pt>
          <cx:pt idx="3137">-0.15208730500000001</cx:pt>
          <cx:pt idx="3138">-0.151912616</cx:pt>
          <cx:pt idx="3139">-0.15158143099999999</cx:pt>
          <cx:pt idx="3140">-0.15124114899999999</cx:pt>
          <cx:pt idx="3141">-0.151075557</cx:pt>
          <cx:pt idx="3142">-0.15091004799999999</cx:pt>
          <cx:pt idx="3143">-0.15056968200000001</cx:pt>
          <cx:pt idx="3144">-0.15022940000000001</cx:pt>
          <cx:pt idx="3145">-0.15006380799999999</cx:pt>
          <cx:pt idx="3146">-0.14989829900000001</cx:pt>
          <cx:pt idx="3147">-0.149723526</cx:pt>
          <cx:pt idx="3148">-0.14922287400000001</cx:pt>
          <cx:pt idx="3149">-0.14888259200000001</cx:pt>
          <cx:pt idx="3150">-0.14871699899999999</cx:pt>
          <cx:pt idx="3151">-0.14855149100000001</cx:pt>
          <cx:pt idx="3152">-0.147033784</cx:pt>
          <cx:pt idx="3153">-0.146859095</cx:pt>
          <cx:pt idx="3154">-0.14635844200000001</cx:pt>
          <cx:pt idx="3155">-0.14567518300000001</cx:pt>
          <cx:pt idx="3156">-0.144169352</cx:pt>
          <cx:pt idx="3157">-0.14130626800000001</cx:pt>
          <cx:pt idx="3158">-0.14113410600000001</cx:pt>
          <cx:pt idx="3159">-0.141127536</cx:pt>
          <cx:pt idx="3160">-0.14096851399999999</cx:pt>
          <cx:pt idx="3161">-0.14080300500000001</cx:pt>
          <cx:pt idx="3162">-0.14062823199999999</cx:pt>
          <cx:pt idx="3163">-0.140122357</cx:pt>
          <cx:pt idx="3164">-0.13961648300000001</cx:pt>
          <cx:pt idx="3165">-0.139611177</cx:pt>
          <cx:pt idx="3166">-0.13945484899999999</cx:pt>
          <cx:pt idx="3167">-0.13945350200000001</cx:pt>
          <cx:pt idx="3168">-0.13911456699999999</cx:pt>
          <cx:pt idx="3169">-0.13877420100000001</cx:pt>
          <cx:pt idx="3170">-0.13860869300000001</cx:pt>
          <cx:pt idx="3171">-0.138268327</cx:pt>
          <cx:pt idx="3172">-0.137937226</cx:pt>
          <cx:pt idx="3173">-0.13743135200000001</cx:pt>
          <cx:pt idx="3174">-0.137090986</cx:pt>
          <cx:pt idx="3175">-0.136922866</cx:pt>
          <cx:pt idx="3176">-0.13675727400000001</cx:pt>
          <cx:pt idx="3177">-0.136251399</cx:pt>
          <cx:pt idx="3178">-0.13523965099999999</cx:pt>
          <cx:pt idx="3179">-0.13489936899999999</cx:pt>
          <cx:pt idx="3180">-0.13456818400000001</cx:pt>
          <cx:pt idx="3181">-0.13440132799999999</cx:pt>
          <cx:pt idx="3182">-0.133895453</cx:pt>
          <cx:pt idx="3183">-0.133555171</cx:pt>
          <cx:pt idx="3184">-0.13338957900000001</cx:pt>
          <cx:pt idx="3185">-0.13321480499999999</cx:pt>
          <cx:pt idx="3186">-0.13304929700000001</cx:pt>
          <cx:pt idx="3187">-0.13288370499999999</cx:pt>
          <cx:pt idx="3188">-0.13254342299999999</cx:pt>
          <cx:pt idx="3189">-0.13237783</cx:pt>
          <cx:pt idx="3190">-0.13220305700000001</cx:pt>
          <cx:pt idx="3191">-0.13203746399999999</cx:pt>
          <cx:pt idx="3192">-0.12984584699999999</cx:pt>
          <cx:pt idx="3193">-0.129514662</cx:pt>
          <cx:pt idx="3194">-0.12917303299999999</cx:pt>
          <cx:pt idx="3195">-0.12884193199999999</cx:pt>
          <cx:pt idx="3196">-0.12850165</cx:pt>
          <cx:pt idx="3197">-0.12799577600000001</cx:pt>
          <cx:pt idx="3198">-0.12765541</cx:pt>
          <cx:pt idx="3199">-0.127324309</cx:pt>
          <cx:pt idx="3200">-0.126984027</cx:pt>
          <cx:pt idx="3201">-0.12681447600000001</cx:pt>
          <cx:pt idx="3202">-0.12648337500000001</cx:pt>
          <cx:pt idx="3203">-0.126143009</cx:pt>
          <cx:pt idx="3204">-0.12597749999999999</cx:pt>
          <cx:pt idx="3205">-0.12563713400000001</cx:pt>
          <cx:pt idx="3206">-0.124965752</cx:pt>
          <cx:pt idx="3207">-0.124459877</cx:pt>
          <cx:pt idx="3208">-0.12395400299999999</cx:pt>
          <cx:pt idx="3209">-0.120923979</cx:pt>
          <cx:pt idx="3210">-0.120418104</cx:pt>
          <cx:pt idx="3211">-0.12024333099999999</cx:pt>
          <cx:pt idx="3212">-0.120239372</cx:pt>
          <cx:pt idx="3213">-0.120077738</cx:pt>
          <cx:pt idx="3214">-0.11991222999999999</cx:pt>
          <cx:pt idx="3215">-0.11973745700000001</cx:pt>
          <cx:pt idx="3216">-0.119571864</cx:pt>
          <cx:pt idx="3217">-0.118733541</cx:pt>
          <cx:pt idx="3218">-0.115024217</cx:pt>
          <cx:pt idx="3219">-0.114858709</cx:pt>
          <cx:pt idx="3220">-0.114679976</cx:pt>
          <cx:pt idx="3221">-0.11451834299999999</cx:pt>
          <cx:pt idx="3222">-0.114178061</cx:pt>
          <cx:pt idx="3223">-0.11384696</cx:pt>
          <cx:pt idx="3224">-0.11368136700000001</cx:pt>
          <cx:pt idx="3225">-0.113501372</cx:pt>
          <cx:pt idx="3226">-0.11334108499999999</cx:pt>
          <cx:pt idx="3227">-0.113175493</cx:pt>
          <cx:pt idx="3228">-0.112835211</cx:pt>
          <cx:pt idx="3229">-0.112163744</cx:pt>
          <cx:pt idx="3230">-0.11198501199999999</cx:pt>
          <cx:pt idx="3231">-0.111823462</cx:pt>
          <cx:pt idx="3232">-0.11132280999999999</cx:pt>
          <cx:pt idx="3233">-0.11114281500000001</cx:pt>
          <cx:pt idx="3234">-0.110982444</cx:pt>
          <cx:pt idx="3235">-0.110642162</cx:pt>
          <cx:pt idx="3236">-0.110136288</cx:pt>
          <cx:pt idx="3237">-0.10997069499999999</cx:pt>
          <cx:pt idx="3238">-0.109630414</cx:pt>
          <cx:pt idx="3239">-0.109626455</cx:pt>
          <cx:pt idx="3240">-0.109464821</cx:pt>
          <cx:pt idx="3241">-0.10912453900000001</cx:pt>
          <cx:pt idx="3242">-0.108958947</cx:pt>
          <cx:pt idx="3243">-0.108287564</cx:pt>
          <cx:pt idx="3244">-0.108121971</cx:pt>
          <cx:pt idx="3245">-0.108120624</cx:pt>
          <cx:pt idx="3246">-0.10794719799999999</cx:pt>
          <cx:pt idx="3247">-0.107941976</cx:pt>
          <cx:pt idx="3248">-0.10778169</cx:pt>
          <cx:pt idx="3249">-0.107614749</cx:pt>
          <cx:pt idx="3250">-0.10592900700000001</cx:pt>
          <cx:pt idx="3251">-0.105425744</cx:pt>
          <cx:pt idx="3252">-0.104078935</cx:pt>
          <cx:pt idx="3253">-0.10357306099999999</cx:pt>
          <cx:pt idx="3254">-0.10339828700000001</cx:pt>
          <cx:pt idx="3255">-0.10306710199999999</cx:pt>
          <cx:pt idx="3256">-0.102892413</cx:pt>
          <cx:pt idx="3257">-0.10272682</cx:pt>
          <cx:pt idx="3258">-0.102561228</cx:pt>
          <cx:pt idx="3259">-0.100369527</cx:pt>
          <cx:pt idx="3260">-0.100025286</cx:pt>
          <cx:pt idx="3261">-0.098171339999999996</cx:pt>
          <cx:pt idx="3262">-0.098013665</cx:pt>
          <cx:pt idx="3263">-0.097507706</cx:pt>
          <cx:pt idx="3264">-0.096827143000000004</cx:pt>
          <cx:pt idx="3265">-0.096661549999999999</cx:pt>
          <cx:pt idx="3266">-0.095821963999999996</cx:pt>
          <cx:pt idx="3267">-0.095481598000000001</cx:pt>
          <cx:pt idx="3268">-0.095316089000000007</cx:pt>
          <cx:pt idx="3269">-0.095150497000000001</cx:pt>
          <cx:pt idx="3270">-0.094975722999999998</cx:pt>
          <cx:pt idx="3271">-0.094810131000000006</cx:pt>
          <cx:pt idx="3272">-0.094469848999999995</cx:pt>
          <cx:pt idx="3273">-0.093631526000000007</cx:pt>
          <cx:pt idx="3274">-0.092785370000000006</cx:pt>
          <cx:pt idx="3275">-0.092619777</cx:pt>
          <cx:pt idx="3276">-0.092279496000000003</cx:pt>
          <cx:pt idx="3277">-0.092113902999999997</cx:pt>
          <cx:pt idx="3278">-0.092107333</cx:pt>
          <cx:pt idx="3279">-0.091948310000000005</cx:pt>
          <cx:pt idx="3280">-0.091096932000000005</cx:pt>
          <cx:pt idx="3281">-0.088738290999999997</cx:pt>
          <cx:pt idx="3282">-0.088578005000000001</cx:pt>
          <cx:pt idx="3283">-0.088237723000000004</cx:pt>
          <cx:pt idx="3284">-0.088072129999999998</cx:pt>
          <cx:pt idx="3285">-0.087906622000000004</cx:pt>
          <cx:pt idx="3286">-0.087222015</cx:pt>
          <cx:pt idx="3287">-0.086894789</cx:pt>
          <cx:pt idx="3288">-0.086720099999999994</cx:pt>
          <cx:pt idx="3289">-0.086554507000000003</cx:pt>
          <cx:pt idx="3290">-0.086386303999999997</cx:pt>
          <cx:pt idx="3291">-0.086220795000000003</cx:pt>
          <cx:pt idx="3292">-0.086046022</cx:pt>
          <cx:pt idx="3293">-0.085714920999999999</cx:pt>
          <cx:pt idx="3294">-0.085369333000000006</cx:pt>
          <cx:pt idx="3295">-0.085209045999999997</cx:pt>
          <cx:pt idx="3296">-0.085043454000000004</cx:pt>
          <cx:pt idx="3297">-0.084868680000000002</cx:pt>
          <cx:pt idx="3298">-0.084863458000000003</cx:pt>
          <cx:pt idx="3299">-0.084703087999999996</cx:pt>
          <cx:pt idx="3300">-0.084362805999999999</cx:pt>
          <cx:pt idx="3301">-0.084197214000000006</cx:pt>
          <cx:pt idx="3302">-0.084190643999999995</cx:pt>
          <cx:pt idx="3303">-0.084031704999999998</cx:pt>
          <cx:pt idx="3304">-0.083184200999999999</cx:pt>
          <cx:pt idx="3305">-0.083018608999999993</cx:pt>
          <cx:pt idx="3306">-0.082853099999999999</cx:pt>
          <cx:pt idx="3307">-0.082678326999999996</cx:pt>
          <cx:pt idx="3308">-0.082172453000000006</cx:pt>
          <cx:pt idx="3309">-0.082006860000000001</cx:pt>
          <cx:pt idx="3310">-0.079989932</cx:pt>
          <cx:pt idx="3311">-0.079815158999999997</cx:pt>
          <cx:pt idx="3312">-0.079484057999999996</cx:pt>
          <cx:pt idx="3313">-0.079309284999999993</cx:pt>
          <cx:pt idx="3314">-0.079143692000000002</cx:pt>
          <cx:pt idx="3315">-0.079137122000000004</cx:pt>
          <cx:pt idx="3316">-0.078802063000000006</cx:pt>
          <cx:pt idx="3317">-0.078631248000000001</cx:pt>
          <cx:pt idx="3318">-0.078305452999999997</cx:pt>
          <cx:pt idx="3319">-0.077965087000000002</cx:pt>
          <cx:pt idx="3320">-0.077624805000000005</cx:pt>
          <cx:pt idx="3321">-0.077118931000000002</cx:pt>
          <cx:pt idx="3322">-0.076787746000000004</cx:pt>
          <cx:pt idx="3323">-0.076613056999999998</cx:pt>
          <cx:pt idx="3324">-0.076447464000000007</cx:pt>
          <cx:pt idx="3325">-0.076440893999999995</cx:pt>
          <cx:pt idx="3326">-0.076113752000000007</cx:pt>
          <cx:pt idx="3327">-0.075938979000000004</cx:pt>
          <cx:pt idx="3328">-0.075773385999999998</cx:pt>
          <cx:pt idx="3329">-0.075607878000000003</cx:pt>
          <cx:pt idx="3330">-0.075433104000000001</cx:pt>
          <cx:pt idx="3331">-0.075267511999999995</cx:pt>
          <cx:pt idx="3332">-0.074936410999999994</cx:pt>
          <cx:pt idx="3333">-0.074935062999999996</cx:pt>
          <cx:pt idx="3334">-0.074761637000000006</cx:pt>
          <cx:pt idx="3335">-0.074756415000000007</cx:pt>
          <cx:pt idx="3336">-0.074430537000000005</cx:pt>
          <cx:pt idx="3337">-0.074255763000000002</cx:pt>
          <cx:pt idx="3338">-0.074082336999999998</cx:pt>
          <cx:pt idx="3339">-0.073924662000000002</cx:pt>
          <cx:pt idx="3340">-0.073748541000000001</cx:pt>
          <cx:pt idx="3341">-0.073251932000000006</cx:pt>
          <cx:pt idx="3342">-0.073077158000000003</cx:pt>
          <cx:pt idx="3343">-0.072911565999999997</cx:pt>
          <cx:pt idx="3344">-0.072746057000000003</cx:pt>
          <cx:pt idx="3345">-0.072405690999999994</cx:pt>
          <cx:pt idx="3346">-0.072240182999999999</cx:pt>
          <cx:pt idx="3347">-0.071559534999999994</cx:pt>
          <cx:pt idx="3348">-0.071225738999999996</cx:pt>
          <cx:pt idx="3349">-0.070713294999999995</cx:pt>
          <cx:pt idx="3350">-0.070554355999999999</cx:pt>
          <cx:pt idx="3351">-0.070376971999999996</cx:pt>
          <cx:pt idx="3352">-0.070213990000000004</cx:pt>
          <cx:pt idx="3353">-0.069198282999999999</cx:pt>
          <cx:pt idx="3354">-0.067344337000000004</cx:pt>
          <cx:pt idx="3355">-0.065160468999999999</cx:pt>
          <cx:pt idx="3356">-0.064994960000000004</cx:pt>
          <cx:pt idx="3357">-0.064654593999999996</cx:pt>
          <cx:pt idx="3358">-0.064489086000000001</cx:pt>
          <cx:pt idx="3359">-0.064323493999999995</cx:pt>
          <cx:pt idx="3360">-0.064148720000000006</cx:pt>
          <cx:pt idx="3361">-0.063983211999999998</cx:pt>
          <cx:pt idx="3362">-0.063817619000000006</cx:pt>
          <cx:pt idx="3363">-0.063649415000000001</cx:pt>
          <cx:pt idx="3364">-0.062637666999999994</cx:pt>
          <cx:pt idx="3365">-0.062290814999999999</cx:pt>
          <cx:pt idx="3366">-0.061957019000000002</cx:pt>
          <cx:pt idx="3367">-0.061625918000000002</cx:pt>
          <cx:pt idx="3368">-0.060778414000000003</cx:pt>
          <cx:pt idx="3369">-0.060612821999999997</cx:pt>
          <cx:pt idx="3370">-0.060106947000000001</cx:pt>
          <cx:pt idx="3371">-0.059268623999999999</cx:pt>
          <cx:pt idx="3372">-0.059093935</cx:pt>
          <cx:pt idx="3373">-0.058762750000000002</cx:pt>
          <cx:pt idx="3374">-0.058595894000000003</cx:pt>
          <cx:pt idx="3375">-0.058417162000000002</cx:pt>
          <cx:pt idx="3376">-0.058255611999999998</cx:pt>
          <cx:pt idx="3377">-0.057921816000000001</cx:pt>
          <cx:pt idx="3378">-0.057749738000000002</cx:pt>
          <cx:pt idx="3379">-0.057243862999999999</cx:pt>
          <cx:pt idx="3380">-0.057078271</cx:pt>
          <cx:pt idx="3381">-0.056572397000000003</cx:pt>
          <cx:pt idx="3382">-0.056397623000000001</cx:pt>
          <cx:pt idx="3383">-0.056232114999999999</cx:pt>
          <cx:pt idx="3384">-0.056063911000000001</cx:pt>
          <cx:pt idx="3385">-0.055723544999999999</cx:pt>
          <cx:pt idx="3386">-0.055558036999999998</cx:pt>
          <cx:pt idx="3387">-0.055392443999999999</cx:pt>
          <cx:pt idx="3388">-0.055226852</cx:pt>
          <cx:pt idx="3389">-0.051518874999999999</cx:pt>
          <cx:pt idx="3390">-0.050338923000000001</cx:pt>
          <cx:pt idx="3391">-0.049667455999999999</cx:pt>
          <cx:pt idx="3392">-0.049488808000000002</cx:pt>
          <cx:pt idx="3393">-0.049327174000000001</cx:pt>
          <cx:pt idx="3394">-0.049161581000000003</cx:pt>
          <cx:pt idx="3395">-0.048488850999999999</cx:pt>
          <cx:pt idx="3396">-0.048314078000000003</cx:pt>
          <cx:pt idx="3397">-0.046287968999999998</cx:pt>
          <cx:pt idx="3398">-0.044779527</cx:pt>
          <cx:pt idx="3399">-0.044771608999999997</cx:pt>
          <cx:pt idx="3400">-0.044273651999999997</cx:pt>
          <cx:pt idx="3401">-0.043933370999999999</cx:pt>
          <cx:pt idx="3402">-0.043929412000000001</cx:pt>
          <cx:pt idx="3403">-0.043602185000000002</cx:pt>
          <cx:pt idx="3404">-0.043435329000000002</cx:pt>
          <cx:pt idx="3405">-0.043095047999999997</cx:pt>
          <cx:pt idx="3406">-0.042929454999999998</cx:pt>
          <cx:pt idx="3407">-0.042589173000000001</cx:pt>
          <cx:pt idx="3408">-0.042423581000000002</cx:pt>
          <cx:pt idx="3409">-0.042248806999999999</cx:pt>
          <cx:pt idx="3410">-0.041742933000000003</cx:pt>
          <cx:pt idx="3411">-0.041577425000000001</cx:pt>
          <cx:pt idx="3412">-0.041237059</cx:pt>
          <cx:pt idx="3413">-0.041071549999999998</cx:pt>
          <cx:pt idx="3414">-0.040898039999999997</cx:pt>
          <cx:pt idx="3415">-0.040737754000000001</cx:pt>
          <cx:pt idx="3416">-0.040562980999999998</cx:pt>
          <cx:pt idx="3417">-0.040392166</cx:pt>
          <cx:pt idx="3418">-0.040231879999999998</cx:pt>
          <cx:pt idx="3419">-0.040057106000000002</cx:pt>
          <cx:pt idx="3420">-0.039726005000000002</cx:pt>
          <cx:pt idx="3421">-0.039560413000000003</cx:pt>
          <cx:pt idx="3422">-0.039220130999999998</cx:pt>
          <cx:pt idx="3423">-0.038879849000000001</cx:pt>
          <cx:pt idx="3424">-0.038875890000000003</cx:pt>
          <cx:pt idx="3425">-0.038714257000000002</cx:pt>
          <cx:pt idx="3426">-0.038548664000000003</cx:pt>
          <cx:pt idx="3427">-0.038372626999999999</cx:pt>
          <cx:pt idx="3428">-0.038041525999999999</cx:pt>
          <cx:pt idx="3429">-0.037707730000000002</cx:pt>
          <cx:pt idx="3430">-0.037535652000000003</cx:pt>
          <cx:pt idx="3431">-0.037370058999999997</cx:pt>
          <cx:pt idx="3432">-0.037029777</cx:pt>
          <cx:pt idx="3433">-0.036689410999999998</cx:pt>
          <cx:pt idx="3434">-0.036523903000000003</cx:pt>
          <cx:pt idx="3435">-0.036358310999999997</cx:pt>
          <cx:pt idx="3436">-0.036018029</cx:pt>
          <cx:pt idx="3437">-0.035849825000000002</cx:pt>
          <cx:pt idx="3438">-0.035684233000000003</cx:pt>
          <cx:pt idx="3439">-0.035178358</cx:pt>
          <cx:pt idx="3440">-0.034838076000000003</cx:pt>
          <cx:pt idx="3441">-0.034506890999999998</cx:pt>
          <cx:pt idx="3442">-0.034166609000000001</cx:pt>
          <cx:pt idx="3443">-0.033660734999999997</cx:pt>
          <cx:pt idx="3444">-0.032647638999999999</cx:pt>
          <cx:pt idx="3445">-0.031976256000000002</cx:pt>
          <cx:pt idx="3446">-0.03163589</cx:pt>
          <cx:pt idx="3447">-0.031304789</cx:pt>
          <cx:pt idx="3448">-0.031130016</cx:pt>
          <cx:pt idx="3449">-0.030455937999999998</cx:pt>
          <cx:pt idx="3450">-0.030290429000000001</cx:pt>
          <cx:pt idx="3451">-0.029618961999999999</cx:pt>
          <cx:pt idx="3452">-0.02945337</cx:pt>
          <cx:pt idx="3453">-0.028607213999999999</cx:pt>
          <cx:pt idx="3454">-0.028265584</cx:pt>
          <cx:pt idx="3455">-0.027594117000000001</cx:pt>
          <cx:pt idx="3456">-0.027088243000000001</cx:pt>
          <cx:pt idx="3457">-0.026922734</cx:pt>
          <cx:pt idx="3458">-0.026582367999999999</cx:pt>
          <cx:pt idx="3459">-0.02641686</cx:pt>
          <cx:pt idx="3460">-0.026076493999999999</cx:pt>
          <cx:pt idx="3461">-0.025577189</cx:pt>
          <cx:pt idx="3462">-0.025236907999999999</cx:pt>
          <cx:pt idx="3463">-0.025071315</cx:pt>
          <cx:pt idx="3464">-0.024896542000000001</cx:pt>
          <cx:pt idx="3465">-0.024059566000000001</cx:pt>
          <cx:pt idx="3466">-0.023388098999999999</cx:pt>
          <cx:pt idx="3467">-0.023219980000000001</cx:pt>
          <cx:pt idx="3468">-0.022879614</cx:pt>
          <cx:pt idx="3469">-0.022873043999999999</cx:pt>
          <cx:pt idx="3470">-0.022714106000000001</cx:pt>
          <cx:pt idx="3471">-0.02237374</cx:pt>
          <cx:pt idx="3472">-0.022367169999999999</cx:pt>
          <cx:pt idx="3473">-0.021527582999999999</cx:pt>
          <cx:pt idx="3474">-0.021361991</cx:pt>
          <cx:pt idx="3475">-0.021356769000000001</cx:pt>
          <cx:pt idx="3476">-0.021196398000000002</cx:pt>
          <cx:pt idx="3477">-0.021021709</cx:pt>
          <cx:pt idx="3478">-0.020689261</cx:pt>
          <cx:pt idx="3479">-0.020523667999999998</cx:pt>
          <cx:pt idx="3480">-0.020183386000000001</cx:pt>
          <cx:pt idx="3481">-0.019840409</cx:pt>
          <cx:pt idx="3482">-0.019337146</cx:pt>
          <cx:pt idx="3483">-0.019171636999999998</cx:pt>
          <cx:pt idx="3484">-0.019166331000000002</cx:pt>
          <cx:pt idx="3485">-0.019004697000000001</cx:pt>
          <cx:pt idx="3486">-0.018839188999999999</cx:pt>
          <cx:pt idx="3487">-0.018664415</cx:pt>
          <cx:pt idx="3488">-0.018661804000000001</cx:pt>
          <cx:pt idx="3489">-0.018498823000000001</cx:pt>
          <cx:pt idx="3490">-0.018493600999999998</cx:pt>
          <cx:pt idx="3491">-0.018333314999999999</cx:pt>
          <cx:pt idx="3492">-0.017991685</cx:pt>
          <cx:pt idx="3493">-0.017826093000000001</cx:pt>
          <cx:pt idx="3494">-0.017660584</cx:pt>
          <cx:pt idx="3495">-0.01715471</cx:pt>
          <cx:pt idx="3496">-0.016474062000000001</cx:pt>
          <cx:pt idx="3497">-0.013944689999999999</cx:pt>
          <cx:pt idx="3498">-0.012607063</cx:pt>
          <cx:pt idx="3499">-0.011249726</cx:pt>
          <cx:pt idx="3500">-0.0085534140000000005</cx:pt>
          <cx:pt idx="3501">-0.0083865580000000006</cx:pt>
          <cx:pt idx="3502">-0.0075535410000000004</cx:pt>
          <cx:pt idx="3503">-0.0041753179999999999</cx:pt>
          <cx:pt idx="3504">-0.0035012400000000001</cx:pt>
          <cx:pt idx="3505">-0.0033317730000000001</cx:pt>
          <cx:pt idx="3506">-0.0031727499999999998</cx:pt>
          <cx:pt idx="3507">-0.0026655279999999999</cx:pt>
          <cx:pt idx="3508">-0.0025000199999999999</cx:pt>
          <cx:pt idx="3509">-0.0019941450000000001</cx:pt>
          <cx:pt idx="3510">-0.001488271</cx:pt>
          <cx:pt idx="3511">-0.0013134970000000001</cx:pt>
          <cx:pt idx="3512">-0.00098239700000000009</cx:pt>
          <cx:pt idx="3513">-0.00064203100000000005</cx:pt>
          <cx:pt idx="3514">-0.00030958199999999998</cx:pt>
          <cx:pt idx="3515">3.0700000000000001e-05</cx:pt>
          <cx:pt idx="3516">0.00037106599999999997</cx:pt>
          <cx:pt idx="3517">0.00053657399999999995</cx:pt>
          <cx:pt idx="3518">0.0015496710000000001</cx:pt>
          <cx:pt idx="3519">0.001880771</cx:pt>
          <cx:pt idx="3520">0.0020568930000000002</cx:pt>
          <cx:pt idx="3521">0.0023879930000000001</cx:pt>
          <cx:pt idx="3522">0.002893868</cx:pt>
          <cx:pt idx="3523">0.0030593759999999999</cx:pt>
          <cx:pt idx="3524">0.0035652510000000002</cx:pt>
          <cx:pt idx="3525">0.0039056170000000001</cx:pt>
          <cx:pt idx="3526">0.0042458979999999997</cx:pt>
          <cx:pt idx="3527">0.0044167130000000001</cx:pt>
          <cx:pt idx="3528">0.004578347</cx:pt>
          <cx:pt idx="3529">0.0061012760000000001</cx:pt>
          <cx:pt idx="3530">0.006269396</cx:pt>
          <cx:pt idx="3531">0.009631868</cx:pt>
          <cx:pt idx="3532">0.01148194</cx:pt>
          <cx:pt idx="3533">0.012671073</cx:pt>
          <cx:pt idx="3534">0.014686738</cx:pt>
          <cx:pt idx="3535">0.015027019000000001</cx:pt>
          <cx:pt idx="3536">0.015358119999999999</cx:pt>
          <cx:pt idx="3537">0.015698486000000001</cx:pt>
          <cx:pt idx="3538">0.015863994999999999</cx:pt>
          <cx:pt idx="3539">0.016376439</cx:pt>
          <cx:pt idx="3540">0.016711498000000002</cx:pt>
          <cx:pt idx="3541">0.016877091</cx:pt>
          <cx:pt idx="3542">0.017042683999999999</cx:pt>
          <cx:pt idx="3543">0.017213498000000001</cx:pt>
          <cx:pt idx="3544">0.017724594999999999</cx:pt>
          <cx:pt idx="3545">0.025641284</cx:pt>
          <cx:pt idx="3546">0.025969774000000001</cx:pt>
          <cx:pt idx="3547">0.030864273000000001</cx:pt>
          <cx:pt idx="3548">0.032374063000000002</cx:pt>
          <cx:pt idx="3549">0.033055974000000002</cx:pt>
          <cx:pt idx="3550">0.033220219000000002</cx:pt>
          <cx:pt idx="3551">0.033385812000000001</cx:pt>
          <cx:pt idx="3552">0.033551320000000003</cx:pt>
          <cx:pt idx="3553">0.033891685999999997</cx:pt>
          <cx:pt idx="3554">0.034224135000000003</cx:pt>
          <cx:pt idx="3555">0.034401518999999998</cx:pt>
          <cx:pt idx="3556">0.034730008999999999</cx:pt>
          <cx:pt idx="3557">0.035070291000000003</cx:pt>
          <cx:pt idx="3558">0.035576165</cx:pt>
          <cx:pt idx="3559">0.035911224999999998</cx:pt>
          <cx:pt idx="3560">0.036076816999999997</cx:pt>
          <cx:pt idx="3561">0.036417099000000001</cx:pt>
          <cx:pt idx="3562">0.036750894999999999</cx:pt>
          <cx:pt idx="3563">0.036925584999999997</cx:pt>
          <cx:pt idx="3564">0.037256770000000002</cx:pt>
          <cx:pt idx="3565">0.039623159999999998</cx:pt>
          <cx:pt idx="3566">0.041979106000000002</cx:pt>
          <cx:pt idx="3567">0.042310291</cx:pt>
          <cx:pt idx="3568">0.042983022000000003</cx:pt>
          <cx:pt idx="3569">0.043323303000000001</cx:pt>
          <cx:pt idx="3570">0.043663669000000002</cx:pt>
          <cx:pt idx="3571">0.043994770000000002</cx:pt>
          <cx:pt idx="3572">0.044169543999999998</cx:pt>
          <cx:pt idx="3573">0.044172154999999998</cx:pt>
          <cx:pt idx="3574">0.044335052</cx:pt>
          <cx:pt idx="3575">0.044340358000000003</cx:pt>
          <cx:pt idx="3576">0.044675418000000001</cx:pt>
          <cx:pt idx="3577">0.045007867</cx:pt>
          <cx:pt idx="3578">0.045014435999999998</cx:pt>
          <cx:pt idx="3579">0.047870950000000002</cx:pt>
          <cx:pt idx="3580">0.048036543000000001</cx:pt>
          <cx:pt idx="3581">0.048542416999999997</cx:pt>
          <cx:pt idx="3582">0.048882699000000002</cx:pt>
          <cx:pt idx="3583">0.049048292</cx:pt>
          <cx:pt idx="3584">0.049223065000000003</cx:pt>
          <cx:pt idx="3585">0.049388573999999998</cx:pt>
          <cx:pt idx="3586">0.049393880000000001</cx:pt>
          <cx:pt idx="3587">0.049554165999999997</cx:pt>
          <cx:pt idx="3588">0.050404281000000002</cx:pt>
          <cx:pt idx="3589">0.05191146</cx:pt>
          <cx:pt idx="3590">0.052088844000000002</cx:pt>
          <cx:pt idx="3591">0.053941527000000003</cx:pt>
          <cx:pt idx="3592">0.054612910000000001</cx:pt>
          <cx:pt idx="3593">0.056292166999999997</cx:pt>
          <cx:pt idx="3594">0.056805959000000003</cx:pt>
          <cx:pt idx="3595">0.058147545000000002</cx:pt>
          <cx:pt idx="3596">0.058322234000000001</cx:pt>
          <cx:pt idx="3597">0.058323581999999999</cx:pt>
          <cx:pt idx="3598">0.058487826999999999</cx:pt>
          <cx:pt idx="3599">0.058653418999999998</cx:pt>
          <cx:pt idx="3600">0.058658640999999997</cx:pt>
          <cx:pt idx="3601">0.058993701000000003</cx:pt>
          <cx:pt idx="3602">0.060503491</cx:pt>
          <cx:pt idx="3603">0.061859480000000001</cx:pt>
          <cx:pt idx="3604">0.062193192000000001</cx:pt>
          <cx:pt idx="3605">0.062358785</cx:pt>
          <cx:pt idx="3606">0.062524377000000006</cx:pt>
          <cx:pt idx="3607">0.067249324999999999</cx:pt>
          <cx:pt idx="3608">0.067577814</cx:pt>
          <cx:pt idx="3609">0.067755282999999999</cx:pt>
          <cx:pt idx="3610">0.069607965999999993</cx:pt>
          <cx:pt idx="3611">0.071452731000000005</cx:pt>
          <cx:pt idx="3612">0.073314678999999994</cx:pt>
          <cx:pt idx="3613">0.073482798000000002</cx:pt>
          <cx:pt idx="3614">0.075503685000000001</cx:pt>
          <cx:pt idx="3615">0.077188248000000001</cx:pt>
          <cx:pt idx="3616">0.077356367999999995</cx:pt>
          <cx:pt idx="3617">0.077519349000000001</cx:pt>
          <cx:pt idx="3618">0.077857019999999999</cx:pt>
          <cx:pt idx="3619">0.078022612000000005</cx:pt>
          <cx:pt idx="3620">0.078362894000000002</cx:pt>
          <cx:pt idx="3621">0.078539015000000004</cx:pt>
          <cx:pt idx="3622">0.078703259999999997</cx:pt>
          <cx:pt idx="3623">0.078868769000000005</cx:pt>
          <cx:pt idx="3624">0.078872727000000004</cx:pt>
          <cx:pt idx="3625">0.079209135</cx:pt>
          <cx:pt idx="3626">0.079540236</cx:pt>
          <cx:pt idx="3627">0.079880516999999998</cx:pt>
          <cx:pt idx="3628">0.080551983999999993</cx:pt>
          <cx:pt idx="3629">0.080892266000000004</cx:pt>
          <cx:pt idx="3630">0.081228673000000001</cx:pt>
          <cx:pt idx="3631">0.081394266000000007</cx:pt>
          <cx:pt idx="3632">0.081734548000000004</cx:pt>
          <cx:pt idx="3633">0.082910541000000004</cx:pt>
          <cx:pt idx="3634">0.083076133999999996</cx:pt>
          <cx:pt idx="3635">0.083250823000000002</cx:pt>
          <cx:pt idx="3636">0.083421722000000004</cx:pt>
          <cx:pt idx="3637">0.083592536999999995</cx:pt>
          <cx:pt idx="3638">0.083922289999999997</cx:pt>
          <cx:pt idx="3639">0.084262656000000005</cx:pt>
          <cx:pt idx="3640">0.084428164</cx:pt>
          <cx:pt idx="3641">0.084760612999999999</cx:pt>
          <cx:pt idx="3642">0.084935386000000002</cx:pt>
          <cx:pt idx="3643">0.085441261000000004</cx:pt>
          <cx:pt idx="3644">0.085947134999999994</cx:pt>
          <cx:pt idx="3645">0.086282195000000006</cx:pt>
          <cx:pt idx="3646">0.086613296000000006</cx:pt>
          <cx:pt idx="3647">0.086788068999999995</cx:pt>
          <cx:pt idx="3648">0.087121780999999995</cx:pt>
          <cx:pt idx="3649">0.087287374000000001</cx:pt>
          <cx:pt idx="3650">0.087462147000000004</cx:pt>
          <cx:pt idx="3651">0.087464758000000004</cx:pt>
          <cx:pt idx="3652">0.087801166</cx:pt>
          <cx:pt idx="3653">0.087964062999999995</cx:pt>
          <cx:pt idx="3654">0.088129655000000001</cx:pt>
          <cx:pt idx="3655">0.089485645000000003</cx:pt>
          <cx:pt idx="3656">0.089653847999999994</cx:pt>
          <cx:pt idx="3657">0.091000656999999999</cx:pt>
          <cx:pt idx="3658">0.09100192</cx:pt>
          <cx:pt idx="3659">0.091335715999999997</cx:pt>
          <cx:pt idx="3660">0.091501309000000003</cx:pt>
          <cx:pt idx="3661">0.091841591</cx:pt>
          <cx:pt idx="3662">0.092175303</cx:pt>
          <cx:pt idx="3663">0.092340895000000006</cx:pt>
          <cx:pt idx="3664">0.092515668999999995</cx:pt>
          <cx:pt idx="3665">0.092518279999999994</cx:pt>
          <cx:pt idx="3666">0.092846769999999995</cx:pt>
          <cx:pt idx="3667">0.093183177000000006</cx:pt>
          <cx:pt idx="3668">0.093699495999999993</cx:pt>
          <cx:pt idx="3669">0.094202758999999997</cx:pt>
          <cx:pt idx="3670">0.094369699000000001</cx:pt>
          <cx:pt idx="3671">0.094535206999999996</cx:pt>
          <cx:pt idx="3672">0.094867655999999995</cx:pt>
          <cx:pt idx="3673">0.095042428999999998</cx:pt>
          <cx:pt idx="3674">0.095207938000000006</cx:pt>
          <cx:pt idx="3675">0.097908208999999996</cx:pt>
          <cx:pt idx="3676">0.098071106000000005</cx:pt>
          <cx:pt idx="3677">0.098236697999999997</cx:pt>
          <cx:pt idx="3678">0.098576979999999995</cx:pt>
          <cx:pt idx="3679">0.098753016999999998</cx:pt>
          <cx:pt idx="3680">0.098917262000000006</cx:pt>
          <cx:pt idx="3681">0.099256280000000002</cx:pt>
          <cx:pt idx="3682">0.099592687999999999</cx:pt>
          <cx:pt idx="3683">0.10060308900000001</cx:pt>
          <cx:pt idx="3684">0.100767334</cx:pt>
          <cx:pt idx="3685">0.10093292600000001</cx:pt>
          <cx:pt idx="3686">0.100940844</cx:pt>
          <cx:pt idx="3687">0.10110769999999999</cx:pt>
          <cx:pt idx="3688">0.101273208</cx:pt>
          <cx:pt idx="3689">0.101608268</cx:pt>
          <cx:pt idx="3690">0.102114226</cx:pt>
          <cx:pt idx="3691">0.102447938</cx:pt>
          <cx:pt idx="3692">0.102622712</cx:pt>
          <cx:pt idx="3693">0.10295381300000001</cx:pt>
          <cx:pt idx="3694">0.103124627</cx:pt>
          <cx:pt idx="3695">0.10329022</cx:pt>
          <cx:pt idx="3696">0.10346490899999999</cx:pt>
          <cx:pt idx="3697">0.103467604</cx:pt>
          <cx:pt idx="3698">0.103630502</cx:pt>
          <cx:pt idx="3699">0.103635724</cx:pt>
          <cx:pt idx="3700">0.103806539</cx:pt>
          <cx:pt idx="3701">0.103970784</cx:pt>
          <cx:pt idx="3702">0.104136376</cx:pt>
          <cx:pt idx="3703">0.10430196899999999</cx:pt>
          <cx:pt idx="3704">0.104476742</cx:pt>
          <cx:pt idx="3705">0.104814413</cx:pt>
          <cx:pt idx="3706">0.104974699</cx:pt>
          <cx:pt idx="3707">0.105314981</cx:pt>
          <cx:pt idx="3708">0.105320287</cx:pt>
          <cx:pt idx="3709">0.10582085500000001</cx:pt>
          <cx:pt idx="3710">0.105986448</cx:pt>
          <cx:pt idx="3711">0.106496281</cx:pt>
          <cx:pt idx="3712">0.107002155</cx:pt>
          <cx:pt idx="3713">0.107335867</cx:pt>
          <cx:pt idx="3714">0.107676233</cx:pt>
          <cx:pt idx="3715">0.108007334</cx:pt>
          <cx:pt idx="3716">0.108352922</cx:pt>
          <cx:pt idx="3717">0.108518431</cx:pt>
          <cx:pt idx="3718">0.108689245</cx:pt>
          <cx:pt idx="3719">0.10886005999999999</cx:pt>
          <cx:pt idx="3720">0.11003740100000001</cx:pt>
          <cx:pt idx="3721">0.111715311</cx:pt>
          <cx:pt idx="3722">0.11205567700000001</cx:pt>
          <cx:pt idx="3723">0.11205828800000001</cx:pt>
          <cx:pt idx="3724">0.112226491</cx:pt>
          <cx:pt idx="3725">0.11238938900000001</cx:pt>
          <cx:pt idx="3726">0.11323167000000001</cx:pt>
          <cx:pt idx="3727">0.113571952</cx:pt>
          <cx:pt idx="3728">0.114243419</cx:pt>
          <cx:pt idx="3729">0.114583701</cx:pt>
          <cx:pt idx="3730">0.117617684</cx:pt>
          <cx:pt idx="3731">0.118791066</cx:pt>
          <cx:pt idx="3732">0.118797636</cx:pt>
          <cx:pt idx="3733">0.118967103</cx:pt>
          <cx:pt idx="3734">0.119131348</cx:pt>
          <cx:pt idx="3735">0.119302163</cx:pt>
          <cx:pt idx="3736">0.119637222</cx:pt>
          <cx:pt idx="3737">0.119969671</cx:pt>
          <cx:pt idx="3738">0.120144444</cx:pt>
          <cx:pt idx="3739">0.12031003699999999</cx:pt>
          <cx:pt idx="3740">0.12064113799999999</cx:pt>
          <cx:pt idx="3741">0.120815911</cx:pt>
          <cx:pt idx="3742">0.121323049</cx:pt>
          <cx:pt idx="3743">0.12149125299999999</cx:pt>
          <cx:pt idx="3744">0.124692092</cx:pt>
          <cx:pt idx="3745">0.12502976199999999</cx:pt>
          <cx:pt idx="3746">0.125869433</cx:pt>
          <cx:pt idx="3747">0.12587204399999999</cx:pt>
          <cx:pt idx="3748">0.12603494100000001</cx:pt>
          <cx:pt idx="3749">0.12604024799999999</cx:pt>
          <cx:pt idx="3750">0.126200534</cx:pt>
          <cx:pt idx="3751">0.12637530699999999</cx:pt>
          <cx:pt idx="3752">0.127042815</cx:pt>
          <cx:pt idx="3753">0.12772472700000001</cx:pt>
          <cx:pt idx="3754">0.127890319</cx:pt>
          <cx:pt idx="3755">0.12839223499999999</cx:pt>
          <cx:pt idx="3756">0.12873251699999999</cx:pt>
          <cx:pt idx="3757">0.12873521199999999</cx:pt>
          <cx:pt idx="3758">0.12889810900000001</cx:pt>
          <cx:pt idx="3759">0.129074146</cx:pt>
          <cx:pt idx="3760">0.12923839100000001</cx:pt>
          <cx:pt idx="3761">0.129409206</cx:pt>
          <cx:pt idx="3762">0.12974561300000001</cx:pt>
          <cx:pt idx="3763">0.13007671400000001</cx:pt>
          <cx:pt idx="3764">0.13041707999999999</cx:pt>
          <cx:pt idx="3765">0.130582588</cx:pt>
          <cx:pt idx="3766">0.13092295400000001</cx:pt>
          <cx:pt idx="3767">0.13108846299999999</cx:pt>
          <cx:pt idx="3768">0.13193596699999999</cx:pt>
          <cx:pt idx="3769">0.133284123</cx:pt>
          <cx:pt idx="3770">0.13345232600000001</cx:pt>
          <cx:pt idx="3771">0.13395685299999999</cx:pt>
          <cx:pt idx="3772">0.13614198399999999</cx:pt>
          <cx:pt idx="3773">0.13664785900000001</cx:pt>
          <cx:pt idx="3774">0.136818673</cx:pt>
          <cx:pt idx="3775">0.13698426599999999</cx:pt>
          <cx:pt idx="3776">0.13714985800000001</cx:pt>
          <cx:pt idx="3777">0.137656996</cx:pt>
          <cx:pt idx="3778">0.13783176999999999</cx:pt>
          <cx:pt idx="3779">0.13867405099999999</cx:pt>
          <cx:pt idx="3780">0.142885291</cx:pt>
          <cx:pt idx="3781">0.143727573</cx:pt>
          <cx:pt idx="3782">0.14456976999999999</cx:pt>
          <cx:pt idx="3783">0.144739322</cx:pt>
          <cx:pt idx="3784">0.14490483000000001</cx:pt>
          <cx:pt idx="3785">0.145070423</cx:pt>
          <cx:pt idx="3786">0.145237278</cx:pt>
          <cx:pt idx="3787">0.14541205200000001</cx:pt>
          <cx:pt idx="3788">0.14558025599999999</cx:pt>
          <cx:pt idx="3789">0.145917926</cx:pt>
          <cx:pt idx="3790">0.146249027</cx:pt>
          <cx:pt idx="3791">0.147938813</cx:pt>
          <cx:pt idx="3792">0.15130254900000001</cx:pt>
          <cx:pt idx="3793">0.15164291499999999</cx:pt>
          <cx:pt idx="3794">0.151645526</cx:pt>
          <cx:pt idx="3795">0.15214483000000001</cx:pt>
          <cx:pt idx="3796">0.15281756099999999</cx:pt>
          <cx:pt idx="3797">0.15332343500000001</cx:pt>
          <cx:pt idx="3798">0.15720357400000001</cx:pt>
          <cx:pt idx="3799">0.159562131</cx:pt>
          <cx:pt idx="3800">0.160404413</cx:pt>
          <cx:pt idx="3801">0.16225709599999999</cx:pt>
          <cx:pt idx="3802">0.16242664700000001</cx:pt>
          <cx:pt idx="3803">0.163100725</cx:pt>
          <cx:pt idx="3804">0.163268844</cx:pt>
          <cx:pt idx="3805">0.163431826</cx:pt>
          <cx:pt idx="3806">0.16427933</cx:pt>
          <cx:pt idx="3807">0.16848534700000001</cx:pt>
          <cx:pt idx="3808">0.168660121</cx:pt>
          <cx:pt idx="3809">0.168661384</cx:pt>
          <cx:pt idx="3810">0.168996444</cx:pt>
          <cx:pt idx="3811">0.169327545</cx:pt>
          <cx:pt idx="3812">0.16933285100000001</cx:pt>
          <cx:pt idx="3813">0.16983341900000001</cx:pt>
          <cx:pt idx="3814">0.169999012</cx:pt>
          <cx:pt idx="3815">0.17017378499999999</cx:pt>
          <cx:pt idx="3816">0.17050623400000001</cx:pt>
          <cx:pt idx="3817">0.170846515</cx:pt>
          <cx:pt idx="3818">0.17101733</cx:pt>
          <cx:pt idx="3819">0.17118688100000001</cx:pt>
          <cx:pt idx="3820">0.17135238999999999</cx:pt>
          <cx:pt idx="3821">0.17151798200000001</cx:pt>
          <cx:pt idx="3822">0.17185961199999999</cx:pt>
          <cx:pt idx="3823">0.172023857</cx:pt>
          <cx:pt idx="3824">0.172358916</cx:pt>
          <cx:pt idx="3825">0.17277020300000001</cx:pt>
          <cx:pt idx="3826">0.17303821699999999</cx:pt>
          <cx:pt idx="3827">0.17320380899999999</cx:pt>
          <cx:pt idx="3828">0.173369317</cx:pt>
          <cx:pt idx="3829">0.17354409100000001</cx:pt>
          <cx:pt idx="3830">0.173709684</cx:pt>
          <cx:pt idx="3831">0.17387519200000001</cx:pt>
          <cx:pt idx="3832">0.17388049799999999</cx:pt>
          <cx:pt idx="3833">0.17421555799999999</cx:pt>
          <cx:pt idx="3834">0.174381066</cx:pt>
          <cx:pt idx="3835">0.174557187</cx:pt>
          <cx:pt idx="3836">0.17488694099999999</cx:pt>
          <cx:pt idx="3837">0.17505253300000001</cx:pt>
          <cx:pt idx="3838">0.175227307</cx:pt>
          <cx:pt idx="3839">0.17555975500000001</cx:pt>
          <cx:pt idx="3840">0.17606563</cx:pt>
          <cx:pt idx="3841">0.176400689</cx:pt>
          <cx:pt idx="3842">0.176913133</cx:pt>
          <cx:pt idx="3843">0.17724684499999999</cx:pt>
          <cx:pt idx="3844">0.17741243800000001</cx:pt>
          <cx:pt idx="3845">0.17758721099999999</cx:pt>
          <cx:pt idx="3846">0.17775272</cx:pt>
          <cx:pt idx="3847">0.177918312</cx:pt>
          <cx:pt idx="3848">0.17826128899999999</cx:pt>
          <cx:pt idx="3849">0.178426798</cx:pt>
          <cx:pt idx="3850">0.17876716400000001</cx:pt>
          <cx:pt idx="3851">0.17910348700000001</cx:pt>
          <cx:pt idx="3852">0.179269079</cx:pt>
          <cx:pt idx="3853">0.17961070900000001</cx:pt>
          <cx:pt idx="3854">0.17977495399999999</cx:pt>
          <cx:pt idx="3855">0.179940462</cx:pt>
          <cx:pt idx="3856">0.18011523600000001</cx:pt>
          <cx:pt idx="3857">0.180116583</cx:pt>
          <cx:pt idx="3858">0.18044633600000001</cx:pt>
          <cx:pt idx="3859">0.18078805000000001</cx:pt>
          <cx:pt idx="3860">0.18095355799999999</cx:pt>
          <cx:pt idx="3861">0.18111915100000001</cx:pt>
          <cx:pt idx="3862">0.18112437300000001</cx:pt>
          <cx:pt idx="3863">0.181293924</cx:pt>
          <cx:pt idx="3864">0.181295188</cx:pt>
          <cx:pt idx="3865">0.181459433</cx:pt>
          <cx:pt idx="3866">0.182977056</cx:pt>
          <cx:pt idx="3867">0.18331481099999999</cx:pt>
          <cx:pt idx="3868">0.18432521199999999</cx:pt>
          <cx:pt idx="3869">0.18483108600000001</cx:pt>
          <cx:pt idx="3870">0.185170105</cx:pt>
          <cx:pt idx="3871">0.18549985799999999</cx:pt>
          <cx:pt idx="3872">0.18566679799999999</cx:pt>
          <cx:pt idx="3873">0.18567336800000001</cx:pt>
          <cx:pt idx="3874">0.18617267300000001</cx:pt>
          <cx:pt idx="3875">0.186347446</cx:pt>
          <cx:pt idx="3876">0.18651295400000001</cx:pt>
          <cx:pt idx="3877">0.187694254</cx:pt>
          <cx:pt idx="3878">0.18887420699999999</cx:pt>
          <cx:pt idx="3879">0.18921052999999999</cx:pt>
          <cx:pt idx="3880">0.18954163099999999</cx:pt>
          <cx:pt idx="3881">0.18971775199999999</cx:pt>
          <cx:pt idx="3882">0.189881997</cx:pt>
          <cx:pt idx="3883">0.19022227899999999</cx:pt>
          <cx:pt idx="3884">0.19055337899999999</cx:pt>
          <cx:pt idx="3885">0.19072032</cx:pt>
          <cx:pt idx="3886">0.190895009</cx:pt>
          <cx:pt idx="3887">0.191060601</cx:pt>
          <cx:pt idx="3888">0.19257300199999999</cx:pt>
          <cx:pt idx="3889">0.19274777600000001</cx:pt>
          <cx:pt idx="3890">0.19291328399999999</cx:pt>
          <cx:pt idx="3891">0.19324707999999999</cx:pt>
          <cx:pt idx="3892">0.19342176999999999</cx:pt>
          <cx:pt idx="3893">0.194089278</cx:pt>
          <cx:pt idx="3894">0.19426405099999999</cx:pt>
          <cx:pt idx="3895">0.19442964400000001</cx:pt>
          <cx:pt idx="3896">0.19459515199999999</cx:pt>
          <cx:pt idx="3897">0.19510102700000001</cx:pt>
          <cx:pt idx="3898">0.19510633299999999</cx:pt>
          <cx:pt idx="3899">0.1952758</cx:pt>
          <cx:pt idx="3900">0.19544139299999999</cx:pt>
          <cx:pt idx="3901">0.195606901</cx:pt>
          <cx:pt idx="3902">0.195773841</cx:pt>
          <cx:pt idx="3903">0.19578041099999999</cx:pt>
          <cx:pt idx="3904">0.19594853000000001</cx:pt>
          <cx:pt idx="3905">0.196114123</cx:pt>
          <cx:pt idx="3906">0.19611673399999999</cx:pt>
          <cx:pt idx="3907">0.19627971599999999</cx:pt>
          <cx:pt idx="3908">0.19645448900000001</cx:pt>
          <cx:pt idx="3909">0.196960363</cx:pt>
          <cx:pt idx="3910">0.197627787</cx:pt>
          <cx:pt idx="3911">0.19813366199999999</cx:pt>
          <cx:pt idx="3912">0.19830060199999999</cx:pt>
          <cx:pt idx="3913">0.201673519</cx:pt>
          <cx:pt idx="3914">0.20167613000000001</cx:pt>
          <cx:pt idx="3915">0.20183911099999999</cx:pt>
          <cx:pt idx="3916">0.202013885</cx:pt>
          <cx:pt idx="3917">0.20201514800000001</cx:pt>
          <cx:pt idx="3918">0.20336069300000001</cx:pt>
          <cx:pt idx="3919">0.20403468699999999</cx:pt>
          <cx:pt idx="3920">0.20470750200000001</cx:pt>
          <cx:pt idx="3921">0.206223777</cx:pt>
          <cx:pt idx="3922">0.20689785499999999</cx:pt>
          <cx:pt idx="3923">0.20706740600000001</cx:pt>
          <cx:pt idx="3924">0.20739850700000001</cx:pt>
          <cx:pt idx="3925">0.207569322</cx:pt>
          <cx:pt idx="3926">0.20773483000000001</cx:pt>
          <cx:pt idx="3927">0.20807519599999999</cx:pt>
          <cx:pt idx="3928">0.20976102299999999</cx:pt>
          <cx:pt idx="3929">0.21312871799999999</cx:pt>
          <cx:pt idx="3930">0.21313132900000001</cx:pt>
          <cx:pt idx="3931">0.21548988599999999</cx:pt>
          <cx:pt idx="3932">0.216162616</cx:pt>
          <cx:pt idx="3933">0.21632820899999999</cx:pt>
          <cx:pt idx="3934">0.21633082000000001</cx:pt>
          <cx:pt idx="3935">0.216500371</cx:pt>
          <cx:pt idx="3936">0.21683408300000001</cx:pt>
          <cx:pt idx="3937">0.21717436500000001</cx:pt>
          <cx:pt idx="3938">0.21750554999999999</cx:pt>
          <cx:pt idx="3939">0.21767636500000001</cx:pt>
          <cx:pt idx="3940">0.21801664700000001</cx:pt>
          <cx:pt idx="3941">0.218182239</cx:pt>
          <cx:pt idx="3942">0.21834774800000001</cx:pt>
          <cx:pt idx="3943">0.21885631699999999</cx:pt>
          <cx:pt idx="3944">0.21919525200000001</cx:pt>
          <cx:pt idx="3945">0.21936345500000001</cx:pt>
          <cx:pt idx="3946">0.22037393999999999</cx:pt>
          <cx:pt idx="3947">0.221553893</cx:pt>
          <cx:pt idx="3948">0.221890216</cx:pt>
          <cx:pt idx="3949">0.222229234</cx:pt>
          <cx:pt idx="3950">0.22407534700000001</cx:pt>
          <cx:pt idx="3951">0.22408065399999999</cx:pt>
          <cx:pt idx="3952">0.22424877300000001</cx:pt>
          <cx:pt idx="3953">0.22441040700000001</cx:pt>
          <cx:pt idx="3954">0.22458518</cx:pt>
          <cx:pt idx="3955">0.22475203599999999</cx:pt>
          <cx:pt idx="3956">0.226439211</cx:pt>
          <cx:pt idx="3957">0.22828928200000001</cx:pt>
          <cx:pt idx="3958">0.228460097</cx:pt>
          <cx:pt idx="3959">0.228622994</cx:pt>
          <cx:pt idx="3960">0.22912886900000001</cx:pt>
          <cx:pt idx="3961">0.229465276</cx:pt>
          <cx:pt idx="3962">0.22964004900000001</cx:pt>
          <cx:pt idx="3963">0.22980555799999999</cx:pt>
          <cx:pt idx="3964">0.22997115000000001</cx:pt>
          <cx:pt idx="3965">0.230147187</cx:pt>
          <cx:pt idx="3966">0.23031143200000001</cx:pt>
          <cx:pt idx="3967">0.230477025</cx:pt>
          <cx:pt idx="3968">0.230480984</cx:pt>
          <cx:pt idx="3969">0.23098289899999999</cx:pt>
          <cx:pt idx="3970">0.23114975500000001</cx:pt>
          <cx:pt idx="3971">0.231324529</cx:pt>
          <cx:pt idx="3972">0.23149012099999999</cx:pt>
          <cx:pt idx="3973">0.23149273200000001</cx:pt>
          <cx:pt idx="3974">0.23182905500000001</cx:pt>
          <cx:pt idx="3975">0.23266737800000001</cx:pt>
          <cx:pt idx="3976">0.23300243800000001</cx:pt>
          <cx:pt idx="3977">0.23334280399999999</cx:pt>
          <cx:pt idx="3978">0.23351361900000001</cx:pt>
          <cx:pt idx="3979">0.233676516</cx:pt>
          <cx:pt idx="3980">0.23385128899999999</cx:pt>
          <cx:pt idx="3981">0.234187697</cx:pt>
          <cx:pt idx="3982">0.235869565</cx:pt>
          <cx:pt idx="3983">0.23604037899999999</cx:pt>
          <cx:pt idx="3984">0.23620327699999999</cx:pt>
          <cx:pt idx="3985">0.23637805000000001</cx:pt>
          <cx:pt idx="3986">0.23670915100000001</cx:pt>
          <cx:pt idx="3987">0.23704951699999999</cx:pt>
          <cx:pt idx="3988">0.237215025</cx:pt>
          <cx:pt idx="3989">0.237890451</cx:pt>
          <cx:pt idx="3990">0.23805595900000001</cx:pt>
          <cx:pt idx="3991">0.23873003700000001</cx:pt>
          <cx:pt idx="3992">0.23907040299999999</cx:pt>
          <cx:pt idx="3993">0.23957231900000001</cx:pt>
          <cx:pt idx="3994">0.23974709299999999</cx:pt>
          <cx:pt idx="3995">0.239912601</cx:pt>
          <cx:pt idx="3996">0.24025423000000001</cx:pt>
          <cx:pt idx="3997">0.24041847499999999</cx:pt>
          <cx:pt idx="3998">0.240419823</cx:pt>
          <cx:pt idx="3999">0.24058406800000001</cx:pt>
          <cx:pt idx="4000">0.240758841</cx:pt>
          <cx:pt idx="4001">0.24463106300000001</cx:pt>
          <cx:pt idx="4002">0.24581236300000001</cx:pt>
          <cx:pt idx="4003">0.24648509299999999</cx:pt>
          <cx:pt idx="4004">0.24665068600000001</cx:pt>
          <cx:pt idx="4005">0.24699096700000001</cx:pt>
          <cx:pt idx="4006">0.24732737499999999</cx:pt>
          <cx:pt idx="4007">0.24749549400000001</cx:pt>
          <cx:pt idx="4008">0.24918005800000001</cx:pt>
          <cx:pt idx="4009">0.24934295500000001</cx:pt>
          <cx:pt idx="4010">0.24951772799999999</cx:pt>
          <cx:pt idx="4011">0.24967936199999999</cx:pt>
          <cx:pt idx="4012">0.25001964399999999</cx:pt>
          <cx:pt idx="4013">0.25018523599999998</cx:pt>
          <cx:pt idx="4014">0.25019045899999998</cx:pt>
          <cx:pt idx="4015">0.250525518</cx:pt>
          <cx:pt idx="4016">0.25069111100000002</cx:pt>
          <cx:pt idx="4017">0.25103139299999999</cx:pt>
          <cx:pt idx="4018">0.25136384099999998</cx:pt>
          <cx:pt idx="4019">0.25170420700000001</cx:pt>
          <cx:pt idx="4020">0.25204448899999998</cx:pt>
          <cx:pt idx="4021">0.252210082</cx:pt>
          <cx:pt idx="4022">0.252550363</cx:pt>
          <cx:pt idx="4023">0.252881464</cx:pt>
          <cx:pt idx="4024">0.25305101600000002</cx:pt>
          <cx:pt idx="4025">0.253216524</cx:pt>
          <cx:pt idx="4026">0.25355950100000002</cx:pt>
          <cx:pt idx="4027">0.25372635700000001</cx:pt>
          <cx:pt idx="4028">0.25389194999999998</cx:pt>
          <cx:pt idx="4029">0.253897172</cx:pt>
          <cx:pt idx="4030">0.25406663899999998</cx:pt>
          <cx:pt idx="4031">0.25423223099999998</cx:pt>
          <cx:pt idx="4032">0.25423357899999999</cx:pt>
          <cx:pt idx="4033">0.25439782399999999</cx:pt>
          <cx:pt idx="4034">0.25473288399999999</cx:pt>
          <cx:pt idx="4035">0.25490765700000001</cx:pt>
          <cx:pt idx="4036">0.25507316499999999</cx:pt>
          <cx:pt idx="4037">0.25592066899999999</cx:pt>
          <cx:pt idx="4038">0.25625446499999999</cx:pt>
          <cx:pt idx="4039">0.25659213600000003</cx:pt>
          <cx:pt idx="4040">0.25692854300000001</cx:pt>
          <cx:pt idx="4041">0.25760523200000002</cx:pt>
          <cx:pt idx="4042">0.258613023</cx:pt>
          <cx:pt idx="4043">0.25878122599999998</cx:pt>
          <cx:pt idx="4044">0.25895069300000001</cx:pt>
          <cx:pt idx="4045">0.26012929800000001</cx:pt>
          <cx:pt idx="4046">0.26029227900000002</cx:pt>
          <cx:pt idx="4047">0.26046831599999998</cx:pt>
          <cx:pt idx="4048">0.26063129800000001</cx:pt>
          <cx:pt idx="4049">0.26097157999999998</cx:pt>
          <cx:pt idx="4050">0.26113843599999997</cx:pt>
          <cx:pt idx="4051">0.26130402800000002</cx:pt>
          <cx:pt idx="4052">0.26181116599999998</cx:pt>
          <cx:pt idx="4053">0.261976759</cx:pt>
          <cx:pt idx="4054">0.26215153200000002</cx:pt>
          <cx:pt idx="4055">0.26231712499999998</cx:pt>
          <cx:pt idx="4056">0.26231973600000003</cx:pt>
          <cx:pt idx="4057">0.26265740599999998</cx:pt>
          <cx:pt idx="4058">0.262822999</cx:pt>
          <cx:pt idx="4059">0.26298850699999998</cx:pt>
          <cx:pt idx="4060">0.26315932199999997</cx:pt>
          <cx:pt idx="4061">0.26332491499999999</cx:pt>
          <cx:pt idx="4062">0.26333013700000002</cx:pt>
          <cx:pt idx="4063">0.26349968800000001</cx:pt>
          <cx:pt idx="4064">0.26366519599999999</cx:pt>
          <cx:pt idx="4065">0.263997645</cx:pt>
          <cx:pt idx="4066">0.26417241800000002</cx:pt>
          <cx:pt idx="4067">0.26433927400000001</cx:pt>
          <cx:pt idx="4068">0.26450486699999998</cx:pt>
          <cx:pt idx="4069">0.26518020799999997</cx:pt>
          <cx:pt idx="4070">0.26518281900000001</cx:pt>
          <cx:pt idx="4071">0.26568608300000002</cx:pt>
          <cx:pt idx="4072">0.26585167500000001</cx:pt>
          <cx:pt idx="4073">0.266026449</cx:pt>
          <cx:pt idx="4074">0.26619195699999998</cx:pt>
          <cx:pt idx="4075">0.26635755</cx:pt>
          <cx:pt idx="4076">0.26652440599999999</cx:pt>
          <cx:pt idx="4077">0.26686468699999999</cx:pt>
          <cx:pt idx="4078">0.26703028000000001</cx:pt>
          <cx:pt idx="4079">0.26703550199999998</cx:pt>
          <cx:pt idx="4080">0.26737064599999999</cx:pt>
          <cx:pt idx="4081">0.26753615400000003</cx:pt>
          <cx:pt idx="4082">0.26771092800000001</cx:pt>
          <cx:pt idx="4083">0.26804994599999998</cx:pt>
          <cx:pt idx="4084">0.268378436</cx:pt>
          <cx:pt idx="4085">0.26855320999999999</cx:pt>
          <cx:pt idx="4086">0.26888826900000001</cx:pt>
          <cx:pt idx="4087">0.27074221500000001</cx:pt>
          <cx:pt idx="4088">0.27107997</cx:pt>
          <cx:pt idx="4089">0.27124547900000001</cx:pt>
          <cx:pt idx="4090">0.27158710800000002</cx:pt>
          <cx:pt idx="4091">0.27175270099999999</cx:pt>
          <cx:pt idx="4092">0.27191955699999998</cx:pt>
          <cx:pt idx="4093">0.27225722699999999</cx:pt>
          <cx:pt idx="4094">0.27259489799999997</cx:pt>
          <cx:pt idx="4095">0.27276310199999998</cx:pt>
          <cx:pt idx="4096">0.27292608299999999</cx:pt>
          <cx:pt idx="4097">0.27327032400000001</cx:pt>
          <cx:pt idx="4098">0.273435916</cx:pt>
          <cx:pt idx="4099">0.27343718</cx:pt>
          <cx:pt idx="4100">0.27377619800000003</cx:pt>
          <cx:pt idx="4101">0.27394179099999999</cx:pt>
          <cx:pt idx="4102">0.27428207199999999</cx:pt>
          <cx:pt idx="4103">0.27478272500000001</cx:pt>
          <cx:pt idx="4104">0.27512165900000002</cx:pt>
          <cx:pt idx="4105">0.27529121000000001</cx:pt>
          <cx:pt idx="4106">0.275793126</cx:pt>
          <cx:pt idx="4107">0.27595871799999999</cx:pt>
          <cx:pt idx="4108">0.27613349199999998</cx:pt>
          <cx:pt idx="4109">0.27629900000000002</cx:pt>
          <cx:pt idx="4110">0.27646855100000001</cx:pt>
          <cx:pt idx="4111">0.27646981500000001</cx:pt>
          <cx:pt idx="4112">0.27680622199999999</cx:pt>
          <cx:pt idx="4113">0.27697568900000002</cx:pt>
          <cx:pt idx="4114">0.27731074900000002</cx:pt>
          <cx:pt idx="4115">0.277482911</cx:pt>
          <cx:pt idx="4116">0.27764842000000001</cx:pt>
          <cx:pt idx="4117">0.277817971</cx:pt>
          <cx:pt idx="4118">0.27798356299999999</cx:pt>
          <cx:pt idx="4119">0.27815698900000002</cx:pt>
          <cx:pt idx="4120">0.27831988600000002</cx:pt>
          <cx:pt idx="4121">0.27848547899999998</cx:pt>
          <cx:pt idx="4122">0.278995312</cx:pt>
          <cx:pt idx="4123">0.278996576</cx:pt>
          <cx:pt idx="4124">0.279159557</cx:pt>
          <cx:pt idx="4125">0.27949983900000003</cx:pt>
          <cx:pt idx="4126">0.27966543100000002</cx:pt>
          <cx:pt idx="4127">0.28118827699999999</cx:pt>
          <cx:pt idx="4128">0.281694151</cx:pt>
          <cx:pt idx="4129">0.283210511</cx:pt>
          <cx:pt idx="4130">0.28977508600000002</cx:pt>
          <cx:pt idx="4131">0.29045042700000001</cx:pt>
          <cx:pt idx="4132">0.29213625399999998</cx:pt>
          <cx:pt idx="4133">0.29247131300000001</cx:pt>
          <cx:pt idx="4134">0.292975924</cx:pt>
          <cx:pt idx="4135">0.292977188</cx:pt>
          <cx:pt idx="4136">0.29364604399999999</cx:pt>
          <cx:pt idx="4137">0.29365126600000002</cx:pt>
          <cx:pt idx="4138">0.29382081700000001</cx:pt>
          <cx:pt idx="4139">0.29415587700000001</cx:pt>
          <cx:pt idx="4140">0.29432012200000002</cx:pt>
          <cx:pt idx="4141">0.29432534399999999</cx:pt>
          <cx:pt idx="4142">0.295844314</cx:pt>
          <cx:pt idx="4143">0.29668390100000003</cx:pt>
          <cx:pt idx="4144">0.297022919</cx:pt>
          <cx:pt idx="4145">0.29718977499999999</cx:pt>
          <cx:pt idx="4146">0.29803205700000002</cx:pt>
          <cx:pt idx="4147">0.29937364300000002</cx:pt>
          <cx:pt idx="4148">0.29988473999999998</cx:pt>
          <cx:pt idx="4149">0.30089783599999997</cx:pt>
          <cx:pt idx="4150">0.30106073300000002</cx:pt>
          <cx:pt idx="4151">0.30122632599999999</cx:pt>
          <cx:pt idx="4152">0.30140101499999999</cx:pt>
          <cx:pt idx="4153">0.30291602699999998</cx:pt>
          <cx:pt idx="4154">0.30308684200000002</cx:pt>
          <cx:pt idx="4155">0.30325243400000002</cx:pt>
          <cx:pt idx="4156">0.30358749400000001</cx:pt>
          <cx:pt idx="4157">0.30376226699999997</cx:pt>
          <cx:pt idx="4158">0.30409597900000002</cx:pt>
          <cx:pt idx="4159">0.304427165</cx:pt>
          <cx:pt idx="4160">0.30460185400000001</cx:pt>
          <cx:pt idx="4161">0.304767446</cx:pt>
          <cx:pt idx="4162">0.30493303900000002</cx:pt>
          <cx:pt idx="4163">0.30577523600000001</cx:pt>
          <cx:pt idx="4164">0.30595135699999998</cx:pt>
          <cx:pt idx="4165">0.306114255</cx:pt>
          <cx:pt idx="4166">0.30628902800000002</cx:pt>
          <cx:pt idx="4167">0.30645453700000003</cx:pt>
          <cx:pt idx="4168">0.30662012900000002</cx:pt>
          <cx:pt idx="4169">0.30679094400000001</cx:pt>
          <cx:pt idx="4170">0.30695392500000002</cx:pt>
          <cx:pt idx="4171">0.30745980000000001</cx:pt>
          <cx:pt idx="4172">0.30746502199999998</cx:pt>
          <cx:pt idx="4173">0.30780142900000002</cx:pt>
          <cx:pt idx="4174">0.309317705</cx:pt>
          <cx:pt idx="4175">0.30965015299999998</cx:pt>
          <cx:pt idx="4176">0.30982492700000003</cx:pt>
          <cx:pt idx="4177">0.31033206400000002</cx:pt>
          <cx:pt idx="4178">0.31082875799999998</cx:pt>
          <cx:pt idx="4179">0.31100487900000001</cx:pt>
          <cx:pt idx="4180">0.311338591</cx:pt>
          <cx:pt idx="4181">0.31150418400000002</cx:pt>
          <cx:pt idx="4182">0.31150805799999998</cx:pt>
          <cx:pt idx="4183">0.31184446500000002</cx:pt>
          <cx:pt idx="4184">0.312184831</cx:pt>
          <cx:pt idx="4185">0.31268539899999998</cx:pt>
          <cx:pt idx="4186">0.31504395600000001</cx:pt>
          <cx:pt idx="4187">0.315385586</cx:pt>
          <cx:pt idx="4188">0.31555117799999999</cx:pt>
          <cx:pt idx="4189">0.31572064599999999</cx:pt>
          <cx:pt idx="4190">0.31588623799999999</cx:pt>
          <cx:pt idx="4191">0.31605840099999999</cx:pt>
          <cx:pt idx="4192">0.316396071</cx:pt>
          <cx:pt idx="4193">0.316731131</cx:pt>
          <cx:pt idx="4194">0.317062232</cx:pt>
          <cx:pt idx="4195">0.31723700500000002</cx:pt>
          <cx:pt idx="4196">0.31858516100000001</cx:pt>
          <cx:pt idx="4197">0.31976241799999999</cx:pt>
          <cx:pt idx="4198">0.319930622</cx:pt>
          <cx:pt idx="4199">0.32178330500000002</cx:pt>
          <cx:pt idx="4200">0.32279640100000001</cx:pt>
          <cx:pt idx="4201">0.32734143700000001</cx:pt>
          <cx:pt idx="4202">0.32869220399999999</cx:pt>
          <cx:pt idx="4203">0.32885905999999998</cx:pt>
          <cx:pt idx="4204">0.32919807899999998</cx:pt>
          <cx:pt idx="4205">0.32953179100000002</cx:pt>
          <cx:pt idx="4206">0.32970260499999998</cx:pt>
          <cx:pt idx="4207">0.32986946099999997</cx:pt>
          <cx:pt idx="4208">0.33003766499999998</cx:pt>
          <cx:pt idx="4209">0.33020848000000003</cx:pt>
          <cx:pt idx="4210">0.33037407200000002</cx:pt>
          <cx:pt idx="4211">0.330543539</cx:pt>
          <cx:pt idx="4212">0.33138582100000002</cx:pt>
          <cx:pt idx="4213">0.331890348</cx:pt>
          <cx:pt idx="4214">0.33223071399999998</cx:pt>
          <cx:pt idx="4215">0.33374698899999999</cx:pt>
          <cx:pt idx="4216">0.33509514499999998</cx:pt>
          <cx:pt idx="4217">0.33627374999999998</cx:pt>
          <cx:pt idx="4218">0.33728423499999999</cx:pt>
          <cx:pt idx="4219">0.337449744</cx:pt>
          <cx:pt idx="4220">0.343685829</cx:pt>
          <cx:pt idx="4221">0.35497156099999999</cx:pt>
          <cx:pt idx="4222">0.36288690200000001</cx:pt>
          <cx:pt idx="4223">0.365246723</cx:pt>
          <cx:pt idx="4224">0.365414927</cx:pt>
          <cx:pt idx="4225">0.38630309099999999</cx:pt>
          <cx:pt idx="4226">0.38663815000000001</cx:pt>
          <cx:pt idx="4227">0.39186248600000001</cx:pt>
          <cx:pt idx="4228">0.39219754600000001</cx:pt>
          <cx:pt idx="4229">0.392368361</cx:pt>
          <cx:pt idx="4230">0.39927195399999998</cx:pt>
          <cx:pt idx="4231">0.40011423600000001</cx:pt>
          <cx:pt idx="4232">0.40837120700000001</cx:pt>
          <cx:pt idx="4233">0.409551159</cx:pt>
          <cx:pt idx="4234">0.42150819</cx:pt>
          <cx:pt idx="4235">0.43162180300000003</cx:pt>
          <cx:pt idx="4236">0.432121107</cx:pt>
          <cx:pt idx="4237">0.43549015000000002</cx:pt>
          <cx:pt idx="4238">0.43717462899999998</cx:pt>
          <cx:pt idx="4239">0.44138856399999998</cx:pt>
          <cx:pt idx="4240">0.445262133</cx:pt>
          <cx:pt idx="4241">0.459412296</cx:pt>
          <cx:pt idx="4242">0.46901472900000002</cx:pt>
          <cx:pt idx="4243">0.48232496899999999</cx:pt>
          <cx:pt idx="4244">0.493448477</cx:pt>
          <cx:pt idx="4245">0.49562998699999999</cx:pt>
          <cx:pt idx="4246">0.49579440000000002</cx:pt>
          <cx:pt idx="4247">0.49630069599999999</cx:pt>
          <cx:pt idx="4248">0.49966965400000002</cx:pt>
          <cx:pt idx="4249">0.50017594899999995</cx:pt>
          <cx:pt idx="4250">0.51399433800000005</cx:pt>
          <cx:pt idx="4251">0.51635356899999996</cx:pt>
          <cx:pt idx="4252">0.522925219</cx:pt>
          <cx:pt idx="4253">0.52494669500000002</cx:pt>
          <cx:pt idx="4254">0.53354040999999996</cx:pt>
          <cx:pt idx="4255">0.53807803399999998</cx:pt>
          <cx:pt idx="4256">0.53893084499999999</cx:pt>
          <cx:pt idx="4257">0.55020588000000004</cx:pt>
          <cx:pt idx="4258">0.56014539299999999</cx:pt>
          <cx:pt idx="4259">0.56149616000000002</cx:pt>
          <cx:pt idx="4260">0.56452365699999996</cx:pt>
          <cx:pt idx="4261">0.56486663400000003</cx:pt>
          <cx:pt idx="4262">0.56503349000000003</cx:pt>
          <cx:pt idx="4263">0.56941049099999996</cx:pt>
          <cx:pt idx="4264">0.56957869500000002</cx:pt>
          <cx:pt idx="4265">0.583574131</cx:pt>
          <cx:pt idx="4266">0.59282592099999998</cx:pt>
          <cx:pt idx="4267">0.60107901799999996</cx:pt>
          <cx:pt idx="4268">0.60580935599999997</cx:pt>
          <cx:pt idx="4269">0.61371425400000001</cx:pt>
          <cx:pt idx="4270">0.64083597599999997</cx:pt>
          <cx:pt idx="4271">0.64605770100000004</cx:pt>
          <cx:pt idx="4272">0.66863295499999997</cx:pt>
          <cx:pt idx="4273">0.67149738699999995</cx:pt>
          <cx:pt idx="4274">0.67841411900000004</cx:pt>
          <cx:pt idx="4275">0.69054204900000005</cx:pt>
          <cx:pt idx="4276">0.69086919099999999</cx:pt>
          <cx:pt idx="4277">0.69120820900000002</cx:pt>
          <cx:pt idx="4278">0.70653562999999997</cx:pt>
          <cx:pt idx="4279">0.70686942600000002</cx:pt>
          <cx:pt idx="4280">0.71849274500000004</cx:pt>
          <cx:pt idx="4281">0.72271720800000006</cx:pt>
          <cx:pt idx="4282">0.72894933399999995</cx:pt>
          <cx:pt idx="4283">0.73871997</cx:pt>
          <cx:pt idx="4284">0.74056220900000003</cx:pt>
          <cx:pt idx="4285">0.77982222000000001</cx:pt>
          <cx:pt idx="4286">0.79009872999999997</cx:pt>
          <cx:pt idx="4287">0.797333509</cx:pt>
          <cx:pt idx="4288">0.79969989900000005</cx:pt>
          <cx:pt idx="4289">0.80054218099999996</cx:pt>
          <cx:pt idx="4290">0.819241255</cx:pt>
          <cx:pt idx="4291">0.82092573400000002</cx:pt>
          <cx:pt idx="4292">0.82125161199999996</cx:pt>
          <cx:pt idx="4293">0.83844493899999994</cx:pt>
          <cx:pt idx="4294">0.84518294000000005</cx:pt>
          <cx:pt idx="4295">0.85899669599999995</cx:pt>
          <cx:pt idx="4296">0.86337613999999996</cx:pt>
          <cx:pt idx="4297">0.86387283299999995</cx:pt>
          <cx:pt idx="4298">0.86405021800000004</cx:pt>
          <cx:pt idx="4299">0.87617023000000005</cx:pt>
          <cx:pt idx="4300">0.87988477600000004</cx:pt>
          <cx:pt idx="4301">0.88931782500000001</cx:pt>
          <cx:pt idx="4302">0.89268678300000004</cx:pt>
          <cx:pt idx="4303">0.89993074299999998</cx:pt>
          <cx:pt idx="4304">0.90430100499999999</cx:pt>
          <cx:pt idx="4305">0.90767914400000005</cx:pt>
          <cx:pt idx="4306">0.910711779</cx:pt>
          <cx:pt idx="4307">0.92620083399999997</cx:pt>
          <cx:pt idx="4308">0.95686755099999998</cx:pt>
          <cx:pt idx="4309">0.95855203</cx:pt>
          <cx:pt idx="4310">0.96865907299999998</cx:pt>
          <cx:pt idx="4311">0.98196695499999997</cx:pt>
          <cx:pt idx="4312">0.98230462600000001</cx:pt>
          <cx:pt idx="4313">0.99392802800000002</cx:pt>
          <cx:pt idx="4314">0.99409623199999997</cx:pt>
          <cx:pt idx="4315">0.99578071099999999</cx:pt>
          <cx:pt idx="4316">1.0193638389999999</cx:pt>
          <cx:pt idx="4317">1.021216522</cx:pt>
          <cx:pt idx="4318">1.0227327980000001</cx:pt>
          <cx:pt idx="4319">1.040589674</cx:pt>
          <cx:pt idx="4320">1.0439586320000001</cx:pt>
          <cx:pt idx="4321">1.056426928</cx:pt>
          <cx:pt idx="4322">1.0677125750000001</cx:pt>
          <cx:pt idx="4323">1.0827023250000001</cx:pt>
          <cx:pt idx="4324">1.087253931</cx:pt>
          <cx:pt idx="4325">1.0946633990000001</cx:pt>
          <cx:pt idx="4326">1.1017378069999999</cx:pt>
          <cx:pt idx="4327">1.102748208</cx:pt>
          <cx:pt idx="4328">1.1206050000000001</cx:pt>
          <cx:pt idx="4329">1.108718876</cx:pt>
          <cx:pt idx="4330">1.107631128</cx:pt>
          <cx:pt idx="4331">1.1068776979999999</cx:pt>
          <cx:pt idx="4332">1.1022727459999999</cx:pt>
          <cx:pt idx="4333">1.0977540100000001</cx:pt>
          <cx:pt idx="4334">1.0928154510000001</cx:pt>
          <cx:pt idx="4335">1.0872063300000001</cx:pt>
          <cx:pt idx="4336">1.087039841</cx:pt>
          <cx:pt idx="4337">1.086954964</cx:pt>
          <cx:pt idx="4338">1.081682756</cx:pt>
          <cx:pt idx="4339">1.080595008</cx:pt>
          <cx:pt idx="4340">1.080510801</cx:pt>
          <cx:pt idx="4341">1.0788367409999999</cx:pt>
          <cx:pt idx="4342">1.0714706919999999</cx:pt>
          <cx:pt idx="4343">1.0707178900000001</cx:pt>
          <cx:pt idx="4344">1.070466524</cx:pt>
          <cx:pt idx="4345">1.06594649</cx:pt>
          <cx:pt idx="4346">1.064021063</cx:pt>
          <cx:pt idx="4347">1.0631833850000001</cx:pt>
          <cx:pt idx="4348">1.050208885</cx:pt>
          <cx:pt idx="4349">1.0481176379999999</cx:pt>
          <cx:pt idx="4350">1.047950479</cx:pt>
          <cx:pt idx="4351">1.0383240579999999</cx:pt>
          <cx:pt idx="4352">1.0373185920000001</cx:pt>
          <cx:pt idx="4353">1.0344725770000001</cx:pt>
          <cx:pt idx="4354">1.033217042</cx:pt>
          <cx:pt idx="4355">1.032799856</cx:pt>
          <cx:pt idx="4356">1.0286147269999999</cx:pt>
          <cx:pt idx="4357">1.0243460600000001</cx:pt>
          <cx:pt idx="4358">1.0230043090000001</cx:pt>
          <cx:pt idx="4359">1.016306854</cx:pt>
          <cx:pt idx="4360">1.0107016680000001</cx:pt>
          <cx:pt idx="4361">0.99856484700000003</cx:pt>
          <cx:pt idx="4362">0.99772649800000002</cx:pt>
          <cx:pt idx="4363">0.99714215299999998</cx:pt>
          <cx:pt idx="4364">0.99705530899999995</cx:pt>
          <cx:pt idx="4365">0.99329000199999995</cx:pt>
          <cx:pt idx="4366">0.98600623600000004</cx:pt>
          <cx:pt idx="4367">0.98483750299999995</cx:pt>
          <cx:pt idx="4368">0.98458613699999997</cx:pt>
          <cx:pt idx="4369">0.98425056300000002</cx:pt>
          <cx:pt idx="4370">0.98190794999999997</cx:pt>
          <cx:pt idx="4371">0.98106960200000004</cx:pt>
          <cx:pt idx="4372">0.97931200399999996</cx:pt>
          <cx:pt idx="4373">0.96968558199999999</cx:pt>
          <cx:pt idx="4374">0.96742391299999997</cx:pt>
          <cx:pt idx="4375">0.96014144300000004</cx:pt>
          <cx:pt idx="4376">0.95537263800000005</cx:pt>
          <cx:pt idx="4377">0.95085256299999998</cx:pt>
          <cx:pt idx="4378">0.94733732500000001</cx:pt>
          <cx:pt idx="4379">0.94708595900000003</cx:pt>
          <cx:pt idx="4380">0.943235775</cx:pt>
          <cx:pt idx="4381">0.93754115000000005</cx:pt>
          <cx:pt idx="4382">0.93427857599999997</cx:pt>
          <cx:pt idx="4383">0.92833651800000005</cx:pt>
          <cx:pt idx="4384">0.92414812400000002</cx:pt>
          <cx:pt idx="4385">0.91845940000000004</cx:pt>
          <cx:pt idx="4386">0.91653137900000003</cx:pt>
          <cx:pt idx="4387">0.91209488299999997</cx:pt>
          <cx:pt idx="4388">0.90138397800000003</cx:pt>
          <cx:pt idx="4389">0.90063054899999995</cx:pt>
          <cx:pt idx="4390">0.89502142799999995</cx:pt>
          <cx:pt idx="4391">0.89426146900000003</cx:pt>
          <cx:pt idx="4392">0.89108833499999995</cx:pt>
          <cx:pt idx="4393">0.89100148999999995</cx:pt>
          <cx:pt idx="4394">0.88941364700000003</cx:pt>
          <cx:pt idx="4395">0.88916227999999997</cx:pt>
          <cx:pt idx="4396">0.88715197700000004</cx:pt>
          <cx:pt idx="4397">0.87568567500000005</cx:pt>
          <cx:pt idx="4398">0.87426302300000003</cx:pt>
          <cx:pt idx="4399">0.87191777400000003</cx:pt>
          <cx:pt idx="4400">0.86447011299999998</cx:pt>
          <cx:pt idx="4401">0.85852738500000003</cx:pt>
          <cx:pt idx="4402">0.85074214100000001</cx:pt>
          <cx:pt idx="4403">0.84923590999999998</cx:pt>
          <cx:pt idx="4404">0.846105883</cx:pt>
          <cx:pt idx="4405">0.84429538400000004</cx:pt>
          <cx:pt idx="4406">0.83809668599999998</cx:pt>
          <cx:pt idx="4407">0.83793413100000003</cx:pt>
          <cx:pt idx="4408">0.83517366199999998</cx:pt>
          <cx:pt idx="4409">0.83466958999999996</cx:pt>
          <cx:pt idx="4410">0.83065162000000003</cx:pt>
          <cx:pt idx="4411">0.826215166</cx:pt>
          <cx:pt idx="4412">0.824457526</cx:pt>
          <cx:pt idx="4413">0.81918402099999998</cx:pt>
          <cx:pt idx="4414">0.81525159700000005</cx:pt>
          <cx:pt idx="4415">0.81047952700000003</cx:pt>
          <cx:pt idx="4416">0.81039724499999999</cx:pt>
          <cx:pt idx="4417">0.80913974399999999</cx:pt>
          <cx:pt idx="4418">0.80335961300000003</cx:pt>
          <cx:pt idx="4419">0.80051749000000005</cx:pt>
          <cx:pt idx="4420">0.80009507300000005</cx:pt>
          <cx:pt idx="4421">0.79725558600000002</cx:pt>
          <cx:pt idx="4422">0.79641728000000001</cx:pt>
          <cx:pt idx="4423">0.79591454699999997</cx:pt>
          <cx:pt idx="4424">0.78829775899999999</cx:pt>
          <cx:pt idx="4425">0.78520037799999998</cx:pt>
          <cx:pt idx="4426">0.78017953699999998</cx:pt>
          <cx:pt idx="4427">0.77975971399999999</cx:pt>
          <cx:pt idx="4428">0.77280762800000002</cx:pt>
          <cx:pt idx="4429">0.77105584800000004</cx:pt>
          <cx:pt idx="4430">0.764861754</cx:pt>
          <cx:pt idx="4431">0.76293569999999999</cx:pt>
          <cx:pt idx="4432">0.75849857600000004</cx:pt>
          <cx:pt idx="4433">0.75138322400000002</cx:pt>
          <cx:pt idx="4434">0.75121150299999995</cx:pt>
          <cx:pt idx="4435">0.751049576</cx:pt>
          <cx:pt idx="4436">0.74050193799999997</cx:pt>
          <cx:pt idx="4437">0.74007947799999996</cx:pt>
          <cx:pt idx="4438">0.73890752299999996</cx:pt>
          <cx:pt idx="4439">0.73865615699999998</cx:pt>
          <cx:pt idx="4440">0.73564302400000003</cx:pt>
          <cx:pt idx="4441">0.73555944500000003</cx:pt>
          <cx:pt idx="4442">0.73095583099999994</cx:pt>
          <cx:pt idx="4443">0.72978383400000002</cx:pt>
          <cx:pt idx="4444">0.72727736899999995</cx:pt>
          <cx:pt idx="4445">0.72710497799999996</cx:pt>
          <cx:pt idx="4446">0.72284154300000003</cx:pt>
          <cx:pt idx="4447">0.72049235899999997</cx:pt>
          <cx:pt idx="4448">0.716390851</cx:pt>
          <cx:pt idx="4449">0.71605590500000005</cx:pt>
          <cx:pt idx="4450">0.71597232499999997</cx:pt>
          <cx:pt idx="4451">0.70116183799999998</cx:pt>
          <cx:pt idx="4452">0.70098948900000002</cx:pt>
          <cx:pt idx="4453">0.69747425200000002</cx:pt>
          <cx:pt idx="4454">0.69136369600000003</cx:pt>
          <cx:pt idx="4455">0.68977714899999998</cx:pt>
          <cx:pt idx="4456">0.68952707999999996</cx:pt>
          <cx:pt idx="4457">0.689354731</cx:pt>
          <cx:pt idx="4458">0.68550454800000005</cx:pt>
          <cx:pt idx="4459">0.68341200400000002</cx:pt>
          <cx:pt idx="4460">0.68332775499999998</cx:pt>
          <cx:pt idx="4461">0.68282569199999998</cx:pt>
          <cx:pt idx="4462">0.68257499499999996</cx:pt>
          <cx:pt idx="4463">0.67914266700000003</cx:pt>
          <cx:pt idx="4464">0.67186471800000003</cx:pt>
          <cx:pt idx="4465">0.66742433000000001</cx:pt>
          <cx:pt idx="4466">0.65461761699999998</cx:pt>
          <cx:pt idx="4467">0.65252900700000005</cx:pt>
          <cx:pt idx="4468">0.64206227000000005</cx:pt>
          <cx:pt idx="4469">0.63495152200000005</cx:pt>
          <cx:pt idx="4470">0.62791648499999997</cx:pt>
          <cx:pt idx="4471">0.61452345900000005</cx:pt>
          <cx:pt idx="4472">0.61326792500000005</cx:pt>
          <cx:pt idx="4473">0.61310076599999996</cx:pt>
          <cx:pt idx="4474">0.61142670600000004</cx:pt>
          <cx:pt idx="4475">0.60690667200000004</cx:pt>
          <cx:pt idx="4476">0.60623678000000003</cx:pt>
          <cx:pt idx="4477">0.60548334999999998</cx:pt>
          <cx:pt idx="4478">0.59585755699999998</cx:pt>
          <cx:pt idx="4479">0.58957988400000005</cx:pt>
          <cx:pt idx="4480">0.58639896400000002</cx:pt>
          <cx:pt idx="4481">0.58614822600000005</cx:pt>
          <cx:pt idx="4482">0.58464132400000002</cx:pt>
          <cx:pt idx="4483">0.57794516799999995</cx:pt>
          <cx:pt idx="4484">0.57325730500000005</cx:pt>
          <cx:pt idx="4485">0.57074623599999996</cx:pt>
          <cx:pt idx="4486">0.56723099799999999</cx:pt>
          <cx:pt idx="4487">0.55819088900000002</cx:pt>
          <cx:pt idx="4488">0.55534487399999999</cx:pt>
          <cx:pt idx="4489">0.55316875099999996</cx:pt>
          <cx:pt idx="4490">0.552079706</cx:pt>
          <cx:pt idx="4491">0.54245328400000004</cx:pt>
          <cx:pt idx="4492">0.53567484499999996</cx:pt>
          <cx:pt idx="4493">0.52571285000000001</cx:pt>
          <cx:pt idx="4494">0.52337023699999996</cx:pt>
          <cx:pt idx="4495">0.52069071099999997</cx:pt>
          <cx:pt idx="4496">0.517761786</cx:pt>
          <cx:pt idx="4497">0.51700898399999995</cx:pt>
          <cx:pt idx="4498">0.514330128</cx:pt>
          <cx:pt idx="4499">0.51332529000000005</cx:pt>
          <cx:pt idx="4500">0.51106558700000004</cx:pt>
          <cx:pt idx="4501">0.51081489099999999</cx:pt>
          <cx:pt idx="4502">0.50847093799999998</cx:pt>
          <cx:pt idx="4503">0.50420227100000004</cx:pt>
          <cx:pt idx="4504">0.50336392299999999</cx:pt>
          <cx:pt idx="4505">0.496834883</cx:pt>
          <cx:pt idx="4506">0.49507598800000002</cx:pt>
          <cx:pt idx="4507">0.49482721600000001</cx:pt>
          <cx:pt idx="4508">0.48955241399999999</cx:pt>
          <cx:pt idx="4509">0.48879961199999999</cx:pt>
          <cx:pt idx="4510">0.48787965100000003</cx:pt>
          <cx:pt idx="4511">0.48335961799999999</cx:pt>
          <cx:pt idx="4512">0.48327474100000001</cx:pt>
          <cx:pt idx="4513">0.47758074299999997</cx:pt>
          <cx:pt idx="4514">0.475069674</cx:pt>
          <cx:pt idx="4515">0.471557701</cx:pt>
          <cx:pt idx="4516">0.47147282400000001</cx:pt>
          <cx:pt idx="4517">0.46527940000000001</cx:pt>
          <cx:pt idx="4518">0.46368632399999998</cx:pt>
          <cx:pt idx="4519">0.458747723</cx:pt>
          <cx:pt idx="4520">0.45732766600000002</cx:pt>
          <cx:pt idx="4521">0.45690851300000002</cx:pt>
          <cx:pt idx="4522">0.45673875899999999</cx:pt>
          <cx:pt idx="4523">0.45456263600000002</cx:pt>
          <cx:pt idx="4524">0.45422898699999997</cx:pt>
          <cx:pt idx="4525">0.45205483099999999</cx:pt>
          <cx:pt idx="4526">0.43882959199999999</cx:pt>
          <cx:pt idx="4527">0.438660508</cx:pt>
          <cx:pt idx="4528">0.43397461300000001</cx:pt>
          <cx:pt idx="4529">0.43388776899999998</cx:pt>
          <cx:pt idx="4530">0.42401064999999999</cx:pt>
          <cx:pt idx="4531">0.42200490899999998</cx:pt>
          <cx:pt idx="4532">0.41304837900000002</cx:pt>
          <cx:pt idx="4533">0.40727147200000002</cx:pt>
          <cx:pt idx="4534">0.40325546899999998</cx:pt>
          <cx:pt idx="4535">0.39881704699999998</cx:pt>
          <cx:pt idx="4536">0.39680871099999998</cx:pt>
          <cx:pt idx="4537">0.394464759</cx:pt>
          <cx:pt idx="4538">0.39019542200000001</cx:pt>
          <cx:pt idx="4539">0.389778864</cx:pt>
          <cx:pt idx="4540">0.38584317499999998</cx:pt>
          <cx:pt idx="4541">0.383749962</cx:pt>
          <cx:pt idx="4542">0.35144167599999998</cx:pt>
          <cx:pt idx="4543">0.34440990399999999</cx:pt>
          <cx:pt idx="4544">0.34424211700000001</cx:pt>
          <cx:pt idx="4545">0.34407366099999998</cx:pt>
          <cx:pt idx="4546">0.34399137800000001</cx:pt>
          <cx:pt idx="4547">0.34214953100000001</cx:pt>
          <cx:pt idx="4548">0.34198107500000002</cx:pt>
          <cx:pt idx="4549">0.34189686800000002</cx:pt>
          <cx:pt idx="4550">0.33017986900000001</cx:pt>
          <cx:pt idx="4551">0.327248977</cx:pt>
          <cx:pt idx="4552">0.32691532899999998</cx:pt>
          <cx:pt idx="4553">0.32147336700000001</cx:pt>
          <cx:pt idx="4554">0.31954990799999999</cx:pt>
          <cx:pt idx="4555">0.31929724399999998</cx:pt>
          <cx:pt idx="4556">0.31703820999999999</cx:pt>
          <cx:pt idx="4557">0.31276297199999997</cx:pt>
          <cx:pt idx="4558">0.31243325799999999</cx:pt>
          <cx:pt idx="4559">0.31017355499999999</cx:pt>
          <cx:pt idx="4560">0.310006438</cx:pt>
          <cx:pt idx="4561">0.30825009599999997</cx:pt>
          <cx:pt idx="4562">0.30305887300000001</cx:pt>
          <cx:pt idx="4563">0.29711547599999999</cx:pt>
          <cx:pt idx="4564">0.29653112999999998</cx:pt>
          <cx:pt idx="4565">0.29435370999999999</cx:pt>
          <cx:pt idx="4566">0.29251186299999998</cx:pt>
          <cx:pt idx="4567">0.29075426500000001</cx:pt>
          <cx:pt idx="4568">0.29041931900000001</cx:pt>
          <cx:pt idx="4569">0.29033573899999998</cx:pt>
          <cx:pt idx="4570">0.2885781</cx:pt>
          <cx:pt idx="4571">0.28807603599999998</cx:pt>
          <cx:pt idx="4572">0.28397578400000001</cx:pt>
          <cx:pt idx="4573">0.279281434</cx:pt>
          <cx:pt idx="4574">0.27501795699999998</cx:pt>
          <cx:pt idx="4575">0.273427476</cx:pt>
          <cx:pt idx="4576">0.26514213599999997</cx:pt>
          <cx:pt idx="4577">0.25593357100000003</cx:pt>
          <cx:pt idx="4578">0.25451024900000002</cx:pt>
          <cx:pt idx="4579">0.25434308999999999</cx:pt>
          <cx:pt idx="4580">0.25283618899999999</cx:pt>
          <cx:pt idx="4581">0.24823257600000001</cx:pt>
          <cx:pt idx="4582">0.245302981</cx:pt>
          <cx:pt idx="4583">0.241286308</cx:pt>
          <cx:pt idx="4584">0.23533705199999999</cx:pt>
          <cx:pt idx="4585">0.23165925900000001</cx:pt>
          <cx:pt idx="4586">0.231324313</cx:pt>
          <cx:pt idx="4587">0.22044302700000001</cx:pt>
          <cx:pt idx="4588">0.21491359300000001</cx:pt>
          <cx:pt idx="4589">0.210226359</cx:pt>
          <cx:pt idx="4590">0.20327883499999999</cx:pt>
          <cx:pt idx="4591">0.20185551400000001</cx:pt>
          <cx:pt idx="4592">0.194490093</cx:pt>
          <cx:pt idx="4593">0.19374185299999999</cx:pt>
          <cx:pt idx="4594">0.19089060599999999</cx:pt>
          <cx:pt idx="4595">0.18854669600000001</cx:pt>
          <cx:pt idx="4596">0.18846834800000001</cx:pt>
          <cx:pt idx="4597">0.182352602</cx:pt>
          <cx:pt idx="4598">0.182274254</cx:pt>
          <cx:pt idx="4599">0.17758183</cx:pt>
          <cx:pt idx="4600">0.166532715</cx:pt>
          <cx:pt idx="4601">0.16234762699999999</cx:pt>
          <cx:pt idx="4602">0.159673961</cx:pt>
          <cx:pt idx="4603">0.152888993</cx:pt>
          <cx:pt idx="4604">0.14719700399999999</cx:pt>
          <cx:pt idx="4605">0.136817781</cx:pt>
          <cx:pt idx="4606">0.13673353099999999</cx:pt>
          <cx:pt idx="4607">0.134306711</cx:pt>
          <cx:pt idx="4608">0.133637489</cx:pt>
          <cx:pt idx="4609">0.133302543</cx:pt>
          <cx:pt idx="4610">0.12719198700000001</cx:pt>
          <cx:pt idx="4611">0.12685708300000001</cx:pt>
          <cx:pt idx="4612">0.121416419</cx:pt>
          <cx:pt idx="4613">0.115222325</cx:pt>
          <cx:pt idx="4614">0.11020018600000001</cx:pt>
          <cx:pt idx="4615">0.10266697800000001</cx:pt>
          <cx:pt idx="4616">0.085340189999999996</cx:pt>
          <cx:pt idx="4617">0.080736577000000004</cx:pt>
          <cx:pt idx="4618">0.076635026999999994</cx:pt>
          <cx:pt idx="4619">0.07646791</cx:pt>
          <cx:pt idx="4620">0.074291117000000004</cx:pt>
          <cx:pt idx="4621">0.065917970000000006</cx:pt>
          <cx:pt idx="4622">0.065881304000000002</cx:pt>
          <cx:pt idx="4623">0.065350487999999998</cx:pt>
          <cx:pt idx="4624">0.065338473999999994</cx:pt>
          <cx:pt idx="4625">0.065326172000000002</cx:pt>
          <cx:pt idx="4626">0.065191811000000002</cx:pt>
          <cx:pt idx="4627">0.065039101000000002</cx:pt>
          <cx:pt idx="4628">0.065027239000000001</cx:pt>
          <cx:pt idx="4629">0.065020759999999997</cx:pt>
          <cx:pt idx="4630">0.064410629999999996</cx:pt>
          <cx:pt idx="4631">0.064056585999999999</cx:pt>
          <cx:pt idx="4632">0.064019967999999997</cx:pt>
          <cx:pt idx="4633">0.064013873999999998</cx:pt>
          <cx:pt idx="4634">0.063806312000000004</cx:pt>
          <cx:pt idx="4635">0.063800169000000004</cx:pt>
          <cx:pt idx="4636">0.063153460999999994</cx:pt>
          <cx:pt idx="4637">0.062592040000000002</cx:pt>
          <cx:pt idx="4638">0.061102708999999998</cx:pt>
          <cx:pt idx="4639">0.060992831999999997</cx:pt>
          <cx:pt idx="4640">0.060901284</cx:pt>
          <cx:pt idx="4641">0.060895189000000002</cx:pt>
          <cx:pt idx="4642">0.060748701000000002</cx:pt>
          <cx:pt idx="4643">0.060736512999999999</cx:pt>
          <cx:pt idx="4644">0.059997979</cx:pt>
          <cx:pt idx="4645">0.059961370999999999</cx:pt>
          <cx:pt idx="4646">0.059747756999999999</cx:pt>
          <cx:pt idx="4647">0.059735568000000003</cx:pt>
          <cx:pt idx="4648">0.059723334000000003</cx:pt>
          <cx:pt idx="4649">0.059570849000000002</cx:pt>
          <cx:pt idx="4650">0.059509815000000001</cx:pt>
          <cx:pt idx="4651">0.059210652000000003</cx:pt>
          <cx:pt idx="4652">0.058984804000000002</cx:pt>
          <cx:pt idx="4653">0.058917678000000001</cx:pt>
          <cx:pt idx="4654">0.058904302999999998</cx:pt>
          <cx:pt idx="4655">0.058837986000000002</cx:pt>
          <cx:pt idx="4656">0.058831891999999997</cx:pt>
          <cx:pt idx="4657">0.058734630000000003</cx:pt>
          <cx:pt idx="4658">0.058477886999999999</cx:pt>
          <cx:pt idx="4659">0.058472174000000002</cx:pt>
          <cx:pt idx="4660">0.058410758</cx:pt>
          <cx:pt idx="4661">0.057837425999999997</cx:pt>
          <cx:pt idx="4662">0.057153838999999998</cx:pt>
          <cx:pt idx="4663">0.056964648</cx:pt>
          <cx:pt idx="4664">0.056879194000000001</cx:pt>
          <cx:pt idx="4665">0.056867005999999998</cx:pt>
          <cx:pt idx="4666">0.05664073</cx:pt>
          <cx:pt idx="4667">0.056610213</cx:pt>
          <cx:pt idx="4668">0.056244447000000003</cx:pt>
          <cx:pt idx="4669">0.056232260999999999</cx:pt>
          <cx:pt idx="4670">0.056085390999999998</cx:pt>
          <cx:pt idx="4671">0.055932811999999998</cx:pt>
          <cx:pt idx="4672">0.055383520999999998</cx:pt>
          <cx:pt idx="4673">0.055133298999999997</cx:pt>
          <cx:pt idx="4674">0.054675511000000003</cx:pt>
          <cx:pt idx="4675">0.054565679999999998</cx:pt>
          <cx:pt idx="4676">0.053619633</cx:pt>
          <cx:pt idx="4677">0.053497949000000003</cx:pt>
          <cx:pt idx="4678">0.053485381999999998</cx:pt>
          <cx:pt idx="4679">0.053326705000000002</cx:pt>
          <cx:pt idx="4680">0.053266006999999997</cx:pt>
          <cx:pt idx="4681">0.053064249000000001</cx:pt>
          <cx:pt idx="4682">0.053052396000000002</cx:pt>
          <cx:pt idx="4683">0.052716338000000001</cx:pt>
          <cx:pt idx="4684">0.05247835</cx:pt>
          <cx:pt idx="4685">0.052344050000000003</cx:pt>
          <cx:pt idx="4686">0.052270829999999997</cx:pt>
          <cx:pt idx="4687">0.051898494000000003</cx:pt>
          <cx:pt idx="4688">0.051837462000000001</cx:pt>
          <cx:pt idx="4689">0.051831368000000003</cx:pt>
          <cx:pt idx="4690">0.051715400000000002</cx:pt>
          <cx:pt idx="4691">0.051233235000000002</cx:pt>
          <cx:pt idx="4692">0.051098981000000002</cx:pt>
          <cx:pt idx="4693">0.051068466999999999</cx:pt>
          <cx:pt idx="4694">0.050928072999999997</cx:pt>
          <cx:pt idx="4695">0.050659854999999997</cx:pt>
          <cx:pt idx="4696">0.050494754000000003</cx:pt>
          <cx:pt idx="4697">0.050360453999999999</cx:pt>
          <cx:pt idx="4698">0.050257004000000001</cx:pt>
          <cx:pt idx="4699">0.049823397999999998</cx:pt>
          <cx:pt idx="4700">0.049750132000000002</cx:pt>
          <cx:pt idx="4701">0.049634161000000003</cx:pt>
          <cx:pt idx="4702">0.049463299000000002</cx:pt>
          <cx:pt idx="4703">0.049420547000000002</cx:pt>
          <cx:pt idx="4704">0.049347327000000003</cx:pt>
          <cx:pt idx="4705">0.049328998999999998</cx:pt>
          <cx:pt idx="4706">0.048498972000000001</cx:pt>
          <cx:pt idx="4707">0.04805951</cx:pt>
          <cx:pt idx="4708">0.048035086999999997</cx:pt>
          <cx:pt idx="4709">0.047931353000000003</cx:pt>
          <cx:pt idx="4710">0.047705550999999999</cx:pt>
          <cx:pt idx="4711">0.047235574000000002</cx:pt>
          <cx:pt idx="4712">0.047137932</cx:pt>
          <cx:pt idx="4713">0.046722895</cx:pt>
          <cx:pt idx="4714">0.045685346000000002</cx:pt>
          <cx:pt idx="4715">0.045569375000000002</cx:pt>
          <cx:pt idx="4716">0.045496109</cx:pt>
          <cx:pt idx="4717">0.045471732000000001</cx:pt>
          <cx:pt idx="4718">0.044684408000000002</cx:pt>
          <cx:pt idx="4719">0.044592811000000003</cx:pt>
          <cx:pt idx="4720">0.044324259999999997</cx:pt>
          <cx:pt idx="4721">0.043713938000000001</cx:pt>
          <cx:pt idx="4722">0.043622389999999997</cx:pt>
          <cx:pt idx="4723">0.042841062999999999</cx:pt>
          <cx:pt idx="4724">0.042572655000000001</cx:pt>
          <cx:pt idx="4725">0.042334617999999997</cx:pt>
          <cx:pt idx="4726">0.042297961000000002</cx:pt>
          <cx:pt idx="4727">0.042279681</cx:pt>
          <cx:pt idx="4728">0.041797516999999999</cx:pt>
          <cx:pt idx="4729">0.041522871000000003</cx:pt>
          <cx:pt idx="4730">0.041046801000000001</cx:pt>
          <cx:pt idx="4731">0.040912549999999999</cx:pt>
          <cx:pt idx="4732">0.040717216000000001</cx:pt>
          <cx:pt idx="4733">0.040131317</cx:pt>
          <cx:pt idx="4734">0.039758982999999998</cx:pt>
          <cx:pt idx="4735">0.039704092000000003</cx:pt>
          <cx:pt idx="4736">0.039435398000000003</cx:pt>
          <cx:pt idx="4737">0.039105955999999997</cx:pt>
          <cx:pt idx="4738">0.038568854</cx:pt>
          <cx:pt idx="4739">0.038385757999999999</cx:pt>
          <cx:pt idx="4740">0.038294209000000003</cx:pt>
          <cx:pt idx="4741">0.038007329999999999</cx:pt>
          <cx:pt idx="4742">0.037653084000000003</cx:pt>
          <cx:pt idx="4743">0.037622758999999999</cx:pt>
          <cx:pt idx="4744">0.037195391000000001</cx:pt>
          <cx:pt idx="4745">0.037103841999999998</cx:pt>
          <cx:pt idx="4746">0.036572975000000001</cx:pt>
          <cx:pt idx="4747">0.036566975000000002</cx:pt>
          <cx:pt idx="4748">0.036218827000000002</cx:pt>
          <cx:pt idx="4749">0.035832449000000002</cx:pt>
          <cx:pt idx="4750">0.035285252000000003</cx:pt>
          <cx:pt idx="4751">0.035248406000000003</cx:pt>
          <cx:pt idx="4752">0.034833603999999997</cx:pt>
          <cx:pt idx="4753">0.034723535</cx:pt>
          <cx:pt idx="4754">0.034699115000000003</cx:pt>
          <cx:pt idx="4755">0.034680786999999998</cx:pt>
          <cx:pt idx="4756">0.034589238000000001</cx:pt>
          <cx:pt idx="4757">0.034516019000000002</cx:pt>
          <cx:pt idx="4758">0.033948399999999997</cx:pt>
          <cx:pt idx="4759">0.033905932</cx:pt>
          <cx:pt idx="4760">0.033515220999999998</cx:pt>
          <cx:pt idx="4761">0.033374830000000001</cx:pt>
          <cx:pt idx="4762">0.033008636000000001</cx:pt>
          <cx:pt idx="4763">0.032996303999999997</cx:pt>
          <cx:pt idx="4764">0.032507951</cx:pt>
          <cx:pt idx="4765">0.032300529000000001</cx:pt>
          <cx:pt idx="4766">0.031897772999999997</cx:pt>
          <cx:pt idx="4767">0.031793940999999999</cx:pt>
          <cx:pt idx="4768">0.031476639000000001</cx:pt>
          <cx:pt idx="4769">0.031415657</cx:pt>
          <cx:pt idx="4770">0.031293448000000001</cx:pt>
          <cx:pt idx="4771">0.031128728000000001</cx:pt>
          <cx:pt idx="4772">0.031037130999999999</cx:pt>
          <cx:pt idx="4773">0.030261947000000001</cx:pt>
          <cx:pt idx="4774">0.029450389</cx:pt>
          <cx:pt idx="4775">0.029346512000000002</cx:pt>
          <cx:pt idx="4776">0.028778794999999999</cx:pt>
          <cx:pt idx="4777">0.028589702000000002</cx:pt>
          <cx:pt idx="4778">0.028577086000000002</cx:pt>
          <cx:pt idx="4779">0.027771812</cx:pt>
          <cx:pt idx="4780">0.027350681000000002</cx:pt>
          <cx:pt idx="4781">0.027192101999999999</cx:pt>
          <cx:pt idx="4782">0.027179723999999999</cx:pt>
          <cx:pt idx="4783">0.027051658999999999</cx:pt>
          <cx:pt idx="4784">0.027045565000000001</cx:pt>
          <cx:pt idx="4785">0.027008529</cx:pt>
          <cx:pt idx="4786">0.026276618000000002</cx:pt>
          <cx:pt idx="4787">0.026264286000000001</cx:pt>
          <cx:pt idx="4788">0.026215108000000001</cx:pt>
          <cx:pt idx="4789">0.026197160000000001</cx:pt>
          <cx:pt idx="4790">0.026105612</cx:pt>
          <cx:pt idx="4791">0.025647488999999999</cx:pt>
          <cx:pt idx="4792">0.025501049000000001</cx:pt>
          <cx:pt idx="4793">0.025440351</cx:pt>
          <cx:pt idx="4794">0.025208411</cx:pt>
          <cx:pt idx="4795">0.025129097</cx:pt>
          <cx:pt idx="4796">0.025025314</cx:pt>
          <cx:pt idx="4797">0.024933766</cx:pt>
          <cx:pt idx="4798">0.024817795</cx:pt>
          <cx:pt idx="4799">0.024756759999999999</cx:pt>
          <cx:pt idx="4800">0.024500065000000001</cx:pt>
          <cx:pt idx="4801">0.024469548000000001</cx:pt>
          <cx:pt idx="4802">0.024237655</cx:pt>
          <cx:pt idx="4803">0.02406703</cx:pt>
          <cx:pt idx="4804">0.02362119</cx:pt>
          <cx:pt idx="4805">0.023535785</cx:pt>
          <cx:pt idx="4806">0.02291932</cx:pt>
          <cx:pt idx="4807">0.022474145000000001</cx:pt>
          <cx:pt idx="4808">0.022468054000000001</cx:pt>
          <cx:pt idx="4809">0.022400928000000001</cx:pt>
          <cx:pt idx="4810">0.021759707999999999</cx:pt>
          <cx:pt idx="4811">0.021265642000000001</cx:pt>
          <cx:pt idx="4812">0.020911349999999999</cx:pt>
          <cx:pt idx="4813">0.020832368</cx:pt>
          <cx:pt idx="4814">0.020819752</cx:pt>
          <cx:pt idx="4815">0.020722113</cx:pt>
          <cx:pt idx="4816">0.019872847999999999</cx:pt>
          <cx:pt idx="4817">0.019768781999999999</cx:pt>
          <cx:pt idx="4818">0.018810546000000001</cx:pt>
          <cx:pt idx="4819">0.017913295999999999</cx:pt>
          <cx:pt idx="4820">0.017016186999999999</cx:pt>
          <cx:pt idx="4821">0.016906310000000001</cx:pt>
          <cx:pt idx="4822">0.016619479</cx:pt>
          <cx:pt idx="4823">0.016436381999999999</cx:pt>
          <cx:pt idx="4824">0.016155643000000001</cx:pt>
          <cx:pt idx="4825">0.015331658999999999</cx:pt>
          <cx:pt idx="4826">0.01517289</cx:pt>
          <cx:pt idx="4827">0.015148562000000001</cx:pt>
          <cx:pt idx="4828">0.014641977</cx:pt>
          <cx:pt idx="4829">0.014538239999999999</cx:pt>
          <cx:pt idx="4830">0.014471019999999999</cx:pt>
          <cx:pt idx="4831">0.014178141</cx:pt>
          <cx:pt idx="4832">0.013970621000000001</cx:pt>
          <cx:pt idx="4833">0.013927919</cx:pt>
          <cx:pt idx="4834">0.013891212999999999</cx:pt>
          <cx:pt idx="4835">0.013653274</cx:pt>
          <cx:pt idx="4836">0.013219668</cx:pt>
          <cx:pt idx="4837">0.012682852999999999</cx:pt>
          <cx:pt idx="4838">0.012109045000000001</cx:pt>
          <cx:pt idx="4839">0.012005353999999999</cx:pt>
          <cx:pt idx="4840">0.011181323999999999</cx:pt>
          <cx:pt idx="4841">0.011059355999999999</cx:pt>
          <cx:pt idx="4842">0.010796899</cx:pt>
          <cx:pt idx="4843">0.010479548</cx:pt>
          <cx:pt idx="4844">0.010371338000000001</cx:pt>
          <cx:pt idx="4845">0.010003382999999999</cx:pt>
          <cx:pt idx="4846">0.0098690830000000007</cx:pt>
          <cx:pt idx="4847">0.0093198420000000001</cx:pt>
          <cx:pt idx="4848">0.0092588559999999993</cx:pt>
          <cx:pt idx="4849">0.0092361490000000008</cx:pt>
          <cx:pt idx="4850">0.0085567000000000004</cx:pt>
          <cx:pt idx="4851">0.0084776239999999996</cx:pt>
          <cx:pt idx="4852">0.0081356150000000006</cx:pt>
          <cx:pt idx="4853">0.0081175239999999992</cx:pt>
          <cx:pt idx="4854">0.00769625</cx:pt>
          <cx:pt idx="4855">0.0076047969999999999</cx:pt>
          <cx:pt idx="4856">0.0075987019999999997</cx:pt>
          <cx:pt idx="4857">0.0075558099999999996</cx:pt>
          <cx:pt idx="4858">0.0075436219999999998</cx:pt>
          <cx:pt idx="4859">0.0075011080000000003</cx:pt>
          <cx:pt idx="4860">0.0074888250000000002</cx:pt>
          <cx:pt idx="4861">0.0068297560000000002</cx:pt>
          <cx:pt idx="4862">0.006634376</cx:pt>
          <cx:pt idx="4863">0.006249854</cx:pt>
          <cx:pt idx="4864">0.0061459269999999998</cx:pt>
          <cx:pt idx="4865">0.0059752080000000001</cx:pt>
          <cx:pt idx="4866">0.0059691140000000002</cx:pt>
          <cx:pt idx="4867">0.0056149659999999999</cx:pt>
          <cx:pt idx="4868">0.0051207099999999997</cx:pt>
          <cx:pt idx="4869">0.0046325460000000004</cx:pt>
          <cx:pt idx="4870">0.004620262</cx:pt>
          <cx:pt idx="4871">0.0046140280000000001</cx:pt>
          <cx:pt idx="4872">0.0034421780000000002</cx:pt>
          <cx:pt idx="4873">0.003411805</cx:pt>
          <cx:pt idx="4874">0.0034054760000000002</cx:pt>
          <cx:pt idx="4875">0.0027892490000000002</cx:pt>
          <cx:pt idx="4876">0.0019346070000000001</cx:pt>
          <cx:pt idx="4877">0.0018981880000000001</cx:pt>
          <cx:pt idx="4878">0.0015440390000000001</cx:pt>
          <cx:pt idx="4879">0.0015319940000000001</cx:pt>
          <cx:pt idx="4880">0.001299814</cx:pt>
          <cx:pt idx="4881">0.001190031</cx:pt>
          <cx:pt idx="4882">0.0011229059999999999</cx:pt>
          <cx:pt idx="4883">0.00028078499999999998</cx:pt>
          <cx:pt idx="4884">0.000250268</cx:pt>
          <cx:pt idx="4885">0.000238034</cx:pt>
          <cx:pt idx="4886">0.000109734</cx:pt>
          <cx:pt idx="4887">0</cx:pt>
          <cx:pt idx="4888">4.2299999999999998e-05</cx:pt>
          <cx:pt idx="4889">0.00016910499999999999</cx:pt>
          <cx:pt idx="4890">0.001548523</cx:pt>
          <cx:pt idx="4891">0.0034741059999999998</cx:pt>
          <cx:pt idx="4892">0.0035787369999999998</cx:pt>
          <cx:pt idx="4893">0.0036205170000000002</cx:pt>
          <cx:pt idx="4894">0.0044779390000000002</cx:pt>
          <cx:pt idx="4895">0.0046872019999999997</cx:pt>
          <cx:pt idx="4896">0.0066129420000000001</cx:pt>
          <cx:pt idx="4897">0.0071569729999999996</cx:pt>
          <cx:pt idx="4898">0.0071778679999999996</cx:pt>
          <cx:pt idx="4899">0.0075129699999999999</cx:pt>
          <cx:pt idx="4900">0.0080359390000000006</cx:pt>
          <cx:pt idx="4901">0.0086008639999999997</cx:pt>
          <cx:pt idx="4902">0.0091240109999999996</cx:pt>
          <cx:pt idx="4903">0.010505228</cx:pt>
          <cx:pt idx="4904">0.011593289999999999</cx:pt>
          <cx:pt idx="4905">0.012765255</cx:pt>
          <cx:pt idx="4906">0.013958104000000001</cx:pt>
          <cx:pt idx="4907">0.014041684</cx:pt>
          <cx:pt idx="4908">0.014732125</cx:pt>
          <cx:pt idx="4909">0.015569312</cx:pt>
          <cx:pt idx="4910">0.017682761000000002</cx:pt>
          <cx:pt idx="4911">0.017871117999999998</cx:pt>
          <cx:pt idx="4912">0.018666201</cx:pt>
          <cx:pt idx="4913">0.019440536000000001</cx:pt>
          <cx:pt idx="4914">0.020089197999999999</cx:pt>
          <cx:pt idx="4915">0.020361302000000001</cx:pt>
          <cx:pt idx="4916">0.021512205</cx:pt>
          <cx:pt idx="4917">0.025195071999999999</cx:pt>
          <cx:pt idx="4918">0.025362545</cx:pt>
          <cx:pt idx="4919">0.025571797</cx:pt>
          <cx:pt idx="4920">0.025634639000000001</cx:pt>
          <cx:pt idx="4921">0.026764814000000001</cx:pt>
          <cx:pt idx="4922">0.027183162</cx:pt>
          <cx:pt idx="4923">0.029151340000000001</cx:pt>
          <cx:pt idx="4924">0.031118546</cx:pt>
          <cx:pt idx="4925">0.033063381000000003</cx:pt>
          <cx:pt idx="4926">0.033105160000000002</cx:pt>
          <cx:pt idx="4927">0.034067706000000003</cx:pt>
          <cx:pt idx="4928">0.034926928000000003</cx:pt>
          <cx:pt idx="4929">0.037227603999999997</cx:pt>
          <cx:pt idx="4930">0.037457907999999998</cx:pt>
          <cx:pt idx="4931">0.038504022999999998</cx:pt>
          <cx:pt idx="4932">0.039006274000000001</cx:pt>
          <cx:pt idx="4933">0.040367737000000001</cx:pt>
          <cx:pt idx="4934">0.040743153999999997</cx:pt>
          <cx:pt idx="4935">0.041414019000000003</cx:pt>
          <cx:pt idx="4936">0.041623271000000003</cx:pt>
          <cx:pt idx="4937">0.041644166000000003</cx:pt>
          <cx:pt idx="4938">0.042815963999999998</cx:pt>
          <cx:pt idx="4939">0.043381382000000003</cx:pt>
          <cx:pt idx="4940">0.044176287000000002</cx:pt>
          <cx:pt idx="4941">0.044218400999999997</cx:pt>
          <cx:pt idx="4942">0.044783002000000002</cx:pt>
          <cx:pt idx="4943">0.047629006000000002</cx:pt>
          <cx:pt idx="4944">0.049575148999999999</cx:pt>
          <cx:pt idx="4945">0.049909927999999999</cx:pt>
          <cx:pt idx="4946">0.051457478000000001</cx:pt>
          <cx:pt idx="4947">0.051667713999999997</cx:pt>
          <cx:pt idx="4948">0.053571899999999999</cx:pt>
          <cx:pt idx="4949">0.053592962000000001</cx:pt>
          <cx:pt idx="4950">0.053844004000000001</cx:pt>
          <cx:pt idx="4951">0.054764760000000003</cx:pt>
          <cx:pt idx="4952">0.056773912000000003</cx:pt>
          <cx:pt idx="4953">0.056836418999999999</cx:pt>
          <cx:pt idx="4954">0.057925307000000002</cx:pt>
          <cx:pt idx="4955">0.058112848000000002</cx:pt>
          <cx:pt idx="4956">0.058133743000000002</cx:pt>
          <cx:pt idx="4957">0.059347486999999997</cx:pt>
          <cx:pt idx="4958">0.059368706</cx:pt>
          <cx:pt idx="4959">0.062068142999999999</cx:pt>
          <cx:pt idx="4960">0.063951277000000001</cx:pt>
          <cx:pt idx="4961">0.064349064999999997</cx:pt>
          <cx:pt idx="4962">0.064767411999999996</cx:pt>
          <cx:pt idx="4963">0.067049138999999994</cx:pt>
          <cx:pt idx="4964">0.067990789999999995</cx:pt>
          <cx:pt idx="4965">0.068722539999999999</cx:pt>
          <cx:pt idx="4966">0.071902997999999996</cx:pt>
          <cx:pt idx="4967">0.072133301999999996</cx:pt>
          <cx:pt idx="4968">0.072154197000000003</cx:pt>
          <cx:pt idx="4969">0.073284215999999999</cx:pt>
          <cx:pt idx="4970">0.073451521000000006</cx:pt>
          <cx:pt idx="4971">0.074268461999999993</cx:pt>
          <cx:pt idx="4972">0.074897860999999996</cx:pt>
          <cx:pt idx="4973">0.074979148999999995</cx:pt>
          <cx:pt idx="4974">0.075021263000000005</cx:pt>
          <cx:pt idx="4975">0.075525796000000006</cx:pt>
          <cx:pt idx="4976">0.076213789000000004</cx:pt>
          <cx:pt idx="4977">0.078664631999999998</cx:pt>
          <cx:pt idx="4978">0.079081022000000001</cx:pt>
          <cx:pt idx="4979">0.081047726</cx:pt>
          <cx:pt idx="4980">0.081340882000000003</cx:pt>
          <cx:pt idx="4981">0.082910131999999997</cx:pt>
          <cx:pt idx="4982">0.082952245999999993</cx:pt>
          <cx:pt idx="4983">0.083203121000000005</cx:pt>
          <cx:pt idx="4984">0.083244911000000005</cx:pt>
          <cx:pt idx="4985">0.084605400999999997</cx:pt>
          <cx:pt idx="4986">0.086216441000000005</cx:pt>
          <cx:pt idx="4987">0.086969723999999998</cx:pt>
          <cx:pt idx="4988">0.088225258000000001</cx:pt>
          <cx:pt idx="4989">0.089439337999999993</cx:pt>
          <cx:pt idx="4990">0.089523230999999995</cx:pt>
          <cx:pt idx="4991">0.091343534000000004</cx:pt>
          <cx:pt idx="4992">0.096030893000000006</cx:pt>
          <cx:pt idx="4993">0.096700282999999998</cx:pt>
          <cx:pt idx="4994">0.098835598999999996</cx:pt>
          <cx:pt idx="4995">0.098876897000000005</cx:pt>
          <cx:pt idx="4996">0.098897468000000002</cx:pt>
          <cx:pt idx="4997">0.100091133</cx:pt>
          <cx:pt idx="4998">0.10034217500000001</cx:pt>
          <cx:pt idx="4999">0.101764691</cx:pt>
          <cx:pt idx="5000">0.10302022500000001</cx:pt>
          <cx:pt idx="5001">0.103208258</cx:pt>
          <cx:pt idx="5002">0.103229969</cx:pt>
          <cx:pt idx="5003">0.104129349</cx:pt>
          <cx:pt idx="5004">0.104903527</cx:pt>
          <cx:pt idx="5005">0.10609622</cx:pt>
          <cx:pt idx="5006">0.1088172</cx:pt>
          <cx:pt idx="5007">0.109005065</cx:pt>
          <cx:pt idx="5008">0.109090434</cx:pt>
          <cx:pt idx="5009">0.111788395</cx:pt>
          <cx:pt idx="5010">0.111913921</cx:pt>
          <cx:pt idx="5011">0.112562573</cx:pt>
          <cx:pt idx="5012">0.11344204099999999</cx:pt>
          <cx:pt idx="5013">0.11471830299999999</cx:pt>
          <cx:pt idx="5014">0.115932048</cx:pt>
          <cx:pt idx="5015">0.116831542</cx:pt>
          <cx:pt idx="5016">0.11685295</cx:pt>
          <cx:pt idx="5017">0.118129044</cx:pt>
          <cx:pt idx="5018">0.118715587</cx:pt>
          <cx:pt idx="5019">0.120159102</cx:pt>
          <cx:pt idx="5020">0.122611106</cx:pt>
          <cx:pt idx="5021">0.122711709</cx:pt>
          <cx:pt idx="5022">0.13125004600000001</cx:pt>
          <cx:pt idx="5023">0.131354677</cx:pt>
          <cx:pt idx="5024">0.13233861999999999</cx:pt>
          <cx:pt idx="5025">0.13411731099999999</cx:pt>
          <cx:pt idx="5026">0.135686415</cx:pt>
          <cx:pt idx="5027">0.13715121199999999</cx:pt>
          <cx:pt idx="5028">0.137193326</cx:pt>
          <cx:pt idx="5029">0.13746509600000001</cx:pt>
          <cx:pt idx="5030">0.14292713500000001</cx:pt>
          <cx:pt idx="5031">0.143136387</cx:pt>
          <cx:pt idx="5032">0.14319922800000001</cx:pt>
          <cx:pt idx="5033">0.143680418</cx:pt>
          <cx:pt idx="5034">0.14805389299999999</cx:pt>
          <cx:pt idx="5035">0.14889108000000001</cx:pt>
          <cx:pt idx="5036">0.15066974999999999</cx:pt>
          <cx:pt idx="5037">0.151025099</cx:pt>
          <cx:pt idx="5038">0.15150678000000001</cx:pt>
          <cx:pt idx="5039">0.15426904699999999</cx:pt>
          <cx:pt idx="5040">0.15449887000000001</cx:pt>
          <cx:pt idx="5041">0.155568495</cx:pt>
          <cx:pt idx="5042">0.15558694200000001</cx:pt>
          <cx:pt idx="5043">0.15562888899999999</cx:pt>
          <cx:pt idx="5044">0.15638217200000001</cx:pt>
          <cx:pt idx="5045">0.15665427600000001</cx:pt>
          <cx:pt idx="5046">0.156696055</cx:pt>
          <cx:pt idx="5047">0.158078089</cx:pt>
          <cx:pt idx="5048">0.15864219800000001</cx:pt>
          <cx:pt idx="5049">0.15880999600000001</cx:pt>
          <cx:pt idx="5050">0.15924940500000001</cx:pt>
          <cx:pt idx="5051">0.16073475200000001</cx:pt>
          <cx:pt idx="5052">0.164250648</cx:pt>
          <cx:pt idx="5053">0.16590428400000001</cx:pt>
          <cx:pt idx="5054">0.16791277600000001</cx:pt>
          <cx:pt idx="5055">0.17069545799999999</cx:pt>
          <cx:pt idx="5056">0.17086325499999999</cx:pt>
          <cx:pt idx="5057">0.17144923200000001</cx:pt>
          <cx:pt idx="5058">0.17383478499999999</cx:pt>
          <cx:pt idx="5059">0.17820826100000001</cx:pt>
          <cx:pt idx="5060">0.18320999499999999</cx:pt>
          <cx:pt idx="5061">0.184360406</cx:pt>
          <cx:pt idx="5062">0.18567878199999999</cx:pt>
          <cx:pt idx="5063">0.185783905</cx:pt>
          <cx:pt idx="5064">0.18618151499999999</cx:pt>
          <cx:pt idx="5065">0.186391102</cx:pt>
          <cx:pt idx="5066">0.187059999</cx:pt>
          <cx:pt idx="5067">0.18718552599999999</cx:pt>
          <cx:pt idx="5068">0.18936181599999999</cx:pt>
          <cx:pt idx="5069">0.18944555199999999</cx:pt>
          <cx:pt idx="5070">0.189508227</cx:pt>
          <cx:pt idx="5071">0.190847497</cx:pt>
          <cx:pt idx="5072">0.19091033900000001</cx:pt>
          <cx:pt idx="5073">0.19093123400000001</cx:pt>
          <cx:pt idx="5074">0.19227050500000001</cx:pt>
          <cx:pt idx="5075">0.19281469200000001</cx:pt>
          <cx:pt idx="5076">0.19404917499999999</cx:pt>
          <cx:pt idx="5077">0.19419624499999999</cx:pt>
          <cx:pt idx="5078">0.19630985000000001</cx:pt>
          <cx:pt idx="5079">0.196811442</cx:pt>
          <cx:pt idx="5080">0.197063301</cx:pt>
          <cx:pt idx="5081">0.19913496999999999</cx:pt>
          <cx:pt idx="5082">0.19915569699999999</cx:pt>
          <cx:pt idx="5083">0.199658106</cx:pt>
          <cx:pt idx="5084">0.20099705200000001</cx:pt>
          <cx:pt idx="5085">0.20110167300000001</cx:pt>
          <cx:pt idx="5086">0.201144928</cx:pt>
          <cx:pt idx="5087">0.202106165</cx:pt>
          <cx:pt idx="5088">0.20551661399999999</cx:pt>
          <cx:pt idx="5089">0.20642055500000001</cx:pt>
          <cx:pt idx="5090">0.206793859</cx:pt>
          <cx:pt idx="5091">0.20970237999999999</cx:pt>
          <cx:pt idx="5092">0.20999651</cx:pt>
          <cx:pt idx="5093">0.21003682400000001</cx:pt>
          <cx:pt idx="5094">0.210769547</cx:pt>
          <cx:pt idx="5095">0.212297186</cx:pt>
          <cx:pt idx="5096">0.212319378</cx:pt>
          <cx:pt idx="5097">0.21344939600000001</cx:pt>
          <cx:pt idx="5098">0.216190612</cx:pt>
          <cx:pt idx="5099">0.22192440999999999</cx:pt>
          <cx:pt idx="5100">0.22324164599999999</cx:pt>
          <cx:pt idx="5101">0.22361820299999999</cx:pt>
          <cx:pt idx="5102">0.22525389500000001</cx:pt>
          <cx:pt idx="5103">0.22556419</cx:pt>
          <cx:pt idx="5104">0.22596181000000001</cx:pt>
          <cx:pt idx="5105">0.228158995</cx:pt>
          <cx:pt idx="5106">0.23027259999999999</cx:pt>
          <cx:pt idx="5107">0.23035633699999999</cx:pt>
          <cx:pt idx="5108">0.231010879</cx:pt>
          <cx:pt idx="5109">0.23238735699999999</cx:pt>
          <cx:pt idx="5110">0.233621996</cx:pt>
          <cx:pt idx="5111">0.23383125900000001</cx:pt>
          <cx:pt idx="5112">0.236194766</cx:pt>
          <cx:pt idx="5113">0.23623638799999999</cx:pt>
          <cx:pt idx="5114">0.23763964100000001</cx:pt>
          <cx:pt idx="5115">0.23960553900000001</cx:pt>
          <cx:pt idx="5116">0.240547346</cx:pt>
          <cx:pt idx="5117">0.24209702</cx:pt>
          <cx:pt idx="5118">0.24328873000000001</cx:pt>
          <cx:pt idx="5119">0.24341522900000001</cx:pt>
          <cx:pt idx="5120">0.24450345800000001</cx:pt>
          <cx:pt idx="5121">0.246741449</cx:pt>
          <cx:pt idx="5122">0.24728548</cx:pt>
          <cx:pt idx="5123">0.24766318800000001</cx:pt>
          <cx:pt idx="5124">0.24887742500000001</cx:pt>
          <cx:pt idx="5125">0.25086534700000002</cx:pt>
          <cx:pt idx="5126">0.252099505</cx:pt>
          <cx:pt idx="5127">0.25241240500000001</cx:pt>
          <cx:pt idx="5128">0.25276921899999999</cx:pt>
          <cx:pt idx="5129">0.252832061</cx:pt>
          <cx:pt idx="5130">0.253731765</cx:pt>
          <cx:pt idx="5131">0.25423434099999997</cx:pt>
          <cx:pt idx="5132">0.25437944299999998</cx:pt>
          <cx:pt idx="5133">0.25488169500000002</cx:pt>
          <cx:pt idx="5134">0.256075528</cx:pt>
          <cx:pt idx="5135">0.25640932300000002</cx:pt>
          <cx:pt idx="5136">0.256431191</cx:pt>
          <cx:pt idx="5137">0.25720553600000001</cx:pt>
          <cx:pt idx="5138">0.25850383300000002</cx:pt>
          <cx:pt idx="5139">0.25975936799999999</cx:pt>
          <cx:pt idx="5140">0.26005138300000002</cx:pt>
          <cx:pt idx="5141">0.26019796099999998</cx:pt>
          <cx:pt idx="5142">0.26367190000000001</cx:pt>
          <cx:pt idx="5143">0.28358662400000001</cx:pt>
          <cx:pt idx="5144">0.28981199899999999</cx:pt>
          <cx:pt idx="5145">0.31783163199999998</cx:pt>
          <cx:pt idx="5146">0.31908424000000002</cx:pt>
          <cx:pt idx="5147">0.40000103599999998</cx:pt>
          <cx:pt idx="5148">0.43363405999999999</cx:pt>
          <cx:pt idx="5149">0.47347315800000001</cx:pt>
          <cx:pt idx="5150">0.503969369</cx:pt>
          <cx:pt idx="5151">0.56435945600000004</cx:pt>
          <cx:pt idx="5152">0.57744180099999998</cx:pt>
          <cx:pt idx="5153">0.60172695700000001</cx:pt>
          <cx:pt idx="5154">0.63534067999999999</cx:pt>
          <cx:pt idx="5155">0.65400715399999998</cx:pt>
          <cx:pt idx="5156">0.65837758599999996</cx:pt>
          <cx:pt idx="5157">0.73621080000000005</cx:pt>
          <cx:pt idx="5158">0.76233159900000003</cx:pt>
          <cx:pt idx="5159">0.825212583</cx:pt>
          <cx:pt idx="5160">0.90740159899999995</cx:pt>
          <cx:pt idx="5161">0.93231336899999995</cx:pt>
          <cx:pt idx="5162">0.95159182799999997</cx:pt>
          <cx:pt idx="5163">0.97026826399999999</cx:pt>
          <cx:pt idx="5164">1.0119769350000001</cx:pt>
          <cx:pt idx="5165">1.026297569</cx:pt>
          <cx:pt idx="5166">1.06240717</cx:pt>
          <cx:pt idx="5167">1.0692688100000001</cx:pt>
          <cx:pt idx="5168">1.0841964479999999</cx:pt>
          <cx:pt idx="5169">1.0848327129999999</cx:pt>
          <cx:pt idx="5170">1.0854493679999999</cx:pt>
          <cx:pt idx="5171">1.086061041</cx:pt>
          <cx:pt idx="5172">1.087309291</cx:pt>
          <cx:pt idx="5173">1.091116298</cx:pt>
          <cx:pt idx="5174">1.093534666</cx:pt>
          <cx:pt idx="5175">1.1134640200000001</cx:pt>
          <cx:pt idx="5176">1.1147023089999999</cx:pt>
          <cx:pt idx="5177">1.1333787449999999</cx:pt>
          <cx:pt idx="5178">1.2068412159999999</cx:pt>
          <cx:pt idx="5179">1.2429461479999999</cx:pt>
          <cx:pt idx="5180">1.287772331</cx:pt>
          <cx:pt idx="5181">1.338824201</cx:pt>
          <cx:pt idx="5182">1.3705733309999999</cx:pt>
          <cx:pt idx="5183">1.384277</cx:pt>
          <cx:pt idx="5184">1.84267526</cx:pt>
          <cx:pt idx="5185">2.044271111</cx:pt>
          <cx:pt idx="5186">2.7503860549999999</cx:pt>
          <cx:pt idx="5187">3.3186244180000002</cx:pt>
          <cx:pt idx="5188">4.208099582</cx:pt>
          <cx:pt idx="5189">4.4466663620000002</cx:pt>
          <cx:pt idx="5190">4.4741985880000001</cx:pt>
          <cx:pt idx="5191">5.3814097140000001</cx:pt>
          <cx:pt idx="5192">5.5190020789999998</cx:pt>
          <cx:pt idx="5193">5.5648386969999999</cx:pt>
          <cx:pt idx="5194">6.0419034939999996</cx:pt>
          <cx:pt idx="5195">6.7109741630000004</cx:pt>
          <cx:pt idx="5196">7.3620980019999998</cx:pt>
          <cx:pt idx="5197">7.6459329670000002</cx:pt>
          <cx:pt idx="5198">7.9485032330000003</cx:pt>
          <cx:pt idx="5199">9.6630925160000007</cx:pt>
          <cx:pt idx="5200">9.7639981680000005</cx:pt>
          <cx:pt idx="5201">9.9291915209999999</cx:pt>
          <cx:pt idx="5202">9.9379884470000004</cx:pt>
          <cx:pt idx="5203">9.9473538050000005</cx:pt>
          <cx:pt idx="5204">9.9564395309999991</cx:pt>
          <cx:pt idx="5205">9.9659469959999996</cx:pt>
          <cx:pt idx="5206">9.975032723</cx:pt>
          <cx:pt idx="5207">9.9839717570000008</cx:pt>
          <cx:pt idx="5208">10.002491600000001</cx:pt>
          <cx:pt idx="5209">10.011503980000001</cx:pt>
          <cx:pt idx="5210">10.030097169999999</cx:pt>
          <cx:pt idx="5211">10.039036210000001</cx:pt>
          <cx:pt idx="5212">10.04811735</cx:pt>
          <cx:pt idx="5213">10.0576294</cx:pt>
          <cx:pt idx="5214">10.075649569999999</cx:pt>
          <cx:pt idx="5215">10.09395855</cx:pt>
          <cx:pt idx="5216">10.103466020000001</cx:pt>
          <cx:pt idx="5217">10.140083969999999</cx:pt>
          <cx:pt idx="5218">10.158030800000001</cx:pt>
          <cx:pt idx="5219">10.16761619</cx:pt>
          <cx:pt idx="5220">10.17655523</cx:pt>
          <cx:pt idx="5221">10.24098504</cx:pt>
          <cx:pt idx="5222">10.25007076</cx:pt>
          <cx:pt idx="5223">10.259009799999999</cx:pt>
          <cx:pt idx="5224">10.268375150000001</cx:pt>
          <cx:pt idx="5225">10.27002085</cx:pt>
          <cx:pt idx="5226">10.27760299</cx:pt>
          <cx:pt idx="5227">10.286542020000001</cx:pt>
          <cx:pt idx="5228">10.29554982</cx:pt>
          <cx:pt idx="5229">10.30513521</cx:pt>
          <cx:pt idx="5230">10.314074250000001</cx:pt>
          <cx:pt idx="5231">10.32315539</cx:pt>
          <cx:pt idx="5232">10.33266744</cx:pt>
          <cx:pt idx="5233">10.341748580000001</cx:pt>
          <cx:pt idx="5234">10.350760960000001</cx:pt>
          <cx:pt idx="5235">10.37850405</cx:pt>
          <cx:pt idx="5236">10.387589780000001</cx:pt>
          <cx:pt idx="5237">10.39652882</cx:pt>
          <cx:pt idx="5238">10.407539870000001</cx:pt>
          <cx:pt idx="5239">10.42406104</cx:pt>
          <cx:pt idx="5240">10.433068840000001</cx:pt>
          <cx:pt idx="5241">10.506584370000001</cx:pt>
          <cx:pt idx="5242">10.5251088</cx:pt>
          <cx:pt idx="5243">10.534116600000001</cx:pt>
          <cx:pt idx="5244">10.54505889</cx:pt>
          <cx:pt idx="5245">10.60770548</cx:pt>
          <cx:pt idx="5246">10.682577909999999</cx:pt>
          <cx:pt idx="5247">10.70824898</cx:pt>
          <cx:pt idx="5248">10.72663131</cx:pt>
          <cx:pt idx="5249">10.74479359</cx:pt>
          <cx:pt idx="5250">10.809154639999999</cx:pt>
          <cx:pt idx="5251">10.82009693</cx:pt>
          <cx:pt idx="5252">10.87330023</cx:pt>
          <cx:pt idx="5253">10.88231261</cx:pt>
          <cx:pt idx="5254">10.891824659999999</cx:pt>
          <cx:pt idx="5255">10.900837040000001</cx:pt>
          <cx:pt idx="5256">10.90998694</cx:pt>
          <cx:pt idx="5257">10.91914143</cx:pt>
          <cx:pt idx="5258">10.92815381</cx:pt>
          <cx:pt idx="5259">10.957615949999999</cx:pt>
          <cx:pt idx="5260">11.00166935</cx:pt>
          <cx:pt idx="5261">11.047505960000001</cx:pt>
          <cx:pt idx="5262">11.056660450000001</cx:pt>
          <cx:pt idx="5263">11.066603410000001</cx:pt>
          <cx:pt idx="5264">11.09356262</cx:pt>
          <cx:pt idx="5265">11.09513497</cx:pt>
          <cx:pt idx="5266">11.10271711</cx:pt>
          <cx:pt idx="5267">11.121163599999999</cx:pt>
          <cx:pt idx="5268">11.139257130000001</cx:pt>
          <cx:pt idx="5269">11.175870489999999</cx:pt>
          <cx:pt idx="5270">11.231081639999999</cx:pt>
          <cx:pt idx="5271">11.232653989999999</cx:pt>
          <cx:pt idx="5272">11.24023613</cx:pt>
          <cx:pt idx="5273">11.24924392</cx:pt>
          <cx:pt idx="5274">11.267768350000001</cx:pt>
          <cx:pt idx="5275">11.27670738</cx:pt>
          <cx:pt idx="5276">11.285857289999999</cx:pt>
          <cx:pt idx="5277">11.295369340000001</cx:pt>
          <cx:pt idx="5278">11.30438172</cx:pt>
          <cx:pt idx="5279">11.31338951</cx:pt>
          <cx:pt idx="5280">11.322544000000001</cx:pt>
          <cx:pt idx="5281">11.331698490000001</cx:pt>
          <cx:pt idx="5282">11.359230719999999</cx:pt>
          <cx:pt idx="5283">11.36860066</cx:pt>
          <cx:pt idx="5284">11.37017301</cx:pt>
          <cx:pt idx="5285">11.4142264</cx:pt>
          <cx:pt idx="5286">11.42337631</cx:pt>
          <cx:pt idx="5287">11.49682308</cx:pt>
          <cx:pt idx="5288">11.506119679999999</cx:pt>
          <cx:pt idx="5289">11.515274160000001</cx:pt>
          <cx:pt idx="5290">11.5242132</cx:pt>
          <cx:pt idx="5291">11.560895329999999</cx:pt>
          <cx:pt idx="5292">11.57941976</cx:pt>
          <cx:pt idx="5293">11.58842755</cx:pt>
          <cx:pt idx="5294">11.65279318</cx:pt>
          <cx:pt idx="5295">11.661732219999999</cx:pt>
          <cx:pt idx="5296">11.68032541</cx:pt>
          <cx:pt idx="5297">11.689264440000001</cx:pt>
          <cx:pt idx="5298">11.69841435</cx:pt>
          <cx:pt idx="5299">11.7079264</cx:pt>
          <cx:pt idx="5300">11.72594657</cx:pt>
          <cx:pt idx="5301">11.74425555</cx:pt>
          <cx:pt idx="5302">11.78115772</cx:pt>
          <cx:pt idx="5303">11.790312200000001</cx:pt>
          <cx:pt idx="5304">11.79932</cx:pt>
          <cx:pt idx="5305">15.635522630000001</cx:pt>
          <cx:pt idx="5306">23.400880000000001</cx:pt>
          <cx:pt idx="5307">35.272350840000001</cx:pt>
          <cx:pt idx="5308">37.019178439999997</cx:pt>
          <cx:pt idx="5309">42.101861280000001</cx:pt>
          <cx:pt idx="5310">45.449594079999997</cx:pt>
          <cx:pt idx="5311">47.197270000000003</cx:pt>
          <cx:pt idx="5312">51.120402839999997</cx:pt>
          <cx:pt idx="5313">55.075479350000002</cx:pt>
          <cx:pt idx="5314">59.0625</cx:pt>
          <cx:pt idx="5315">60.536301420000001</cx:pt>
          <cx:pt idx="5316">61.943534700000001</cx:pt>
          <cx:pt idx="5317">71.982420000000005</cx:pt>
          <cx:pt idx="5318">75.532358410000001</cx:pt>
          <cx:pt idx="5319">86.493475509999996</cx:pt>
          <cx:pt idx="5320">93.735349999999997</cx:pt>
          <cx:pt idx="5321">94.262730079999997</cx:pt>
          <cx:pt idx="5322">94.76628977</cx:pt>
          <cx:pt idx="5323">95.277789580000004</cx:pt>
          <cx:pt idx="5324">95.785191249999997</cx:pt>
          <cx:pt idx="5325">97.323532740000005</cx:pt>
          <cx:pt idx="5326">97.847070900000006</cx:pt>
          <cx:pt idx="5327">98.358570720000003</cx:pt>
          <cx:pt idx="5328">99.896912209999996</cx:pt>
          <cx:pt idx="5329">100.90761740000001</cx:pt>
          <cx:pt idx="5330">101.94265540000001</cx:pt>
          <cx:pt idx="5331">103.4689585</cx:pt>
          <cx:pt idx="5332">105.0073</cx:pt>
          <cx:pt idx="5333">105.67227250000001</cx:pt>
          <cx:pt idx="5334">105.78386039999999</cx:pt>
          <cx:pt idx="5335">108.2758807</cx:pt>
          <cx:pt idx="5336">108.9151523</cx:pt>
          <cx:pt idx="5337">109.5596291</cx:pt>
          <cx:pt idx="5338">110.23468680000001</cx:pt>
          <cx:pt idx="5339">110.8742836</cx:pt>
          <cx:pt idx="5340">115.4318179</cx:pt>
          <cx:pt idx="5341">115.5434058</cx:pt>
          <cx:pt idx="5342">116.08150000000001</cx:pt>
          <cx:pt idx="5343">116.85728</cx:pt>
          <cx:pt idx="5344">120.04076259999999</cx:pt>
          <cx:pt idx="5345">120.866272</cx:pt>
          <cx:pt idx="5346">121.6543849</cx:pt>
          <cx:pt idx="5347">122.4301648</cx:pt>
          <cx:pt idx="5348">124.8446306</cx:pt>
          <cx:pt idx="5349">125.6327436</cx:pt>
          <cx:pt idx="5350">126.40852340000001</cx:pt>
          <cx:pt idx="5351">127.2217</cx:pt>
          <cx:pt idx="5352">127.1923857</cx:pt>
          <cx:pt idx="5353">127.0581787</cx:pt>
          <cx:pt idx="5354">126.898506</cx:pt>
          <cx:pt idx="5355">126.7362949</cx:pt>
          <cx:pt idx="5356">126.5663867</cx:pt>
          <cx:pt idx="5357">126.40548579999999</cx:pt>
          <cx:pt idx="5358">126.24327460000001</cx:pt>
          <cx:pt idx="5359">126.07336650000001</cx:pt>
          <cx:pt idx="5360">125.9111554</cx:pt>
          <cx:pt idx="5361">125.7514826</cx:pt>
          <cx:pt idx="5362">125.58665120000001</cx:pt>
          <cx:pt idx="5363">125.4244401</cx:pt>
          <cx:pt idx="5364">125.2545319</cx:pt>
          <cx:pt idx="5365">125.0923208</cx:pt>
          <cx:pt idx="5366">124.93264809999999</cx:pt>
          <cx:pt idx="5367">124.76527830000001</cx:pt>
          <cx:pt idx="5368">124.7371923</cx:pt>
          <cx:pt idx="5369">124.601839</cx:pt>
          <cx:pt idx="5370">124.4420843</cx:pt>
          <cx:pt idx="5371">124.27225799999999</cx:pt>
          <cx:pt idx="5372">124.1099651</cx:pt>
          <cx:pt idx="5373">123.9490641</cx:pt>
          <cx:pt idx="5374">123.7868529</cx:pt>
          <cx:pt idx="5375">123.6169448</cx:pt>
          <cx:pt idx="5376">123.45473370000001</cx:pt>
          <cx:pt idx="5377">123.2950609</cx:pt>
          <cx:pt idx="5378">123.1302295</cx:pt>
          <cx:pt idx="5379">122.96801840000001</cx:pt>
          <cx:pt idx="5380">122.7981103</cx:pt>
          <cx:pt idx="5381">122.6358991</cx:pt>
          <cx:pt idx="5382">122.4762264</cx:pt>
          <cx:pt idx="5383">122.3088566</cx:pt>
          <cx:pt idx="5384">122.2795424</cx:pt>
          <cx:pt idx="5385">122.14541730000001</cx:pt>
          <cx:pt idx="5386">121.80813929999999</cx:pt>
          <cx:pt idx="5387">121.6535434</cx:pt>
          <cx:pt idx="5388">121.49264239999999</cx:pt>
          <cx:pt idx="5389">121.3304313</cx:pt>
          <cx:pt idx="5390">121.16052310000001</cx:pt>
          <cx:pt idx="5391">120.998312</cx:pt>
          <cx:pt idx="5392">120.8386393</cx:pt>
          <cx:pt idx="5393">120.6738079</cx:pt>
          <cx:pt idx="5394">120.5115967</cx:pt>
          <cx:pt idx="5395">120.3416886</cx:pt>
          <cx:pt idx="5396">120.1794774</cx:pt>
          <cx:pt idx="5397">120.01980469999999</cx:pt>
          <cx:pt idx="5398">119.85243490000001</cx:pt>
          <cx:pt idx="5399">119.8231207</cx:pt>
          <cx:pt idx="5400">119.6889956</cx:pt>
          <cx:pt idx="5401">119.5280127</cx:pt>
          <cx:pt idx="5402">119.3504075</cx:pt>
          <cx:pt idx="5403">119.1971217</cx:pt>
          <cx:pt idx="5404">119.0362207</cx:pt>
          <cx:pt idx="5405">118.87400959999999</cx:pt>
          <cx:pt idx="5406">118.7041014</cx:pt>
          <cx:pt idx="5407">118.54189030000001</cx:pt>
          <cx:pt idx="5408">118.3822176</cx:pt>
          <cx:pt idx="5409">118.21738620000001</cx:pt>
          <cx:pt idx="5410">118.0551751</cx:pt>
          <cx:pt idx="5411">117.8852669</cx:pt>
          <cx:pt idx="5412">117.7230558</cx:pt>
          <cx:pt idx="5413">99.134926210000003</cx:pt>
          <cx:pt idx="5414">98.491843259999996</cx:pt>
          <cx:pt idx="5415">97.827983790000005</cx:pt>
          <cx:pt idx="5416">97.174677500000001</cx:pt>
          <cx:pt idx="5417">96.490371289999999</cx:pt>
          <cx:pt idx="5418">95.842341590000004</cx:pt>
          <cx:pt idx="5419">95.837064999999996</cx:pt>
          <cx:pt idx="5420">95.193982050000002</cx:pt>
          <cx:pt idx="5421">94.51495242</cx:pt>
          <cx:pt idx="5422">94.468452560000003</cx:pt>
          <cx:pt idx="5423">93.856369540000003</cx:pt>
          <cx:pt idx="5424">93.208010000000002</cx:pt>
          <cx:pt idx="5425">86.272422700000007</cx:pt>
          <cx:pt idx="5426">82.924800000000005</cx:pt>
          <cx:pt idx="5427">71.041016999999997</cx:pt>
          <cx:pt idx="5428">62.011008330000003</cx:pt>
          <cx:pt idx="5429">59.06349694</cx:pt>
          <cx:pt idx="5430">56.162109999999998</cx:pt>
          <cx:pt idx="5431">51.924160919999998</cx:pt>
          <cx:pt idx="5432">50.46000094</cx:pt>
          <cx:pt idx="5433">49.062169249999997</cx:pt>
          <cx:pt idx="5434">46.288379810000002</cx:pt>
          <cx:pt idx="5435">44.824219999999997</cx:pt>
          <cx:pt idx="5436">37.935046079999999</cx:pt>
          <cx:pt idx="5437">34.42308877</cx:pt>
          <cx:pt idx="5438">34.409179999999999</cx:pt>
          <cx:pt idx="5439">33.625059589999999</cx:pt>
          <cx:pt idx="5440">32.79710876</cx:pt>
          <cx:pt idx="5441">30.338187319999999</cx:pt>
          <cx:pt idx="5442">28.794877320000001</cx:pt>
          <cx:pt idx="5443">22.34619</cx:pt>
          <cx:pt idx="5444">19.406125509999999</cx:pt>
          <cx:pt idx="5445">18.548659350000001</cx:pt>
          <cx:pt idx="5446">11.40381</cx:pt>
          <cx:pt idx="5447">7.510434761</cx:pt>
          <cx:pt idx="5448">6.064476472</cx:pt>
          <cx:pt idx="5449">5.9755403530000004</cx:pt>
          <cx:pt idx="5450">5.8852018890000002</cx:pt>
          <cx:pt idx="5451">5.7948634239999999</cx:pt>
          <cx:pt idx="5452">5.52316947</cx:pt>
          <cx:pt idx="5453">5.4307501</cx:pt>
          <cx:pt idx="5454">5.3404116349999997</cx:pt>
          <cx:pt idx="5455">5.154125305</cx:pt>
          <cx:pt idx="5456">5.0687176809999999</cx:pt>
          <cx:pt idx="5457">4.890166893</cx:pt>
          <cx:pt idx="5458">4.6184729390000001</cx:pt>
          <cx:pt idx="5459">4.5281344739999998</cx:pt>
          <cx:pt idx="5460">3.6234379429999999</cx:pt>
          <cx:pt idx="5461">3.533099478</cx:pt>
          <cx:pt idx="5462">3.08077384</cx:pt>
          <cx:pt idx="5463">2.8090346519999998</cx:pt>
          <cx:pt idx="5464">2.4441975330000001</cx:pt>
          <cx:pt idx="5465">1.1809970789999999</cx:pt>
          <cx:pt idx="5466">1.0871301179999999</cx:pt>
          <cx:pt idx="5467">0.99823924399999997</cx:pt>
          <cx:pt idx="5468">0.81896466000000001</cx:pt>
          <cx:pt idx="5469">0.72509769999999996</cx:pt>
          <cx:pt idx="5470">0.72494573699999998</cx:pt>
          <cx:pt idx="5471">0.72489457000000002</cx:pt>
          <cx:pt idx="5472">0.72484137699999995</cx:pt>
          <cx:pt idx="5473">0.724790979</cx:pt>
          <cx:pt idx="5474">0.72474058100000005</cx:pt>
          <cx:pt idx="5475">0.72468820899999997</cx:pt>
          <cx:pt idx="5476">0.72463742600000003</cx:pt>
          <cx:pt idx="5477">0.72458702799999997</cx:pt>
          <cx:pt idx="5478">0.72448346399999997</cx:pt>
          <cx:pt idx="5479">0.72438187300000001</cx:pt>
          <cx:pt idx="5480">0.72427830800000004</cx:pt>
          <cx:pt idx="5481">0.72412555000000001</cx:pt>
          <cx:pt idx="5482">0.72407235800000003</cx:pt>
          <cx:pt idx="5483">0.72402195999999996</cx:pt>
          <cx:pt idx="5484">0.72397156200000001</cx:pt>
          <cx:pt idx="5485">0.72391919000000005</cx:pt>
          <cx:pt idx="5486">0.72386799700000004</cx:pt>
          <cx:pt idx="5487">0.72381759899999998</cx:pt>
          <cx:pt idx="5488">0.72371403400000001</cx:pt>
          <cx:pt idx="5489">0.72366404600000001</cx:pt>
          <cx:pt idx="5490">0.723612853</cx:pt>
          <cx:pt idx="5491">0.72355966100000002</cx:pt>
          <cx:pt idx="5492">0.72345888999999997</cx:pt>
          <cx:pt idx="5493">0.72335653</cx:pt>
          <cx:pt idx="5494">0.72325293999999996</cx:pt>
          <cx:pt idx="5495">0.723202542</cx:pt>
          <cx:pt idx="5496">0.72315017000000004</cx:pt>
          <cx:pt idx="5497">0.72309897700000003</cx:pt>
          <cx:pt idx="5498">0.72304857899999997</cx:pt>
          <cx:pt idx="5499">0.72299541199999995</cx:pt>
          <cx:pt idx="5500">0.722945014</cx:pt>
          <cx:pt idx="5501">0.722895026</cx:pt>
          <cx:pt idx="5502">0.72284383399999996</cx:pt>
          <cx:pt idx="5503">0.72263749899999996</cx:pt>
          <cx:pt idx="5504">0.72248312599999998</cx:pt>
          <cx:pt idx="5505">0.72233036799999994</cx:pt>
          <cx:pt idx="5506">0.72232995799999999</cx:pt>
          <cx:pt idx="5507">0.72227996999999999</cx:pt>
          <cx:pt idx="5508">0.72217640500000002</cx:pt>
          <cx:pt idx="5509">0.72207481399999995</cx:pt>
          <cx:pt idx="5510">0.72197124899999998</cx:pt>
          <cx:pt idx="5511">0.72181849099999995</cx:pt>
          <cx:pt idx="5512">0.72176529899999997</cx:pt>
          <cx:pt idx="5513">0.72171490100000002</cx:pt>
          <cx:pt idx="5514">0.721664529</cx:pt>
          <cx:pt idx="5515">0.72156093799999999</cx:pt>
          <cx:pt idx="5516">0.72145737300000001</cx:pt>
          <cx:pt idx="5517">0.72135698699999995</cx:pt>
          <cx:pt idx="5518">0.72130579500000003</cx:pt>
          <cx:pt idx="5519">0.72120223000000006</cx:pt>
          <cx:pt idx="5520">0.72104947200000002</cx:pt>
          <cx:pt idx="5521">0.72099628000000004</cx:pt>
          <cx:pt idx="5522">0.72094588100000001</cx:pt>
          <cx:pt idx="5523">0.72084311099999998</cx:pt>
          <cx:pt idx="5524">0.71981853799999995</cx:pt>
          <cx:pt idx="5525">0.71976775500000001</cx:pt>
          <cx:pt idx="5526">0.71945824000000003</cx:pt>
          <cx:pt idx="5527">0.71930427799999996</cx:pt>
          <cx:pt idx="5528">0.71904992899999998</cx:pt>
          <cx:pt idx="5529">0.71899873599999997</cx:pt>
          <cx:pt idx="5530">0.718895171</cx:pt>
          <cx:pt idx="5531">0.71878919699999999</cx:pt>
          <cx:pt idx="5532">0.71869081000000001</cx:pt>
          <cx:pt idx="5533">0.71863761800000003</cx:pt>
          <cx:pt idx="5534">0.71858724600000001</cx:pt>
          <cx:pt idx="5535">0.71853605300000001</cx:pt>
          <cx:pt idx="5536">0.71751147900000001</cx:pt>
          <cx:pt idx="5537">0.71704920599999999</cx:pt>
          <cx:pt idx="5538">0.71699801399999996</cx:pt>
          <cx:pt idx="5539">0.71694682099999996</cx:pt>
          <cx:pt idx="5540">0.71689644799999996</cx:pt>
          <cx:pt idx="5541">0.71622819900000001</cx:pt>
          <cx:pt idx="5542">0.71617780099999995</cx:pt>
          <cx:pt idx="5543">0.71612742900000004</cx:pt>
          <cx:pt idx="5544">0.71607423699999995</cx:pt>
          <cx:pt idx="5545">0.71602383800000002</cx:pt>
          <cx:pt idx="5546">0.71597343999999996</cx:pt>
          <cx:pt idx="5547">0.71592265799999999</cx:pt>
          <cx:pt idx="5548">0.71581909300000002</cx:pt>
          <cx:pt idx="5549">0.71571550299999998</cx:pt>
          <cx:pt idx="5550">0.71561473200000003</cx:pt>
          <cx:pt idx="5551">0.71520442100000003</cx:pt>
          <cx:pt idx="5552">0.71515363799999998</cx:pt>
          <cx:pt idx="5553">0.71499967499999995</cx:pt>
          <cx:pt idx="5554">0.71489690500000003</cx:pt>
          <cx:pt idx="5555">0.71484371300000005</cx:pt>
          <cx:pt idx="5556">0.71479334100000003</cx:pt>
          <cx:pt idx="5557">0.71474294199999999</cx:pt>
          <cx:pt idx="5558">0.71469095500000002</cx:pt>
          <cx:pt idx="5559">0.71463976200000001</cx:pt>
          <cx:pt idx="5560">0.71453619700000004</cx:pt>
          <cx:pt idx="5561">0.71443542699999996</cx:pt>
          <cx:pt idx="5562">0.71438461900000005</cx:pt>
          <cx:pt idx="5563">0.71428105399999997</cx:pt>
          <cx:pt idx="5564">0.71423065600000002</cx:pt>
          <cx:pt idx="5565">0.71417907899999999</cx:pt>
          <cx:pt idx="5566">0.71412709100000005</cx:pt>
          <cx:pt idx="5567">0.71402111700000004</cx:pt>
          <cx:pt idx="5568">0.71351162400000001</cx:pt>
          <cx:pt idx="5569">0.71341005899999999</cx:pt>
          <cx:pt idx="5570">0.71335886599999998</cx:pt>
          <cx:pt idx="5571">0.713305674</cx:pt>
          <cx:pt idx="5572">0.71325530100000001</cx:pt>
          <cx:pt idx="5573">0.71315291599999997</cx:pt>
          <cx:pt idx="5574">0.71305135100000006</cx:pt>
          <cx:pt idx="5575">0.71299815799999999</cx:pt>
          <cx:pt idx="5576">0.712589052</cx:pt>
          <cx:pt idx="5577">0.71233270400000004</cx:pt>
          <cx:pt idx="5578">0.71197358499999996</cx:pt>
          <cx:pt idx="5579">0.71182082700000004</cx:pt>
          <cx:pt idx="5580">0.71161487700000003</cx:pt>
          <cx:pt idx="5581">0.71089705000000003</cx:pt>
          <cx:pt idx="5582">0.71084544699999996</cx:pt>
          <cx:pt idx="5583">0.710744292</cx:pt>
          <cx:pt idx="5584">0.71068869000000001</cx:pt>
          <cx:pt idx="5585">0.71007642800000004</cx:pt>
          <cx:pt idx="5586">0.70987168199999995</cx:pt>
          <cx:pt idx="5587">0.70941020399999999</cx:pt>
          <cx:pt idx="5588">0.70925624099999995</cx:pt>
          <cx:pt idx="5589">0.70915306099999997</cx:pt>
          <cx:pt idx="5590">0.70905229000000003</cx:pt>
          <cx:pt idx="5591">0.70900109700000002</cx:pt>
          <cx:pt idx="5592">0.70889750699999998</cx:pt>
          <cx:pt idx="5593">0.70884713399999999</cx:pt>
          <cx:pt idx="5594">0.70879594199999996</cx:pt>
          <cx:pt idx="5595">0.70874474899999995</cx:pt>
          <cx:pt idx="5596">0.70869155699999997</cx:pt>
          <cx:pt idx="5597">0.70864118399999998</cx:pt>
          <cx:pt idx="5598">0.70859078600000003</cx:pt>
          <cx:pt idx="5599">0.70853879900000005</cx:pt>
          <cx:pt idx="5600">0.70843723300000006</cx:pt>
          <cx:pt idx="5601">0.70838404099999996</cx:pt>
          <cx:pt idx="5602">0.70833364300000001</cx:pt>
          <cx:pt idx="5603">0.70828327099999999</cx:pt>
          <cx:pt idx="5604">0.70823207799999999</cx:pt>
          <cx:pt idx="5605">0.70797452500000002</cx:pt>
          <cx:pt idx="5606">0.70782056199999999</cx:pt>
          <cx:pt idx="5607">0.70776977900000004</cx:pt>
          <cx:pt idx="5608">0.70771858600000004</cx:pt>
          <cx:pt idx="5609">0.70761502200000004</cx:pt>
          <cx:pt idx="5610">0.707564623</cx:pt>
          <cx:pt idx="5611">0.70751425099999998</cx:pt>
          <cx:pt idx="5612">0.70735946800000005</cx:pt>
          <cx:pt idx="5613">0.70730909500000005</cx:pt>
          <cx:pt idx="5614">0.70725790300000002</cx:pt>
          <cx:pt idx="5615">0.70720671000000002</cx:pt>
          <cx:pt idx="5616">0.70715351800000004</cx:pt>
          <cx:pt idx="5617">0.70705274699999998</cx:pt>
          <cx:pt idx="5618">0.706999555</cx:pt>
          <cx:pt idx="5619">0.70689878399999995</cx:pt>
          <cx:pt idx="5620">0.70684559199999997</cx:pt>
          <cx:pt idx="5621">0.70669403900000005</cx:pt>
          <cx:pt idx="5622">0.70664084599999999</cx:pt>
          <cx:pt idx="5623">0.70654007600000002</cx:pt>
          <cx:pt idx="5624">0.70648688400000004</cx:pt>
          <cx:pt idx="5625">0.70612976500000002</cx:pt>
          <cx:pt idx="5626">0.705565106</cx:pt>
          <cx:pt idx="5627">0.70541114299999996</cx:pt>
          <cx:pt idx="5628">0.70520719200000004</cx:pt>
          <cx:pt idx="5629">0.70413063200000003</cx:pt>
          <cx:pt idx="5630">0.70402706699999995</cx:pt>
          <cx:pt idx="5631">0.70392109300000005</cx:pt>
          <cx:pt idx="5632">0.70341080499999997</cx:pt>
          <cx:pt idx="5633">0.70340839600000005</cx:pt>
          <cx:pt idx="5634">0.70284894099999995</cx:pt>
          <cx:pt idx="5635">0.70274535100000002</cx:pt>
          <cx:pt idx="5636">0.70238623200000005</cx:pt>
          <cx:pt idx="5637">0.70233506499999998</cx:pt>
          <cx:pt idx="5638">0.70228466700000003</cx:pt>
          <cx:pt idx="5639">0.70223147500000005</cx:pt>
          <cx:pt idx="5640">0.70218110199999995</cx:pt>
          <cx:pt idx="5641">0.70213111399999995</cx:pt>
          <cx:pt idx="5642">0.70207992100000005</cx:pt>
          <cx:pt idx="5643">0.70192595899999999</cx:pt>
          <cx:pt idx="5644">0.70187276600000004</cx:pt>
          <cx:pt idx="5645">0.70182236799999997</cx:pt>
          <cx:pt idx="5646">0.70156604499999997</cx:pt>
          <cx:pt idx="5647">0.70146245500000004</cx:pt>
          <cx:pt idx="5648">0.70033672700000005</cx:pt>
          <cx:pt idx="5649">0.70018076399999996</cx:pt>
          <cx:pt idx="5650">0.700130366</cx:pt>
          <cx:pt idx="5651">0.70007919900000004</cx:pt>
          <cx:pt idx="5652">0.70002800600000004</cx:pt>
          <cx:pt idx="5653">0.69997760799999997</cx:pt>
          <cx:pt idx="5654">0.69982405599999997</cx:pt>
          <cx:pt idx="5655">0.69977006900000005</cx:pt>
          <cx:pt idx="5656">0.69971967099999999</cx:pt>
          <cx:pt idx="5657">0.69956770700000004</cx:pt>
          <cx:pt idx="5658">0.69936216699999998</cx:pt>
          <cx:pt idx="5659">0.69931018</cx:pt>
          <cx:pt idx="5660">0.69920858900000005</cx:pt>
          <cx:pt idx="5661">0.69915539599999998</cx:pt>
          <cx:pt idx="5662">0.69910502399999996</cx:pt>
          <cx:pt idx="5663">0.69905503599999996</cx:pt>
          <cx:pt idx="5664">0.69895065099999998</cx:pt>
          <cx:pt idx="5665">0.69890025300000003</cx:pt>
          <cx:pt idx="5666">0.69879789299999995</cx:pt>
          <cx:pt idx="5667">0.69874628999999999</cx:pt>
          <cx:pt idx="5668">0.69869591799999997</cx:pt>
          <cx:pt idx="5669">0.69864272500000002</cx:pt>
          <cx:pt idx="5670">0.69864072600000005</cx:pt>
          <cx:pt idx="5671">0.69859232699999996</cx:pt>
          <cx:pt idx="5672">0.69854115999999999</cx:pt>
          <cx:pt idx="5673">0.69848996699999999</cx:pt>
          <cx:pt idx="5674">0.698285606</cx:pt>
          <cx:pt idx="5675">0.69730704799999998</cx:pt>
          <cx:pt idx="5676">0.69726023800000003</cx:pt>
          <cx:pt idx="5677">0.69684595400000005</cx:pt>
          <cx:pt idx="5678">0.69633646100000002</cx:pt>
          <cx:pt idx="5679">0.69597854800000003</cx:pt>
          <cx:pt idx="5680">0.69546508200000001</cx:pt>
          <cx:pt idx="5681">0.69536349099999994</cx:pt>
          <cx:pt idx="5682">0.69531029899999997</cx:pt>
          <cx:pt idx="5683">0.69525992599999997</cx:pt>
          <cx:pt idx="5684">0.69520952800000002</cx:pt>
          <cx:pt idx="5685">0.69515833500000002</cx:pt>
          <cx:pt idx="5686">0.69500437299999995</cx:pt>
          <cx:pt idx="5687">0.69490201299999999</cx:pt>
          <cx:pt idx="5688">0.69484882000000003</cx:pt>
          <cx:pt idx="5689">0.69479842199999997</cx:pt>
          <cx:pt idx="5690">0.69474804999999995</cx:pt>
          <cx:pt idx="5691">0.69464445900000005</cx:pt>
          <cx:pt idx="5692">0.69459408700000003</cx:pt>
          <cx:pt idx="5693">0.69453889499999999</cx:pt>
          <cx:pt idx="5694">0.69449049699999998</cx:pt>
          <cx:pt idx="5695">0.69444050899999998</cx:pt>
          <cx:pt idx="5696">0.69438693200000001</cx:pt>
          <cx:pt idx="5697">0.694286136</cx:pt>
          <cx:pt idx="5698">0.69418416000000005</cx:pt>
          <cx:pt idx="5699">0.69413217299999996</cx:pt>
          <cx:pt idx="5700">0.69408179999999997</cx:pt>
          <cx:pt idx="5701">0.69402860799999999</cx:pt>
          <cx:pt idx="5702">0.69402619799999998</cx:pt>
          <cx:pt idx="5703">0.69392704299999997</cx:pt>
          <cx:pt idx="5704">0.69382545200000001</cx:pt>
          <cx:pt idx="5705">0.69377226000000003</cx:pt>
          <cx:pt idx="5706">0.69356751400000005</cx:pt>
          <cx:pt idx="5707">0.69351711599999999</cx:pt>
          <cx:pt idx="5708">0.69336397400000005</cx:pt>
          <cx:pt idx="5709">0.69331078099999999</cx:pt>
          <cx:pt idx="5710">0.69321001100000001</cx:pt>
          <cx:pt idx="5711">0.69315681799999995</cx:pt>
          <cx:pt idx="5712">0.69295245699999997</cx:pt>
          <cx:pt idx="5713">0.69290247000000005</cx:pt>
          <cx:pt idx="5714">0.69284889299999997</cx:pt>
          <cx:pt idx="5715">0.69279849500000001</cx:pt>
          <cx:pt idx="5716">0.69274809699999995</cx:pt>
          <cx:pt idx="5717">0.69269493000000004</cx:pt>
          <cx:pt idx="5718">0.69254376100000004</cx:pt>
          <cx:pt idx="5719">0.69249056899999994</cx:pt>
          <cx:pt idx="5720">0.69238900400000003</cx:pt>
          <cx:pt idx="5721">0.69233781100000003</cx:pt>
          <cx:pt idx="5722">0.69228741299999996</cx:pt>
          <cx:pt idx="5723">0.69218384799999999</cx:pt>
          <cx:pt idx="5724">0.69213345000000004</cx:pt>
          <cx:pt idx="5725">0.69172234399999999</cx:pt>
          <cx:pt idx="5726">0.69156838099999995</cx:pt>
          <cx:pt idx="5727">0.69141441800000003</cx:pt>
          <cx:pt idx="5728">0.69136443000000003</cx:pt>
          <cx:pt idx="5729">0.69054021899999996</cx:pt>
          <cx:pt idx="5730">0.69049143599999996</cx:pt>
          <cx:pt idx="5731">0.69013311200000005</cx:pt>
          <cx:pt idx="5732">0.69003075199999997</cx:pt>
          <cx:pt idx="5733">0.68972241599999995</cx:pt>
          <cx:pt idx="5734">0.68961885199999995</cx:pt>
          <cx:pt idx="5735">0.68957004300000002</cx:pt>
          <cx:pt idx="5736">0.68951805600000005</cx:pt>
          <cx:pt idx="5737">0.68946488900000003</cx:pt>
          <cx:pt idx="5738">0.68941449099999996</cx:pt>
          <cx:pt idx="5739">0.68936409300000001</cx:pt>
          <cx:pt idx="5740">0.68931292600000005</cx:pt>
          <cx:pt idx="5741">0.68920695099999996</cx:pt>
          <cx:pt idx="5742">0.68813359500000004</cx:pt>
          <cx:pt idx="5743">0.68782566899999997</cx:pt>
          <cx:pt idx="5744">0.68777488600000003</cx:pt>
          <cx:pt idx="5745">0.687723694</cx:pt>
          <cx:pt idx="5746">0.68762010299999998</cx:pt>
          <cx:pt idx="5747">0.68751933300000001</cx:pt>
          <cx:pt idx="5748">0.68746534599999998</cx:pt>
          <cx:pt idx="5749">0.68746414099999997</cx:pt>
          <cx:pt idx="5750">0.68736457500000003</cx:pt>
          <cx:pt idx="5751">0.68726301000000001</cx:pt>
          <cx:pt idx="5752">0.68715821499999996</cx:pt>
          <cx:pt idx="5753">0.68715621500000001</cx:pt>
          <cx:pt idx="5754">0.68710784199999997</cx:pt>
          <cx:pt idx="5755">0.68695467399999999</cx:pt>
          <cx:pt idx="5756">0.68690148200000001</cx:pt>
          <cx:pt idx="5757">0.68685108399999995</cx:pt>
          <cx:pt idx="5758">0.68680071099999995</cx:pt>
          <cx:pt idx="5759">0.686750313</cx:pt>
          <cx:pt idx="5760">0.68664595399999995</cx:pt>
          <cx:pt idx="5761">0.68664354400000005</cx:pt>
          <cx:pt idx="5762">0.686595556</cx:pt>
          <cx:pt idx="5763">0.68633600299999997</cx:pt>
          <cx:pt idx="5764">0.68608206400000005</cx:pt>
          <cx:pt idx="5765">0.68592571700000005</cx:pt>
          <cx:pt idx="5766">0.68505792700000001</cx:pt>
          <cx:pt idx="5767">0.68469839799999999</cx:pt>
          <cx:pt idx="5768">0.68464720499999998</cx:pt>
          <cx:pt idx="5769">0.68459683299999996</cx:pt>
          <cx:pt idx="5770">0.68454364099999998</cx:pt>
          <cx:pt idx="5771">0.68444287000000004</cx:pt>
          <cx:pt idx="5772">0.68433927999999999</cx:pt>
          <cx:pt idx="5773">0.684288907</cx:pt>
          <cx:pt idx="5774">0.68423571500000002</cx:pt>
          <cx:pt idx="5775">0.68413532899999996</cx:pt>
          <cx:pt idx="5776">0.68403176399999999</cx:pt>
          <cx:pt idx="5777">0.68398136600000004</cx:pt>
          <cx:pt idx="5778">0.683827403</cx:pt>
          <cx:pt idx="5779">0.68377421100000002</cx:pt>
          <cx:pt idx="5780">0.68372383800000003</cx:pt>
          <cx:pt idx="5781">0.68362024799999999</cx:pt>
          <cx:pt idx="5782">0.68351947700000004</cx:pt>
          <cx:pt idx="5783">0.68321155200000006</cx:pt>
          <cx:pt idx="5784">0.683160769</cx:pt>
          <cx:pt idx="5785">0.683109576</cx:pt>
          <cx:pt idx="5786">0.68305638400000002</cx:pt>
          <cx:pt idx="5787">0.68300598599999995</cx:pt>
          <cx:pt idx="5788">0.68290483099999999</cx:pt>
          <cx:pt idx="5789">0.68115963700000004</cx:pt>
          <cx:pt idx="5790">0.68110964900000004</cx:pt>
          <cx:pt idx="5791">0.68105925099999998</cx:pt>
          <cx:pt idx="5792">0.68100605800000003</cx:pt>
          <cx:pt idx="5793">0.68100405900000005</cx:pt>
          <cx:pt idx="5794">0.68085329999999999</cx:pt>
          <cx:pt idx="5795">0.68080172299999997</cx:pt>
          <cx:pt idx="5796">0.68075132500000002</cx:pt>
          <cx:pt idx="5797">0.68069813300000004</cx:pt>
          <cx:pt idx="5798">0.68064776000000005</cx:pt>
          <cx:pt idx="5799">0.68059736199999998</cx:pt>
          <cx:pt idx="5800">0.68054417</cx:pt>
          <cx:pt idx="5801">0.68054258000000001</cx:pt>
          <cx:pt idx="5802">0.68049379700000001</cx:pt>
          <cx:pt idx="5803">0.68039020699999997</cx:pt>
          <cx:pt idx="5804">0.68033983499999995</cx:pt>
          <cx:pt idx="5805">0.68028943600000003</cx:pt>
          <cx:pt idx="5806">0.68023903799999996</cx:pt>
          <cx:pt idx="5807">0.68018587200000002</cx:pt>
          <cx:pt idx="5808">0.68008428099999996</cx:pt>
          <cx:pt idx="5809">0.67998271600000004</cx:pt>
          <cx:pt idx="5810">0.67987912500000003</cx:pt>
          <cx:pt idx="5811">0.67982875300000001</cx:pt>
          <cx:pt idx="5812">0.67977555999999995</cx:pt>
          <cx:pt idx="5813">0.67972516199999999</cx:pt>
          <cx:pt idx="5814">0.67967478999999997</cx:pt>
          <cx:pt idx="5815">0.67962159799999999</cx:pt>
          <cx:pt idx="5816">0.67957160999999999</cx:pt>
          <cx:pt idx="5817">0.67951962200000005</cx:pt>
          <cx:pt idx="5818">0.679416032</cx:pt>
          <cx:pt idx="5819">0.67931526099999995</cx:pt>
          <cx:pt idx="5820">0.67926406900000003</cx:pt>
          <cx:pt idx="5821">0.67921369600000003</cx:pt>
          <cx:pt idx="5822">0.67875139699999998</cx:pt>
          <cx:pt idx="5823">0.67869699999999999</cx:pt>
          <cx:pt idx="5824">0.67854624200000002</cx:pt>
          <cx:pt idx="5825">0.67849504900000002</cx:pt>
          <cx:pt idx="5826">0.678441882</cx:pt>
          <cx:pt idx="5827">0.67834108599999998</cx:pt>
          <cx:pt idx="5828">0.67829071399999996</cx:pt>
          <cx:pt idx="5829">0.67823752100000001</cx:pt>
          <cx:pt idx="5830">0.67726534599999999</cx:pt>
          <cx:pt idx="5831">0.67669948199999996</cx:pt>
          <cx:pt idx="5832">0.67654351999999995</cx:pt>
          <cx:pt idx="5833">0.67644433900000001</cx:pt>
          <cx:pt idx="5834">0.67638994200000002</cx:pt>
          <cx:pt idx="5835">0.67629078600000003</cx:pt>
          <cx:pt idx="5836">0.67623918299999997</cx:pt>
          <cx:pt idx="5837">0.67618798999999996</cx:pt>
          <cx:pt idx="5838">0.67613482400000002</cx:pt>
          <cx:pt idx="5839">0.67613361900000002</cx:pt>
          <cx:pt idx="5840">0.67603402700000004</cx:pt>
          <cx:pt idx="5841">0.67598365500000002</cx:pt>
          <cx:pt idx="5842">0.67593046300000004</cx:pt>
          <cx:pt idx="5843">0.67547016400000004</cx:pt>
          <cx:pt idx="5844">0.67541897100000003</cx:pt>
          <cx:pt idx="5845">0.67454438699999997</cx:pt>
          <cx:pt idx="5846">0.67439201299999996</cx:pt>
          <cx:pt idx="5847">0.67439042400000004</cx:pt>
          <cx:pt idx="5848">0.674238051</cx:pt>
          <cx:pt idx="5849">0.67270001199999996</cx:pt>
          <cx:pt idx="5850">0.67254604900000003</cx:pt>
          <cx:pt idx="5851">0.67249567600000004</cx:pt>
          <cx:pt idx="5852">0.67244527799999998</cx:pt>
          <cx:pt idx="5853">0.67239408499999997</cx:pt>
          <cx:pt idx="5854">0.67234289300000005</cx:pt>
          <cx:pt idx="5855">0.67228972600000003</cx:pt>
          <cx:pt idx="5856">0.67228852100000003</cx:pt>
          <cx:pt idx="5857">0.67223932799999997</cx:pt>
          <cx:pt idx="5858">0.67218893000000002</cx:pt>
          <cx:pt idx="5859">0.67213814699999996</cx:pt>
          <cx:pt idx="5860">0.67213776300000005</cx:pt>
          <cx:pt idx="5861">0.67208495499999998</cx:pt>
          <cx:pt idx="5862">0.67203458199999999</cx:pt>
          <cx:pt idx="5863">0.67198418400000004</cx:pt>
          <cx:pt idx="5864">0.67193099199999995</cx:pt>
          <cx:pt idx="5865">0.67188100399999995</cx:pt>
          <cx:pt idx="5866">0.67177743899999998</cx:pt>
          <cx:pt idx="5867">0.67121475500000005</cx:pt>
          <cx:pt idx="5868">0.67110919000000002</cx:pt>
          <cx:pt idx="5869">0.67106079200000002</cx:pt>
          <cx:pt idx="5870">0.67101041900000002</cx:pt>
          <cx:pt idx="5871">0.67085604600000004</cx:pt>
          <cx:pt idx="5872">0.67080485400000001</cx:pt>
          <cx:pt idx="5873">0.66992985999999999</cx:pt>
          <cx:pt idx="5874">0.66962234399999998</cx:pt>
          <cx:pt idx="5875">0.66941718800000005</cx:pt>
          <cx:pt idx="5876">0.66931800699999999</cx:pt>
          <cx:pt idx="5877">0.66869936200000002</cx:pt>
          <cx:pt idx="5878">0.66752403000000005</cx:pt>
          <cx:pt idx="5879">0.66706214100000005</cx:pt>
          <cx:pt idx="5880">0.66675501000000004</cx:pt>
          <cx:pt idx="5881">0.66660066299999998</cx:pt>
          <cx:pt idx="5882">0.66639389199999999</cx:pt>
          <cx:pt idx="5883">0.66634110999999996</cx:pt>
          <cx:pt idx="5884">0.66583164299999997</cx:pt>
          <cx:pt idx="5885">0.66567806500000004</cx:pt>
          <cx:pt idx="5886">0.66562487299999995</cx:pt>
          <cx:pt idx="5887">0.66557449999999996</cx:pt>
          <cx:pt idx="5888">0.665472909</cx:pt>
          <cx:pt idx="5889">0.66542171699999997</cx:pt>
          <cx:pt idx="5890">0.66536854999999995</cx:pt>
          <cx:pt idx="5891">0.665318152</cx:pt>
          <cx:pt idx="5892">0.66526775400000004</cx:pt>
          <cx:pt idx="5893">0.66521697099999999</cx:pt>
          <cx:pt idx="5894">0.66516377900000001</cx:pt>
          <cx:pt idx="5895">0.66511340699999999</cx:pt>
          <cx:pt idx="5896">0.66500981599999998</cx:pt>
          <cx:pt idx="5897">0.66495944399999996</cx:pt>
          <cx:pt idx="5898">0.66470350499999997</cx:pt>
          <cx:pt idx="5899">0.66439276000000003</cx:pt>
          <cx:pt idx="5900">0.66419042399999995</cx:pt>
          <cx:pt idx="5901">0.66403405199999999</cx:pt>
          <cx:pt idx="5902">0.66398606299999996</cx:pt>
          <cx:pt idx="5903">0.66388329300000004</cx:pt>
          <cx:pt idx="5904">0.66331781400000001</cx:pt>
          <cx:pt idx="5905">0.66280355400000002</cx:pt>
          <cx:pt idx="5906">0.66260160199999996</cx:pt>
          <cx:pt idx="5907">0.66234563899999999</cx:pt>
          <cx:pt idx="5908">0.66234525399999999</cx:pt>
          <cx:pt idx="5909">0.66229247199999997</cx:pt>
          <cx:pt idx="5910">0.66224207400000001</cx:pt>
          <cx:pt idx="5911">0.66219167599999995</cx:pt>
          <cx:pt idx="5912">0.66214089300000001</cx:pt>
          <cx:pt idx="5913">0.66208770100000003</cx:pt>
          <cx:pt idx="5914">0.66131668200000004</cx:pt>
          <cx:pt idx="5915">0.661268309</cx:pt>
          <cx:pt idx="5916">0.66121791100000005</cx:pt>
          <cx:pt idx="5917">0.66116471799999998</cx:pt>
          <cx:pt idx="5918">0.66111434599999996</cx:pt>
          <cx:pt idx="5919">0.66106394800000001</cx:pt>
          <cx:pt idx="5920">0.66101075600000003</cx:pt>
          <cx:pt idx="5921">0.66085840799999995</cx:pt>
          <cx:pt idx="5922">0.66080721499999995</cx:pt>
          <cx:pt idx="5923">0.66070362500000002</cx:pt>
          <cx:pt idx="5924">0.66065325200000002</cx:pt>
          <cx:pt idx="5925">0.66060006000000004</cx:pt>
          <cx:pt idx="5926">0.66054966199999998</cx:pt>
          <cx:pt idx="5927">0.66049928899999999</cx:pt>
          <cx:pt idx="5928">0.66044889100000004</cx:pt>
          <cx:pt idx="5929">0.66039569899999995</cx:pt>
          <cx:pt idx="5930">0.66034532599999995</cx:pt>
          <cx:pt idx="5931">0.66014096499999997</cx:pt>
          <cx:pt idx="5932">0.66008897799999999</cx:pt>
          <cx:pt idx="5933">0.66003740099999997</cx:pt>
          <cx:pt idx="5934">0.65998700300000002</cx:pt>
          <cx:pt idx="5935">0.65993380999999995</cx:pt>
          <cx:pt idx="5936">0.65988343800000004</cx:pt>
          <cx:pt idx="5937">0.65983303999999998</cx:pt>
          <cx:pt idx="5938">0.65972747600000003</cx:pt>
          <cx:pt idx="5939">0.65957630700000003</cx:pt>
          <cx:pt idx="5940">0.65952552399999997</cx:pt>
          <cx:pt idx="5941">0.65880449299999999</cx:pt>
          <cx:pt idx="5942">0.65855134900000001</cx:pt>
          <cx:pt idx="5943">0.65834619299999997</cx:pt>
          <cx:pt idx="5944">0.65824060399999995</cx:pt>
          <cx:pt idx="5945">0.65757637899999999</cx:pt>
          <cx:pt idx="5946">0.65752598100000004</cx:pt>
          <cx:pt idx="5947">0.65747278899999995</cx:pt>
          <cx:pt idx="5948">0.65742241599999995</cx:pt>
          <cx:pt idx="5949">0.657372018</cx:pt>
          <cx:pt idx="5950">0.65716765700000002</cx:pt>
          <cx:pt idx="5951">0.65706409300000002</cx:pt>
          <cx:pt idx="5952">0.65701330999999996</cx:pt>
          <cx:pt idx="5953">0.65696211699999996</cx:pt>
          <cx:pt idx="5954">0.65624428999999995</cx:pt>
          <cx:pt idx="5955">0.65619230299999998</cx:pt>
          <cx:pt idx="5956">0.65614190500000003</cx:pt>
          <cx:pt idx="5957">0.65608871300000005</cx:pt>
          <cx:pt idx="5958">0.656087533</cx:pt>
          <cx:pt idx="5959">0.65603834000000005</cx:pt>
          <cx:pt idx="5960">0.65583397899999996</cx:pt>
          <cx:pt idx="5961">0.65578078699999998</cx:pt>
          <cx:pt idx="5962">0.65573041399999998</cx:pt>
          <cx:pt idx="5963">0.65568001600000003</cx:pt>
          <cx:pt idx="5964">0.65562961799999997</cx:pt>
          <cx:pt idx="5965">0.65562923399999995</cx:pt>
          <cx:pt idx="5966">0.65557645200000003</cx:pt>
          <cx:pt idx="5967">0.65552605399999997</cx:pt>
          <cx:pt idx="5968">0.65547527100000003</cx:pt>
          <cx:pt idx="5969">0.65536968100000004</cx:pt>
          <cx:pt idx="5970">0.65439550599999996</cx:pt>
          <cx:pt idx="5971">0.65372887199999996</cx:pt>
          <cx:pt idx="5972">0.65357531899999999</cx:pt>
          <cx:pt idx="5973">0.65326777800000002</cx:pt>
          <cx:pt idx="5974">0.65316821199999997</cx:pt>
          <cx:pt idx="5975">0.65265233700000003</cx:pt>
          <cx:pt idx="5976">0.65188331700000002</cx:pt>
          <cx:pt idx="5977">0.65183532899999996</cx:pt>
          <cx:pt idx="5978">0.65172935399999998</cx:pt>
          <cx:pt idx="5979">0.65157898000000003</cx:pt>
          <cx:pt idx="5980">0.65116546500000005</cx:pt>
          <cx:pt idx="5981">0.65055043400000001</cx:pt>
          <cx:pt idx="5982">0.65024289300000004</cx:pt>
          <cx:pt idx="5983">0.65014332699999999</cx:pt>
          <cx:pt idx="5984">0.649986544</cx:pt>
          <cx:pt idx="5985">0.64988697799999995</cx:pt>
          <cx:pt idx="5986">0.64942229600000001</cx:pt>
          <cx:pt idx="5987">0.64927192199999995</cx:pt>
          <cx:pt idx="5988">0.64916835699999997</cx:pt>
          <cx:pt idx="5989">0.64916594699999997</cx:pt>
          <cx:pt idx="5990">0.64906438200000005</cx:pt>
          <cx:pt idx="5991">0.64906356200000004</cx:pt>
          <cx:pt idx="5992">0.64901398399999999</cx:pt>
          <cx:pt idx="5993">0.64891321300000004</cx:pt>
          <cx:pt idx="5994">0.64886002099999995</cx:pt>
          <cx:pt idx="5995">0.64875925099999998</cx:pt>
          <cx:pt idx="5996">0.64860528799999995</cx:pt>
          <cx:pt idx="5997">0.64855409500000005</cx:pt>
          <cx:pt idx="5998">0.64850290200000005</cx:pt>
          <cx:pt idx="5999">0.64844970999999996</cx:pt>
          <cx:pt idx="6000">0.64839933699999996</cx:pt>
          <cx:pt idx="6001">0.64834893900000001</cx:pt>
          <cx:pt idx="6002">0.64829574700000003</cx:pt>
          <cx:pt idx="6003">0.648141784</cx:pt>
          <cx:pt idx="6004">0.64808941200000003</cx:pt>
          <cx:pt idx="6005">0.64804101400000003</cx:pt>
          <cx:pt idx="6006">0.64798782099999996</cx:pt>
          <cx:pt idx="6007">0.64793742300000001</cx:pt>
          <cx:pt idx="6008">0.64783665300000004</cx:pt>
          <cx:pt idx="6009">0.64778507500000004</cx:pt>
          <cx:pt idx="6010">0.64752872699999997</cx:pt>
          <cx:pt idx="6011">0.64727158399999996</cx:pt>
          <cx:pt idx="6012">0.64722121200000005</cx:pt>
          <cx:pt idx="6013">0.64696165900000002</cx:pt>
          <cx:pt idx="6014">0.64675932300000005</cx:pt>
          <cx:pt idx="6015">0.64650017999999998</cx:pt>
          <cx:pt idx="6016">0.64634980600000003</cx:pt>
          <cx:pt idx="6017">0.64629740899999999</cx:pt>
          <cx:pt idx="6018">0.646247036</cx:pt>
          <cx:pt idx="6019">0.64619584399999996</cx:pt>
          <cx:pt idx="6020">0.64614106199999999</cx:pt>
          <cx:pt idx="6021">0.64604188100000004</cx:pt>
          <cx:pt idx="6022">0.64526965700000005</cx:pt>
          <cx:pt idx="6023">0.64465780500000003</cx:pt>
          <cx:pt idx="6024">0.64465739399999999</cx:pt>
          <cx:pt idx="6025">0.64445064900000004</cx:pt>
          <cx:pt idx="6026">0.64440027700000002</cx:pt>
          <cx:pt idx="6027">0.64434987899999996</cx:pt>
          <cx:pt idx="6028">0.64429668699999998</cx:pt>
          <cx:pt idx="6029">0.64424631399999999</cx:pt>
          <cx:pt idx="6030">0.64419550599999997</cx:pt>
          <cx:pt idx="6031">0.64409035199999998</cx:pt>
          <cx:pt idx="6032">0.64399117100000003</cx:pt>
          <cx:pt idx="6033">0.64393956799999996</cx:pt>
          <cx:pt idx="6034">0.64388758000000001</cx:pt>
          <cx:pt idx="6035">0.64383720799999999</cx:pt>
          <cx:pt idx="6036">0.64378401500000004</cx:pt>
          <cx:pt idx="6037">0.64368324499999996</cx:pt>
          <cx:pt idx="6038">0.64363005299999998</cx:pt>
          <cx:pt idx="6039">0.64357965399999995</cx:pt>
          <cx:pt idx="6040">0.64352928200000004</cx:pt>
          <cx:pt idx="6041">0.643424102</cx:pt>
          <cx:pt idx="6042">0.643375319</cx:pt>
          <cx:pt idx="6043">0.64332492100000005</cx:pt>
          <cx:pt idx="6044">0.64327172899999996</cx:pt>
          <cx:pt idx="6045">0.64322133100000001</cx:pt>
          <cx:pt idx="6046">0.64317095800000001</cx:pt>
          <cx:pt idx="6047">0.64317054799999995</cx:pt>
          <cx:pt idx="6048">0.64311976500000001</cx:pt>
          <cx:pt idx="6049">0.64296580299999995</cx:pt>
          <cx:pt idx="6050">0.64291461000000005</cx:pt>
          <cx:pt idx="6051">0.64270627499999999</cx:pt>
          <cx:pt idx="6052">0.64265708200000005</cx:pt>
          <cx:pt idx="6053">0.642553492</cx:pt>
          <cx:pt idx="6054">0.64255231300000004</cx:pt>
          <cx:pt idx="6055">0.64245272099999995</cx:pt>
          <cx:pt idx="6056">0.64127339000000005</cx:pt>
          <cx:pt idx="6057">0.64121940399999999</cx:pt>
          <cx:pt idx="6058">0.64101545299999996</cx:pt>
          <cx:pt idx="6059">0.64096308099999999</cx:pt>
          <cx:pt idx="6060">0.64086348900000001</cx:pt>
          <cx:pt idx="6061">0.64081229699999998</cx:pt>
          <cx:pt idx="6062">0.64075792499999995</cx:pt>
          <cx:pt idx="6063">0.640708732</cx:pt>
          <cx:pt idx="6064">0.64065833400000005</cx:pt>
          <cx:pt idx="6065">0.64060516700000003</cx:pt>
          <cx:pt idx="6066">0.63978374999999998</cx:pt>
          <cx:pt idx="6067">0.639274283</cx:pt>
          <cx:pt idx="6068">0.63906712799999998</cx:pt>
          <cx:pt idx="6069">0.63906592299999998</cx:pt>
          <cx:pt idx="6070">0.63830010800000003</cx:pt>
          <cx:pt idx="6071">0.63824691600000005</cx:pt>
          <cx:pt idx="6072">0.63824571100000005</cx:pt>
          <cx:pt idx="6073">0.63804296500000002</cx:pt>
          <cx:pt idx="6074">0.63799256699999995</cx:pt>
          <cx:pt idx="6075">0.63793937499999998</cx:pt>
          <cx:pt idx="6076">0.63793819500000004</cx:pt>
          <cx:pt idx="6077">0.63788900199999998</cx:pt>
          <cx:pt idx="6078">0.63783860400000003</cx:pt>
          <cx:pt idx="6079">0.63773624399999995</cx:pt>
          <cx:pt idx="6080">0.63768305199999997</cx:pt>
          <cx:pt idx="6081">0.63763265400000002</cx:pt>
          <cx:pt idx="6082">0.63763065399999996</cx:pt>
          <cx:pt idx="6083">0.63758225599999996</cx:pt>
          <cx:pt idx="6084">0.63747869099999999</cx:pt>
          <cx:pt idx="6085">0.63742829300000003</cx:pt>
          <cx:pt idx="6086">0.63737512600000001</cx:pt>
          <cx:pt idx="6087">0.63717076500000003</cx:pt>
          <cx:pt idx="6088">0.63706999499999994</cx:pt>
          <cx:pt idx="6089">0.63701839199999999</cx:pt>
          <cx:pt idx="6090">0.63691603200000002</cx:pt>
          <cx:pt idx="6091">0.63686283899999996</cx:pt>
          <cx:pt idx="6092">0.63681244100000001</cx:pt>
          <cx:pt idx="6093">0.63681044200000003</cx:pt>
          <cx:pt idx="6094">0.63670887700000001</cx:pt>
          <cx:pt idx="6095">0.63660810599999995</cx:pt>
          <cx:pt idx="6096">0.63655491399999997</cx:pt>
          <cx:pt idx="6097">0.63650251599999996</cx:pt>
          <cx:pt idx="6098">0.63635096300000005</cx:pt>
          <cx:pt idx="6099">0.63619500100000004</cx:pt>
          <cx:pt idx="6100">0.63604142200000002</cx:pt>
          <cx:pt idx="6101">0.63593944700000005</cx:pt>
          <cx:pt idx="6102">0.63593865199999999</cx:pt>
          <cx:pt idx="6103">0.63588907400000005</cx:pt>
          <cx:pt idx="6104">0.63578827800000004</cx:pt>
          <cx:pt idx="6105">0.63573511199999999</cx:pt>
          <cx:pt idx="6106">0.63573349700000004</cx:pt>
          <cx:pt idx="6107">0.63568471400000004</cx:pt>
          <cx:pt idx="6108">0.63568230400000003</cx:pt>
          <cx:pt idx="6109">0.63563431500000001</cx:pt>
          <cx:pt idx="6110">0.63558114899999996</cx:pt>
          <cx:pt idx="6111">0.635530751</cx:pt>
          <cx:pt idx="6112">0.63548035300000005</cx:pt>
          <cx:pt idx="6113">0.63542918500000001</cx:pt>
          <cx:pt idx="6114">0.63532559499999997</cx:pt>
          <cx:pt idx="6115">0.63522202999999999</cx:pt>
          <cx:pt idx="6116">0.63522082499999999</cx:pt>
          <cx:pt idx="6117">0.63517163200000004</cx:pt>
          <cx:pt idx="6118">0.63512123399999998</cx:pt>
          <cx:pt idx="6119">0.63506806699999996</cx:pt>
          <cx:pt idx="6120">0.63501766900000001</cx:pt>
          <cx:pt idx="6121">0.63491648899999997</cx:pt>
          <cx:pt idx="6122">0.634812924</cx:pt>
          <cx:pt idx="6123">0.63476252600000005</cx:pt>
          <cx:pt idx="6124">0.63471133300000004</cx:pt>
          <cx:pt idx="6125">0.63465896099999997</cx:pt>
          <cx:pt idx="6126">0.63465696199999999</cx:pt>
          <cx:pt idx="6127">0.63460856300000001</cx:pt>
          <cx:pt idx="6128">0.63455537100000003</cx:pt>
          <cx:pt idx="6129">0.63450499800000004</cx:pt>
          <cx:pt idx="6130">0.63424665000000002</cx:pt>
          <cx:pt idx="6131">0.63409309800000002</cx:pt>
          <cx:pt idx="6132">0.63404390399999999</cx:pt>
          <cx:pt idx="6133">0.63399350600000004</cx:pt>
          <cx:pt idx="6134">0.63388994200000004</cx:pt>
          <cx:pt idx="6135">0.63388794199999998</cx:pt>
          <cx:pt idx="6136">0.63383954300000001</cx:pt>
          <cx:pt idx="6137">0.63353241199999999</cx:pt>
          <cx:pt idx="6138">0.63347922000000001</cx:pt>
          <cx:pt idx="6139">0.63342884799999999</cx:pt>
          <cx:pt idx="6140">0.63337845000000004</cx:pt>
          <cx:pt idx="6141">0.63332525699999997</cx:pt>
          <cx:pt idx="6142">0.63327488499999995</cx:pt>
          <cx:pt idx="6143">0.633173294</cx:pt>
          <cx:pt idx="6144">0.63312092200000003</cx:pt>
          <cx:pt idx="6145">0.63311892199999997</cx:pt>
          <cx:pt idx="6146">0.63307052399999997</cx:pt>
          <cx:pt idx="6147">0.63301733199999999</cx:pt>
          <cx:pt idx="6148">0.63286257400000001</cx:pt>
          <cx:pt idx="6149">0.63276259800000001</cx:pt>
          <cx:pt idx="6150">0.63250507099999997</cx:pt>
          <cx:pt idx="6151">0.63245467300000002</cx:pt>
          <cx:pt idx="6152">0.63240427399999999</cx:pt>
          <cx:pt idx="6153">0.63235310700000003</cx:pt>
          <cx:pt idx="6154">0.63214595200000001</cx:pt>
          <cx:pt idx="6155">0.63209555399999995</cx:pt>
          <cx:pt idx="6156">0.63209355499999997</cx:pt>
          <cx:pt idx="6157">0.63204518200000004</cx:pt>
          <cx:pt idx="6158">0.63199198899999998</cx:pt>
          <cx:pt idx="6159">0.63194159100000002</cx:pt>
          <cx:pt idx="6160">0.63163525499999995</cx:pt>
          <cx:pt idx="6161">0.63127254799999999</cx:pt>
          <cx:pt idx="6162">0.63040355199999998</cx:pt>
          <cx:pt idx="6163">0.63035036</cx:pt>
          <cx:pt idx="6164">0.63030198699999995</cx:pt>
          <cx:pt idx="6165">0.63014802400000003</cx:pt>
          <cx:pt idx="6166">0.63009721600000002</cx:pt>
          <cx:pt idx="6167">0.63004604900000005</cx:pt>
          <cx:pt idx="6168">0.62999285599999999</cx:pt>
          <cx:pt idx="6169">0.62999165199999996</cx:pt>
          <cx:pt idx="6170">0.62994007399999996</cx:pt>
          <cx:pt idx="6171">0.62983689399999998</cx:pt>
          <cx:pt idx="6172">0.62978649600000003</cx:pt>
          <cx:pt idx="6173">0.62973812299999998</cx:pt>
          <cx:pt idx="6174">0.62963253299999999</cx:pt>
          <cx:pt idx="6175">0.62958413400000002</cx:pt>
          <cx:pt idx="6176">0.62953014799999996</cx:pt>
          <cx:pt idx="6177">0.62947898000000002</cx:pt>
          <cx:pt idx="6178">0.62943017199999995</cx:pt>
          <cx:pt idx="6179">0.62937380099999995</cx:pt>
          <cx:pt idx="6180">0.62911986200000003</cx:pt>
          <cx:pt idx="6181">0.62907146300000005</cx:pt>
          <cx:pt idx="6182">0.62901747600000002</cx:pt>
          <cx:pt idx="6183">0.62865835800000003</cx:pt>
          <cx:pt idx="6184">0.62855917699999997</cx:pt>
          <cx:pt idx="6185">0.62845481700000005</cx:pt>
          <cx:pt idx="6186">0.62840162499999996</cx:pt>
          <cx:pt idx="6187">0.62829964999999999</cx:pt>
          <cx:pt idx="6188">0.62824845699999998</cx:pt>
          <cx:pt idx="6189">0.62804612100000001</cx:pt>
          <cx:pt idx="6190">0.62794253099999997</cx:pt>
          <cx:pt idx="6191">0.62794094099999997</cx:pt>
          <cx:pt idx="6192">0.62778497899999997</cx:pt>
          <cx:pt idx="6193">0.62773657999999999</cx:pt>
          <cx:pt idx="6194">0.62773578600000002</cx:pt>
          <cx:pt idx="6195">0.62768379799999996</cx:pt>
          <cx:pt idx="6196">0.62763581000000002</cx:pt>
          <cx:pt idx="6197">0.62757982300000004</cx:pt>
          <cx:pt idx="6198">0.62752942499999997</cx:pt>
          <cx:pt idx="6199">0.62747943699999997</cx:pt>
          <cx:pt idx="6200">0.62717192200000005</cx:pt>
          <cx:pt idx="6201">0.62712031899999998</cx:pt>
          <cx:pt idx="6202">0.62707194600000005</cx:pt>
          <cx:pt idx="6203">0.62702075300000004</cx:pt>
          <cx:pt idx="6204">0.62691516300000005</cx:pt>
          <cx:pt idx="6205">0.62686399599999998</cx:pt>
          <cx:pt idx="6206">0.626815597</cx:pt>
          <cx:pt idx="6207">0.62676160999999997</cx:pt>
          <cx:pt idx="6208">0.62671041800000005</cx:pt>
          <cx:pt idx="6209">0.62660764800000002</cx:pt>
          <cx:pt idx="6210">0.62655645500000001</cx:pt>
          <cx:pt idx="6211">0.62650767200000002</cx:pt>
          <cx:pt idx="6212">0.62645409500000004</cx:pt>
          <cx:pt idx="6213">0.62640249199999998</cx:pt>
          <cx:pt idx="6214">0.62635129899999997</cx:pt>
          <cx:pt idx="6215">0.62630331100000003</cx:pt>
          <cx:pt idx="6216">0.62614934799999999</cx:pt>
          <cx:pt idx="6217">0.62609497700000005</cx:pt>
          <cx:pt idx="6218">0.62604378400000005</cx:pt>
          <cx:pt idx="6219">0.62599538499999996</cx:pt>
          <cx:pt idx="6220">0.62588982100000001</cx:pt>
          <cx:pt idx="6221">0.62584142200000004</cx:pt>
          <cx:pt idx="6222">0.62578543600000003</cx:pt>
          <cx:pt idx="6223">0.62573624299999997</cx:pt>
          <cx:pt idx="6224">0.62568787000000003</cx:pt>
          <cx:pt idx="6225">0.62563347199999997</cx:pt>
          <cx:pt idx="6226">0.62558228000000005</cx:pt>
          <cx:pt idx="6227">0.625533907</cx:pt>
          <cx:pt idx="6228">0.625482714</cx:pt>
          <cx:pt idx="6229">0.62542872699999996</cx:pt>
          <cx:pt idx="6230">0.62537712400000001</cx:pt>
          <cx:pt idx="6231">0.62532875099999996</cx:pt>
          <cx:pt idx="6232">0.62527276499999995</cx:pt>
          <cx:pt idx="6233">0.625222367</cx:pt>
          <cx:pt idx="6234">0.625172379</cx:pt>
          <cx:pt idx="6235">0.62512400599999995</cx:pt>
          <cx:pt idx="6236">0.62506960899999997</cx:pt>
          <cx:pt idx="6237">0.62501841599999997</cx:pt>
          <cx:pt idx="6238">0.62497004300000003</cx:pt>
          <cx:pt idx="6239">0.624916056</cx:pt>
          <cx:pt idx="6240">0.62486445300000004</cx:pt>
          <cx:pt idx="6241">0.62481605399999995</cx:pt>
          <cx:pt idx="6242">0.62475968299999995</cx:pt>
          <cx:pt idx="6243">0.62465970699999995</cx:pt>
          <cx:pt idx="6244">0.62455973200000003</cx:pt>
          <cx:pt idx="6245">0.62450374500000005</cx:pt>
          <cx:pt idx="6246">0.62445334699999999</cx:pt>
          <cx:pt idx="6247">0.62440335899999999</cx:pt>
          <cx:pt idx="6248">0.62435498599999995</cx:pt>
          <cx:pt idx="6249">0.62430058899999996</cx:pt>
          <cx:pt idx="6250">0.62424939599999996</cx:pt>
          <cx:pt idx="6251">0.62419820299999995</cx:pt>
          <cx:pt idx="6252">0.62414941999999995</cx:pt>
          <cx:pt idx="6253">0.62394467499999995</cx:pt>
          <cx:pt idx="6254">0.62389068800000003</cx:pt>
          <cx:pt idx="6255">0.62384190500000003</cx:pt>
          <cx:pt idx="6256">0.623787918</cx:pt>
          <cx:pt idx="6257">0.62373672499999999</cx:pt>
          <cx:pt idx="6258">0.623687942</cx:pt>
          <cx:pt idx="6259">0.62363433999999995</cx:pt>
          <cx:pt idx="6260">0.62358276199999996</cx:pt>
          <cx:pt idx="6261">0.62353477400000001</cx:pt>
          <cx:pt idx="6262">0.62348037700000003</cx:pt>
          <cx:pt idx="6263">0.62342918400000003</cx:pt>
          <cx:pt idx="6264">0.62338081099999998</cx:pt>
          <cx:pt idx="6265">0.623326414</cx:pt>
          <cx:pt idx="6266">0.62327522099999999</cx:pt>
          <cx:pt idx="6267">0.62322684800000006</cx:pt>
          <cx:pt idx="6268">0.62317565500000005</cx:pt>
          <cx:pt idx="6269">0.62312166800000002</cx:pt>
          <cx:pt idx="6270">0.62307288500000002</cx:pt>
          <cx:pt idx="6271">0.62301889799999999</cx:pt>
          <cx:pt idx="6272">0.62296770599999995</cx:pt>
          <cx:pt idx="6273">0.62291892199999999</cx:pt>
          <cx:pt idx="6274">0.62286531999999994</cx:pt>
          <cx:pt idx="6275">0.62281374300000003</cx:pt>
          <cx:pt idx="6276">0.622765754</cx:pt>
          <cx:pt idx="6277">0.62265937000000005</cx:pt>
          <cx:pt idx="6278">0.62261179099999997</cx:pt>
          <cx:pt idx="6279">0.62255739399999999</cx:pt>
          <cx:pt idx="6280">0.62245782900000002</cx:pt>
          <cx:pt idx="6281">0.62240663600000001</cx:pt>
          <cx:pt idx="6282">0.62219868599999995</cx:pt>
          <cx:pt idx="6283">0.62209630000000005</cx:pt>
          <cx:pt idx="6284">0.62204472300000002</cx:pt>
          <cx:pt idx="6285">0.62194233799999998</cx:pt>
          <cx:pt idx="6286">0.62183956799999995</cx:pt>
          <cx:pt idx="6287">0.62179157900000004</cx:pt>
          <cx:pt idx="6288">0.62173718200000005</cx:pt>
          <cx:pt idx="6289">0.62142966600000005</cx:pt>
          <cx:pt idx="6290">0.62137726900000001</cx:pt>
          <cx:pt idx="6291">0.62127890799999996</cx:pt>
          <cx:pt idx="6292">0.62117331799999997</cx:pt>
          <cx:pt idx="6293">0.62107375200000003</cx:pt>
          <cx:pt idx="6294">0.620609454</cx:pt>
          <cx:pt idx="6295">0.62055787699999998</cx:pt>
          <cx:pt idx="6296">0.620509478</cx:pt>
          <cx:pt idx="6297">0.62045549099999997</cx:pt>
          <cx:pt idx="6298">0.62040429900000005</cx:pt>
          <cx:pt idx="6299">0.62030152800000005</cx:pt>
          <cx:pt idx="6300">0.62025033600000001</cx:pt>
          <cx:pt idx="6301">0.62020196299999997</cx:pt>
          <cx:pt idx="6302">0.62014556600000004</cx:pt>
          <cx:pt idx="6303">0.62009957699999996</cx:pt>
          <cx:pt idx="6304">0.61994282000000001</cx:pt>
          <cx:pt idx="6305">0.61988962800000003</cx:pt>
          <cx:pt idx="6306">0.61984043499999997</cx:pt>
          <cx:pt idx="6307">0.61978885699999997</cx:pt>
          <cx:pt idx="6308">0.61974086900000003</cx:pt>
          <cx:pt idx="6309">0.61968647200000004</cx:pt>
          <cx:pt idx="6310">0.61958408600000003</cx:pt>
          <cx:pt idx="6311">0.619481316</cx:pt>
          <cx:pt idx="6312">0.619430123</cx:pt>
          <cx:pt idx="6313">0.61933055800000003</cx:pt>
          <cx:pt idx="6314">0.61917380099999997</cx:pt>
          <cx:pt idx="6315">0.61912540199999999</cx:pt>
          <cx:pt idx="6316">0.61907062000000002</cx:pt>
          <cx:pt idx="6317">0.61897143899999996</cx:pt>
          <cx:pt idx="6318">0.61881747600000003</cx:pt>
          <cx:pt idx="6319">0.61871229699999997</cx:pt>
          <cx:pt idx="6320">0.61866392400000003</cx:pt>
          <cx:pt idx="6321">0.61860752699999999</cx:pt>
          <cx:pt idx="6322">0.618509961</cx:pt>
          <cx:pt idx="6323">0.61845597399999996</cx:pt>
          <cx:pt idx="6324">0.61835158899999998</cx:pt>
          <cx:pt idx="6325">0.61789208399999995</cx:pt>
          <cx:pt idx="6326">0.61779251899999998</cx:pt>
          <cx:pt idx="6327">0.61774132599999998</cx:pt>
          <cx:pt idx="6328">0.61727943699999999</cx:pt>
          <cx:pt idx="6329">0.61722544999999995</cx:pt>
          <cx:pt idx="6330">0.617175052</cx:pt>
          <cx:pt idx="6331">0.61717425800000003</cx:pt>
          <cx:pt idx="6332">0.61712547399999995</cx:pt>
          <cx:pt idx="6333">0.61696910199999999</cx:pt>
          <cx:pt idx="6334">0.61661280299999999</cx:pt>
          <cx:pt idx="6335">0.61625406900000002</cx:pt>
          <cx:pt idx="6336">0.61619969799999996</cx:pt>
          <cx:pt idx="6337">0.61609972199999996</cx:pt>
          <cx:pt idx="6338">0.61609772200000001</cx:pt>
          <cx:pt idx="6339">0.61604932400000001</cx:pt>
          <cx:pt idx="6340">0.61599613200000003</cx:pt>
          <cx:pt idx="6341">0.61599492700000003</cx:pt>
          <cx:pt idx="6342">0.61563621800000001</cx:pt>
          <cx:pt idx="6343">0.61548546000000004</cx:pt>
          <cx:pt idx="6344">0.61543106299999994</cx:pt>
          <cx:pt idx="6345">0.61522590700000002</cx:pt>
          <cx:pt idx="6346">0.61517474000000005</cx:pt>
          <cx:pt idx="6347">0.61507235400000004</cx:pt>
          <cx:pt idx="6348">0.61496958400000001</cx:pt>
          <cx:pt idx="6349">0.61455968299999997</cx:pt>
          <cx:pt idx="6350">0.61450849100000005</cx:pt>
          <cx:pt idx="6351">0.61445970699999997</cx:pt>
          <cx:pt idx="6352">0.61440572000000004</cx:pt>
          <cx:pt idx="6353">0.61394701100000004</cx:pt>
          <cx:pt idx="6354">0.61389302400000001</cx:pt>
          <cx:pt idx="6355">0.61363670100000001</cx:pt>
          <cx:pt idx="6356">0.61358789199999997</cx:pt>
          <cx:pt idx="6357">0.613534315</cx:pt>
          <cx:pt idx="6358">0.61327837699999999</cx:pt>
          <cx:pt idx="6359">0.61317799100000003</cx:pt>
          <cx:pt idx="6360">0.61312600399999995</cx:pt>
          <cx:pt idx="6361">0.613075221</cx:pt>
          <cx:pt idx="6362">0.61302202900000002</cx:pt>
          <cx:pt idx="6363">0.61297086199999995</cx:pt>
          <cx:pt idx="6364">0.61292166800000003</cx:pt>
          <cx:pt idx="6365">0.61287006499999996</cx:pt>
          <cx:pt idx="6366">0.61271371900000005</cx:pt>
          <cx:pt idx="6367">0.61261212799999998</cx:pt>
          <cx:pt idx="6368">0.61256093499999997</cx:pt>
          <cx:pt idx="6369">0.61251135700000003</cx:pt>
          <cx:pt idx="6370">0.61245495999999999</cx:pt>
          <cx:pt idx="6371">0.612407382</cx:pt>
          <cx:pt idx="6372">0.61235698400000005</cx:pt>
          <cx:pt idx="6373">0.61235498499999996</cx:pt>
          <cx:pt idx="6374">0.61225341899999997</cx:pt>
          <cx:pt idx="6375">0.61225262499999999</cx:pt>
          <cx:pt idx="6376">0.61220302100000001</cx:pt>
          <cx:pt idx="6377">0.61215264899999999</cx:pt>
          <cx:pt idx="6378">0.61209945700000001</cx:pt>
          <cx:pt idx="6379">0.61204826400000001</cx:pt>
          <cx:pt idx="6380">0.61199668600000001</cx:pt>
          <cx:pt idx="6381">0.61199627599999995</cx:pt>
          <cx:pt idx="6382">0.61189550599999998</cx:pt>
          <cx:pt idx="6383">0.61179191499999996</cx:pt>
          <cx:pt idx="6384">0.61174033800000005</cx:pt>
          <cx:pt idx="6385">0.61158878500000002</cx:pt>
          <cx:pt idx="6386">0.61153559300000004</cx:pt>
          <cx:pt idx="6387">0.61148519499999998</cx:pt>
          <cx:pt idx="6388">0.61143482199999999</cx:pt>
          <cx:pt idx="6389">0.61138163000000001</cx:pt>
          <cx:pt idx="6390">0.61127885999999998</cx:pt>
          <cx:pt idx="6391">0.61127845000000003</cx:pt>
          <cx:pt idx="6392">0.61122766699999997</cx:pt>
          <cx:pt idx="6393">0.61117847400000003</cx:pt>
          <cx:pt idx="6394">0.61112687099999996</cx:pt>
          <cx:pt idx="6395">0.61102210099999998</cx:pt>
          <cx:pt idx="6396">0.61071458599999995</cx:pt>
          <cx:pt idx="6397">0.61066580299999995</cx:pt>
          <cx:pt idx="6398">0.61061181600000003</cx:pt>
          <cx:pt idx="6399">0.61045744300000004</cx:pt>
          <cx:pt idx="6400">0.61030706899999998</cx:pt>
          <cx:pt idx="6401">0.61020350400000001</cx:pt>
          <cx:pt idx="6402">0.61020188900000005</cx:pt>
          <cx:pt idx="6403">0.61015310599999995</cx:pt>
          <cx:pt idx="6404">0.61009911900000002</cx:pt>
          <cx:pt idx="6405">0.61005074599999998</cx:pt>
          <cx:pt idx="6406">0.60999675900000006</cx:pt>
          <cx:pt idx="6407">0.60994556600000005</cx:pt>
          <cx:pt idx="6408">0.60989678300000005</cx:pt>
          <cx:pt idx="6409">0.60984279600000002</cx:pt>
          <cx:pt idx="6410">0.60979160300000002</cx:pt>
          <cx:pt idx="6411">0.60927890600000001</cx:pt>
          <cx:pt idx="6412">0.60923053400000005</cx:pt>
          <cx:pt idx="6413">0.60917654700000001</cx:pt>
          <cx:pt idx="6414">0.60912494399999995</cx:pt>
          <cx:pt idx="6415">0.60866346500000001</cx:pt>
          <cx:pt idx="6416">0.60861506700000001</cx:pt>
          <cx:pt idx="6417">0.60835874400000001</cx:pt>
          <cx:pt idx="6418">0.60830555200000003</cx:pt>
          <cx:pt idx="6419">0.60825356399999997</cx:pt>
          <cx:pt idx="6420">0.60799800999999998</cx:pt>
          <cx:pt idx="6421">0.60794763799999996</cx:pt>
          <cx:pt idx="6422">0.607946023</cx:pt>
          <cx:pt idx="6423">0.60789724000000001</cx:pt>
          <cx:pt idx="6424">0.60784566299999998</cx:pt>
          <cx:pt idx="6425">0.60784325299999997</cx:pt>
          <cx:pt idx="6426">0.60774168799999995</cx:pt>
          <cx:pt idx="6427">0.6076897</cx:pt>
          <cx:pt idx="6428">0.60738295399999997</cx:pt>
          <cx:pt idx="6429">0.60733258099999998</cx:pt>
          <cx:pt idx="6430">0.60733058200000001</cx:pt>
          <cx:pt idx="6431">0.60727859399999995</cx:pt>
          <cx:pt idx="6432">0.607278184</cx:pt>
          <cx:pt idx="6433">0.60723019600000006</cx:pt>
          <cx:pt idx="6434">0.60717979799999999</cx:pt>
          <cx:pt idx="6435">0.60712663099999997</cx:pt>
          <cx:pt idx="6436">0.60707423299999996</cx:pt>
          <cx:pt idx="6437">0.60702583499999996</cx:pt>
          <cx:pt idx="6438">0.60697184800000004</cx:pt>
          <cx:pt idx="6439">0.60692068099999996</cx:pt>
          <cx:pt idx="6440">0.606817885</cx:pt>
          <cx:pt idx="6441">0.60671552500000003</cx:pt>
          <cx:pt idx="6442">0.60650916499999996</cx:pt>
          <cx:pt idx="6443">0.60630521400000004</cx:pt>
          <cx:pt idx="6444">0.60610285200000003</cx:pt>
          <cx:pt idx="6445">0.605946506</cx:pt>
          <cx:pt idx="6446">0.60589531299999999</cx:pt>
          <cx:pt idx="6447">0.60553619400000003</cx:pt>
          <cx:pt idx="6448">0.60548779600000002</cx:pt>
          <cx:pt idx="6449">0.60543662899999995</cx:pt>
          <cx:pt idx="6450">0.60538264200000003</cx:pt>
          <cx:pt idx="6451">0.60533103899999996</cx:pt>
          <cx:pt idx="6452">0.60528266600000002</cx:pt>
          <cx:pt idx="6453">0.60522867899999999</cx:pt>
          <cx:pt idx="6454">0.60517748599999999</cx:pt>
          <cx:pt idx="6455">0.60512870299999999</cx:pt>
          <cx:pt idx="6456">0.60507471599999996</cx:pt>
          <cx:pt idx="6457">0.60502631699999998</cx:pt>
          <cx:pt idx="6458">0.60497232999999995</cx:pt>
          <cx:pt idx="6459">0.60486994500000002</cx:pt>
          <cx:pt idx="6460">0.604818368</cx:pt>
          <cx:pt idx="6461">0.60476996900000002</cx:pt>
          <cx:pt idx="6462">0.60471877600000001</cx:pt>
          <cx:pt idx="6463">0.60466478899999998</cx:pt>
          <cx:pt idx="6464">0.60461321199999996</cx:pt>
          <cx:pt idx="6465">0.60456201899999995</cx:pt>
          <cx:pt idx="6466">0.60451082599999995</cx:pt>
          <cx:pt idx="6467">0.60446245300000001</cx:pt>
          <cx:pt idx="6468">0.60440846599999998</cx:pt>
          <cx:pt idx="6469">0.60435686300000002</cx:pt>
          <cx:pt idx="6470">0.60430849099999995</cx:pt>
          <cx:pt idx="6471">0.60425450400000003</cx:pt>
          <cx:pt idx="6472">0.60420210600000002</cx:pt>
          <cx:pt idx="6473">0.60405055299999999</cx:pt>
          <cx:pt idx="6474">0.60338309800000001</cx:pt>
          <cx:pt idx="6475">0.60302477499999996</cx:pt>
          <cx:pt idx="6476">0.60271446500000003</cx:pt>
          <cx:pt idx="6477">0.60251130900000005</cx:pt>
          <cx:pt idx="6478">0.60225496000000001</cx:pt>
          <cx:pt idx="6479">0.60194744499999997</cx:pt>
          <cx:pt idx="6480">0.60189866199999997</cx:pt>
          <cx:pt idx="6481">0.60184546999999999</cx:pt>
          <cx:pt idx="6482">0.60179427699999999</cx:pt>
          <cx:pt idx="6483">0.60174508400000004</cx:pt>
          <cx:pt idx="6484">0.60163790399999995</cx:pt>
          <cx:pt idx="6485">0.60158953100000001</cx:pt>
          <cx:pt idx="6486">0.601588711</cx:pt>
          <cx:pt idx="6487">0.601488735</cx:pt>
          <cx:pt idx="6488">0.601382376</cx:pt>
          <cx:pt idx="6489">0.60128078500000004</cx:pt>
          <cx:pt idx="6490">0.60118121999999996</cx:pt>
          <cx:pt idx="6491">0.600822101</cx:pt>
          <cx:pt idx="6492">0.60061456099999999</cx:pt>
          <cx:pt idx="6493">0.60030702000000002</cx:pt>
          <cx:pt idx="6494">0.60025823700000003</cx:pt>
          <cx:pt idx="6495">0.60020424999999999</cx:pt>
          <cx:pt idx="6496">0.59943523099999996</cx:pt>
          <cx:pt idx="6497">0.59938403799999995</cx:pt>
          <cx:pt idx="6498">0.59897654700000003</cx:pt>
          <cx:pt idx="6499">0.59887136699999999</cx:pt>
          <cx:pt idx="6500">0.59840986299999999</cx:pt>
          <cx:pt idx="6501">0.59835866999999998</cx:pt>
          <cx:pt idx="6502">0.59769203599999998</cx:pt>
          <cx:pt idx="6503">0.597537663</cx:pt>
          <cx:pt idx="6504">0.59718215900000005</cx:pt>
          <cx:pt idx="6505">0.59702819600000001</cx:pt>
          <cx:pt idx="6506">0.59697420899999998</cx:pt>
          <cx:pt idx="6507">0.59687182400000005</cx:pt>
          <cx:pt idx="6508">0.59676946399999997</cx:pt>
          <cx:pt idx="6509">0.59666666800000001</cx:pt>
          <cx:pt idx="6510">0.59590046799999996</cx:pt>
          <cx:pt idx="6511">0.59584648100000004</cx:pt>
          <cx:pt idx="6512">0.59579687800000003</cx:pt>
          <cx:pt idx="6513">0.59574650500000004</cx:pt>
          <cx:pt idx="6514">0.59564412</cx:pt>
          <cx:pt idx="6515">0.59559092800000002</cx:pt>
          <cx:pt idx="6516">0.59559013299999997</cx:pt>
          <cx:pt idx="6517">0.59553935000000002</cx:pt>
          <cx:pt idx="6518">0.59512862899999996</cx:pt>
          <cx:pt idx="6519">0.59435960899999996</cx:pt>
          <cx:pt idx="6520">0.59431082599999996</cx:pt>
          <cx:pt idx="6521">0.59405288899999997</cx:pt>
          <cx:pt idx="6522">0.59400251599999998</cx:pt>
          <cx:pt idx="6523">0.59395211800000003</cx:pt>
          <cx:pt idx="6524">0.593900541</cx:pt>
          <cx:pt idx="6525">0.59348822999999995</cx:pt>
          <cx:pt idx="6526">0.59261644000000002</cx:pt>
          <cx:pt idx="6527">0.59236009199999995</cx:pt>
          <cx:pt idx="6528">0.59205257600000005</cx:pt>
          <cx:pt idx="6529">0.59179543300000004</cx:pt>
          <cx:pt idx="6530">0.59128355700000002</cx:pt>
          <cx:pt idx="6531">0.59087324600000002</cx:pt>
          <cx:pt idx="6532">0.59082205300000001</cx:pt>
          <cx:pt idx="6533">0.59067088400000001</cx:pt>
          <cx:pt idx="6534">0.59061689699999997</cx:pt>
          <cx:pt idx="6535">0.59056811399999998</cx:pt>
          <cx:pt idx="6536">0.59051653699999995</cx:pt>
          <cx:pt idx="6537">0.59051453700000001</cx:pt>
          <cx:pt idx="6538">0.59035937000000005</cx:pt>
          <cx:pt idx="6539">0.59030938200000005</cx:pt>
          <cx:pt idx="6540">0.59025818900000004</cx:pt>
          <cx:pt idx="6541">0.59010422600000001</cx:pt>
          <cx:pt idx="6542">0.58979668500000004</cx:pt>
          <cx:pt idx="6543">0.58974551799999997</cx:pt>
          <cx:pt idx="6544">0.58964272200000001</cx:pt>
          <cx:pt idx="6545">0.58923282099999996</cx:pt>
          <cx:pt idx="6546">0.58918403799999997</cx:pt>
          <cx:pt idx="6547">0.58913005100000004</cx:pt>
          <cx:pt idx="6548">0.58907885800000004</cx:pt>
          <cx:pt idx="6549">0.58902766500000003</cx:pt>
          <cx:pt idx="6550">0.58897688299999995</cx:pt>
          <cx:pt idx="6551">0.58892769</cx:pt>
          <cx:pt idx="6552">0.588821331</cx:pt>
          <cx:pt idx="6553">0.58851499399999996</cx:pt>
          <cx:pt idx="6554">0.58846459600000001</cx:pt>
          <cx:pt idx="6555">0.58841422399999999</cx:pt>
          <cx:pt idx="6556">0.58836382600000003</cx:pt>
          <cx:pt idx="6557">0.58831063299999997</cx:pt>
          <cx:pt idx="6558">0.588309839</cx:pt>
          <cx:pt idx="6559">0.58820786300000005</cx:pt>
          <cx:pt idx="6560">0.58810268300000001</cx:pt>
          <cx:pt idx="6561">0.58779716699999995</cx:pt>
          <cx:pt idx="6562">0.58764358900000002</cx:pt>
          <cx:pt idx="6563">0.587592012</cx:pt>
          <cx:pt idx="6564">0.58697936500000003</cx:pt>
          <cx:pt idx="6565">0.58667182399999995</cx:pt>
          <cx:pt idx="6566">0.58646666800000002</cx:pt>
          <cx:pt idx="6567">0.58641309100000005</cx:pt>
          <cx:pt idx="6568">0.58620793599999999</cx:pt>
          <cx:pt idx="6569">0.58595158700000005</cx:pt>
          <cx:pt idx="6570">0.58579603499999999</cx:pt>
          <cx:pt idx="6571">0.58574525200000005</cx:pt>
          <cx:pt idx="6572">0.585697264</cx:pt>
          <cx:pt idx="6573">0.58564407200000002</cx:pt>
          <cx:pt idx="6574">0.58559246899999995</cx:pt>
          <cx:pt idx="6575">0.58425799599999995</cx:pt>
          <cx:pt idx="6576">0.584207213</cx:pt>
          <cx:pt idx="6577">0.58415922499999995</cx:pt>
          <cx:pt idx="6578">0.58410603299999997</cx:pt>
          <cx:pt idx="6579">0.58399805900000001</cx:pt>
          <cx:pt idx="6580">0.58390046699999998</cx:pt>
          <cx:pt idx="6581">0.58384968400000004</cx:pt>
          <cx:pt idx="6582">0.58349056600000004</cx:pt>
          <cx:pt idx="6583">0.58338820599999996</cx:pt>
          <cx:pt idx="6584">0.58333701299999996</cx:pt>
          <cx:pt idx="6585">0.58323424300000004</cx:pt>
          <cx:pt idx="6586">0.58282393200000004</cx:pt>
          <cx:pt idx="6587">0.58277353399999998</cx:pt>
          <cx:pt idx="6588">0.58277273900000004</cx:pt>
          <cx:pt idx="6589">0.58271995700000001</cx:pt>
          <cx:pt idx="6590">0.58271954699999995</cx:pt>
          <cx:pt idx="6591">0.58261918599999996</cx:pt>
          <cx:pt idx="6592">0.58251641600000004</cx:pt>
          <cx:pt idx="6593">0.58226006799999996</cx:pt>
          <cx:pt idx="6594">0.58220687599999998</cx:pt>
          <cx:pt idx="6595">0.58159622799999999</cx:pt>
          <cx:pt idx="6596">0.58138745800000002</cx:pt>
          <cx:pt idx="6597">0.581184327</cx:pt>
          <cx:pt idx="6598">0.58113113500000002</cx:pt>
          <cx:pt idx="6599">0.58108114700000002</cx:pt>
          <cx:pt idx="6600">0.58102995400000002</cx:pt>
          <cx:pt idx="6601">0.58097917200000004</cx:pt>
          <cx:pt idx="6602">0.58082479899999995</cx:pt>
          <cx:pt idx="6603">0.58072202900000003</cx:pt>
          <cx:pt idx="6604">0.58067083600000002</cx:pt>
          <cx:pt idx="6605">0.58056845000000001</cx:pt>
          <cx:pt idx="6606">0.58051687299999999</cx:pt>
          <cx:pt idx="6607">0.580312512</cx:pt>
          <cx:pt idx="6608">0.58031133300000004</cx:pt>
          <cx:pt idx="6609">0.58026134500000004</cx:pt>
          <cx:pt idx="6610">0.58020935799999995</cx:pt>
          <cx:pt idx="6611">0.58015816499999995</cx:pt>
          <cx:pt idx="6612">0.57989981700000004</cx:pt>
          <cx:pt idx="6613">0.57984941899999998</cx:pt>
          <cx:pt idx="6614">0.57923518200000002</cx:pt>
          <cx:pt idx="6615">0.57918398999999998</cx:pt>
          <cx:pt idx="6616">0.57913079700000003</cx:pt>
          <cx:pt idx="6617">0.57908039899999997</cx:pt>
          <cx:pt idx="6618">0.57903041099999997</cx:pt>
          <cx:pt idx="6619">0.57892764100000005</cx:pt>
          <cx:pt idx="6620">0.57887565399999996</cx:pt>
          <cx:pt idx="6621">0.57882766500000005</cx:pt>
          <cx:pt idx="6622">0.57877367800000001</cx:pt>
          <cx:pt idx="6623">0.57872248599999998</cx:pt>
          <cx:pt idx="6624">0.57867131800000005</cx:pt>
          <cx:pt idx="6625">0.57862250999999998</cx:pt>
          <cx:pt idx="6626">0.57851735599999998</cx:pt>
          <cx:pt idx="6627">0.57800465899999998</cx:pt>
          <cx:pt idx="6628">0.577389602</cx:pt>
          <cx:pt idx="6629">0.57713407400000005</cx:pt>
          <cx:pt idx="6630">0.57626387400000001</cx:pt>
          <cx:pt idx="6631">0.57621029700000004</cx:pt>
          <cx:pt idx="6632">0.57615989899999998</cx:pt>
          <cx:pt idx="6633">0.57610832199999995</cx:pt>
          <cx:pt idx="6634">0.57605712899999995</cx:pt>
          <cx:pt idx="6635">0.57600552599999999</cx:pt>
          <cx:pt idx="6636">0.57595474300000005</cx:pt>
          <cx:pt idx="6637">0.57590275599999996</cx:pt>
          <cx:pt idx="6638">0.57533889199999999</cx:pt>
          <cx:pt idx="6639">0.57523571200000001</cx:pt>
          <cx:pt idx="6640">0.57502976100000003</cx:pt>
          <cx:pt idx="6641">0.57502935099999997</cx:pt>
          <cx:pt idx="6642">0.57497897899999995</cx:pt>
          <cx:pt idx="6643">0.57492858099999999</cx:pt>
          <cx:pt idx="6644">0.57487738799999999</cx:pt>
          <cx:pt idx="6645">0.57482622100000003</cx:pt>
          <cx:pt idx="6646">0.57477223399999999</cx:pt>
          <cx:pt idx="6647">0.57472383500000002</cx:pt>
          <cx:pt idx="6648">0.57467225799999999</cx:pt>
          <cx:pt idx="6649">0.57446710199999995</cx:pt>
          <cx:pt idx="6650">0.57410836799999998</cx:pt>
          <cx:pt idx="6651">0.57390323799999998</cx:pt>
          <cx:pt idx="6652">0.57385163500000003</cx:pt>
          <cx:pt idx="6653">0.57369808300000003</cx:pt>
          <cx:pt idx="6654">0.57364689000000002</cx:pt>
          <cx:pt idx="6655">0.57349172199999998</cx:pt>
          <cx:pt idx="6656">0.57318338599999996</cx:pt>
          <cx:pt idx="6657">0.57308302600000005</cx:pt>
          <cx:pt idx="6658">0.57303183300000005</cx:pt>
          <cx:pt idx="6659">0.57272429199999997</cx:pt>
          <cx:pt idx="6660">0.572211621</cx:pt>
          <cx:pt idx="6661">0.57205765799999997</cx:pt>
          <cx:pt idx="6662">0.57200687500000003</cx:pt>
          <cx:pt idx="6663">0.57200646499999996</cx:pt>
          <cx:pt idx="6664">0.57195327299999998</cx:pt>
          <cx:pt idx="6665">0.57190290099999996</cx:pt>
          <cx:pt idx="6666">0.57185250300000001</cx:pt>
          <cx:pt idx="6667">0.57180131000000001</cx:pt>
          <cx:pt idx="6668">0.571693746</cx:pt>
          <cx:pt idx="6669">0.57144021700000003</cx:pt>
          <cx:pt idx="6670">0.57123744600000004</cx:pt>
          <cx:pt idx="6671">0.57118425399999995</cx:pt>
          <cx:pt idx="6672">0.57113388099999995</cx:pt>
          <cx:pt idx="6673">0.57098030300000002</cx:pt>
          <cx:pt idx="6674">0.570775967</cx:pt>
          <cx:pt idx="6675">0.57067158200000001</cx:pt>
          <cx:pt idx="6676">0.57062080000000004</cx:pt>
          <cx:pt idx="6677">0.57015811699999996</cx:pt>
          <cx:pt idx="6678">0.57010730799999998</cx:pt>
          <cx:pt idx="6679">0.57005814099999996</cx:pt>
          <cx:pt idx="6680">0.57000615300000002</cx:pt>
          <cx:pt idx="6681">0.56995575499999995</cx:pt>
          <cx:pt idx="6682">0.56990417800000004</cx:pt>
          <cx:pt idx="6683">0.56985298500000003</cx:pt>
          <cx:pt idx="6684">0.56980179200000003</cx:pt>
          <cx:pt idx="6685">0.56969940699999999</cx:pt>
          <cx:pt idx="6686">0.56893038699999998</cx:pt>
          <cx:pt idx="6687">0.56861766800000002</cx:pt>
          <cx:pt idx="6688">0.56846811399999997</cx:pt>
          <cx:pt idx="6689">0.56836452400000004</cx:pt>
          <cx:pt idx="6690">0.56821255999999998</cx:pt>
          <cx:pt idx="6691">0.56816177800000001</cx:pt>
          <cx:pt idx="6692">0.56810820100000003</cx:pt>
          <cx:pt idx="6693">0.56790463499999999</cx:pt>
          <cx:pt idx="6694">0.56785423700000004</cx:pt>
          <cx:pt idx="6695">0.56764910700000004</cx:pt>
          <cx:pt idx="6696">0.56759791400000004</cx:pt>
          <cx:pt idx="6697">0.56744315599999995</cx:pt>
          <cx:pt idx="6698">0.567392758</cx:pt>
          <cx:pt idx="6699">0.56724038499999996</cx:pt>
          <cx:pt idx="6700">0.56713561499999998</cx:pt>
          <cx:pt idx="6701">0.56713520500000003</cx:pt>
          <cx:pt idx="6702">0.56708521700000003</cx:pt>
          <cx:pt idx="6703">0.56698285699999995</cx:pt>
          <cx:pt idx="6704">0.56698206200000001</cx:pt>
          <cx:pt idx="6705">0.56677690700000005</cx:pt>
          <cx:pt idx="6706">0.56621304299999997</cx:pt>
          <cx:pt idx="6707">0.56616105500000002</cx:pt>
          <cx:pt idx="6708">0.565905502</cx:pt>
          <cx:pt idx="6709">0.56585392400000001</cx:pt>
          <cx:pt idx="6710">0.56580352599999995</cx:pt>
          <cx:pt idx="6711">0.56580273199999997</cx:pt>
          <cx:pt idx="6712">0.56570034599999997</cx:pt>
          <cx:pt idx="6713">0.56564835899999999</cx:pt>
          <cx:pt idx="6714">0.56559757600000005</cx:pt>
          <cx:pt idx="6715">0.56539203599999999</cx:pt>
          <cx:pt idx="6716">0.56488015899999999</cx:pt>
          <cx:pt idx="6717">0.56436746299999996</cx:pt>
          <cx:pt idx="6718">0.56431588499999996</cx:pt>
          <cx:pt idx="6719">0.56426548700000001</cx:pt>
          <cx:pt idx="6720">0.56421229500000003</cx:pt>
          <cx:pt idx="6721">0.56416230700000003</cx:pt>
          <cx:pt idx="6722">0.56411113999999996</cx:pt>
          <cx:pt idx="6723">0.564059537</cx:pt>
          <cx:pt idx="6724">0.56400834399999999</cx:pt>
          <cx:pt idx="6725">0.56354686600000004</cx:pt>
          <cx:pt idx="6726">0.56349567300000003</cx:pt>
          <cx:pt idx="6727">0.56344448000000003</cx:pt>
          <cx:pt idx="6728">0.56319013100000004</cx:pt>
          <cx:pt idx="6729">0.56303416900000003</cx:pt>
          <cx:pt idx="6730">0.56298379700000001</cx:pt>
          <cx:pt idx="6731">0.56241911200000005</cx:pt>
          <cx:pt idx="6732">0.56221398199999995</cx:pt>
          <cx:pt idx="6733">0.56206040400000001</cx:pt>
          <cx:pt idx="6734">0.56180408100000001</cx:pt>
          <cx:pt idx="6735">0.56175247800000006</cx:pt>
          <cx:pt idx="6736">0.56129059000000003</cx:pt>
          <cx:pt idx="6737">0.56103506199999997</cx:pt>
          <cx:pt idx="6738">0.56036760699999999</cx:pt>
          <cx:pt idx="6739">0.55970256299999999</cx:pt>
          <cx:pt idx="6740">0.55964898600000001</cx:pt>
          <cx:pt idx="6741">0.559598178</cx:pt>
          <cx:pt idx="6742">0.55955018899999998</cx:pt>
          <cx:pt idx="6743">0.55949702300000004</cx:pt>
          <cx:pt idx="6744">0.55944621400000005</cx:pt>
          <cx:pt idx="6745">0.55934105999999995</cx:pt>
          <cx:pt idx="6746">0.55929225199999999</cx:pt>
          <cx:pt idx="6747">0.55908591699999999</cx:pt>
          <cx:pt idx="6748">0.55903551900000004</cx:pt>
          <cx:pt idx="6749">0.55877837600000002</cx:pt>
          <cx:pt idx="6750">0.55867719500000002</cx:pt>
          <cx:pt idx="6751">0.55862720700000001</cx:pt>
          <cx:pt idx="6752">0.55857321999999998</cx:pt>
          <cx:pt idx="6753">0.55847124500000001</cx:pt>
          <cx:pt idx="6754">0.55842087200000001</cx:pt>
          <cx:pt idx="6755">0.55831728199999997</cx:pt>
          <cx:pt idx="6756">0.558214922</cx:pt>
          <cx:pt idx="6757">0.55790738100000004</cx:pt>
          <cx:pt idx="6758">0.55775382799999995</cx:pt>
          <cx:pt idx="6759">0.557702225</cx:pt>
          <cx:pt idx="6760">0.55765103199999999</cx:pt>
          <cx:pt idx="6761">0.55759824999999996</cx:pt>
          <cx:pt idx="6762">0.55754746700000002</cx:pt>
          <cx:pt idx="6763">0.55749747999999999</cx:pt>
          <cx:pt idx="6764">0.55744590199999999</cx:pt>
          <cx:pt idx="6765">0.55739550400000004</cx:pt>
          <cx:pt idx="6766">0.55729111899999995</cx:pt>
          <cx:pt idx="6767">0.55724074700000004</cx:pt>
          <cx:pt idx="6768">0.55718955400000003</cx:pt>
          <cx:pt idx="6769">0.55708117000000001</cx:pt>
          <cx:pt idx="6770">0.55703600099999995</cx:pt>
          <cx:pt idx="6771">0.55688203800000002</cx:pt>
          <cx:pt idx="6772">0.55672805000000003</cx:pt>
          <cx:pt idx="6773">0.55647172700000003</cx:pt>
          <cx:pt idx="6774">0.55642053400000002</cx:pt>
          <cx:pt idx="6775">0.55636934199999999</cx:pt>
          <cx:pt idx="6776">0.55631297099999999</cx:pt>
          <cx:pt idx="6777">0.55616418599999995</cx:pt>
          <cx:pt idx="6778">0.55600942799999997</cx:pt>
          <cx:pt idx="6779">0.555857465</cx:pt>
          <cx:pt idx="6780">0.55585667000000005</cx:pt>
          <cx:pt idx="6781">0.55575308000000001</cx:pt>
          <cx:pt idx="6782">0.55570270799999999</cx:pt>
          <cx:pt idx="6783">0.55544635899999995</cx:pt>
          <cx:pt idx="6784">0.555240819</cx:pt>
          <cx:pt idx="6785">0.55462655699999996</cx:pt>
          <cx:pt idx="6786">0.55457498000000005</cx:pt>
          <cx:pt idx="6787">0.55452217199999998</cx:pt>
          <cx:pt idx="6788">0.55447138900000004</cx:pt>
          <cx:pt idx="6789">0.55421504099999996</cx:pt>
          <cx:pt idx="6790">0.55400829600000001</cx:pt>
          <cx:pt idx="6791">0.55395751299999996</cx:pt>
          <cx:pt idx="6792">0.55370316399999997</cx:pt>
          <cx:pt idx="6793">0.553652382</cx:pt>
          <cx:pt idx="6794">0.55355040600000005</cx:pt>
          <cx:pt idx="6795">0.55339764800000002</cx:pt>
          <cx:pt idx="6796">0.55334445600000004</cx:pt>
          <cx:pt idx="6797">0.55329326300000004</cx:pt>
          <cx:pt idx="6798">0.55314009500000005</cx:pt>
          <cx:pt idx="6799">0.55308810799999997</cx:pt>
          <cx:pt idx="6800">0.553036941</cx:pt>
          <cx:pt idx="6801">0.55277979799999999</cx:pt>
          <cx:pt idx="6802">0.55226710099999998</cx:pt>
          <cx:pt idx="6803">0.55175522399999999</cx:pt>
          <cx:pt idx="6804">0.55165286400000002</cx:pt>
          <cx:pt idx="6805">0.55160087700000004</cx:pt>
          <cx:pt idx="6806">0.55155006900000003</cx:pt>
          <cx:pt idx="6807">0.55119094999999996</cx:pt>
          <cx:pt idx="6808">0.55098620499999995</cx:pt>
          <cx:pt idx="6809">0.55088343500000003</cx:pt>
          <cx:pt idx="6810">0.55021718500000005</cx:pt>
          <cx:pt idx="6811">0.54980689999999999</cx:pt>
          <cx:pt idx="6812">0.54975770599999996</cx:pt>
          <cx:pt idx="6813">0.54970410400000003</cx:pt>
          <cx:pt idx="6814">0.54965373100000003</cx:pt>
          <cx:pt idx="6815">0.54960174399999995</cx:pt>
          <cx:pt idx="6816">0.54955055100000005</cx:pt>
          <cx:pt idx="6817">0.54949856399999997</cx:pt>
          <cx:pt idx="6818">0.54934539599999999</cx:pt>
          <cx:pt idx="6819">0.54862515899999997</cx:pt>
          <cx:pt idx="6820">0.548574377</cx:pt>
          <cx:pt idx="6821">0.54836963100000002</cx:pt>
          <cx:pt idx="6822">0.54826886100000005</cx:pt>
          <cx:pt idx="6823">0.54775616400000005</cx:pt>
          <cx:pt idx="6824">0.54765418799999999</cx:pt>
          <cx:pt idx="6825">0.54755021299999995</cx:pt>
          <cx:pt idx="6826">0.54744864800000004</cx:pt>
          <cx:pt idx="6827">0.54739745500000003</cx:pt>
          <cx:pt idx="6828">0.54724549199999994</cx:pt>
          <cx:pt idx="6829">0.54709152900000002</cx:pt>
          <cx:pt idx="6830">0.54703992599999995</cx:pt>
          <cx:pt idx="6831">0.54698914399999998</cx:pt>
          <cx:pt idx="6832">0.54698714400000004</cx:pt>
          <cx:pt idx="6833">0.54688516899999995</cx:pt>
          <cx:pt idx="6834">0.54683159199999998</cx:pt>
          <cx:pt idx="6835">0.54678119400000003</cx:pt>
          <cx:pt idx="6836">0.54673282099999998</cx:pt>
          <cx:pt idx="6837">0.54662884599999995</cx:pt>
          <cx:pt idx="6838">0.546628436</cx:pt>
          <cx:pt idx="6839">0.54657524400000002</cx:pt>
          <cx:pt idx="6840">0.54652446099999996</cx:pt>
          <cx:pt idx="6841">0.54647447299999996</cx:pt>
          <cx:pt idx="6842">0.54642327999999996</cx:pt>
          <cx:pt idx="6843">0.54631489600000005</cx:pt>
          <cx:pt idx="6844">0.54626731799999995</cx:pt>
          <cx:pt idx="6845">0.546218125</cx:pt>
          <cx:pt idx="6846">0.54611576500000003</cx:pt>
          <cx:pt idx="6847">0.54585900600000004</cx:pt>
          <cx:pt idx="6848">0.54554669700000002</cx:pt>
          <cx:pt idx="6849">0.54544910499999999</cx:pt>
          <cx:pt idx="6850">0.54524276999999999</cx:pt>
          <cx:pt idx="6851">0.54519196199999997</cx:pt>
          <cx:pt idx="6852">0.545037204</cx:pt>
          <cx:pt idx="6853">0.54457811</cx:pt>
          <cx:pt idx="6854">0.544526917</cx:pt>
          <cx:pt idx="6855">0.54447493000000002</cx:pt>
          <cx:pt idx="6856">0.54442376299999995</cx:pt>
          <cx:pt idx="6857">0.54375510400000004</cx:pt>
          <cx:pt idx="6858">0.54339798500000003</cx:pt>
          <cx:pt idx="6859">0.54339760000000004</cx:pt>
          <cx:pt idx="6860">0.54334761200000004</cx:pt>
          <cx:pt idx="6861">0.54329562499999995</cx:pt>
          <cx:pt idx="6862">0.543245227</cx:pt>
          <cx:pt idx="6863">0.54309085400000001</cx:pt>
          <cx:pt idx="6864">0.54293609600000003</cx:pt>
          <cx:pt idx="6865">0.54288572400000001</cx:pt>
          <cx:pt idx="6866">0.54283373599999996</cx:pt>
          <cx:pt idx="6867">0.54278292800000005</cx:pt>
          <cx:pt idx="6868">0.54272976100000003</cx:pt>
          <cx:pt idx="6869">0.54267936299999997</cx:pt>
          <cx:pt idx="6870">0.542628581</cx:pt>
          <cx:pt idx="6871">0.54257818300000005</cx:pt>
          <cx:pt idx="6872">0.54247541200000005</cx:pt>
          <cx:pt idx="6873">0.54242422000000001</cx:pt>
          <cx:pt idx="6874">0.54237302700000001</cx:pt>
          <cx:pt idx="6875">0.54232103899999995</cx:pt>
          <cx:pt idx="6876">0.54226984700000003</cx:pt>
          <cx:pt idx="6877">0.54216669200000001</cx:pt>
          <cx:pt idx="6878">0.54211588399999999</cx:pt>
          <cx:pt idx="6879">0.542065511</cx:pt>
          <cx:pt idx="6880">0.54185956099999999</cx:pt>
          <cx:pt idx="6881">0.54180916300000004</cx:pt>
          <cx:pt idx="6882">0.54170839199999998</cx:pt>
          <cx:pt idx="6883">0.54150123699999997</cx:pt>
          <cx:pt idx="6884">0.54088538600000002</cx:pt>
          <cx:pt idx="6885">0.54078300000000001</cx:pt>
          <cx:pt idx="6886">0.54063065300000002</cx:pt>
          <cx:pt idx="6887">0.54058025399999998</cx:pt>
          <cx:pt idx="6888">0.54057866499999996</cx:pt>
          <cx:pt idx="6889">0.540527062</cx:pt>
          <cx:pt idx="6890">0.54052667799999998</cx:pt>
          <cx:pt idx="6891">0.540475869</cx:pt>
          <cx:pt idx="6892">0.54037350900000003</cx:pt>
          <cx:pt idx="6893">0.53950210399999998</cx:pt>
          <cx:pt idx="6894">0.539398924</cx:pt>
          <cx:pt idx="6895">0.53924616599999997</cx:pt>
          <cx:pt idx="6896">0.53909061400000002</cx:pt>
          <cx:pt idx="6897">0.53903980600000001</cx:pt>
          <cx:pt idx="6898">0.53878348300000001</cx:pt>
          <cx:pt idx="6899">0.53862511099999999</cx:pt>
          <cx:pt idx="6900">0.53857912200000002</cx:pt>
          <cx:pt idx="6901">0.53806524600000005</cx:pt>
          <cx:pt idx="6902">0.53791248800000002</cx:pt>
          <cx:pt idx="6903">0.53775811500000004</cx:pt>
          <cx:pt idx="6904">0.53765613999999995</cx:pt>
          <cx:pt idx="6905">0.53755375400000005</cx:pt>
          <cx:pt idx="6906">0.53750376600000005</cx:pt>
          <cx:pt idx="6907">0.53750258699999998</cx:pt>
          <cx:pt idx="6908">0.53734862400000005</cx:pt>
          <cx:pt idx="6909">0.53724582799999998</cx:pt>
          <cx:pt idx="6910">0.53704028800000003</cx:pt>
          <cx:pt idx="6911">0.53668357899999997</cx:pt>
          <cx:pt idx="6912">0.53668196400000001</cx:pt>
          <cx:pt idx="6913">0.53662997700000004</cx:pt>
          <cx:pt idx="6914">0.53647880800000003</cx:pt>
          <cx:pt idx="6915">0.53642564199999998</cx:pt>
          <cx:pt idx="6916">0.53627367800000003</cx:pt>
          <cx:pt idx="6917">0.53627206299999997</cx:pt>
          <cx:pt idx="6918">0.53622048600000005</cx:pt>
          <cx:pt idx="6919">0.53622007599999999</cx:pt>
          <cx:pt idx="6920">0.53617008799999999</cx:pt>
          <cx:pt idx="6921">0.53616929300000005</cx:pt>
          <cx:pt idx="6922">0.535708199</cx:pt>
          <cx:pt idx="6923">0.53565662199999997</cx:pt>
          <cx:pt idx="6924">0.53488719200000001</cx:pt>
          <cx:pt idx="6925">0.534631254</cx:pt>
          <cx:pt idx="6926">0.53422135299999995</cx:pt>
          <cx:pt idx="6927">0.53401619700000003</cx:pt>
          <cx:pt idx="6928">0.533913427</cx:pt>
          <cx:pt idx="6929">0.53386223499999996</cx:pt>
          <cx:pt idx="6930">0.53381104199999996</cx:pt>
          <cx:pt idx="6931">0.53365707900000003</cx:pt>
          <cx:pt idx="6932">0.53350352599999995</cx:pt>
        </cx:lvl>
      </cx:numDim>
    </cx:data>
    <cx:data id="1">
      <cx:numDim type="val">
        <cx:f>'Desalination_Unit_Data (3)'!$B$3:$B$7000</cx:f>
        <cx:lvl ptCount="6933" formatCode="General">
          <cx:pt idx="0">-4.7680660000000001</cx:pt>
          <cx:pt idx="1">-4.8559570000000001</cx:pt>
          <cx:pt idx="2">-7.4479384489999996</cx:pt>
          <cx:pt idx="3">-8.7451170000000005</cx:pt>
          <cx:pt idx="4">-6.8774410000000001</cx:pt>
          <cx:pt idx="5">-6.6542500540000002</cx:pt>
          <cx:pt idx="6">-6.4311043449999996</cx:pt>
          <cx:pt idx="7">-6.4250847909999997</cx:pt>
          <cx:pt idx="8">-6.4189687309999997</cx:pt>
          <cx:pt idx="9">-6.3889041349999998</cx:pt>
          <cx:pt idx="10">-6.2622070000000001</cx:pt>
          <cx:pt idx="11">-7.1411129999999998</cx:pt>
          <cx:pt idx="12">-3.2519529999999999</cx:pt>
          <cx:pt idx="13">-7.6245120000000002</cx:pt>
          <cx:pt idx="14">-6.5199605820000004</cx:pt>
          <cx:pt idx="15">-5.4187605320000003</cx:pt>
          <cx:pt idx="16">-4.5703129999999996</cx:pt>
          <cx:pt idx="17">-4.5389268109999996</cx:pt>
          <cx:pt idx="18">-4.5263669999999996</cx:pt>
          <cx:pt idx="19">-9.0527339999999992</cx:pt>
          <cx:pt idx="20">-2.6147459999999998</cx:pt>
          <cx:pt idx="21">-5.5371090000000001</cx:pt>
          <cx:pt idx="22">-5.5810550000000001</cx:pt>
          <cx:pt idx="23">-1.9775389999999999</cx:pt>
          <cx:pt idx="24">-3.2308874670000001</cx:pt>
          <cx:pt idx="25">-4.0698358069999996</cx:pt>
          <cx:pt idx="26">-7.6245120000000002</cx:pt>
          <cx:pt idx="27">-5.9965076430000002</cx:pt>
          <cx:pt idx="28">-5.8159096730000002</cx:pt>
          <cx:pt idx="29">-5.4504633120000001</cx:pt>
          <cx:pt idx="30">-2.9223629999999998</cx:pt>
          <cx:pt idx="31">-2.451324294</cx:pt>
          <cx:pt idx="32">-2.4236642060000002</cx:pt>
          <cx:pt idx="33">-2.2851560000000002</cx:pt>
          <cx:pt idx="34">-9.0747070000000001</cx:pt>
          <cx:pt idx="35">-7.6157031630000001</cx:pt>
          <cx:pt idx="36">-5.9326169999999996</cx:pt>
          <cx:pt idx="37">-5.7788089999999999</cx:pt>
          <cx:pt idx="38">-5.251204274</cx:pt>
          <cx:pt idx="39">-5.0537109999999998</cx:pt>
          <cx:pt idx="40">-6.7675780000000003</cx:pt>
          <cx:pt idx="41">-1.6918949999999999</cx:pt>
          <cx:pt idx="42">-6.7895510000000003</cx:pt>
          <cx:pt idx="43">-7.0971679999999999</cx:pt>
          <cx:pt idx="44">-3.14209</cx:pt>
          <cx:pt idx="45">-9.0747070000000001</cx:pt>
          <cx:pt idx="46">-7.3168949999999997</cx:pt>
          <cx:pt idx="47">-6.8994140000000002</cx:pt>
          <cx:pt idx="48">-6.7530467669999998</cx:pt>
          <cx:pt idx="49">-6.723698669</cx:pt>
          <cx:pt idx="50">-6.7090904890000003</cx:pt>
          <cx:pt idx="51">-6.4599609999999998</cx:pt>
          <cx:pt idx="52">-6.6296813739999996</cx:pt>
          <cx:pt idx="53">-8.8549799999999994</cx:pt>
          <cx:pt idx="54">-4.4165039999999998</cx:pt>
          <cx:pt idx="55">-6.6137699999999997</cx:pt>
          <cx:pt idx="56">-3.7792970000000001</cx:pt>
          <cx:pt idx="57">-7.1411129999999998</cx:pt>
          <cx:pt idx="58">-7.3631921050000004</cx:pt>
          <cx:pt idx="59">-7.5585940000000003</cx:pt>
          <cx:pt idx="60">-6.4871307119999999</cx:pt>
          <cx:pt idx="61">-6.1962890000000002</cx:pt>
          <cx:pt idx="62">-6.1261017569999998</cx:pt>
          <cx:pt idx="63">-6.0731477930000004</cx:pt>
          <cx:pt idx="64">-6.0384005920000003</cx:pt>
          <cx:pt idx="65">-5.7568359999999998</cx:pt>
          <cx:pt idx="66">-8.9868159999999992</cx:pt>
          <cx:pt idx="67">-7.4374253860000001</cx:pt>
          <cx:pt idx="68">-7.1919522770000004</cx:pt>
          <cx:pt idx="69">-6.7016600000000004</cx:pt>
          <cx:pt idx="70">-4.7680660000000001</cx:pt>
          <cx:pt idx="71">-6.5258789999999998</cx:pt>
          <cx:pt idx="72">-2.087402</cx:pt>
          <cx:pt idx="73">-8.3276369999999993</cx:pt>
          <cx:pt idx="74">-8.2306788019999999</cx:pt>
          <cx:pt idx="75">-7.9980469999999997</cx:pt>
          <cx:pt idx="76">-4.240723</cx:pt>
          <cx:pt idx="77">-6.1025853809999999</cx:pt>
          <cx:pt idx="78">-6.4858874310000001</cx:pt>
          <cx:pt idx="79">-7.8007780899999997</cx:pt>
          <cx:pt idx="80">-7.9101559999999997</cx:pt>
          <cx:pt idx="81">-5.6778023119999999</cx:pt>
          <cx:pt idx="82">-4.5922850000000004</cx:pt>
          <cx:pt idx="83">-8.4814450000000008</cx:pt>
          <cx:pt idx="84">-7.404210172</cx:pt>
          <cx:pt idx="85">-7.3072715109999997</cx:pt>
          <cx:pt idx="86">-6.328125</cx:pt>
          <cx:pt idx="87">-6.2841800000000001</cx:pt>
          <cx:pt idx="88">-5.1635739999999997</cx:pt>
          <cx:pt idx="89">-9.0966799999999992</cx:pt>
          <cx:pt idx="90">-6.1083980000000002</cx:pt>
          <cx:pt idx="91">-8.5473630000000007</cx:pt>
          <cx:pt idx="92">-4.3286129999999998</cx:pt>
          <cx:pt idx="93">-7.712402</cx:pt>
          <cx:pt idx="94">-7.658649703</cx:pt>
          <cx:pt idx="95">-6.6191103269999996</cx:pt>
          <cx:pt idx="96">-5.6354842879999998</cx:pt>
          <cx:pt idx="97">-5.4711910000000001</cx:pt>
          <cx:pt idx="98">-5.7689496230000001</cx:pt>
          <cx:pt idx="99">-5.8130793519999999</cx:pt>
          <cx:pt idx="100">-5.8549110950000003</cx:pt>
          <cx:pt idx="101">-8.6202320790000009</cx:pt>
          <cx:pt idx="102">-8.8330079999999995</cx:pt>
          <cx:pt idx="103">-5.8227539999999998</cx:pt>
          <cx:pt idx="104">-7.6684570000000001</cx:pt>
          <cx:pt idx="105">-5.4711910000000001</cx:pt>
          <cx:pt idx="106">-5.778710437</cx:pt>
          <cx:pt idx="107">-6.9213870000000002</cx:pt>
          <cx:pt idx="108">-5.2954100000000004</cx:pt>
          <cx:pt idx="109">-5.6808642669999996</cx:pt>
          <cx:pt idx="110">-6.2022808999999999</cx:pt>
          <cx:pt idx="111">-6.4660127679999997</cx:pt>
          <cx:pt idx="112">-8.1518549999999994</cx:pt>
          <cx:pt idx="113">-6.328125</cx:pt>
          <cx:pt idx="114">-1.6479490000000001</cx:pt>
          <cx:pt idx="115">-6.7895510000000003</cx:pt>
          <cx:pt idx="116">-6.8554690000000003</cx:pt>
          <cx:pt idx="117">-5.8666989999999997</cx:pt>
          <cx:pt idx="118">-3.823242</cx:pt>
          <cx:pt idx="119">-5.4931640000000002</cx:pt>
          <cx:pt idx="120">-5.3220238259999997</cx:pt>
          <cx:pt idx="121">-4.4516115650000003</cx:pt>
          <cx:pt idx="122">-3.0541990000000001</cx:pt>
          <cx:pt idx="123">-9.0966799999999992</cx:pt>
          <cx:pt idx="124">-7.0971679999999999</cx:pt>
          <cx:pt idx="125">-7.2059458950000002</cx:pt>
          <cx:pt idx="126">-7.3034600220000003</cx:pt>
          <cx:pt idx="127">-8.3715820000000001</cx:pt>
          <cx:pt idx="128">-6.4819339999999999</cx:pt>
          <cx:pt idx="129">-8.9648439999999994</cx:pt>
          <cx:pt idx="130">-8.3276369999999993</cx:pt>
          <cx:pt idx="131">-7.9098620750000004</cx:pt>
          <cx:pt idx="132">-6.2134618870000002</cx:pt>
          <cx:pt idx="133">-5.2294919999999996</cx:pt>
          <cx:pt idx="134">-8.9648439999999994</cx:pt>
          <cx:pt idx="135">-5.2514649999999996</cx:pt>
          <cx:pt idx="136">-8.8769530000000003</cx:pt>
          <cx:pt idx="137">-8.3192337349999992</cx:pt>
          <cx:pt idx="138">-7.9361310239999998</cx:pt>
          <cx:pt idx="139">-7.7483429519999998</cx:pt>
          <cx:pt idx="140">-5.8666989999999997</cx:pt>
          <cx:pt idx="141">-6.2051885740000001</cx:pt>
          <cx:pt idx="142">-7.734375</cx:pt>
          <cx:pt idx="143">-6.2182620000000002</cx:pt>
          <cx:pt idx="144">-6.2841800000000001</cx:pt>
          <cx:pt idx="145">-4.7460940000000003</cx:pt>
          <cx:pt idx="146">-7.734375</cx:pt>
          <cx:pt idx="147">-7.0829543810000004</cx:pt>
          <cx:pt idx="148">-6.4819339999999999</cx:pt>
          <cx:pt idx="149">-6.5035223279999999</cx:pt>
          <cx:pt idx="150">-7.4040027439999996</cx:pt>
          <cx:pt idx="151">-7.6684570000000001</cx:pt>
          <cx:pt idx="152">-2.9443359999999998</cx:pt>
          <cx:pt idx="153">-7.9321289999999998</cx:pt>
          <cx:pt idx="154">-4.6801760000000003</cx:pt>
          <cx:pt idx="155">-4.8449433260000001</cx:pt>
          <cx:pt idx="156">-5.2563045669999999</cx:pt>
          <cx:pt idx="157">-5.6689449999999999</cx:pt>
          <cx:pt idx="158">-3.0102540000000002</cx:pt>
          <cx:pt idx="159">-9.0087890000000002</cx:pt>
          <cx:pt idx="160">-6.7895510000000003</cx:pt>
          <cx:pt idx="161">-6.6357419999999996</cx:pt>
          <cx:pt idx="162">-7.6357980259999998</cx:pt>
          <cx:pt idx="163">-7.9980469999999997</cx:pt>
          <cx:pt idx="164">-1.801758</cx:pt>
          <cx:pt idx="165">-9.0527339999999992</cx:pt>
          <cx:pt idx="166">-4.8559570000000001</cx:pt>
          <cx:pt idx="167">-8.0859380000000005</cx:pt>
          <cx:pt idx="168">-5.2075199999999997</cx:pt>
          <cx:pt idx="169">-7.4742837739999999</cx:pt>
          <cx:pt idx="170">-7.6723110229999998</cx:pt>
          <cx:pt idx="171">-7.7692048649999998</cx:pt>
          <cx:pt idx="172">-7.8695741679999998</cx:pt>
          <cx:pt idx="173">-9.0527339999999992</cx:pt>
          <cx:pt idx="174">-8.4814450000000008</cx:pt>
          <cx:pt idx="175">-3.515625</cx:pt>
          <cx:pt idx="176">-6.350098</cx:pt>
          <cx:pt idx="177">-8.9428710000000002</cx:pt>
          <cx:pt idx="178">-7.9980469999999997</cx:pt>
          <cx:pt idx="179">-8.298455938</cx:pt>
          <cx:pt idx="180">-8.4138656520000001</cx:pt>
          <cx:pt idx="181">-8.4596051279999998</cx:pt>
          <cx:pt idx="182">-8.9208979999999993</cx:pt>
          <cx:pt idx="183">-7.053223</cx:pt>
          <cx:pt idx="184">-7.3554159439999998</cx:pt>
          <cx:pt idx="185">-7.5967656870000004</cx:pt>
          <cx:pt idx="186">-7.6575786949999998</cx:pt>
          <cx:pt idx="187">-8.7451170000000005</cx:pt>
          <cx:pt idx="188">-3.823242</cx:pt>
          <cx:pt idx="189">-7.6464840000000001</cx:pt>
          <cx:pt idx="190">-5.1635739999999997</cx:pt>
          <cx:pt idx="191">-8.5913090000000008</cx:pt>
          <cx:pt idx="192">-7.8881839999999999</cx:pt>
          <cx:pt idx="193">-6.2402340000000001</cx:pt>
          <cx:pt idx="194">-9.0747070000000001</cx:pt>
          <cx:pt idx="195">-4.5922850000000004</cx:pt>
          <cx:pt idx="196">2.2192379999999998</cx:pt>
          <cx:pt idx="197">-9.0307619999999993</cx:pt>
          <cx:pt idx="198">-5.646973</cx:pt>
          <cx:pt idx="199">-9.0087890000000002</cx:pt>
          <cx:pt idx="200">-7.2729489999999997</cx:pt>
          <cx:pt idx="201">-5.9326169999999996</cx:pt>
          <cx:pt idx="202">-5.7061282929999999</cx:pt>
          <cx:pt idx="203">-5.646973</cx:pt>
          <cx:pt idx="204">-9.0527339999999992</cx:pt>
          <cx:pt idx="205">-9.0033475060000008</cx:pt>
          <cx:pt idx="206">-5.6909179999999999</cx:pt>
          <cx:pt idx="207">-5.7977108700000004</cx:pt>
          <cx:pt idx="208">-6.4379879999999998</cx:pt>
          <cx:pt idx="209">0.39550780000000002</cx:pt>
          <cx:pt idx="210">-4.7021480000000002</cx:pt>
          <cx:pt idx="211">-6.3720699999999999</cx:pt>
          <cx:pt idx="212">-6.5530971320000004</cx:pt>
          <cx:pt idx="213">-6.8848055429999997</cx:pt>
          <cx:pt idx="214">-6.8998616080000001</cx:pt>
          <cx:pt idx="215">-7.1411129999999998</cx:pt>
          <cx:pt idx="216">-6.6924498080000001</cx:pt>
          <cx:pt idx="217">-6.4599609999999998</cx:pt>
          <cx:pt idx="218">-5.8447269999999998</cx:pt>
          <cx:pt idx="219">-6.8334960000000002</cx:pt>
          <cx:pt idx="220">-4.240723</cx:pt>
          <cx:pt idx="221">-8.0859380000000005</cx:pt>
          <cx:pt idx="222">-2.834473</cx:pt>
          <cx:pt idx="223">-8.5253910000000008</cx:pt>
          <cx:pt idx="224">-5.4931640000000002</cx:pt>
          <cx:pt idx="225">-5.4052730000000002</cx:pt>
          <cx:pt idx="226">-7.1630859999999998</cx:pt>
          <cx:pt idx="227">-4.1528320000000001</cx:pt>
          <cx:pt idx="228">-7.5805660000000001</cx:pt>
          <cx:pt idx="229">-7.8176370740000003</cx:pt>
          <cx:pt idx="230">-7.8587651620000001</cx:pt>
          <cx:pt idx="231">-7.9101559999999997</cx:pt>
          <cx:pt idx="232">-0.703125</cx:pt>
          <cx:pt idx="233">-6.4599609999999998</cx:pt>
          <cx:pt idx="234">-6.8115230000000002</cx:pt>
          <cx:pt idx="235">-8.5034179999999999</cx:pt>
          <cx:pt idx="236">-3.4277340000000001</cx:pt>
          <cx:pt idx="237">-7.2729489999999997</cx:pt>
          <cx:pt idx="238">-6.4140370539999996</cx:pt>
          <cx:pt idx="239">-5.6003738399999996</cx:pt>
          <cx:pt idx="240">0.065917970000000006</cx:pt>
          <cx:pt idx="241">-5.6689449999999999</cx:pt>
          <cx:pt idx="242">-1.625977</cx:pt>
          <cx:pt idx="243">-4.3066409999999999</cx:pt>
          <cx:pt idx="244">-4.4074499979999997</cx:pt>
          <cx:pt idx="245">-4.8120120000000002</cx:pt>
          <cx:pt idx="246">-3.2519529999999999</cx:pt>
          <cx:pt idx="247">-7.009277</cx:pt>
          <cx:pt idx="248">-2.4609380000000001</cx:pt>
          <cx:pt idx="249">-9.0966799999999992</cx:pt>
          <cx:pt idx="250">-7.1850589999999999</cx:pt>
          <cx:pt idx="251">-2.6806640000000002</cx:pt>
          <cx:pt idx="252">-8.5913090000000008</cx:pt>
          <cx:pt idx="253">-8.5628240699999996</cx:pt>
          <cx:pt idx="254">-7.1411129999999998</cx:pt>
          <cx:pt idx="255">-6.5258789999999998</cx:pt>
          <cx:pt idx="256">-4.4824219999999997</cx:pt>
          <cx:pt idx="257">-7.756348</cx:pt>
          <cx:pt idx="258">-7.03125</cx:pt>
          <cx:pt idx="259">-3.3178709999999998</cx:pt>
          <cx:pt idx="260">-9.0747070000000001</cx:pt>
          <cx:pt idx="261">-6.4604640809999996</cx:pt>
          <cx:pt idx="262">-4.0209960000000002</cx:pt>
          <cx:pt idx="263">-6.9873050000000001</cx:pt>
          <cx:pt idx="264">-6.6914894</cx:pt>
          <cx:pt idx="265">-6.0022873250000002</cx:pt>
          <cx:pt idx="266">-3.9331049999999999</cx:pt>
          <cx:pt idx="267">-3.9550779999999999</cx:pt>
          <cx:pt idx="268">-3.4497070000000001</cx:pt>
          <cx:pt idx="269">-5.4046706230000003</cx:pt>
          <cx:pt idx="270">-5.4931640000000002</cx:pt>
          <cx:pt idx="271">-6.5258789999999998</cx:pt>
          <cx:pt idx="272">-6.8578327000000003</cx:pt>
          <cx:pt idx="273">-7.0515536430000001</cx:pt>
          <cx:pt idx="274">-7.0654723849999996</cx:pt>
          <cx:pt idx="275">-7.4805303839999997</cx:pt>
          <cx:pt idx="276">-8.0200200000000006</cx:pt>
          <cx:pt idx="277">-7.3435153169999996</cx:pt>
          <cx:pt idx="278">-3.6474609999999998</cx:pt>
          <cx:pt idx="279">-7.8002929999999999</cx:pt>
          <cx:pt idx="280">-6.806759402</cx:pt>
          <cx:pt idx="281">-6.7317448219999996</cx:pt>
          <cx:pt idx="282">-5.7348629999999998</cx:pt>
          <cx:pt idx="283">-9.0747070000000001</cx:pt>
          <cx:pt idx="284">-8.7072398209999999</cx:pt>
          <cx:pt idx="285">-7.5181944139999999</cx:pt>
          <cx:pt idx="286">-7.3298003310000004</cx:pt>
          <cx:pt idx="287">-7.2381057200000001</cx:pt>
          <cx:pt idx="288">-6.5039059999999997</cx:pt>
          <cx:pt idx="289">-7.053223</cx:pt>
          <cx:pt idx="290">-7.0550693290000002</cx:pt>
          <cx:pt idx="291">-7.0714295189999996</cx:pt>
          <cx:pt idx="292">-7.0751949999999999</cx:pt>
          <cx:pt idx="293">-6.5478519999999998</cx:pt>
          <cx:pt idx="294">-6.1083980000000002</cx:pt>
          <cx:pt idx="295">-4.8559570000000001</cx:pt>
          <cx:pt idx="296">-5.9152599129999999</cx:pt>
          <cx:pt idx="297">-7.075679794</cx:pt>
          <cx:pt idx="298">-8.6572270000000007</cx:pt>
          <cx:pt idx="299">-7.2928035080000004</cx:pt>
          <cx:pt idx="300">-5.8227539999999998</cx:pt>
          <cx:pt idx="301">-6.7675780000000003</cx:pt>
          <cx:pt idx="302">-3.7133790000000002</cx:pt>
          <cx:pt idx="303">-8.6791990000000006</cx:pt>
          <cx:pt idx="304">-7.1183605300000004</cx:pt>
          <cx:pt idx="305">-5.5590820000000001</cx:pt>
          <cx:pt idx="306">-5.3340713539999998</cx:pt>
          <cx:pt idx="307">-4.1748050000000001</cx:pt>
          <cx:pt idx="308">-7.5805660000000001</cx:pt>
          <cx:pt idx="309">-8.5034179999999999</cx:pt>
          <cx:pt idx="310">-4.4384769999999998</cx:pt>
          <cx:pt idx="311">-8.7231450000000006</cx:pt>
          <cx:pt idx="312">-4.3505859999999998</cx:pt>
          <cx:pt idx="313">-4.4665814040000003</cx:pt>
          <cx:pt idx="314">-4.7567440169999999</cx:pt>
          <cx:pt idx="315">-5.0317379999999998</cx:pt>
          <cx:pt idx="316">-6.4379879999999998</cx:pt>
          <cx:pt idx="317">-6.4702124359999997</cx:pt>
          <cx:pt idx="318">-6.8529977110000004</cx:pt>
          <cx:pt idx="319">-8.3278741909999994</cx:pt>
          <cx:pt idx="320">-9.0966799999999992</cx:pt>
          <cx:pt idx="321">-5.646973</cx:pt>
          <cx:pt idx="322">-7.6464840000000001</cx:pt>
          <cx:pt idx="323">-7.03125</cx:pt>
          <cx:pt idx="324">-5.9326169999999996</cx:pt>
          <cx:pt idx="325">-5.8447269999999998</cx:pt>
          <cx:pt idx="326">-8.4155270000000009</cx:pt>
          <cx:pt idx="327">-3.6254879999999998</cx:pt>
          <cx:pt idx="328">-8.4814450000000008</cx:pt>
          <cx:pt idx="329">-4.921875</cx:pt>
          <cx:pt idx="330">-4.0429690000000003</cx:pt>
          <cx:pt idx="331">-7.6464840000000001</cx:pt>
          <cx:pt idx="332">-5.8666989999999997</cx:pt>
          <cx:pt idx="333">-5.8007809999999997</cx:pt>
          <cx:pt idx="334">-4.0649410000000001</cx:pt>
          <cx:pt idx="335">-7.4926760000000003</cx:pt>
          <cx:pt idx="336">-5.7788089999999999</cx:pt>
          <cx:pt idx="337">-6.8923861710000001</cx:pt>
          <cx:pt idx="338">-6.9813182229999997</cx:pt>
          <cx:pt idx="339">-7.4267580000000004</cx:pt>
          <cx:pt idx="340">-3.3178709999999998</cx:pt>
          <cx:pt idx="341">-6.2622070000000001</cx:pt>
          <cx:pt idx="342">-4.921875</cx:pt>
          <cx:pt idx="343">-7.1191409999999999</cx:pt>
          <cx:pt idx="344">-7.6684570000000001</cx:pt>
          <cx:pt idx="345">-3.0322269999999998</cx:pt>
          <cx:pt idx="346">-7.1411129999999998</cx:pt>
          <cx:pt idx="347">-6.9947403179999998</cx:pt>
          <cx:pt idx="348">-6.9433590000000001</cx:pt>
          <cx:pt idx="349">-6.848732246</cx:pt>
          <cx:pt idx="350">-5.6172102800000001</cx:pt>
          <cx:pt idx="351">-5.4272460000000002</cx:pt>
          <cx:pt idx="352">-2.790527</cx:pt>
          <cx:pt idx="353">-8.5693359999999998</cx:pt>
          <cx:pt idx="354">-1.40625</cx:pt>
          <cx:pt idx="355">-5.5810550000000001</cx:pt>
          <cx:pt idx="356">-5.8007809999999997</cx:pt>
          <cx:pt idx="357">-9.0966799999999992</cx:pt>
          <cx:pt idx="358">-2.416992</cx:pt>
          <cx:pt idx="359">-6.9873050000000001</cx:pt>
          <cx:pt idx="360">-3.3398439999999998</cx:pt>
          <cx:pt idx="361">-5.1416019999999998</cx:pt>
          <cx:pt idx="362">-6.1962890000000002</cx:pt>
          <cx:pt idx="363">-0.48339840000000001</cx:pt>
          <cx:pt idx="364">-5.2734379999999996</cx:pt>
          <cx:pt idx="365">-1.73584</cx:pt>
          <cx:pt idx="366">-8.8549799999999994</cx:pt>
          <cx:pt idx="367">-2.6147459999999998</cx:pt>
          <cx:pt idx="368">-2.6147459999999998</cx:pt>
          <cx:pt idx="369">-7.8002929999999999</cx:pt>
          <cx:pt idx="370">-8.8642094599999997</cx:pt>
          <cx:pt idx="371">-9.1186520000000009</cx:pt>
          <cx:pt idx="372">-5.5810550000000001</cx:pt>
          <cx:pt idx="373">-5.2294919999999996</cx:pt>
          <cx:pt idx="374">-1.1206050000000001</cx:pt>
          <cx:pt idx="375">-7.3608399999999996</cx:pt>
          <cx:pt idx="376">-7.5539147099999999</cx:pt>
          <cx:pt idx="377">-8.9681349800000003</cx:pt>
          <cx:pt idx="378">-9.0966799999999992</cx:pt>
          <cx:pt idx="379">-5.7128909999999999</cx:pt>
          <cx:pt idx="380">-6.6357419999999996</cx:pt>
          <cx:pt idx="381">-6.2622070000000001</cx:pt>
          <cx:pt idx="382">-7.4707030000000003</cx:pt>
          <cx:pt idx="383">-7.830602839</cx:pt>
          <cx:pt idx="384">-8.3276369999999993</cx:pt>
          <cx:pt idx="385">-3.3398439999999998</cx:pt>
          <cx:pt idx="386">-7.9321289999999998</cx:pt>
          <cx:pt idx="387">-2.9223629999999998</cx:pt>
          <cx:pt idx="388">-7.9541019999999998</cx:pt>
          <cx:pt idx="389">-6.8774410000000001</cx:pt>
          <cx:pt idx="390">-5.7348629999999998</cx:pt>
          <cx:pt idx="391">-5.1579006249999999</cx:pt>
          <cx:pt idx="392">-3.4277340000000001</cx:pt>
          <cx:pt idx="393">-9.0966799999999992</cx:pt>
          <cx:pt idx="394">-4.5483399999999996</cx:pt>
          <cx:pt idx="395">-6.8334960000000002</cx:pt>
          <cx:pt idx="396">-8.8549799999999994</cx:pt>
          <cx:pt idx="397">-3.0761720000000001</cx:pt>
          <cx:pt idx="398">-7.8222659999999999</cx:pt>
          <cx:pt idx="399">-5.2514649999999996</cx:pt>
          <cx:pt idx="400">-9.0966799999999992</cx:pt>
          <cx:pt idx="401">-3.0761720000000001</cx:pt>
          <cx:pt idx="402">-5.5723610389999996</cx:pt>
          <cx:pt idx="403">-8.1079100000000004</cx:pt>
          <cx:pt idx="404">-4.0209960000000002</cx:pt>
          <cx:pt idx="405">-4.2849578639999999</cx:pt>
          <cx:pt idx="406">-4.4604489999999997</cx:pt>
          <cx:pt idx="407">-6.4819339999999999</cx:pt>
          <cx:pt idx="408">-9.0747070000000001</cx:pt>
          <cx:pt idx="409">-4.8559570000000001</cx:pt>
          <cx:pt idx="410">-5.3527208240000004</cx:pt>
          <cx:pt idx="411">-6.1137471210000003</cx:pt>
          <cx:pt idx="412">-7.1057363410000001</cx:pt>
          <cx:pt idx="413">-7.5026345919999997</cx:pt>
          <cx:pt idx="414">-7.734375</cx:pt>
          <cx:pt idx="415">-9.0087890000000002</cx:pt>
          <cx:pt idx="416">-2.4609380000000001</cx:pt>
          <cx:pt idx="417">-7.3828129999999996</cx:pt>
          <cx:pt idx="418">-7.03125</cx:pt>
          <cx:pt idx="419">-8.0200043959999991</cx:pt>
          <cx:pt idx="420">-8.3489006710000009</cx:pt>
          <cx:pt idx="421">-9.0966799999999992</cx:pt>
          <cx:pt idx="422">-8.9059465719999995</cx:pt>
          <cx:pt idx="423">-8.1621421410000004</cx:pt>
          <cx:pt idx="424">-7.2290039999999998</cx:pt>
          <cx:pt idx="425">-7.4926760000000003</cx:pt>
          <cx:pt idx="426">-5.0756839999999999</cx:pt>
          <cx:pt idx="427">-5.1873963669999998</cx:pt>
          <cx:pt idx="428">-5.2734379999999996</cx:pt>
          <cx:pt idx="429">-7.3828129999999996</cx:pt>
          <cx:pt idx="430">-7.3910839020000001</cx:pt>
          <cx:pt idx="431">-7.5366210000000002</cx:pt>
          <cx:pt idx="432">-7.3828129999999996</cx:pt>
          <cx:pt idx="433">-7.45600927</cx:pt>
          <cx:pt idx="434">-7.5657259330000004</cx:pt>
          <cx:pt idx="435">-7.6025390000000002</cx:pt>
          <cx:pt idx="436">-3.2299799999999999</cx:pt>
          <cx:pt idx="437">-7.7783199999999999</cx:pt>
          <cx:pt idx="438">-5.9985350000000004</cx:pt>
          <cx:pt idx="439">-9.0966799999999992</cx:pt>
          <cx:pt idx="440">-3.0322269999999998</cx:pt>
          <cx:pt idx="441">-8.8989259999999994</cx:pt>
          <cx:pt idx="442">-7.0971679999999999</cx:pt>
          <cx:pt idx="443">-3.2519529999999999</cx:pt>
          <cx:pt idx="444">-6.6796879999999996</cx:pt>
          <cx:pt idx="445">-7.2070309999999997</cx:pt>
          <cx:pt idx="446">-4.7021480000000002</cx:pt>
          <cx:pt idx="447">-7.756348</cx:pt>
          <cx:pt idx="448">-7.2193280599999996</cx:pt>
          <cx:pt idx="449">-6.7895510000000003</cx:pt>
          <cx:pt idx="450">-8.9428710000000002</cx:pt>
          <cx:pt idx="451">-2.9882810000000002</cx:pt>
          <cx:pt idx="452">-7.3057123969999997</cx:pt>
          <cx:pt idx="453">-8.4814450000000008</cx:pt>
          <cx:pt idx="454">-6.8334960000000002</cx:pt>
          <cx:pt idx="455">-6.8658153009999996</cx:pt>
          <cx:pt idx="456">-6.9369048360000001</cx:pt>
          <cx:pt idx="457">-6.9433590000000001</cx:pt>
          <cx:pt idx="458">-7.8442379999999998</cx:pt>
          <cx:pt idx="459">-3.911133</cx:pt>
          <cx:pt idx="460">-7.5146480000000002</cx:pt>
          <cx:pt idx="461">-7.7613114919999999</cx:pt>
          <cx:pt idx="462">-7.8222659999999999</cx:pt>
          <cx:pt idx="463">-7.4267580000000004</cx:pt>
          <cx:pt idx="464">-2.087402</cx:pt>
          <cx:pt idx="465">-5.4052730000000002</cx:pt>
          <cx:pt idx="466">-6.4379879999999998</cx:pt>
          <cx:pt idx="467">0.50537109999999996</cx:pt>
          <cx:pt idx="468">-5.6689449999999999</cx:pt>
          <cx:pt idx="469">-5.2648796349999998</cx:pt>
          <cx:pt idx="470">-4.8559570000000001</cx:pt>
          <cx:pt idx="471">-5.4931640000000002</cx:pt>
          <cx:pt idx="472">-9.0966799999999992</cx:pt>
          <cx:pt idx="473">-6.544394746</cx:pt>
          <cx:pt idx="474">-5.9545899999999996</cx:pt>
          <cx:pt idx="475">-9.0966799999999992</cx:pt>
          <cx:pt idx="476">-6.7807432969999999</cx:pt>
          <cx:pt idx="477">-4.4604489999999997</cx:pt>
          <cx:pt idx="478">-7.8442379999999998</cx:pt>
          <cx:pt idx="479">-7.1411129999999998</cx:pt>
          <cx:pt idx="480">-6.2365927250000004</cx:pt>
          <cx:pt idx="481">-4.5263669999999996</cx:pt>
          <cx:pt idx="482">-8.2177729999999993</cx:pt>
          <cx:pt idx="483">-0.90087890000000004</cx:pt>
          <cx:pt idx="484">-7.5366210000000002</cx:pt>
          <cx:pt idx="485">-5.3393550000000003</cx:pt>
          <cx:pt idx="486">-6.2622070000000001</cx:pt>
          <cx:pt idx="487">-4.2626949999999999</cx:pt>
          <cx:pt idx="488">-8.2617189999999994</cx:pt>
          <cx:pt idx="489">-7.8670012849999997</cx:pt>
          <cx:pt idx="490">-7.6712858150000001</cx:pt>
          <cx:pt idx="491">-4.6801760000000003</cx:pt>
          <cx:pt idx="492">-5.7380594140000003</cx:pt>
          <cx:pt idx="493">-7.053223</cx:pt>
          <cx:pt idx="494">-6.1303710000000002</cx:pt>
          <cx:pt idx="495">-8.7679602130000003</cx:pt>
          <cx:pt idx="496">-8.9092239850000006</cx:pt>
          <cx:pt idx="497">-8.9826369330000002</cx:pt>
          <cx:pt idx="498">-9.0527339999999992</cx:pt>
          <cx:pt idx="499">-4.21875</cx:pt>
          <cx:pt idx="500">-7.2509769999999998</cx:pt>
          <cx:pt idx="501">-5.3833010000000003</cx:pt>
          <cx:pt idx="502">-6.7456050000000003</cx:pt>
          <cx:pt idx="503">-5.3173830000000004</cx:pt>
          <cx:pt idx="504">-8.9648439999999994</cx:pt>
          <cx:pt idx="505">-7.3608399999999996</cx:pt>
          <cx:pt idx="506">-4.4165039999999998</cx:pt>
          <cx:pt idx="507">-8.7451170000000005</cx:pt>
          <cx:pt idx="508">-1.3623050000000001</cx:pt>
          <cx:pt idx="509">-8.2617189999999994</cx:pt>
          <cx:pt idx="510">-7.8002929999999999</cx:pt>
          <cx:pt idx="511">-4.5043949999999997</cx:pt>
          <cx:pt idx="512">-8.5693359999999998</cx:pt>
          <cx:pt idx="513">-5.0317379999999998</cx:pt>
          <cx:pt idx="514">-5.2528653810000003</cx:pt>
          <cx:pt idx="515">-5.8007809999999997</cx:pt>
          <cx:pt idx="516">-9.0527339999999992</cx:pt>
          <cx:pt idx="517">-8.7206533820000001</cx:pt>
          <cx:pt idx="518">-7.03125</cx:pt>
          <cx:pt idx="519">-8.9428710000000002</cx:pt>
          <cx:pt idx="520">-6.328125</cx:pt>
          <cx:pt idx="521">-6.5478519999999998</cx:pt>
          <cx:pt idx="522">-0.79101560000000004</cx:pt>
          <cx:pt idx="523">-9.0087890000000002</cx:pt>
          <cx:pt idx="524">-5.0115431949999998</cx:pt>
          <cx:pt idx="525">-3.0322269999999998</cx:pt>
          <cx:pt idx="526">-3.3990925409999999</cx:pt>
          <cx:pt idx="527">-6.1962890000000002</cx:pt>
          <cx:pt idx="528">-5.9326169999999996</cx:pt>
          <cx:pt idx="529">-8.1518549999999994</cx:pt>
          <cx:pt idx="530">-5.0537109999999998</cx:pt>
          <cx:pt idx="531">-9.0527339999999992</cx:pt>
          <cx:pt idx="532">-8.7553868119999994</cx:pt>
          <cx:pt idx="533">-7.477692695</cx:pt>
          <cx:pt idx="534">-7.2700473460000001</cx:pt>
          <cx:pt idx="535">-5.8447269999999998</cx:pt>
          <cx:pt idx="536">-9.0747070000000001</cx:pt>
          <cx:pt idx="537">-5.5371090000000001</cx:pt>
          <cx:pt idx="538">-9.0966799999999992</cx:pt>
          <cx:pt idx="539">-3.7353519999999998</cx:pt>
          <cx:pt idx="540">-8.3715820000000001</cx:pt>
          <cx:pt idx="541">-8.5590499040000001</cx:pt>
          <cx:pt idx="542">-8.7231450000000006</cx:pt>
          <cx:pt idx="543">-7.5366210000000002</cx:pt>
          <cx:pt idx="544">-7.2227641120000001</cx:pt>
          <cx:pt idx="545">-6.6577149999999996</cx:pt>
          <cx:pt idx="546">-3.546355385</cx:pt>
          <cx:pt idx="547">-2.9443359999999998</cx:pt>
          <cx:pt idx="548">-1.625977</cx:pt>
          <cx:pt idx="549">-9.0527339999999992</cx:pt>
          <cx:pt idx="550">-4.3725589999999999</cx:pt>
          <cx:pt idx="551">-7.6025390000000002</cx:pt>
          <cx:pt idx="552">-4.196777</cx:pt>
          <cx:pt idx="553">-4.7934002009999999</cx:pt>
          <cx:pt idx="554">-9.0747070000000001</cx:pt>
          <cx:pt idx="555">-8.0200200000000006</cx:pt>
          <cx:pt idx="556">-4.4384769999999998</cx:pt>
          <cx:pt idx="557">-9.0966799999999992</cx:pt>
          <cx:pt idx="558">-7.3828129999999996</cx:pt>
          <cx:pt idx="559">0.63720699999999997</cx:pt>
          <cx:pt idx="560">-7.5146480000000002</cx:pt>
          <cx:pt idx="561">-9.0966799999999992</cx:pt>
          <cx:pt idx="562">-1.6479490000000001</cx:pt>
          <cx:pt idx="563">-9.0966799999999992</cx:pt>
          <cx:pt idx="564">-4.8339840000000001</cx:pt>
          <cx:pt idx="565">-8.5913090000000008</cx:pt>
          <cx:pt idx="566">-8.9428710000000002</cx:pt>
          <cx:pt idx="567">-5.5810550000000001</cx:pt>
          <cx:pt idx="568">-9.0747070000000001</cx:pt>
          <cx:pt idx="569">-7.8442379999999998</cx:pt>
          <cx:pt idx="570">-6.2841800000000001</cx:pt>
          <cx:pt idx="571">-6.4061091379999997</cx:pt>
          <cx:pt idx="572">-8.6352539999999998</cx:pt>
          <cx:pt idx="573">-3.7133790000000002</cx:pt>
          <cx:pt idx="574">-8.6352539999999998</cx:pt>
          <cx:pt idx="575">-5.2514649999999996</cx:pt>
          <cx:pt idx="576">-6.1111545359999999</cx:pt>
          <cx:pt idx="577">-9.0966799999999992</cx:pt>
          <cx:pt idx="578">-9.0863572969999993</cx:pt>
          <cx:pt idx="579">-9.0826842239999994</cx:pt>
          <cx:pt idx="580">-9.0823517010000003</cx:pt>
          <cx:pt idx="581">-9.0747070000000001</cx:pt>
          <cx:pt idx="582">-5.6689449999999999</cx:pt>
          <cx:pt idx="583">-8.7451170000000005</cx:pt>
          <cx:pt idx="584">-8.6433571330000003</cx:pt>
          <cx:pt idx="585">-7.5585940000000003</cx:pt>
          <cx:pt idx="586">-3.4057620000000002</cx:pt>
          <cx:pt idx="587">-8.7670899999999996</cx:pt>
          <cx:pt idx="588">-5.4052730000000002</cx:pt>
          <cx:pt idx="589">-8.7011719999999997</cx:pt>
          <cx:pt idx="590">-5.646973</cx:pt>
          <cx:pt idx="591">-9.0087890000000002</cx:pt>
          <cx:pt idx="592">-7.4707030000000003</cx:pt>
          <cx:pt idx="593">-7.7677103919999997</cx:pt>
          <cx:pt idx="594">-7.7950934289999996</cx:pt>
          <cx:pt idx="595">-8.4430168800000001</cx:pt>
          <cx:pt idx="596">-8.7268593489999997</cx:pt>
          <cx:pt idx="597">-8.7670899999999996</cx:pt>
          <cx:pt idx="598">-6.8115230000000002</cx:pt>
          <cx:pt idx="599">-4.7058990749999996</cx:pt>
          <cx:pt idx="600">-4.5703129999999996</cx:pt>
          <cx:pt idx="601">-9.0966799999999992</cx:pt>
          <cx:pt idx="602">-7.5366210000000002</cx:pt>
          <cx:pt idx="603">-1.779785</cx:pt>
          <cx:pt idx="604">-8.8549799999999994</cx:pt>
          <cx:pt idx="605">-7.8341911189999998</cx:pt>
          <cx:pt idx="606">-7.7335304989999996</cx:pt>
          <cx:pt idx="607">-5.8860546850000004</cx:pt>
          <cx:pt idx="608">-5.2734379999999996</cx:pt>
          <cx:pt idx="609">-8.3276369999999993</cx:pt>
          <cx:pt idx="610">-8.3492524909999997</cx:pt>
          <cx:pt idx="611">-8.4801619430000006</cx:pt>
          <cx:pt idx="612">-8.5195349460000003</cx:pt>
          <cx:pt idx="613">-8.520853142</cx:pt>
          <cx:pt idx="614">-8.5920045849999998</cx:pt>
          <cx:pt idx="615">-8.5932935449999999</cx:pt>
          <cx:pt idx="616">-8.6352539999999998</cx:pt>
          <cx:pt idx="617">1.3623050000000001</cx:pt>
          <cx:pt idx="618">-6.6357419999999996</cx:pt>
          <cx:pt idx="619">-3.6474609999999998</cx:pt>
          <cx:pt idx="620">-7.8222659999999999</cx:pt>
          <cx:pt idx="621">-7.7077392329999999</cx:pt>
          <cx:pt idx="622">-6.1743160000000001</cx:pt>
          <cx:pt idx="623">-5.2514649999999996</cx:pt>
          <cx:pt idx="624">-8.9648439999999994</cx:pt>
          <cx:pt idx="625">-8.2421955990000004</cx:pt>
          <cx:pt idx="626">-7.2070309999999997</cx:pt>
          <cx:pt idx="627">-2.7685550000000001</cx:pt>
          <cx:pt idx="628">-7.756348</cx:pt>
          <cx:pt idx="629">-2.7465820000000001</cx:pt>
          <cx:pt idx="630">-5.2514649999999996</cx:pt>
          <cx:pt idx="631">-0.65917970000000004</cx:pt>
          <cx:pt idx="632">-9.0966799999999992</cx:pt>
          <cx:pt idx="633">-4.5483399999999996</cx:pt>
          <cx:pt idx="634">-6.8115230000000002</cx:pt>
          <cx:pt idx="635">-7.6847023739999996</cx:pt>
          <cx:pt idx="636">-8.7890630000000005</cx:pt>
          <cx:pt idx="637">-4.1748050000000001</cx:pt>
          <cx:pt idx="638">-9.0966799999999992</cx:pt>
          <cx:pt idx="639">-5.4492190000000003</cx:pt>
          <cx:pt idx="640">-7.1630859999999998</cx:pt>
          <cx:pt idx="641">-4.7241210000000002</cx:pt>
          <cx:pt idx="642">-7.9321289999999998</cx:pt>
          <cx:pt idx="643">-3.911133</cx:pt>
          <cx:pt idx="644">-6.3595147289999998</cx:pt>
          <cx:pt idx="645">-8.9648439999999994</cx:pt>
          <cx:pt idx="646">-9.1186520000000009</cx:pt>
          <cx:pt idx="647">-4.196777</cx:pt>
          <cx:pt idx="648">-9.0747070000000001</cx:pt>
          <cx:pt idx="649">-8.979771586</cx:pt>
          <cx:pt idx="650">-8.8456206430000002</cx:pt>
          <cx:pt idx="651">-7.6464840000000001</cx:pt>
          <cx:pt idx="652">-4.9658199999999999</cx:pt>
          <cx:pt idx="653">-8.7890630000000005</cx:pt>
          <cx:pt idx="654">0.39640329200000002</cx:pt>
          <cx:pt idx="655">3.7353519999999998</cx:pt>
          <cx:pt idx="656">-9.0966799999999992</cx:pt>
          <cx:pt idx="657">-9.1100560050000006</cx:pt>
          <cx:pt idx="658">-9.1133027250000005</cx:pt>
          <cx:pt idx="659">-9.1154036559999998</cx:pt>
          <cx:pt idx="660">-9.1155899090000005</cx:pt>
          <cx:pt idx="661">-9.1182645939999993</cx:pt>
          <cx:pt idx="662">-9.1186520000000009</cx:pt>
          <cx:pt idx="663">-4.4604489999999997</cx:pt>
          <cx:pt idx="664">-7.5805660000000001</cx:pt>
          <cx:pt idx="665">-7.3608399999999996</cx:pt>
          <cx:pt idx="666">-7.1898662470000003</cx:pt>
          <cx:pt idx="667">-7.0751949999999999</cx:pt>
          <cx:pt idx="668">-9.0966799999999992</cx:pt>
          <cx:pt idx="669">-5.4492190000000003</cx:pt>
          <cx:pt idx="670">-8.8330079999999995</cx:pt>
          <cx:pt idx="671">-4.8559570000000001</cx:pt>
          <cx:pt idx="672">-8.6352539999999998</cx:pt>
          <cx:pt idx="673">-6.4379879999999998</cx:pt>
          <cx:pt idx="674">-3.0102540000000002</cx:pt>
          <cx:pt idx="675">-9.1186520000000009</cx:pt>
          <cx:pt idx="676">-9.0747070000000001</cx:pt>
          <cx:pt idx="677">-5.8666989999999997</cx:pt>
          <cx:pt idx="678">-9.0087890000000002</cx:pt>
          <cx:pt idx="679">-7.1191409999999999</cx:pt>
          <cx:pt idx="680">-7.4487300000000003</cx:pt>
          <cx:pt idx="681">-1.4721679999999999</cx:pt>
          <cx:pt idx="682">-7.6464840000000001</cx:pt>
          <cx:pt idx="683">-6.7078430190000002</cx:pt>
          <cx:pt idx="684">-5.8227539999999998</cx:pt>
          <cx:pt idx="685">-6.6039335059999997</cx:pt>
          <cx:pt idx="686">-7.7370625110000004</cx:pt>
          <cx:pt idx="687">-8.7720830559999996</cx:pt>
          <cx:pt idx="688">-9.1186520000000009</cx:pt>
          <cx:pt idx="689">-6.7236330000000004</cx:pt>
          <cx:pt idx="690">-8.4557997670000002</cx:pt>
          <cx:pt idx="691">-8.6791990000000006</cx:pt>
          <cx:pt idx="692">-2.6367189999999998</cx:pt>
          <cx:pt idx="693">-6.2402340000000001</cx:pt>
          <cx:pt idx="694">-4.9658199999999999</cx:pt>
          <cx:pt idx="695">-8.6791990000000006</cx:pt>
          <cx:pt idx="696">-3.9550779999999999</cx:pt>
          <cx:pt idx="697">-9.1186520000000009</cx:pt>
          <cx:pt idx="698">-4.7900390000000002</cx:pt>
          <cx:pt idx="699">-4.2626949999999999</cx:pt>
          <cx:pt idx="700">-8.5693359999999998</cx:pt>
          <cx:pt idx="701">-6.4835068219999998</cx:pt>
          <cx:pt idx="702">-2.1972659999999999</cx:pt>
          <cx:pt idx="703">-3.8012700000000001</cx:pt>
          <cx:pt idx="704">-9.0966799999999992</cx:pt>
          <cx:pt idx="705">-2.3510740000000001</cx:pt>
          <cx:pt idx="706">-6.5698239999999997</cx:pt>
          <cx:pt idx="707">-6.2622070000000001</cx:pt>
          <cx:pt idx="708">-0.1757813</cx:pt>
          <cx:pt idx="709">-9.0747070000000001</cx:pt>
          <cx:pt idx="710">-8.9428710000000002</cx:pt>
          <cx:pt idx="711">2.0214840000000001</cx:pt>
          <cx:pt idx="712">-9.0966799999999992</cx:pt>
          <cx:pt idx="713">-5.5810550000000001</cx:pt>
          <cx:pt idx="714">-8.8549799999999994</cx:pt>
          <cx:pt idx="715">-7.2729489999999997</cx:pt>
          <cx:pt idx="716">-4.9709366279999996</cx:pt>
          <cx:pt idx="717">-4.4165039999999998</cx:pt>
          <cx:pt idx="718">-8.6132810000000006</cx:pt>
          <cx:pt idx="719">-7.2070309999999997</cx:pt>
          <cx:pt idx="720">-3.6914060000000002</cx:pt>
          <cx:pt idx="721">-8.8549799999999994</cx:pt>
          <cx:pt idx="722">-7.3388669999999996</cx:pt>
          <cx:pt idx="723">-3.9550779999999999</cx:pt>
          <cx:pt idx="724">-8.1738280000000003</cx:pt>
          <cx:pt idx="725">-8.7451170000000005</cx:pt>
          <cx:pt idx="726">-4.0869140000000002</cx:pt>
          <cx:pt idx="727">-9.0966799999999992</cx:pt>
          <cx:pt idx="728">-5.2294919999999996</cx:pt>
          <cx:pt idx="729">-5.740720381</cx:pt>
          <cx:pt idx="730">-6.0864260000000003</cx:pt>
          <cx:pt idx="731">-5.2075199999999997</cx:pt>
          <cx:pt idx="732">-0.61523439999999996</cx:pt>
          <cx:pt idx="733">-9.0747070000000001</cx:pt>
          <cx:pt idx="734">-3.6694339999999999</cx:pt>
          <cx:pt idx="735">-9.0966799999999992</cx:pt>
          <cx:pt idx="736">-2.2192379999999998</cx:pt>
          <cx:pt idx="737">-9.0527339999999992</cx:pt>
          <cx:pt idx="738">-9.0966799999999992</cx:pt>
          <cx:pt idx="739">-7.1191409999999999</cx:pt>
          <cx:pt idx="740">-3.5815429999999999</cx:pt>
          <cx:pt idx="741">-8.3496089999999992</cx:pt>
          <cx:pt idx="742">-7.0751949999999999</cx:pt>
          <cx:pt idx="743">-7.5034243329999999</cx:pt>
          <cx:pt idx="744">-8.7670899999999996</cx:pt>
          <cx:pt idx="745">-5.7568359999999998</cx:pt>
          <cx:pt idx="746">-7.2949219999999997</cx:pt>
          <cx:pt idx="747">-2.8564449999999999</cx:pt>
          <cx:pt idx="748">-8.5693359999999998</cx:pt>
          <cx:pt idx="749">-4.5922850000000004</cx:pt>
          <cx:pt idx="750">-8.4375</cx:pt>
          <cx:pt idx="751">-8.3948306469999991</cx:pt>
          <cx:pt idx="752">-6.9873050000000001</cx:pt>
          <cx:pt idx="753">-7.5842037449999999</cx:pt>
          <cx:pt idx="754">-7.8944882610000002</cx:pt>
          <cx:pt idx="755">-9.0966799999999992</cx:pt>
          <cx:pt idx="756">0.13183590000000001</cx:pt>
          <cx:pt idx="757">-5.4052730000000002</cx:pt>
          <cx:pt idx="758">-1.713867</cx:pt>
          <cx:pt idx="759">-8.6572270000000007</cx:pt>
          <cx:pt idx="760">-4.8339840000000001</cx:pt>
          <cx:pt idx="761">-6.824782227</cx:pt>
          <cx:pt idx="762">-8.8989259999999994</cx:pt>
          <cx:pt idx="763">-5.3833010000000003</cx:pt>
          <cx:pt idx="764">-9.0747070000000001</cx:pt>
          <cx:pt idx="765">-8.4843871649999993</cx:pt>
          <cx:pt idx="766">-8.3906918509999997</cx:pt>
          <cx:pt idx="767">-7.6967363439999996</cx:pt>
          <cx:pt idx="768">-5.9326169999999996</cx:pt>
          <cx:pt idx="769">-9.0966799999999992</cx:pt>
          <cx:pt idx="770">-8.5202056929999994</cx:pt>
          <cx:pt idx="771">-7.756348</cx:pt>
          <cx:pt idx="772">-7.9321289999999998</cx:pt>
          <cx:pt idx="773">-9.0966799999999992</cx:pt>
          <cx:pt idx="774">-7.0971679999999999</cx:pt>
          <cx:pt idx="775">-7.5585940000000003</cx:pt>
          <cx:pt idx="776">-3.8671880000000001</cx:pt>
          <cx:pt idx="777">-8.8330079999999995</cx:pt>
          <cx:pt idx="778">-6.8115230000000002</cx:pt>
          <cx:pt idx="779">-5.0976559999999997</cx:pt>
          <cx:pt idx="780">-7.8442379999999998</cx:pt>
          <cx:pt idx="781">-5.9985350000000004</cx:pt>
          <cx:pt idx="782">-7.2949219999999997</cx:pt>
          <cx:pt idx="783">-2.790527</cx:pt>
          <cx:pt idx="784">-9.0966799999999992</cx:pt>
          <cx:pt idx="785">-6.9707753209999996</cx:pt>
          <cx:pt idx="786">-6.0864260000000003</cx:pt>
          <cx:pt idx="787">-6.4379879999999998</cx:pt>
          <cx:pt idx="788">-4.1528320000000001</cx:pt>
          <cx:pt idx="789">-7.4487300000000003</cx:pt>
          <cx:pt idx="790">-5.7788089999999999</cx:pt>
          <cx:pt idx="791">3.493652</cx:pt>
          <cx:pt idx="792">-4.899902</cx:pt>
          <cx:pt idx="793">-6.9928036850000002</cx:pt>
          <cx:pt idx="794">-9.1186520000000009</cx:pt>
          <cx:pt idx="795">-7.6793867340000004</cx:pt>
          <cx:pt idx="796">-6.168018</cx:pt>
          <cx:pt idx="797">-5.7128909999999999</cx:pt>
          <cx:pt idx="798">-9.0966799999999992</cx:pt>
          <cx:pt idx="799">-5.603027</cx:pt>
          <cx:pt idx="800">-9.0966799999999992</cx:pt>
          <cx:pt idx="801">-3.9770509999999999</cx:pt>
          <cx:pt idx="802">-7.6464840000000001</cx:pt>
          <cx:pt idx="803">-5.8007809999999997</cx:pt>
          <cx:pt idx="804">-9.0747070000000001</cx:pt>
          <cx:pt idx="805">-5.2294919999999996</cx:pt>
          <cx:pt idx="806">-8.5693359999999998</cx:pt>
          <cx:pt idx="807">-9.0747070000000001</cx:pt>
          <cx:pt idx="808">2.6806640000000002</cx:pt>
          <cx:pt idx="809">-5.3833010000000003</cx:pt>
          <cx:pt idx="810">-6.8774410000000001</cx:pt>
          <cx:pt idx="811">-2.9003909999999999</cx:pt>
          <cx:pt idx="812">-8.9208979999999993</cx:pt>
          <cx:pt idx="813">-5.2075199999999997</cx:pt>
          <cx:pt idx="814">-9.0966799999999992</cx:pt>
          <cx:pt idx="815">-3.537598</cx:pt>
          <cx:pt idx="816">-7.6904300000000001</cx:pt>
          <cx:pt idx="817">-6.8554690000000003</cx:pt>
          <cx:pt idx="818">-9.0966799999999992</cx:pt>
          <cx:pt idx="819">-5.6909179999999999</cx:pt>
          <cx:pt idx="820">-9.0747070000000001</cx:pt>
          <cx:pt idx="821">-7.0751949999999999</cx:pt>
          <cx:pt idx="822">-4.1088870000000002</cx:pt>
          <cx:pt idx="823">-9.0966799999999992</cx:pt>
          <cx:pt idx="824">-4.9658199999999999</cx:pt>
          <cx:pt idx="825">-7.9321289999999998</cx:pt>
          <cx:pt idx="826">-0.1757813</cx:pt>
          <cx:pt idx="827">-3.8671880000000001</cx:pt>
          <cx:pt idx="828">0.48339840000000001</cx:pt>
          <cx:pt idx="829">-8.9208979999999993</cx:pt>
          <cx:pt idx="830">-8.5555190999999997</cx:pt>
          <cx:pt idx="831">-7.3388669999999996</cx:pt>
          <cx:pt idx="832">-6.0205080000000004</cx:pt>
          <cx:pt idx="833">-7.5366210000000002</cx:pt>
          <cx:pt idx="834">-7.3388669999999996</cx:pt>
          <cx:pt idx="835">-7.4580982850000002</cx:pt>
          <cx:pt idx="836">-7.4721689180000004</cx:pt>
          <cx:pt idx="837">-7.756348</cx:pt>
          <cx:pt idx="838">-4.0209960000000002</cx:pt>
          <cx:pt idx="839">-9.0966799999999992</cx:pt>
          <cx:pt idx="840">-6.306152</cx:pt>
          <cx:pt idx="841">-6.5258789999999998</cx:pt>
          <cx:pt idx="842">-5.71233726</cx:pt>
          <cx:pt idx="843">-4.8120120000000002</cx:pt>
          <cx:pt idx="844">-7.3388669999999996</cx:pt>
          <cx:pt idx="845">-3.493652</cx:pt>
          <cx:pt idx="846">-8.8330079999999995</cx:pt>
          <cx:pt idx="847">-7.495010239</cx:pt>
          <cx:pt idx="848">-5.8007809999999997</cx:pt>
          <cx:pt idx="849">-7.7783199999999999</cx:pt>
          <cx:pt idx="850">-7.6234015819999996</cx:pt>
          <cx:pt idx="851">-7.3137688550000002</cx:pt>
          <cx:pt idx="852">-7.2159445360000003</cx:pt>
          <cx:pt idx="853">-7.1870666879999998</cx:pt>
          <cx:pt idx="854">-6.8774410000000001</cx:pt>
          <cx:pt idx="855">-9.0966799999999992</cx:pt>
          <cx:pt idx="856">-4.8120120000000002</cx:pt>
          <cx:pt idx="857">-9.0966799999999992</cx:pt>
          <cx:pt idx="858">-6.5698239999999997</cx:pt>
          <cx:pt idx="859">-2.6586910000000001</cx:pt>
          <cx:pt idx="860">-5.0893286509999998</cx:pt>
          <cx:pt idx="861">-7.6464840000000001</cx:pt>
          <cx:pt idx="862">-6.7456050000000003</cx:pt>
          <cx:pt idx="863">-6.907499305</cx:pt>
          <cx:pt idx="864">-6.9884464570000002</cx:pt>
          <cx:pt idx="865">-9.0966799999999992</cx:pt>
          <cx:pt idx="866">-1.999512</cx:pt>
          <cx:pt idx="867">-7.8442379999999998</cx:pt>
          <cx:pt idx="868">-7.7761492099999998</cx:pt>
          <cx:pt idx="869">-5.2734379999999996</cx:pt>
          <cx:pt idx="870">-3.6914060000000002</cx:pt>
          <cx:pt idx="871">-8.8549799999999994</cx:pt>
          <cx:pt idx="872">-2.6147459999999998</cx:pt>
          <cx:pt idx="873">-7.6904300000000001</cx:pt>
          <cx:pt idx="874">-9.0747070000000001</cx:pt>
          <cx:pt idx="875">-4.3066409999999999</cx:pt>
          <cx:pt idx="876">-8.1079100000000004</cx:pt>
          <cx:pt idx="877">-8.3682085310000005</cx:pt>
          <cx:pt idx="878">-9.0966799999999992</cx:pt>
          <cx:pt idx="879">-4.1308590000000001</cx:pt>
          <cx:pt idx="880">-7.5805660000000001</cx:pt>
          <cx:pt idx="881">-7.9767868389999999</cx:pt>
          <cx:pt idx="882">-8.3134819370000006</cx:pt>
          <cx:pt idx="883">-8.9868159999999992</cx:pt>
          <cx:pt idx="884">-3.823242</cx:pt>
          <cx:pt idx="885">-8.9428710000000002</cx:pt>
          <cx:pt idx="886">-3.4277340000000001</cx:pt>
          <cx:pt idx="887">-9.0966799999999992</cx:pt>
          <cx:pt idx="888">-7.4813221199999997</cx:pt>
          <cx:pt idx="889">-7.2509769999999998</cx:pt>
          <cx:pt idx="890">-6.6373301429999998</cx:pt>
          <cx:pt idx="891">-3.5595699999999999</cx:pt>
          <cx:pt idx="892">-8.7670899999999996</cx:pt>
          <cx:pt idx="893">-5.1635739999999997</cx:pt>
          <cx:pt idx="894">-8.7231450000000006</cx:pt>
          <cx:pt idx="895">-8.8786540610000007</cx:pt>
          <cx:pt idx="896">-9.030206862</cx:pt>
          <cx:pt idx="897">-9.0524580439999998</cx:pt>
          <cx:pt idx="898">-9.0747070000000001</cx:pt>
          <cx:pt idx="899">-5.4272460000000002</cx:pt>
          <cx:pt idx="900">-9.0747070000000001</cx:pt>
          <cx:pt idx="901">-7.734375</cx:pt>
          <cx:pt idx="902">-7.2765505079999997</cx:pt>
          <cx:pt idx="903">-7.1149859920000003</cx:pt>
          <cx:pt idx="904">-6.8994140000000002</cx:pt>
          <cx:pt idx="905">-1.3183590000000001</cx:pt>
          <cx:pt idx="906">-6.9653320000000001</cx:pt>
          <cx:pt idx="907">-7.6025390000000002</cx:pt>
          <cx:pt idx="908">-4.6801760000000003</cx:pt>
          <cx:pt idx="909">-9.0966799999999992</cx:pt>
          <cx:pt idx="910">-8.5774207730000001</cx:pt>
          <cx:pt idx="911">-8.1100355470000007</cx:pt>
          <cx:pt idx="912">-7.9541019999999998</cx:pt>
          <cx:pt idx="913">-8.2397460000000002</cx:pt>
          <cx:pt idx="914">-4.7680660000000001</cx:pt>
          <cx:pt idx="915">-8.6132810000000006</cx:pt>
          <cx:pt idx="916">-8.6271378510000005</cx:pt>
          <cx:pt idx="917">-8.9526331320000008</cx:pt>
          <cx:pt idx="918">-9.0747070000000001</cx:pt>
          <cx:pt idx="919">-4.5922850000000004</cx:pt>
          <cx:pt idx="920">-9.0747070000000001</cx:pt>
          <cx:pt idx="921">-6.808328232</cx:pt>
          <cx:pt idx="922">-3.8671880000000001</cx:pt>
          <cx:pt idx="923">-9.1186520000000009</cx:pt>
          <cx:pt idx="924">-5.9326169999999996</cx:pt>
          <cx:pt idx="925">-9.0747070000000001</cx:pt>
          <cx:pt idx="926">-9.1186520000000009</cx:pt>
          <cx:pt idx="927">-2.438965</cx:pt>
          <cx:pt idx="928">-7.9541019999999998</cx:pt>
          <cx:pt idx="929">-5.3173830000000004</cx:pt>
          <cx:pt idx="930">-7.4926760000000003</cx:pt>
          <cx:pt idx="931">-3.2739259999999999</cx:pt>
          <cx:pt idx="932">-8.6132810000000006</cx:pt>
          <cx:pt idx="933">-3.1640630000000001</cx:pt>
          <cx:pt idx="934">-8.8330079999999995</cx:pt>
          <cx:pt idx="935">-7.4047850000000004</cx:pt>
          <cx:pt idx="936">-5.6158001070000001</cx:pt>
          <cx:pt idx="937">-4.899902</cx:pt>
          <cx:pt idx="938">-9.0966799999999992</cx:pt>
          <cx:pt idx="939">-6.0589445819999996</cx:pt>
          <cx:pt idx="940">-5.2294919999999996</cx:pt>
          <cx:pt idx="941">-9.1186520000000009</cx:pt>
          <cx:pt idx="942">-6.9213870000000002</cx:pt>
          <cx:pt idx="943">-5.0950865399999996</cx:pt>
          <cx:pt idx="944">-4.9877929999999999</cx:pt>
          <cx:pt idx="945">-9.0087890000000002</cx:pt>
          <cx:pt idx="946">-9.0966799999999992</cx:pt>
          <cx:pt idx="947">-6.4379879999999998</cx:pt>
          <cx:pt idx="948">-4.943848</cx:pt>
          <cx:pt idx="949">-7.8662109999999998</cx:pt>
          <cx:pt idx="950">-7.9282349310000004</cx:pt>
          <cx:pt idx="951">-7.9488785550000003</cx:pt>
          <cx:pt idx="952">-8.2177729999999993</cx:pt>
          <cx:pt idx="953">-7.5146480000000002</cx:pt>
          <cx:pt idx="954">-4.8339840000000001</cx:pt>
          <cx:pt idx="955">-9.1186520000000009</cx:pt>
          <cx:pt idx="956">-4.3066409999999999</cx:pt>
          <cx:pt idx="957">-8.7011719999999997</cx:pt>
          <cx:pt idx="958">-4.3066409999999999</cx:pt>
          <cx:pt idx="959">-7.6025390000000002</cx:pt>
          <cx:pt idx="960">-8.7254026660000008</cx:pt>
          <cx:pt idx="961">-8.9593277239999995</cx:pt>
          <cx:pt idx="962">-9.0527339999999992</cx:pt>
          <cx:pt idx="963">-6.0864260000000003</cx:pt>
          <cx:pt idx="964">-9.0966799999999992</cx:pt>
          <cx:pt idx="965">-7.9737618780000004</cx:pt>
          <cx:pt idx="966">-7.3828129999999996</cx:pt>
          <cx:pt idx="967">-7.6750410709999999</cx:pt>
          <cx:pt idx="968">-7.8715383880000003</cx:pt>
          <cx:pt idx="969">-7.9269499210000003</cx:pt>
          <cx:pt idx="970">-7.9823614540000003</cx:pt>
          <cx:pt idx="971">-7.9874300119999999</cx:pt>
          <cx:pt idx="972">-8.0428818510000006</cx:pt>
          <cx:pt idx="973">-8.1083146189999997</cx:pt>
          <cx:pt idx="974">-8.1738280000000003</cx:pt>
          <cx:pt idx="975">-6.5700248119999998</cx:pt>
          <cx:pt idx="976">-4.9658199999999999</cx:pt>
          <cx:pt idx="977">-9.0527339999999992</cx:pt>
          <cx:pt idx="978">-8.6574238809999997</cx:pt>
          <cx:pt idx="979">-6.8115230000000002</cx:pt>
          <cx:pt idx="980">-1.3623050000000001</cx:pt>
          <cx:pt idx="981">-9.0747070000000001</cx:pt>
          <cx:pt idx="982">-4.8120120000000002</cx:pt>
          <cx:pt idx="983">-8.9868159999999992</cx:pt>
          <cx:pt idx="984">-8.2062759960000005</cx:pt>
          <cx:pt idx="985">-7.9980469999999997</cx:pt>
          <cx:pt idx="986">-7.8935179379999996</cx:pt>
          <cx:pt idx="987">-7.8779817440000004</cx:pt>
          <cx:pt idx="988">-7.8765719949999999</cx:pt>
          <cx:pt idx="989">-7.8680986700000002</cx:pt>
          <cx:pt idx="990">-7.8341961879999999</cx:pt>
          <cx:pt idx="991">-7.8017034550000002</cx:pt>
          <cx:pt idx="992">-7.8002929999999999</cx:pt>
          <cx:pt idx="993">-2.109375</cx:pt>
          <cx:pt idx="994">-7.8662109999999998</cx:pt>
          <cx:pt idx="995">-7.8672553650000001</cx:pt>
          <cx:pt idx="996">-7.8881839999999999</cx:pt>
          <cx:pt idx="997">-6.7628535489999999</cx:pt>
          <cx:pt idx="998">-6.6158893900000004</cx:pt>
          <cx:pt idx="999">-6.076898463</cx:pt>
          <cx:pt idx="1000">-5.7348629999999998</cx:pt>
          <cx:pt idx="1001">-9.0966799999999992</cx:pt>
          <cx:pt idx="1002">-8.9507502250000002</cx:pt>
          <cx:pt idx="1003">-8.2397460000000002</cx:pt>
          <cx:pt idx="1004">-4.5922850000000004</cx:pt>
          <cx:pt idx="1005">-8.3276369999999993</cx:pt>
          <cx:pt idx="1006">-9.0747070000000001</cx:pt>
          <cx:pt idx="1007">-4.1088870000000002</cx:pt>
          <cx:pt idx="1008">-9.0966799999999992</cx:pt>
          <cx:pt idx="1009">-7.4926760000000003</cx:pt>
          <cx:pt idx="1010">-8.6791990000000006</cx:pt>
          <cx:pt idx="1011">-6.1083980000000002</cx:pt>
          <cx:pt idx="1012">-6.6577149999999996</cx:pt>
          <cx:pt idx="1013">-7.9321289999999998</cx:pt>
          <cx:pt idx="1014">-6.9000372270000003</cx:pt>
          <cx:pt idx="1015">-6.306152</cx:pt>
          <cx:pt idx="1016">-6.7456050000000003</cx:pt>
          <cx:pt idx="1017">-2.790527</cx:pt>
          <cx:pt idx="1018">-6.5039059999999997</cx:pt>
          <cx:pt idx="1019">-7.4909676530000002</cx:pt>
          <cx:pt idx="1020">-7.5805660000000001</cx:pt>
          <cx:pt idx="1021">-4.196777</cx:pt>
          <cx:pt idx="1022">-5.5590820000000001</cx:pt>
          <cx:pt idx="1023">-4.4824219999999997</cx:pt>
          <cx:pt idx="1024">-4.9658199999999999</cx:pt>
          <cx:pt idx="1025">-5.1635739999999997</cx:pt>
          <cx:pt idx="1026">-5.291415346</cx:pt>
          <cx:pt idx="1027">-9.0966799999999992</cx:pt>
          <cx:pt idx="1028">-7.6091481009999997</cx:pt>
          <cx:pt idx="1029">-4.0429690000000003</cx:pt>
          <cx:pt idx="1030">-9.0966799999999992</cx:pt>
          <cx:pt idx="1031">-7.7784110670000004</cx:pt>
          <cx:pt idx="1032">-7.1191409999999999</cx:pt>
          <cx:pt idx="1033">-3.7792970000000001</cx:pt>
          <cx:pt idx="1034">-8.3056640000000002</cx:pt>
          <cx:pt idx="1035">-7.1411129999999998</cx:pt>
          <cx:pt idx="1036">-6.1525615550000001</cx:pt>
          <cx:pt idx="1037">-5.1635739999999997</cx:pt>
          <cx:pt idx="1038">-9.0747070000000001</cx:pt>
          <cx:pt idx="1039">-7.3943948009999998</cx:pt>
          <cx:pt idx="1040">-5.9545899999999996</cx:pt>
          <cx:pt idx="1041">-5.9326169999999996</cx:pt>
          <cx:pt idx="1042">-6.2182620000000002</cx:pt>
          <cx:pt idx="1043">-6.9653320000000001</cx:pt>
          <cx:pt idx="1044">-5.9106449999999997</cx:pt>
          <cx:pt idx="1045">-7.8222659999999999</cx:pt>
          <cx:pt idx="1046">-6.350098</cx:pt>
          <cx:pt idx="1047">-7.6464840000000001</cx:pt>
          <cx:pt idx="1048">-8.2837067910000002</cx:pt>
          <cx:pt idx="1049">-9.0966799999999992</cx:pt>
          <cx:pt idx="1050">-3.2299799999999999</cx:pt>
          <cx:pt idx="1051">-6.5478519999999998</cx:pt>
          <cx:pt idx="1052">-1.010742</cx:pt>
          <cx:pt idx="1053">-8.3496089999999992</cx:pt>
          <cx:pt idx="1054">0.19775390000000001</cx:pt>
          <cx:pt idx="1055">-5.8511250889999999</cx:pt>
          <cx:pt idx="1056">-7.6245120000000002</cx:pt>
          <cx:pt idx="1057">-3.5815429999999999</cx:pt>
          <cx:pt idx="1058">-5.9985350000000004</cx:pt>
          <cx:pt idx="1059">-2.1533199999999999</cx:pt>
          <cx:pt idx="1060">-4.5922850000000004</cx:pt>
          <cx:pt idx="1061">-7.1850589999999999</cx:pt>
          <cx:pt idx="1062">-3.5815429999999999</cx:pt>
          <cx:pt idx="1063">-7.3168949999999997</cx:pt>
          <cx:pt idx="1064">-7.8442379999999998</cx:pt>
          <cx:pt idx="1065">-4.1748050000000001</cx:pt>
          <cx:pt idx="1066">-8.4098637390000004</cx:pt>
          <cx:pt idx="1067">-8.9208979999999993</cx:pt>
          <cx:pt idx="1068">-8.1040023990000005</cx:pt>
          <cx:pt idx="1069">-5.8007809999999997</cx:pt>
          <cx:pt idx="1070">-7.3828129999999996</cx:pt>
          <cx:pt idx="1071">-7.6464840000000001</cx:pt>
          <cx:pt idx="1072">-5.0976559999999997</cx:pt>
          <cx:pt idx="1073">-7.6025390000000002</cx:pt>
          <cx:pt idx="1074">-6.4160159999999999</cx:pt>
          <cx:pt idx="1075">-9.0747070000000001</cx:pt>
          <cx:pt idx="1076">-6.5917969999999997</cx:pt>
          <cx:pt idx="1077">-3.5714458269999998</cx:pt>
          <cx:pt idx="1078">-0.92285159999999999</cx:pt>
          <cx:pt idx="1079">-8.0419920000000005</cx:pt>
          <cx:pt idx="1080">-2.9663089999999999</cx:pt>
          <cx:pt idx="1081">-8.8769530000000003</cx:pt>
          <cx:pt idx="1082">-7.1191409999999999</cx:pt>
          <cx:pt idx="1083">-6.3720699999999999</cx:pt>
          <cx:pt idx="1084">-3.120117</cx:pt>
          <cx:pt idx="1085">-6.6137699999999997</cx:pt>
          <cx:pt idx="1086">-6.6357419999999996</cx:pt>
          <cx:pt idx="1087">-1.6699219999999999</cx:pt>
          <cx:pt idx="1088">-8.8549799999999994</cx:pt>
          <cx:pt idx="1089">-4.2626949999999999</cx:pt>
          <cx:pt idx="1090">-6.7895510000000003</cx:pt>
          <cx:pt idx="1091">-4.1308590000000001</cx:pt>
          <cx:pt idx="1092">-6.0424800000000003</cx:pt>
          <cx:pt idx="1093">-7.1703224060000004</cx:pt>
          <cx:pt idx="1094">-7.9321289999999998</cx:pt>
          <cx:pt idx="1095">-4.5043949999999997</cx:pt>
          <cx:pt idx="1096">-7.1630859999999998</cx:pt>
          <cx:pt idx="1097">-7.0971679999999999</cx:pt>
          <cx:pt idx="1098">-3.911133</cx:pt>
          <cx:pt idx="1099">-5.4107279940000002</cx:pt>
          <cx:pt idx="1100">-7.03125</cx:pt>
          <cx:pt idx="1101">-7.1372498530000001</cx:pt>
          <cx:pt idx="1102">-7.7556423780000001</cx:pt>
          <cx:pt idx="1103">-8.9868159999999992</cx:pt>
          <cx:pt idx="1104">-3.3178709999999998</cx:pt>
          <cx:pt idx="1105">-7.8002929999999999</cx:pt>
          <cx:pt idx="1106">-1.8676759999999999</cx:pt>
          <cx:pt idx="1107">-7.1630859999999998</cx:pt>
          <cx:pt idx="1108">-2.6586910000000001</cx:pt>
          <cx:pt idx="1109">-6.8774410000000001</cx:pt>
          <cx:pt idx="1110">-7.9760739999999997</cx:pt>
          <cx:pt idx="1111">-2.3730470000000001</cx:pt>
          <cx:pt idx="1112">-4.5483399999999996</cx:pt>
          <cx:pt idx="1113">-2.2192379999999998</cx:pt>
          <cx:pt idx="1114">-6.1523440000000003</cx:pt>
          <cx:pt idx="1115">-5.1008569469999996</cx:pt>
          <cx:pt idx="1116">-4.5483399999999996</cx:pt>
          <cx:pt idx="1117">-8.7011719999999997</cx:pt>
          <cx:pt idx="1118">-7.1191409999999999</cx:pt>
          <cx:pt idx="1119">-6.2081745130000003</cx:pt>
          <cx:pt idx="1120">-5.2514649999999996</cx:pt>
          <cx:pt idx="1121">-7.9760739999999997</cx:pt>
          <cx:pt idx="1122">-2.8564449999999999</cx:pt>
          <cx:pt idx="1123">-8.9868159999999992</cx:pt>
          <cx:pt idx="1124">-8.0509096230000008</cx:pt>
          <cx:pt idx="1125">-6.1685500040000001</cx:pt>
          <cx:pt idx="1126">-4.3945309999999997</cx:pt>
          <cx:pt idx="1127">-8.6791990000000006</cx:pt>
          <cx:pt idx="1128">-5.9106449999999997</cx:pt>
          <cx:pt idx="1129">-9.0747070000000001</cx:pt>
          <cx:pt idx="1130">-8.5487044409999999</cx:pt>
          <cx:pt idx="1131">-5.0097659999999999</cx:pt>
          <cx:pt idx="1132">-8.9428710000000002</cx:pt>
          <cx:pt idx="1133">-6.5478519999999998</cx:pt>
          <cx:pt idx="1134">-7.004212602</cx:pt>
          <cx:pt idx="1135">-7.0751949999999999</cx:pt>
          <cx:pt idx="1136">-7.0366177490000004</cx:pt>
          <cx:pt idx="1137">-6.9213870000000002</cx:pt>
          <cx:pt idx="1138">-3.6474609999999998</cx:pt>
          <cx:pt idx="1139">-5.5151370000000002</cx:pt>
          <cx:pt idx="1140">-5.9545899999999996</cx:pt>
          <cx:pt idx="1141">-6.4422003319999996</cx:pt>
          <cx:pt idx="1142">-7.6601680280000002</cx:pt>
          <cx:pt idx="1143">-7.8442379999999998</cx:pt>
          <cx:pt idx="1144">-6.0424800000000003</cx:pt>
          <cx:pt idx="1145">-9.0307619999999993</cx:pt>
          <cx:pt idx="1146">-5.0317379999999998</cx:pt>
          <cx:pt idx="1147">-6.1523440000000003</cx:pt>
          <cx:pt idx="1148">-6.5258789999999998</cx:pt>
          <cx:pt idx="1149">-5.2075199999999997</cx:pt>
          <cx:pt idx="1150">-5.631379709</cx:pt>
          <cx:pt idx="1151">-5.8719357419999998</cx:pt>
          <cx:pt idx="1152">-6.1303710000000002</cx:pt>
          <cx:pt idx="1153">-6.9977066030000001</cx:pt>
          <cx:pt idx="1154">-7.0281796070000002</cx:pt>
          <cx:pt idx="1155">-7.6684328979999998</cx:pt>
          <cx:pt idx="1156">-7.734375</cx:pt>
          <cx:pt idx="1157">-4.2846679999999999</cx:pt>
          <cx:pt idx="1158">-4.9559863249999996</cx:pt>
          <cx:pt idx="1159">-7.2509769999999998</cx:pt>
          <cx:pt idx="1160">-6.7942497749999999</cx:pt>
          <cx:pt idx="1161">-5.4272460000000002</cx:pt>
          <cx:pt idx="1162">-6.1962890000000002</cx:pt>
          <cx:pt idx="1163">-6.2804814249999996</cx:pt>
          <cx:pt idx="1164">-6.4809707169999999</cx:pt>
          <cx:pt idx="1165">-6.7117642059999998</cx:pt>
          <cx:pt idx="1166">-7.734375</cx:pt>
          <cx:pt idx="1167">-5.4931640000000002</cx:pt>
          <cx:pt idx="1168">-6.9433590000000001</cx:pt>
          <cx:pt idx="1169">-6.3940429999999999</cx:pt>
          <cx:pt idx="1170">-7.4487300000000003</cx:pt>
          <cx:pt idx="1171">-7.4502836889999999</cx:pt>
          <cx:pt idx="1172">-7.4782644859999996</cx:pt>
          <cx:pt idx="1173">-7.4790755229999997</cx:pt>
          <cx:pt idx="1174">-7.4806728040000001</cx:pt>
          <cx:pt idx="1175">-7.485470243</cx:pt>
          <cx:pt idx="1176">-7.4863188730000001</cx:pt>
          <cx:pt idx="1177">-7.4926760000000003</cx:pt>
          <cx:pt idx="1178">-6.328125</cx:pt>
          <cx:pt idx="1179">-7.053223</cx:pt>
          <cx:pt idx="1180">-1.7578130000000001</cx:pt>
          <cx:pt idx="1181">-7.9541019999999998</cx:pt>
          <cx:pt idx="1182">-6.2907473710000001</cx:pt>
          <cx:pt idx="1183">-5.7348629999999998</cx:pt>
          <cx:pt idx="1184">-6.3849461170000001</cx:pt>
          <cx:pt idx="1185">-6.6357419999999996</cx:pt>
          <cx:pt idx="1186">-7.1630859999999998</cx:pt>
          <cx:pt idx="1187">-7.8758580800000004</cx:pt>
          <cx:pt idx="1188">-7.9760739999999997</cx:pt>
          <cx:pt idx="1189">-6.8115230000000002</cx:pt>
          <cx:pt idx="1190">-9.0307619999999993</cx:pt>
          <cx:pt idx="1191">-4.8559570000000001</cx:pt>
          <cx:pt idx="1192">-5.717615114</cx:pt>
          <cx:pt idx="1193">-9.0527339999999992</cx:pt>
          <cx:pt idx="1194">-4.9658199999999999</cx:pt>
          <cx:pt idx="1195">-8.9648439999999994</cx:pt>
          <cx:pt idx="1196">-6.5074197370000002</cx:pt>
          <cx:pt idx="1197">-4.4384769999999998</cx:pt>
          <cx:pt idx="1198">-9.0307619999999993</cx:pt>
          <cx:pt idx="1199">-5.9007550609999999</cx:pt>
          <cx:pt idx="1200">-5.3393550000000003</cx:pt>
          <cx:pt idx="1201">-6.350098</cx:pt>
          <cx:pt idx="1202">-9.0307619999999993</cx:pt>
          <cx:pt idx="1203">-5.603027</cx:pt>
          <cx:pt idx="1204">-8.8330079999999995</cx:pt>
          <cx:pt idx="1205">-9.0307619999999993</cx:pt>
          <cx:pt idx="1206">-8.170408321</cx:pt>
          <cx:pt idx="1207">-6.4599609999999998</cx:pt>
          <cx:pt idx="1208">-6.7381159070000001</cx:pt>
          <cx:pt idx="1209">-7.009277</cx:pt>
          <cx:pt idx="1210">-7.734375</cx:pt>
          <cx:pt idx="1211">0.021972660000000001</cx:pt>
          <cx:pt idx="1212">-6.4160159999999999</cx:pt>
          <cx:pt idx="1213">-4.2846679999999999</cx:pt>
          <cx:pt idx="1214">-9.0087890000000002</cx:pt>
          <cx:pt idx="1215">-8.7831961920000001</cx:pt>
          <cx:pt idx="1216">-7.4267580000000004</cx:pt>
          <cx:pt idx="1217">-1.2524409999999999</cx:pt>
          <cx:pt idx="1218">-8.9648439999999994</cx:pt>
          <cx:pt idx="1219">-7.1850589999999999</cx:pt>
          <cx:pt idx="1220">-7.1253865039999997</cx:pt>
          <cx:pt idx="1221">-6.7734581030000003</cx:pt>
          <cx:pt idx="1222">-5.646973</cx:pt>
          <cx:pt idx="1223">-9.0087890000000002</cx:pt>
          <cx:pt idx="1224">-4.6582030000000003</cx:pt>
          <cx:pt idx="1225">-4.5435346030000003</cx:pt>
          <cx:pt idx="1226">-4.4865052619999997</cx:pt>
          <cx:pt idx="1227">-4.4809787290000003</cx:pt>
          <cx:pt idx="1228">-4.4604489999999997</cx:pt>
          <cx:pt idx="1229">-3.8012700000000001</cx:pt>
          <cx:pt idx="1230">-8.7451170000000005</cx:pt>
          <cx:pt idx="1231">-4.4604489999999997</cx:pt>
          <cx:pt idx="1232">-7.6464840000000001</cx:pt>
          <cx:pt idx="1233">-7.5559180279999998</cx:pt>
          <cx:pt idx="1234">-7.5178708939999996</cx:pt>
          <cx:pt idx="1235">-7.4047850000000004</cx:pt>
          <cx:pt idx="1236">-7.1511884009999998</cx:pt>
          <cx:pt idx="1237">-6.7016600000000004</cx:pt>
          <cx:pt idx="1238">-7.3828129999999996</cx:pt>
          <cx:pt idx="1239">-7.7862373150000002</cx:pt>
          <cx:pt idx="1240">-8.9784904270000006</cx:pt>
          <cx:pt idx="1241">-9.0527339999999992</cx:pt>
          <cx:pt idx="1242">-5.5371090000000001</cx:pt>
          <cx:pt idx="1243">-9.0087890000000002</cx:pt>
          <cx:pt idx="1244">0.5932617</cx:pt>
          <cx:pt idx="1245">9.2065429999999999</cx:pt>
          <cx:pt idx="1246">0.63720699999999997</cx:pt>
          <cx:pt idx="1247">-9.0307619999999993</cx:pt>
          <cx:pt idx="1248">-5.2734379999999996</cx:pt>
          <cx:pt idx="1249">-4.899902</cx:pt>
          <cx:pt idx="1250">-5.3173830000000004</cx:pt>
          <cx:pt idx="1251">-6.7629463259999998</cx:pt>
          <cx:pt idx="1252">-8.5693359999999998</cx:pt>
          <cx:pt idx="1253">-5.0537109999999998</cx:pt>
          <cx:pt idx="1254">-8.5693359999999998</cx:pt>
          <cx:pt idx="1255">-1.999512</cx:pt>
          <cx:pt idx="1256">-7.1411129999999998</cx:pt>
          <cx:pt idx="1257">-5.5590820000000001</cx:pt>
          <cx:pt idx="1258">0.39550780000000002</cx:pt>
          <cx:pt idx="1259">-7.0751949999999999</cx:pt>
          <cx:pt idx="1260">-4.7900390000000002</cx:pt>
          <cx:pt idx="1261">-8.4594729999999991</cx:pt>
          <cx:pt idx="1262">-6.7675780000000003</cx:pt>
          <cx:pt idx="1263">4.0209960000000002</cx:pt>
          <cx:pt idx="1264">-5.8007809999999997</cx:pt>
          <cx:pt idx="1265">-3.6914060000000002</cx:pt>
          <cx:pt idx="1266">-8.8769530000000003</cx:pt>
          <cx:pt idx="1267">-8.8004957410000006</cx:pt>
          <cx:pt idx="1268">-8.4594729999999991</cx:pt>
          <cx:pt idx="1269">-4.9053973620000004</cx:pt>
          <cx:pt idx="1270">0.37353520000000001</cx:pt>
          <cx:pt idx="1271">7.6684570000000001</cx:pt>
          <cx:pt idx="1272">-8.1518549999999994</cx:pt>
          <cx:pt idx="1273">-6.6357419999999996</cx:pt>
          <cx:pt idx="1274">-4.6362300000000003</cx:pt>
          <cx:pt idx="1275">-9.0087890000000002</cx:pt>
          <cx:pt idx="1276">-4.5703129999999996</cx:pt>
          <cx:pt idx="1277">-5.6740869749999998</cx:pt>
          <cx:pt idx="1278">-6.1312629129999996</cx:pt>
          <cx:pt idx="1279">-7.6904300000000001</cx:pt>
          <cx:pt idx="1280">-4.5990389130000002</cx:pt>
          <cx:pt idx="1281">-3.9770509999999999</cx:pt>
          <cx:pt idx="1282">-6.4160159999999999</cx:pt>
          <cx:pt idx="1283">-5.5590820000000001</cx:pt>
          <cx:pt idx="1284">-7.1850589999999999</cx:pt>
          <cx:pt idx="1285">-6.236027483</cx:pt>
          <cx:pt idx="1286">-6.0424800000000003</cx:pt>
          <cx:pt idx="1287">-5.9106449999999997</cx:pt>
          <cx:pt idx="1288">-6.3940429999999999</cx:pt>
          <cx:pt idx="1289">1.40625</cx:pt>
          <cx:pt idx="1290">-8.5253910000000008</cx:pt>
          <cx:pt idx="1291">-4.1308590000000001</cx:pt>
          <cx:pt idx="1292">0.54931640000000004</cx:pt>
          <cx:pt idx="1293">-7.1191409999999999</cx:pt>
          <cx:pt idx="1294">-2.0214840000000001</cx:pt>
          <cx:pt idx="1295">-7.2070309999999997</cx:pt>
          <cx:pt idx="1296">-5.7788089999999999</cx:pt>
          <cx:pt idx="1297">-9.0087890000000002</cx:pt>
          <cx:pt idx="1298">-4.5043949999999997</cx:pt>
          <cx:pt idx="1299">-9.0307619999999993</cx:pt>
          <cx:pt idx="1300">-7.6749192620000004</cx:pt>
          <cx:pt idx="1301">-7.5499521510000003</cx:pt>
          <cx:pt idx="1302">-6.9433590000000001</cx:pt>
          <cx:pt idx="1303">-3.3178709999999998</cx:pt>
          <cx:pt idx="1304">-5.4711910000000001</cx:pt>
          <cx:pt idx="1305">-2.6806640000000002</cx:pt>
          <cx:pt idx="1306">-8.1079100000000004</cx:pt>
          <cx:pt idx="1307">-7.3828129999999996</cx:pt>
          <cx:pt idx="1308">0.63720699999999997</cx:pt>
          <cx:pt idx="1309">-8.7890630000000005</cx:pt>
          <cx:pt idx="1310">-4.1528320000000001</cx:pt>
          <cx:pt idx="1311">2.109375</cx:pt>
          <cx:pt idx="1312">-4.0649410000000001</cx:pt>
          <cx:pt idx="1313">-6.89327763</cx:pt>
          <cx:pt idx="1314">-7.2070309999999997</cx:pt>
          <cx:pt idx="1315">-8.1298829999999995</cx:pt>
          <cx:pt idx="1316">-4.2846679999999999</cx:pt>
          <cx:pt idx="1317">-8.8549799999999994</cx:pt>
          <cx:pt idx="1318">-3.4277340000000001</cx:pt>
          <cx:pt idx="1319">-8.9648439999999994</cx:pt>
          <cx:pt idx="1320">-2.416992</cx:pt>
          <cx:pt idx="1321">-9.0087890000000002</cx:pt>
          <cx:pt idx="1322">-8.8549799999999994</cx:pt>
          <cx:pt idx="1323">2.7246090000000001</cx:pt>
          <cx:pt idx="1324">1.4721679999999999</cx:pt>
          <cx:pt idx="1325">-5.0976559999999997</cx:pt>
          <cx:pt idx="1326">-9.0087890000000002</cx:pt>
          <cx:pt idx="1327">-9.0087890000000002</cx:pt>
          <cx:pt idx="1328">-9.0087890000000002</cx:pt>
          <cx:pt idx="1329">3.6914060000000002</cx:pt>
          <cx:pt idx="1330">-7.5805660000000001</cx:pt>
          <cx:pt idx="1331">-6.7016600000000004</cx:pt>
          <cx:pt idx="1332">-4.6690503760000004</cx:pt>
          <cx:pt idx="1333">-3.7133790000000002</cx:pt>
          <cx:pt idx="1334">-8.1079100000000004</cx:pt>
          <cx:pt idx="1335">-7.756348</cx:pt>
          <cx:pt idx="1336">1.047650263</cx:pt>
          <cx:pt idx="1337">2.8125</cx:pt>
          <cx:pt idx="1338">-5.2734379999999996</cx:pt>
          <cx:pt idx="1339">1.296387</cx:pt>
          <cx:pt idx="1340">-5.7128909999999999</cx:pt>
          <cx:pt idx="1341">-1.4941409999999999</cx:pt>
          <cx:pt idx="1342">-5.3833010000000003</cx:pt>
          <cx:pt idx="1343">-2.5927730000000002</cx:pt>
          <cx:pt idx="1344">-9.0087890000000002</cx:pt>
          <cx:pt idx="1345">-8.086537775</cx:pt>
          <cx:pt idx="1346">-6.2420353339999997</cx:pt>
          <cx:pt idx="1347">-5.8227539999999998</cx:pt>
          <cx:pt idx="1348">-5.7788089999999999</cx:pt>
          <cx:pt idx="1349">-7.1850589999999999</cx:pt>
          <cx:pt idx="1350">-5.6670601429999996</cx:pt>
          <cx:pt idx="1351">-3.3837890000000002</cx:pt>
          <cx:pt idx="1352">-8.7451170000000005</cx:pt>
          <cx:pt idx="1353">-3.0322269999999998</cx:pt>
          <cx:pt idx="1354">-9.0087890000000002</cx:pt>
          <cx:pt idx="1355">-8.8542254509999996</cx:pt>
          <cx:pt idx="1356">-8.7514404359999993</cx:pt>
          <cx:pt idx="1357">-8.700047928</cx:pt>
          <cx:pt idx="1358">-7.053223</cx:pt>
          <cx:pt idx="1359">-1.3623050000000001</cx:pt>
          <cx:pt idx="1360">-8.0200200000000006</cx:pt>
          <cx:pt idx="1361">-7.9739450789999999</cx:pt>
          <cx:pt idx="1362">-7.6278755780000003</cx:pt>
          <cx:pt idx="1363">-7.28180608</cx:pt>
          <cx:pt idx="1364">-6.6357419999999996</cx:pt>
          <cx:pt idx="1365">-6.8041514909999998</cx:pt>
          <cx:pt idx="1366">-6.8115230000000002</cx:pt>
          <cx:pt idx="1367">-7.6464840000000001</cx:pt>
          <cx:pt idx="1368">-5.8447269999999998</cx:pt>
          <cx:pt idx="1369">-6.4191086889999998</cx:pt>
          <cx:pt idx="1370">-9.0087890000000002</cx:pt>
          <cx:pt idx="1371">-4.5922850000000004</cx:pt>
          <cx:pt idx="1372">-7.2290039999999998</cx:pt>
          <cx:pt idx="1373">-3.6254879999999998</cx:pt>
          <cx:pt idx="1374">-8.7011719999999997</cx:pt>
          <cx:pt idx="1375">-8.6844641120000006</cx:pt>
          <cx:pt idx="1376">-8.6677478539999999</cx:pt>
          <cx:pt idx="1377">-7.9478354449999999</cx:pt>
          <cx:pt idx="1378">-7.2949219999999997</cx:pt>
          <cx:pt idx="1379">-4.4384769999999998</cx:pt>
          <cx:pt idx="1380">-8.9208979999999993</cx:pt>
          <cx:pt idx="1381">-5.2514649999999996</cx:pt>
          <cx:pt idx="1382">-7.9321289999999998</cx:pt>
          <cx:pt idx="1383">-6.7680991759999998</cx:pt>
          <cx:pt idx="1384">-6.4918291799999999</cx:pt>
          <cx:pt idx="1385">-5.9985350000000004</cx:pt>
          <cx:pt idx="1386">-7.5146480000000002</cx:pt>
          <cx:pt idx="1387">-4.0429690000000003</cx:pt>
          <cx:pt idx="1388">-9.0087890000000002</cx:pt>
          <cx:pt idx="1389">-6.1743160000000001</cx:pt>
          <cx:pt idx="1390">3.7353519999999998</cx:pt>
          <cx:pt idx="1391">-8.2177729999999993</cx:pt>
          <cx:pt idx="1392">-7.9418797120000004</cx:pt>
          <cx:pt idx="1393">-7.9198509990000003</cx:pt>
          <cx:pt idx="1394">-6.4941552800000002</cx:pt>
          <cx:pt idx="1395">-6.2182620000000002</cx:pt>
          <cx:pt idx="1396">-6.7047519299999996</cx:pt>
          <cx:pt idx="1397">-6.7675780000000003</cx:pt>
          <cx:pt idx="1398">-5.8227539999999998</cx:pt>
          <cx:pt idx="1399">-6.7456050000000003</cx:pt>
          <cx:pt idx="1400">-7.0802090379999996</cx:pt>
          <cx:pt idx="1401">-7.6974667569999999</cx:pt>
          <cx:pt idx="1402">-7.7227346910000003</cx:pt>
          <cx:pt idx="1403">-8.2886335649999996</cx:pt>
          <cx:pt idx="1404">-9.0087890000000002</cx:pt>
          <cx:pt idx="1405">-6.1324820300000003</cx:pt>
          <cx:pt idx="1406">-5.467799469</cx:pt>
          <cx:pt idx="1407">-5.2467919670000001</cx:pt>
          <cx:pt idx="1408">-2.8125</cx:pt>
          <cx:pt idx="1409">-8.8769530000000003</cx:pt>
          <cx:pt idx="1410">-7.279102398</cx:pt>
          <cx:pt idx="1411">-7.1514609870000001</cx:pt>
          <cx:pt idx="1412">-6.7675780000000003</cx:pt>
          <cx:pt idx="1413">-4.0429690000000003</cx:pt>
          <cx:pt idx="1414">-7.3828129999999996</cx:pt>
          <cx:pt idx="1415">-7.2575026649999996</cx:pt>
          <cx:pt idx="1416">-7.0075351570000004</cx:pt>
          <cx:pt idx="1417">-5.7568359999999998</cx:pt>
          <cx:pt idx="1418">3.7792970000000001</cx:pt>
          <cx:pt idx="1419">-3.9550779999999999</cx:pt>
          <cx:pt idx="1420">-4.6362300000000003</cx:pt>
          <cx:pt idx="1421">-9.0087890000000002</cx:pt>
          <cx:pt idx="1422">-5.5093069159999999</cx:pt>
          <cx:pt idx="1423">-5.2954100000000004</cx:pt>
          <cx:pt idx="1424">-9.0087890000000002</cx:pt>
          <cx:pt idx="1425">-8.728327707</cx:pt>
          <cx:pt idx="1426">-8.2235553459999995</cx:pt>
          <cx:pt idx="1427">-5.9985350000000004</cx:pt>
          <cx:pt idx="1428">-7.2509769999999998</cx:pt>
          <cx:pt idx="1429">-6.9204655529999997</cx:pt>
          <cx:pt idx="1430">-6.816125102</cx:pt>
          <cx:pt idx="1431">-6.4856223530000001</cx:pt>
          <cx:pt idx="1432">-5.9985350000000004</cx:pt>
          <cx:pt idx="1433">-6.306152</cx:pt>
          <cx:pt idx="1434">-8.5822218960000001</cx:pt>
          <cx:pt idx="1435">-8.7231450000000006</cx:pt>
          <cx:pt idx="1436">-6.3440954490000001</cx:pt>
          <cx:pt idx="1437">-4.8120120000000002</cx:pt>
          <cx:pt idx="1438">-8.3496089999999992</cx:pt>
          <cx:pt idx="1439">-7.6527924479999996</cx:pt>
          <cx:pt idx="1440">-7.6245120000000002</cx:pt>
          <cx:pt idx="1441">-4.9877929999999999</cx:pt>
          <cx:pt idx="1442">-6.1458888370000002</cx:pt>
          <cx:pt idx="1443">-7.2949219999999997</cx:pt>
          <cx:pt idx="1444">-5.5810550000000001</cx:pt>
          <cx:pt idx="1445">-6.6722003750000001</cx:pt>
          <cx:pt idx="1446">-6.8277444740000002</cx:pt>
          <cx:pt idx="1447">-9.0087890000000002</cx:pt>
          <cx:pt idx="1448">-5.8447269999999998</cx:pt>
          <cx:pt idx="1449">-8.8110350000000004</cx:pt>
          <cx:pt idx="1450">-6.5478519999999998</cx:pt>
          <cx:pt idx="1451">-7.9762349649999997</cx:pt>
          <cx:pt idx="1452">-9.0087890000000002</cx:pt>
          <cx:pt idx="1453">5.8666989999999997</cx:pt>
          <cx:pt idx="1454">-8.9868159999999992</cx:pt>
          <cx:pt idx="1455">-8.1298842859999993</cx:pt>
          <cx:pt idx="1456">-7.8442379999999998</cx:pt>
          <cx:pt idx="1457">-8.9868159999999992</cx:pt>
          <cx:pt idx="1458">-1.3403320000000001</cx:pt>
          <cx:pt idx="1459">-8.9868159999999992</cx:pt>
          <cx:pt idx="1460">-8.9972183890000004</cx:pt>
          <cx:pt idx="1461">-8.9979912280000001</cx:pt>
          <cx:pt idx="1462">-9.0153404940000001</cx:pt>
          <cx:pt idx="1463">-9.0176532280000004</cx:pt>
          <cx:pt idx="1464">-9.0180380089999996</cx:pt>
          <cx:pt idx="1465">-9.0207386090000004</cx:pt>
          <cx:pt idx="1466">-9.0211295590000002</cx:pt>
          <cx:pt idx="1467">-9.0307619999999993</cx:pt>
          <cx:pt idx="1468">-4.921875</cx:pt>
          <cx:pt idx="1469">-0.43945309999999999</cx:pt>
          <cx:pt idx="1470">-9.0087890000000002</cx:pt>
          <cx:pt idx="1471">-8.1094708969999996</cx:pt>
          <cx:pt idx="1472">-8.0275158530000006</cx:pt>
          <cx:pt idx="1473">-7.2509769999999998</cx:pt>
          <cx:pt idx="1474">2.0214840000000001</cx:pt>
          <cx:pt idx="1475">-9.0307619999999993</cx:pt>
          <cx:pt idx="1476">-9.0307619999999993</cx:pt>
          <cx:pt idx="1477">-9.0307619999999993</cx:pt>
          <cx:pt idx="1478">-9.0307619999999993</cx:pt>
          <cx:pt idx="1479">-9.0307619999999993</cx:pt>
          <cx:pt idx="1480">-9.0307619999999993</cx:pt>
          <cx:pt idx="1481">-9.0307619999999993</cx:pt>
          <cx:pt idx="1482">-9.0307619999999993</cx:pt>
          <cx:pt idx="1483">-0.50537109999999996</cx:pt>
          <cx:pt idx="1484">-9.0087890000000002</cx:pt>
          <cx:pt idx="1485">-8.3879997700000004</cx:pt>
          <cx:pt idx="1486">-7.053223</cx:pt>
          <cx:pt idx="1487">-8.0404079300000006</cx:pt>
          <cx:pt idx="1488">-9.0307619999999993</cx:pt>
          <cx:pt idx="1489">-6.8334960000000002</cx:pt>
          <cx:pt idx="1490">-7.9541019999999998</cx:pt>
          <cx:pt idx="1491">-1.032715</cx:pt>
          <cx:pt idx="1492">-1.3183590000000001</cx:pt>
          <cx:pt idx="1493">-7.009277</cx:pt>
          <cx:pt idx="1494">-7.0856592799999998</cx:pt>
          <cx:pt idx="1495">-7.0902161970000002</cx:pt>
          <cx:pt idx="1496">-7.3338022609999998</cx:pt>
          <cx:pt idx="1497">-7.3552903250000004</cx:pt>
          <cx:pt idx="1498">-7.3597753380000004</cx:pt>
          <cx:pt idx="1499">-7.4047850000000004</cx:pt>
          <cx:pt idx="1500">-0.41748049999999998</cx:pt>
          <cx:pt idx="1501">-8.5473630000000007</cx:pt>
          <cx:pt idx="1502">-5.8159555120000004</cx:pt>
          <cx:pt idx="1503">-5.4052730000000002</cx:pt>
          <cx:pt idx="1504">-4.5043949999999997</cx:pt>
          <cx:pt idx="1505">-9.0307619999999993</cx:pt>
          <cx:pt idx="1506">-8.354979385</cx:pt>
          <cx:pt idx="1507">2.8784179999999999</cx:pt>
          <cx:pt idx="1508">-8.8110350000000004</cx:pt>
          <cx:pt idx="1509">-8.7688642629999993</cx:pt>
          <cx:pt idx="1510">-8.5654440790000006</cx:pt>
          <cx:pt idx="1511">-8.5034179999999999</cx:pt>
          <cx:pt idx="1512">-1.384277</cx:pt>
          <cx:pt idx="1513">-9.0087890000000002</cx:pt>
          <cx:pt idx="1514">-9.0111492420000001</cx:pt>
          <cx:pt idx="1515">-9.0307619999999993</cx:pt>
          <cx:pt idx="1516">-2.3071290000000002</cx:pt>
          <cx:pt idx="1517">-8.9868159999999992</cx:pt>
          <cx:pt idx="1518">-8.6384508479999997</cx:pt>
          <cx:pt idx="1519">-8.4155270000000009</cx:pt>
          <cx:pt idx="1520">-1.8676759999999999</cx:pt>
          <cx:pt idx="1521">-8.3935549999999992</cx:pt>
          <cx:pt idx="1522">-9.0307619999999993</cx:pt>
          <cx:pt idx="1523">-5.3393550000000003</cx:pt>
          <cx:pt idx="1524">-9.0087890000000002</cx:pt>
          <cx:pt idx="1525">2.416992</cx:pt>
          <cx:pt idx="1526">-8.0419920000000005</cx:pt>
          <cx:pt idx="1527">-8.9648439999999994</cx:pt>
          <cx:pt idx="1528">-1.428223</cx:pt>
          <cx:pt idx="1529">8.6572270000000007</cx:pt>
          <cx:pt idx="1530">-3.2739259999999999</cx:pt>
          <cx:pt idx="1531">-7.9980469999999997</cx:pt>
          <cx:pt idx="1532">-7.8002929999999999</cx:pt>
          <cx:pt idx="1533">-7.2070309999999997</cx:pt>
          <cx:pt idx="1534">-9.0087890000000002</cx:pt>
          <cx:pt idx="1535">5.1855469999999997</cx:pt>
          <cx:pt idx="1536">-8.9868159999999992</cx:pt>
          <cx:pt idx="1537">-8.9993045590000005</cx:pt>
          <cx:pt idx="1538">-9.0038013699999997</cx:pt>
          <cx:pt idx="1539">-9.0087890000000002</cx:pt>
          <cx:pt idx="1540">1.6699219999999999</cx:pt>
          <cx:pt idx="1541">-9.0087890000000002</cx:pt>
          <cx:pt idx="1542">-9.009961401</cx:pt>
          <cx:pt idx="1543">-9.0106543220000006</cx:pt>
          <cx:pt idx="1544">-9.0293797819999995</cx:pt>
          <cx:pt idx="1545">-9.0307619999999993</cx:pt>
          <cx:pt idx="1546">-3.4277340000000001</cx:pt>
          <cx:pt idx="1547">-9.0087890000000002</cx:pt>
          <cx:pt idx="1548">-8.8785524480000007</cx:pt>
          <cx:pt idx="1549">-6.9334713089999997</cx:pt>
          <cx:pt idx="1550">-6.7782402590000004</cx:pt>
          <cx:pt idx="1551">-6.1743160000000001</cx:pt>
          <cx:pt idx="1552">-3.4057620000000002</cx:pt>
          <cx:pt idx="1553">-7.3828129999999996</cx:pt>
          <cx:pt idx="1554">-7.8594734849999996</cx:pt>
          <cx:pt idx="1555">-9.0087890000000002</cx:pt>
          <cx:pt idx="1556">12.612299999999999</cx:pt>
          <cx:pt idx="1557">-8.3715820000000001</cx:pt>
          <cx:pt idx="1558">-5.5151370000000002</cx:pt>
          <cx:pt idx="1559">-9.0087890000000002</cx:pt>
          <cx:pt idx="1560">-9.0087890000000002</cx:pt>
          <cx:pt idx="1561">-9.0087890000000002</cx:pt>
          <cx:pt idx="1562">-9.0087890000000002</cx:pt>
          <cx:pt idx="1563">-0.1098633</cx:pt>
          <cx:pt idx="1564">-5.7568359999999998</cx:pt>
          <cx:pt idx="1565">-3.0761720000000001</cx:pt>
          <cx:pt idx="1566">-7.6245120000000002</cx:pt>
          <cx:pt idx="1567">-5.0756839999999999</cx:pt>
          <cx:pt idx="1568">-8.5253910000000008</cx:pt>
          <cx:pt idx="1569">-7.6065054710000002</cx:pt>
          <cx:pt idx="1570">-5.8447269999999998</cx:pt>
          <cx:pt idx="1571">-7.1235202749999997</cx:pt>
          <cx:pt idx="1572">-8.5913090000000008</cx:pt>
          <cx:pt idx="1573">-1.296387</cx:pt>
          <cx:pt idx="1574">-3.4961769930000002</cx:pt>
          <cx:pt idx="1575">-8.0200200000000006</cx:pt>
          <cx:pt idx="1576">-7.9826642420000002</cx:pt>
          <cx:pt idx="1577">-6.8181844439999999</cx:pt>
          <cx:pt idx="1578">-5.8227539999999998</cx:pt>
          <cx:pt idx="1579">-8.3935549999999992</cx:pt>
          <cx:pt idx="1580">-5.8666989999999997</cx:pt>
          <cx:pt idx="1581">-7.1411129999999998</cx:pt>
          <cx:pt idx="1582">-7.8376042540000004</cx:pt>
          <cx:pt idx="1583">-9.0087890000000002</cx:pt>
          <cx:pt idx="1584">-4.2846679999999999</cx:pt>
          <cx:pt idx="1585">-6.9433590000000001</cx:pt>
          <cx:pt idx="1586">-7.4693409300000004</cx:pt>
          <cx:pt idx="1587">-7.4892246269999996</cx:pt>
          <cx:pt idx="1588">-8.2990323949999993</cx:pt>
          <cx:pt idx="1589">-8.5620233599999995</cx:pt>
          <cx:pt idx="1590">-8.8652674260000008</cx:pt>
          <cx:pt idx="1591">-8.9868159999999992</cx:pt>
          <cx:pt idx="1592">-5.7729783829999999</cx:pt>
          <cx:pt idx="1593">-4.5922850000000004</cx:pt>
          <cx:pt idx="1594">-9.0087890000000002</cx:pt>
          <cx:pt idx="1595">-9.0087890000000002</cx:pt>
          <cx:pt idx="1596">0.703125</cx:pt>
          <cx:pt idx="1597">-4.4145236150000002</cx:pt>
          <cx:pt idx="1598">-7.8002929999999999</cx:pt>
          <cx:pt idx="1599">-6.5917969999999997</cx:pt>
          <cx:pt idx="1600">-7.0864715599999997</cx:pt>
          <cx:pt idx="1601">-7.1451046690000002</cx:pt>
          <cx:pt idx="1602">-7.3828129999999996</cx:pt>
          <cx:pt idx="1603">-6.306152</cx:pt>
          <cx:pt idx="1604">-6.2693505949999997</cx:pt>
          <cx:pt idx="1605">-6.2232130269999999</cx:pt>
          <cx:pt idx="1606">-6.1233239529999999</cx:pt>
          <cx:pt idx="1607">-6.1083980000000002</cx:pt>
          <cx:pt idx="1608">-2.7685550000000001</cx:pt>
          <cx:pt idx="1609">-5.7128909999999999</cx:pt>
          <cx:pt idx="1610">-9.0087890000000002</cx:pt>
          <cx:pt idx="1611">-6.6633779799999999</cx:pt>
          <cx:pt idx="1612">-6.5698239999999997</cx:pt>
          <cx:pt idx="1613">-7.7766233339999999</cx:pt>
          <cx:pt idx="1614">-8.1807152339999991</cx:pt>
          <cx:pt idx="1615">-8.9868159999999992</cx:pt>
          <cx:pt idx="1616">-4.3286129999999998</cx:pt>
          <cx:pt idx="1617">-9.0087890000000002</cx:pt>
          <cx:pt idx="1618">-8.9785243030000004</cx:pt>
          <cx:pt idx="1619">-8.6257989829999993</cx:pt>
          <cx:pt idx="1620">-8.3946061259999993</cx:pt>
          <cx:pt idx="1621">-8.2836909999999992</cx:pt>
          <cx:pt idx="1622">2.8125</cx:pt>
          <cx:pt idx="1623">-9.0307619999999993</cx:pt>
          <cx:pt idx="1624">-8.9868159999999992</cx:pt>
          <cx:pt idx="1625">0.087890629999999997</cx:pt>
          <cx:pt idx="1626">-7.756348</cx:pt>
          <cx:pt idx="1627">-5.9545899999999996</cx:pt>
          <cx:pt idx="1628">-8.9868159999999992</cx:pt>
          <cx:pt idx="1629">-6.3811044309999998</cx:pt>
          <cx:pt idx="1630">-5.5151370000000002</cx:pt>
          <cx:pt idx="1631">-9.0087890000000002</cx:pt>
          <cx:pt idx="1632">-9.0087890000000002</cx:pt>
          <cx:pt idx="1633">-9.0087890000000002</cx:pt>
          <cx:pt idx="1634">-9.0087890000000002</cx:pt>
          <cx:pt idx="1635">-9.0087890000000002</cx:pt>
          <cx:pt idx="1636">-9.0087890000000002</cx:pt>
          <cx:pt idx="1637">-9.0087890000000002</cx:pt>
          <cx:pt idx="1638">-9.0087890000000002</cx:pt>
          <cx:pt idx="1639">-9.0087890000000002</cx:pt>
          <cx:pt idx="1640">-9.0087890000000002</cx:pt>
          <cx:pt idx="1641">-9.0087890000000002</cx:pt>
          <cx:pt idx="1642">-4.5922850000000004</cx:pt>
          <cx:pt idx="1643">-9.0087890000000002</cx:pt>
          <cx:pt idx="1644">-7.9101559999999997</cx:pt>
          <cx:pt idx="1645">-8.5228351720000006</cx:pt>
          <cx:pt idx="1646">-8.9752938869999994</cx:pt>
          <cx:pt idx="1647">-9.0087890000000002</cx:pt>
          <cx:pt idx="1648">0.19775390000000001</cx:pt>
          <cx:pt idx="1649">-9.0307619999999993</cx:pt>
          <cx:pt idx="1650">-6.328125</cx:pt>
          <cx:pt idx="1651">-7.2729775940000003</cx:pt>
          <cx:pt idx="1652">-7.846810176</cx:pt>
          <cx:pt idx="1653">-7.9321289999999998</cx:pt>
          <cx:pt idx="1654">-4.1308590000000001</cx:pt>
          <cx:pt idx="1655">-9.0087890000000002</cx:pt>
          <cx:pt idx="1656">-9.0087890000000002</cx:pt>
          <cx:pt idx="1657">-9.0087890000000002</cx:pt>
          <cx:pt idx="1658">-9.0087890000000002</cx:pt>
          <cx:pt idx="1659">-9.0087890000000002</cx:pt>
          <cx:pt idx="1660">-9.0087890000000002</cx:pt>
          <cx:pt idx="1661">-9.0087890000000002</cx:pt>
          <cx:pt idx="1662">-9.0087890000000002</cx:pt>
          <cx:pt idx="1663">-9.0087890000000002</cx:pt>
          <cx:pt idx="1664">-9.0087890000000002</cx:pt>
          <cx:pt idx="1665">-9.0087890000000002</cx:pt>
          <cx:pt idx="1666">-9.0087890000000002</cx:pt>
          <cx:pt idx="1667">-9.0087890000000002</cx:pt>
          <cx:pt idx="1668">-9.0087890000000002</cx:pt>
          <cx:pt idx="1669">-9.0087890000000002</cx:pt>
          <cx:pt idx="1670">-9.0087890000000002</cx:pt>
          <cx:pt idx="1671">-9.0087890000000002</cx:pt>
          <cx:pt idx="1672">-9.0087890000000002</cx:pt>
          <cx:pt idx="1673">-9.0087890000000002</cx:pt>
          <cx:pt idx="1674">-9.0087890000000002</cx:pt>
          <cx:pt idx="1675">-9.0087890000000002</cx:pt>
          <cx:pt idx="1676">-9.0087890000000002</cx:pt>
          <cx:pt idx="1677">-9.0087890000000002</cx:pt>
          <cx:pt idx="1678">-9.0087890000000002</cx:pt>
          <cx:pt idx="1679">-9.0087890000000002</cx:pt>
          <cx:pt idx="1680">-9.0087890000000002</cx:pt>
          <cx:pt idx="1681">-9.0087890000000002</cx:pt>
          <cx:pt idx="1682">-9.0087890000000002</cx:pt>
          <cx:pt idx="1683">-9.0087890000000002</cx:pt>
          <cx:pt idx="1684">-9.0087890000000002</cx:pt>
          <cx:pt idx="1685">-9.0087890000000002</cx:pt>
          <cx:pt idx="1686">-9.0087890000000002</cx:pt>
          <cx:pt idx="1687">-9.0087890000000002</cx:pt>
          <cx:pt idx="1688">-9.0087890000000002</cx:pt>
          <cx:pt idx="1689">-9.0087890000000002</cx:pt>
          <cx:pt idx="1690">-9.0087890000000002</cx:pt>
          <cx:pt idx="1691">-9.0087890000000002</cx:pt>
          <cx:pt idx="1692">-9.0087890000000002</cx:pt>
          <cx:pt idx="1693">-9.0087890000000002</cx:pt>
          <cx:pt idx="1694">-9.0087890000000002</cx:pt>
          <cx:pt idx="1695">-9.0087890000000002</cx:pt>
          <cx:pt idx="1696">-9.0087890000000002</cx:pt>
          <cx:pt idx="1697">-9.0087890000000002</cx:pt>
          <cx:pt idx="1698">-9.0087890000000002</cx:pt>
          <cx:pt idx="1699">-9.0087890000000002</cx:pt>
          <cx:pt idx="1700">-9.0087890000000002</cx:pt>
          <cx:pt idx="1701">-9.0087890000000002</cx:pt>
          <cx:pt idx="1702">-9.0087890000000002</cx:pt>
          <cx:pt idx="1703">-9.0087890000000002</cx:pt>
          <cx:pt idx="1704">-9.0087890000000002</cx:pt>
          <cx:pt idx="1705">-9.0087890000000002</cx:pt>
          <cx:pt idx="1706">-9.0087890000000002</cx:pt>
          <cx:pt idx="1707">-9.0087890000000002</cx:pt>
          <cx:pt idx="1708">-9.0087890000000002</cx:pt>
          <cx:pt idx="1709">-9.0087890000000002</cx:pt>
          <cx:pt idx="1710">-9.0087890000000002</cx:pt>
          <cx:pt idx="1711">-9.0087890000000002</cx:pt>
          <cx:pt idx="1712">-9.0087890000000002</cx:pt>
          <cx:pt idx="1713">-9.0087890000000002</cx:pt>
          <cx:pt idx="1714">-9.0087890000000002</cx:pt>
          <cx:pt idx="1715">-9.0087890000000002</cx:pt>
          <cx:pt idx="1716">-9.0087890000000002</cx:pt>
          <cx:pt idx="1717">-9.0087890000000002</cx:pt>
          <cx:pt idx="1718">-9.0087890000000002</cx:pt>
          <cx:pt idx="1719">-9.0087890000000002</cx:pt>
          <cx:pt idx="1720">-9.0087890000000002</cx:pt>
          <cx:pt idx="1721">-9.0087890000000002</cx:pt>
          <cx:pt idx="1722">-9.0087890000000002</cx:pt>
          <cx:pt idx="1723">-9.0087890000000002</cx:pt>
          <cx:pt idx="1724">-9.0087890000000002</cx:pt>
          <cx:pt idx="1725">-9.0087890000000002</cx:pt>
          <cx:pt idx="1726">-9.0087890000000002</cx:pt>
          <cx:pt idx="1727">-9.0087890000000002</cx:pt>
          <cx:pt idx="1728">-9.0087890000000002</cx:pt>
          <cx:pt idx="1729">-9.0087890000000002</cx:pt>
          <cx:pt idx="1730">-9.0087890000000002</cx:pt>
          <cx:pt idx="1731">-9.0087890000000002</cx:pt>
          <cx:pt idx="1732">-9.0087890000000002</cx:pt>
          <cx:pt idx="1733">-9.0087890000000002</cx:pt>
          <cx:pt idx="1734">-9.0087890000000002</cx:pt>
          <cx:pt idx="1735">-9.0087890000000002</cx:pt>
          <cx:pt idx="1736">-9.0087890000000002</cx:pt>
          <cx:pt idx="1737">-9.0087890000000002</cx:pt>
          <cx:pt idx="1738">-9.0087890000000002</cx:pt>
          <cx:pt idx="1739">-9.0087890000000002</cx:pt>
          <cx:pt idx="1740">-9.0087890000000002</cx:pt>
          <cx:pt idx="1741">-9.0087890000000002</cx:pt>
          <cx:pt idx="1742">-9.0087890000000002</cx:pt>
          <cx:pt idx="1743">-9.0087890000000002</cx:pt>
          <cx:pt idx="1744">-9.0087890000000002</cx:pt>
          <cx:pt idx="1745">-9.0087890000000002</cx:pt>
          <cx:pt idx="1746">-9.0087890000000002</cx:pt>
          <cx:pt idx="1747">-9.0087890000000002</cx:pt>
          <cx:pt idx="1748">-9.0087890000000002</cx:pt>
          <cx:pt idx="1749">-9.0087890000000002</cx:pt>
          <cx:pt idx="1750">-9.0087890000000002</cx:pt>
          <cx:pt idx="1751">-9.0087890000000002</cx:pt>
          <cx:pt idx="1752">-9.0087890000000002</cx:pt>
          <cx:pt idx="1753">-9.0087890000000002</cx:pt>
          <cx:pt idx="1754">-9.0087890000000002</cx:pt>
          <cx:pt idx="1755">-9.0087890000000002</cx:pt>
          <cx:pt idx="1756">-9.0087890000000002</cx:pt>
          <cx:pt idx="1757">-9.0087890000000002</cx:pt>
          <cx:pt idx="1758">-9.0087890000000002</cx:pt>
          <cx:pt idx="1759">-9.0087890000000002</cx:pt>
          <cx:pt idx="1760">-9.0087890000000002</cx:pt>
          <cx:pt idx="1761">-9.0087890000000002</cx:pt>
          <cx:pt idx="1762">-9.0087890000000002</cx:pt>
          <cx:pt idx="1763">-9.0087890000000002</cx:pt>
          <cx:pt idx="1764">-9.0087890000000002</cx:pt>
          <cx:pt idx="1765">-9.0087890000000002</cx:pt>
          <cx:pt idx="1766">-9.0087890000000002</cx:pt>
          <cx:pt idx="1767">-9.0087890000000002</cx:pt>
          <cx:pt idx="1768">-9.0087890000000002</cx:pt>
          <cx:pt idx="1769">-9.0087890000000002</cx:pt>
          <cx:pt idx="1770">-9.0087890000000002</cx:pt>
          <cx:pt idx="1771">-9.0087890000000002</cx:pt>
          <cx:pt idx="1772">-9.0087890000000002</cx:pt>
          <cx:pt idx="1773">-9.0087890000000002</cx:pt>
          <cx:pt idx="1774">-9.0087890000000002</cx:pt>
          <cx:pt idx="1775">-9.0087890000000002</cx:pt>
          <cx:pt idx="1776">-9.0087890000000002</cx:pt>
          <cx:pt idx="1777">-9.0087890000000002</cx:pt>
          <cx:pt idx="1778">-9.0087890000000002</cx:pt>
          <cx:pt idx="1779">-9.0087890000000002</cx:pt>
          <cx:pt idx="1780">-9.0087890000000002</cx:pt>
          <cx:pt idx="1781">-9.0087890000000002</cx:pt>
          <cx:pt idx="1782">-9.0087890000000002</cx:pt>
          <cx:pt idx="1783">-9.0087890000000002</cx:pt>
          <cx:pt idx="1784">-9.0087890000000002</cx:pt>
          <cx:pt idx="1785">-9.0087890000000002</cx:pt>
          <cx:pt idx="1786">-9.0087890000000002</cx:pt>
          <cx:pt idx="1787">-9.0087890000000002</cx:pt>
          <cx:pt idx="1788">-9.0087890000000002</cx:pt>
          <cx:pt idx="1789">-9.0087890000000002</cx:pt>
          <cx:pt idx="1790">-9.0087890000000002</cx:pt>
          <cx:pt idx="1791">-9.0087890000000002</cx:pt>
          <cx:pt idx="1792">-9.0087890000000002</cx:pt>
          <cx:pt idx="1793">-9.0087890000000002</cx:pt>
          <cx:pt idx="1794">-9.0087890000000002</cx:pt>
          <cx:pt idx="1795">-9.0087890000000002</cx:pt>
          <cx:pt idx="1796">-9.0087890000000002</cx:pt>
          <cx:pt idx="1797">-9.0087890000000002</cx:pt>
          <cx:pt idx="1798">-9.0087890000000002</cx:pt>
          <cx:pt idx="1799">-9.0087890000000002</cx:pt>
          <cx:pt idx="1800">-9.0087890000000002</cx:pt>
          <cx:pt idx="1801">-9.0087890000000002</cx:pt>
          <cx:pt idx="1802">-9.0087890000000002</cx:pt>
          <cx:pt idx="1803">-9.0087890000000002</cx:pt>
          <cx:pt idx="1804">-9.0087890000000002</cx:pt>
          <cx:pt idx="1805">-9.0087890000000002</cx:pt>
          <cx:pt idx="1806">-9.0087890000000002</cx:pt>
          <cx:pt idx="1807">-9.0087890000000002</cx:pt>
          <cx:pt idx="1808">-9.0087890000000002</cx:pt>
          <cx:pt idx="1809">-9.0087890000000002</cx:pt>
          <cx:pt idx="1810">-9.0087890000000002</cx:pt>
          <cx:pt idx="1811">-9.0087890000000002</cx:pt>
          <cx:pt idx="1812">-6.5509322069999998</cx:pt>
          <cx:pt idx="1813">-4.0155641209999997</cx:pt>
          <cx:pt idx="1814">-1.5377046830000001</cx:pt>
          <cx:pt idx="1815">-0.73883882499999998</cx:pt>
          <cx:pt idx="1816">3.513028249</cx:pt>
          <cx:pt idx="1817">5.9908879849999996</cx:pt>
          <cx:pt idx="1818">8.4862501849999994</cx:pt>
          <cx:pt idx="1819">10.96410962</cx:pt>
          <cx:pt idx="1820">13.46072191</cx:pt>
          <cx:pt idx="1821">15.996090000000001</cx:pt>
          <cx:pt idx="1822">-6.4160159999999999</cx:pt>
          <cx:pt idx="1823">-6.0763904039999996</cx:pt>
          <cx:pt idx="1824">-5.7444683870000004</cx:pt>
          <cx:pt idx="1825">-5.4023307899999997</cx:pt>
          <cx:pt idx="1826">-4.7413336700000004</cx:pt>
          <cx:pt idx="1827">-4.4042201150000002</cx:pt>
          <cx:pt idx="1828">-4.06459452</cx:pt>
          <cx:pt idx="1829">-3.9549028320000001</cx:pt>
          <cx:pt idx="1830">-3.7353519999999998</cx:pt>
          <cx:pt idx="1831">-2.3079425250000001</cx:pt>
          <cx:pt idx="1832">-0.85693359999999996</cx:pt>
          <cx:pt idx="1833">-8.9648439999999994</cx:pt>
          <cx:pt idx="1834">0.76904300000000003</cx:pt>
          <cx:pt idx="1835">16.660410649999999</cx:pt>
          <cx:pt idx="1836">32.058109999999999</cx:pt>
          <cx:pt idx="1837">36.345971830000003</cx:pt>
          <cx:pt idx="1838">44.956049999999998</cx:pt>
          <cx:pt idx="1839">45.434376790000002</cx:pt>
          <cx:pt idx="1840">45.438180590000002</cx:pt>
          <cx:pt idx="1841">45.905333710000001</cx:pt>
          <cx:pt idx="1842">46.380094419999999</cx:pt>
          <cx:pt idx="1843">46.858658929999997</cx:pt>
          <cx:pt idx="1844">47.815550229999999</cx:pt>
          <cx:pt idx="1845">48.282703349999998</cx:pt>
          <cx:pt idx="1846">50.185549999999999</cx:pt>
          <cx:pt idx="1847">50.134600239999997</cx:pt>
          <cx:pt idx="1848">50.083624950000001</cx:pt>
          <cx:pt idx="1849">49.981265960000002</cx:pt>
          <cx:pt idx="1850">49.929116479999998</cx:pt>
          <cx:pt idx="1851">49.878524079999998</cx:pt>
          <cx:pt idx="1852">49.77659903</cx:pt>
          <cx:pt idx="1853">49.726006630000001</cx:pt>
          <cx:pt idx="1854">49.675056869999999</cx:pt>
          <cx:pt idx="1855">49.572315000000003</cx:pt>
          <cx:pt idx="1856">49.521722590000003</cx:pt>
          <cx:pt idx="1857">49.47074731</cx:pt>
          <cx:pt idx="1858">49.419797539999998</cx:pt>
          <cx:pt idx="1859">49.368005429999997</cx:pt>
          <cx:pt idx="1860">49.317846969999998</cx:pt>
          <cx:pt idx="1861">49.266080379999998</cx:pt>
          <cx:pt idx="1862">49.164538219999997</cx:pt>
          <cx:pt idx="1863">49.112746100000003</cx:pt>
          <cx:pt idx="1864">49.062179229999998</cx:pt>
          <cx:pt idx="1865">49.011203940000001</cx:pt>
          <cx:pt idx="1866">48.908462059999998</cx:pt>
          <cx:pt idx="1867">48.858303599999999</cx:pt>
          <cx:pt idx="1868">48.80653702</cx:pt>
          <cx:pt idx="1869">48.704969329999997</cx:pt>
          <cx:pt idx="1870">48.654019560000002</cx:pt>
          <cx:pt idx="1871">48.602227450000001</cx:pt>
          <cx:pt idx="1872">48.552068990000002</cx:pt>
          <cx:pt idx="1873">48.449710000000003</cx:pt>
          <cx:pt idx="1874">51.789549999999998</cx:pt>
          <cx:pt idx="1875">51.301362599999997</cx:pt>
          <cx:pt idx="1876">50.816871689999999</cx:pt>
          <cx:pt idx="1877">48.833071269999998</cx:pt>
          <cx:pt idx="1878">48.344883869999997</cx:pt>
          <cx:pt idx="1879">47.856450000000002</cx:pt>
          <cx:pt idx="1880">51.350099999999998</cx:pt>
          <cx:pt idx="1881">50.837685829999998</cx:pt>
          <cx:pt idx="1882">49.796168129999998</cx:pt>
          <cx:pt idx="1883">49.271236940000001</cx:pt>
          <cx:pt idx="1884">48.742394169999997</cx:pt>
          <cx:pt idx="1885">48.229979999999998</cx:pt>
          <cx:pt idx="1886">48.264724370000003</cx:pt>
          <cx:pt idx="1887">48.281833280000001</cx:pt>
          <cx:pt idx="1888">48.299339269999997</cx:pt>
          <cx:pt idx="1889">48.333539819999999</cx:pt>
          <cx:pt idx="1890">48.350916320000003</cx:pt>
          <cx:pt idx="1891">48.36842231</cx:pt>
          <cx:pt idx="1892">48.402899089999998</cx:pt>
          <cx:pt idx="1893">48.419861249999997</cx:pt>
          <cx:pt idx="1894">48.43736723</cx:pt>
          <cx:pt idx="1895">48.471705900000003</cx:pt>
          <cx:pt idx="1896">48.489350000000002</cx:pt>
          <cx:pt idx="1897">48.506450270000002</cx:pt>
          <cx:pt idx="1898">48.540927050000001</cx:pt>
          <cx:pt idx="1899">48.558027330000002</cx:pt>
          <cx:pt idx="1900">48.575541940000001</cx:pt>
          <cx:pt idx="1901">48.592504099999999</cx:pt>
          <cx:pt idx="1902">48.661587140000002</cx:pt>
          <cx:pt idx="1903">48.678825529999997</cx:pt>
          <cx:pt idx="1904">48.696331520000001</cx:pt>
          <cx:pt idx="1905">48.730670179999997</cx:pt>
          <cx:pt idx="1906">48.748176170000001</cx:pt>
          <cx:pt idx="1907">48.765146960000003</cx:pt>
          <cx:pt idx="1908">48.78252346</cx:pt>
          <cx:pt idx="1909">48.799891340000002</cx:pt>
          <cx:pt idx="1910">48.816991610000002</cx:pt>
          <cx:pt idx="1911">48.834497599999999</cx:pt>
          <cx:pt idx="1912">48.868974369999997</cx:pt>
          <cx:pt idx="1913">48.886074649999998</cx:pt>
          <cx:pt idx="1914">48.903589269999998</cx:pt>
          <cx:pt idx="1915">48.920551430000003</cx:pt>
          <cx:pt idx="1916">48.937789819999999</cx:pt>
          <cx:pt idx="1917">48.955166319999996</cx:pt>
          <cx:pt idx="1918">48.972396080000003</cx:pt>
          <cx:pt idx="1919">48.989634469999999</cx:pt>
          <cx:pt idx="1920">49.024378839999997</cx:pt>
          <cx:pt idx="1921">49.04134964</cx:pt>
          <cx:pt idx="1922">49.058993729999997</cx:pt>
          <cx:pt idx="1923">49.081480470000002</cx:pt>
          <cx:pt idx="1924">49.09346188</cx:pt>
          <cx:pt idx="1925">49.110432670000002</cx:pt>
          <cx:pt idx="1926">49.127938659999998</cx:pt>
          <cx:pt idx="1927">49.196892220000002</cx:pt>
          <cx:pt idx="1928">49.33532589</cx:pt>
          <cx:pt idx="1929">49.352426170000001</cx:pt>
          <cx:pt idx="1930">49.369396960000003</cx:pt>
          <cx:pt idx="1931">49.40400322</cx:pt>
          <cx:pt idx="1932">49.421509210000004</cx:pt>
          <cx:pt idx="1933">49.438479999999998</cx:pt>
          <cx:pt idx="1934">46.010739999999998</cx:pt>
          <cx:pt idx="1935">46.172119330000001</cx:pt>
          <cx:pt idx="1936">46.252507090000002</cx:pt>
          <cx:pt idx="1937">46.334746549999998</cx:pt>
          <cx:pt idx="1938">46.494274179999998</cx:pt>
          <cx:pt idx="1939">46.57590982</cx:pt>
          <cx:pt idx="1940">46.655049699999999</cx:pt>
          <cx:pt idx="1941">46.817676910000003</cx:pt>
          <cx:pt idx="1942">46.896816790000003</cx:pt>
          <cx:pt idx="1943">46.978452429999997</cx:pt>
          <cx:pt idx="1944">47.13918769</cx:pt>
          <cx:pt idx="1945">47.21832757</cx:pt>
          <cx:pt idx="1946">47.299963210000001</cx:pt>
          <cx:pt idx="1947">47.460094660000003</cx:pt>
          <cx:pt idx="1948">47.541730299999998</cx:pt>
          <cx:pt idx="1949">47.620870179999997</cx:pt>
          <cx:pt idx="1950">47.783497390000001</cx:pt>
          <cx:pt idx="1951">47.86263727</cx:pt>
          <cx:pt idx="1952">47.943025030000001</cx:pt>
          <cx:pt idx="1953">48.104404350000003</cx:pt>
          <cx:pt idx="1954">48.186039999999998</cx:pt>
          <cx:pt idx="1955">47.454187859999998</cx:pt>
          <cx:pt idx="1956">47.094125409999997</cx:pt>
          <cx:pt idx="1957">46.359341460000003</cx:pt>
          <cx:pt idx="1958">45.993415339999999</cx:pt>
          <cx:pt idx="1959">45.619060330000003</cx:pt>
          <cx:pt idx="1960">44.890140000000002</cx:pt>
          <cx:pt idx="1961">45.097027330000003</cx:pt>
          <cx:pt idx="1962">45.19725846</cx:pt>
          <cx:pt idx="1963">45.301498840000001</cx:pt>
          <cx:pt idx="1964">45.505970349999998</cx:pt>
          <cx:pt idx="1965">45.610210729999999</cx:pt>
          <cx:pt idx="1966">45.71126426</cx:pt>
          <cx:pt idx="1967">45.917329189999997</cx:pt>
          <cx:pt idx="1968">46.019976149999998</cx:pt>
          <cx:pt idx="1969">46.122623099999998</cx:pt>
          <cx:pt idx="1970">46.327917020000001</cx:pt>
          <cx:pt idx="1971">46.432157400000001</cx:pt>
          <cx:pt idx="1972">46.533981949999998</cx:pt>
          <cx:pt idx="1973">46.740869279999998</cx:pt>
          <cx:pt idx="1974">46.842693830000002</cx:pt>
          <cx:pt idx="1975">46.945340790000003</cx:pt>
          <cx:pt idx="1976">47.150634699999998</cx:pt>
          <cx:pt idx="1977">47.253230260000002</cx:pt>
          <cx:pt idx="1978">47.356699630000001</cx:pt>
          <cx:pt idx="1979">47.460940000000001</cx:pt>
          <cx:pt idx="1980">44.780270000000002</cx:pt>
          <cx:pt idx="1981">44.793099220000002</cx:pt>
          <cx:pt idx="1982">44.818649309999998</cx:pt>
          <cx:pt idx="1983">44.822728150000003</cx:pt>
          <cx:pt idx="1984">44.831077020000002</cx:pt>
          <cx:pt idx="1985">44.843899860000001</cx:pt>
          <cx:pt idx="1986">44.869354360000003</cx:pt>
          <cx:pt idx="1987">44.88208161</cx:pt>
          <cx:pt idx="1988">44.895006420000001</cx:pt>
          <cx:pt idx="1989">44.907631700000003</cx:pt>
          <cx:pt idx="1990">44.933086189999997</cx:pt>
          <cx:pt idx="1991">44.946011009999999</cx:pt>
          <cx:pt idx="1992">44.95854069</cx:pt>
          <cx:pt idx="1993">44.984090780000002</cx:pt>
          <cx:pt idx="1994">44.997015599999997</cx:pt>
          <cx:pt idx="1995">45.009545279999998</cx:pt>
          <cx:pt idx="1996">45.035095370000001</cx:pt>
          <cx:pt idx="1997">45.047822619999998</cx:pt>
          <cx:pt idx="1998">45.060747429999999</cx:pt>
          <cx:pt idx="1999">45.086195549999999</cx:pt>
          <cx:pt idx="2000">45.098827200000002</cx:pt>
          <cx:pt idx="2001">45.111548079999999</cx:pt>
          <cx:pt idx="2002">45.13700257</cx:pt>
          <cx:pt idx="2003">45.150029359999998</cx:pt>
          <cx:pt idx="2004">45.162552660000003</cx:pt>
          <cx:pt idx="2005">45.175477479999998</cx:pt>
          <cx:pt idx="2006">45.200734410000003</cx:pt>
          <cx:pt idx="2007">45.213461649999999</cx:pt>
          <cx:pt idx="2008">45.239011740000002</cx:pt>
          <cx:pt idx="2009">45.340918950000002</cx:pt>
          <cx:pt idx="2010">45.353843759999997</cx:pt>
          <cx:pt idx="2011">45.36647541</cx:pt>
          <cx:pt idx="2012">45.39192353</cx:pt>
          <cx:pt idx="2013">45.404848350000002</cx:pt>
          <cx:pt idx="2014">45.417479999999998</cx:pt>
          <cx:pt idx="2015">42.055660000000003</cx:pt>
          <cx:pt idx="2016">45.988770000000002</cx:pt>
          <cx:pt idx="2017">46.047061710000001</cx:pt>
          <cx:pt idx="2018">46.105820450000003</cx:pt>
          <cx:pt idx="2019">46.164549999999998</cx:pt>
          <cx:pt idx="2020">41.87988</cx:pt>
          <cx:pt idx="2021">45.812989999999999</cx:pt>
          <cx:pt idx="2022">45.487995570000002</cx:pt>
          <cx:pt idx="2023">44.825277970000002</cx:pt>
          <cx:pt idx="2024">44.495158979999999</cx:pt>
          <cx:pt idx="2025">44.165039999999998</cx:pt>
          <cx:pt idx="2026">44.064297080000003</cx:pt>
          <cx:pt idx="2027">44.014714040000001</cx:pt>
          <cx:pt idx="2028">43.964730529999997</cx:pt>
          <cx:pt idx="2029">43.86478855</cx:pt>
          <cx:pt idx="2030">43.814805040000003</cx:pt>
          <cx:pt idx="2031">43.764045619999997</cx:pt>
          <cx:pt idx="2032">43.71443756</cx:pt>
          <cx:pt idx="2033">43.66447908</cx:pt>
          <cx:pt idx="2034">43.613719670000002</cx:pt>
          <cx:pt idx="2035">43.564111599999997</cx:pt>
          <cx:pt idx="2036">43.364202599999999</cx:pt>
          <cx:pt idx="2037">43.314219100000003</cx:pt>
          <cx:pt idx="2038">43.113133730000001</cx:pt>
          <cx:pt idx="2039">43.063550679999999</cx:pt>
          <cx:pt idx="2040">43.012791270000001</cx:pt>
          <cx:pt idx="2041">42.912824260000001</cx:pt>
          <cx:pt idx="2042">42.863641690000001</cx:pt>
          <cx:pt idx="2043">42.813257710000002</cx:pt>
          <cx:pt idx="2044">42.613348709999997</cx:pt>
          <cx:pt idx="2045">42.513006269999998</cx:pt>
          <cx:pt idx="2046">42.46224685</cx:pt>
          <cx:pt idx="2047">42.413039249999997</cx:pt>
          <cx:pt idx="2048">42.313072230000003</cx:pt>
          <cx:pt idx="2049">42.262713290000001</cx:pt>
          <cx:pt idx="2050">42.211953870000002</cx:pt>
          <cx:pt idx="2051">42.111986860000002</cx:pt>
          <cx:pt idx="2052">42.062403830000001</cx:pt>
          <cx:pt idx="2053">42.012420319999997</cx:pt>
          <cx:pt idx="2054">41.96243681</cx:pt>
          <cx:pt idx="2055">41.911677400000002</cx:pt>
          <cx:pt idx="2056">41.862494830000003</cx:pt>
          <cx:pt idx="2057">41.811735409999997</cx:pt>
          <cx:pt idx="2058">41.711367930000002</cx:pt>
          <cx:pt idx="2059">41.662185360000002</cx:pt>
          <cx:pt idx="2060">41.611425949999997</cx:pt>
          <cx:pt idx="2061">41.56181788</cx:pt>
          <cx:pt idx="2062">41.511859399999999</cx:pt>
          <cx:pt idx="2063">41.110840000000003</cx:pt>
          <cx:pt idx="2064">41.522035520000003</cx:pt>
          <cx:pt idx="2065">41.923830000000002</cx:pt>
          <cx:pt idx="2066">41.951407920000001</cx:pt>
          <cx:pt idx="2067">41.97812914</cx:pt>
          <cx:pt idx="2068">42.005707059999999</cx:pt>
          <cx:pt idx="2069">42.032863429999999</cx:pt>
          <cx:pt idx="2070">42.059815810000003</cx:pt>
          <cx:pt idx="2071">42.086958580000001</cx:pt>
          <cx:pt idx="2072">42.114114950000001</cx:pt>
          <cx:pt idx="2073">42.14169287</cx:pt>
          <cx:pt idx="2074">42.195788030000003</cx:pt>
          <cx:pt idx="2075">42.222944400000003</cx:pt>
          <cx:pt idx="2076">42.250100760000002</cx:pt>
          <cx:pt idx="2077">42.304617479999997</cx:pt>
          <cx:pt idx="2078">42.331773839999997</cx:pt>
          <cx:pt idx="2079">42.359351760000003</cx:pt>
          <cx:pt idx="2080">42.386086570000003</cx:pt>
          <cx:pt idx="2081">42.413664500000003</cx:pt>
          <cx:pt idx="2082">42.440603289999999</cx:pt>
          <cx:pt idx="2083">42.467759649999998</cx:pt>
          <cx:pt idx="2084">42.522058790000003</cx:pt>
          <cx:pt idx="2085">42.549432729999999</cx:pt>
          <cx:pt idx="2086">42.576793080000002</cx:pt>
          <cx:pt idx="2087">42.685200969999997</cx:pt>
          <cx:pt idx="2088">42.693904060000001</cx:pt>
          <cx:pt idx="2089">42.712561309999998</cx:pt>
          <cx:pt idx="2090">42.767295599999997</cx:pt>
          <cx:pt idx="2091">42.794030419999999</cx:pt>
          <cx:pt idx="2092">42.821608339999997</cx:pt>
          <cx:pt idx="2093">42.84854713</cx:pt>
          <cx:pt idx="2094">42.90285986</cx:pt>
          <cx:pt idx="2095">42.930437779999998</cx:pt>
          <cx:pt idx="2096">42.957158999999997</cx:pt>
          <cx:pt idx="2097">43.066409999999998</cx:pt>
          <cx:pt idx="2098">39.990229999999997</cx:pt>
          <cx:pt idx="2099">40.137613819999999</cx:pt>
          <cx:pt idx="2100">40.284923849999998</cx:pt>
          <cx:pt idx="2101">40.434595559999998</cx:pt>
          <cx:pt idx="2102">40.579691490000002</cx:pt>
          <cx:pt idx="2103">40.877854069999998</cx:pt>
          <cx:pt idx="2104">41.022950000000002</cx:pt>
          <cx:pt idx="2105">41.340671460000003</cx:pt>
          <cx:pt idx="2106">41.6486795</cx:pt>
          <cx:pt idx="2107">42.276759030000001</cx:pt>
          <cx:pt idx="2108">42.594480500000003</cx:pt>
          <cx:pt idx="2109">42.90248854</cx:pt>
          <cx:pt idx="2110">43.220210000000002</cx:pt>
          <cx:pt idx="2111">42.416756159999998</cx:pt>
          <cx:pt idx="2112">41.594239999999999</cx:pt>
          <cx:pt idx="2113">41.579979690000002</cx:pt>
          <cx:pt idx="2114">41.551016599999997</cx:pt>
          <cx:pt idx="2115">41.53641537</cx:pt>
          <cx:pt idx="2116">41.521705339999997</cx:pt>
          <cx:pt idx="2117">41.492742249999999</cx:pt>
          <cx:pt idx="2118">41.478481930000001</cx:pt>
          <cx:pt idx="2119">41.434692759999997</cx:pt>
          <cx:pt idx="2120">41.405722419999996</cx:pt>
          <cx:pt idx="2121">41.391237240000002</cx:pt>
          <cx:pt idx="2122">41.386711079999998</cx:pt>
          <cx:pt idx="2123">41.376868129999998</cx:pt>
          <cx:pt idx="2124">41.318818640000003</cx:pt>
          <cx:pt idx="2125">41.30410861</cx:pt>
          <cx:pt idx="2126">41.275370369999997</cx:pt>
          <cx:pt idx="2127">41.260660340000001</cx:pt>
          <cx:pt idx="2128">41.246059119999998</cx:pt>
          <cx:pt idx="2129">41.21709603</cx:pt>
          <cx:pt idx="2130">41.202835710000002</cx:pt>
          <cx:pt idx="2131">41.188125679999999</cx:pt>
          <cx:pt idx="2132">41.173531709999999</cx:pt>
          <cx:pt idx="2133">41.168773430000002</cx:pt>
          <cx:pt idx="2134">41.159271390000001</cx:pt>
          <cx:pt idx="2135">41.14478622</cx:pt>
          <cx:pt idx="2136">41.130076189999997</cx:pt>
          <cx:pt idx="2137">41.11581588</cx:pt>
          <cx:pt idx="2138">41.101105850000003</cx:pt>
          <cx:pt idx="2139">41.086736729999998</cx:pt>
          <cx:pt idx="2140">41.072026700000002</cx:pt>
          <cx:pt idx="2141">41.057773640000001</cx:pt>
          <cx:pt idx="2142">41.028687239999996</cx:pt>
          <cx:pt idx="2143">41.01397721</cx:pt>
          <cx:pt idx="2144">40.999724149999999</cx:pt>
          <cx:pt idx="2145">40.970528950000002</cx:pt>
          <cx:pt idx="2146">40.956159829999997</cx:pt>
          <cx:pt idx="2147">40.941449800000001</cx:pt>
          <cx:pt idx="2148">40.898219150000003</cx:pt>
          <cx:pt idx="2149">40.883509119999999</cx:pt>
          <cx:pt idx="2150">40.869140000000002</cx:pt>
          <cx:pt idx="2151">40.792359779999998</cx:pt>
          <cx:pt idx="2152">40.75337373</cx:pt>
          <cx:pt idx="2153">40.715291200000003</cx:pt>
          <cx:pt idx="2154">40.676016789999998</cx:pt>
          <cx:pt idx="2155">40.600140089999996</cx:pt>
          <cx:pt idx="2156">40.561154039999998</cx:pt>
          <cx:pt idx="2157">40.523071510000001</cx:pt>
          <cx:pt idx="2158">40.484681399999999</cx:pt>
          <cx:pt idx="2159">40.407305239999999</cx:pt>
          <cx:pt idx="2160">40.368915129999998</cx:pt>
          <cx:pt idx="2161">40.330832600000001</cx:pt>
          <cx:pt idx="2162">40.253456440000001</cx:pt>
          <cx:pt idx="2163">40.215662270000003</cx:pt>
          <cx:pt idx="2164">40.176676219999997</cx:pt>
          <cx:pt idx="2165">40.100203579999999</cx:pt>
          <cx:pt idx="2166">40.061832690000003</cx:pt>
          <cx:pt idx="2167">40.022846649999998</cx:pt>
          <cx:pt idx="2168">39.984744890000002</cx:pt>
          <cx:pt idx="2169">39.907387960000001</cx:pt>
          <cx:pt idx="2170">39.869593780000002</cx:pt>
          <cx:pt idx="2171">39.830607739999998</cx:pt>
          <cx:pt idx="2172">39.754135089999998</cx:pt>
          <cx:pt idx="2173">39.715744979999997</cx:pt>
          <cx:pt idx="2174">39.63896476</cx:pt>
          <cx:pt idx="2175">39.599978720000003</cx:pt>
          <cx:pt idx="2176">39.446149140000003</cx:pt>
          <cx:pt idx="2177">39.331286390000002</cx:pt>
          <cx:pt idx="2178">39.291992759999999</cx:pt>
          <cx:pt idx="2179">39.253910230000002</cx:pt>
          <cx:pt idx="2180">39.061671320000002</cx:pt>
          <cx:pt idx="2181">39.023588789999998</cx:pt>
          <cx:pt idx="2182">38.985198680000003</cx:pt>
          <cx:pt idx="2183">38.946212629999998</cx:pt>
          <cx:pt idx="2184">38.870047569999997</cx:pt>
          <cx:pt idx="2185">38.831061519999999</cx:pt>
          <cx:pt idx="2186">38.792978990000002</cx:pt>
          <cx:pt idx="2187">38.716198769999998</cx:pt>
          <cx:pt idx="2188">38.67721272</cx:pt>
          <cx:pt idx="2189">38.639130190000003</cx:pt>
          <cx:pt idx="2190">38.56234997</cx:pt>
          <cx:pt idx="2191">38.523363930000002</cx:pt>
          <cx:pt idx="2192">38.485569750000003</cx:pt>
          <cx:pt idx="2193">38.408501170000001</cx:pt>
          <cx:pt idx="2194">38.369226759999997</cx:pt>
          <cx:pt idx="2195">38.331125020000002</cx:pt>
          <cx:pt idx="2196">38.254652370000002</cx:pt>
          <cx:pt idx="2197">38.215666329999998</cx:pt>
          <cx:pt idx="2198">38.177295440000002</cx:pt>
          <cx:pt idx="2199">38.100515219999998</cx:pt>
          <cx:pt idx="2200">38.062432690000001</cx:pt>
          <cx:pt idx="2201">38.023446640000003</cx:pt>
          <cx:pt idx="2202">37.947262360000003</cx:pt>
          <cx:pt idx="2203">37.908276309999998</cx:pt>
          <cx:pt idx="2204">37.870193780000001</cx:pt>
          <cx:pt idx="2205">37.831803669999999</cx:pt>
          <cx:pt idx="2206">37.792817620000001</cx:pt>
          <cx:pt idx="2207">37.716056620000003</cx:pt>
          <cx:pt idx="2208">37.677954870000001</cx:pt>
          <cx:pt idx="2209">37.639583979999998</cx:pt>
          <cx:pt idx="2210">37.485735179999999</cx:pt>
          <cx:pt idx="2211">37.446749130000001</cx:pt>
          <cx:pt idx="2212">37.370564850000001</cx:pt>
          <cx:pt idx="2213">37.331578800000003</cx:pt>
          <cx:pt idx="2214">37.255106159999997</cx:pt>
          <cx:pt idx="2215">37.177729999999997</cx:pt>
          <cx:pt idx="2216">40.363770000000002</cx:pt>
          <cx:pt idx="2217">39.733874620000002</cx:pt>
          <cx:pt idx="2218">39.089359999999999</cx:pt>
          <cx:pt idx="2219">37.583901529999999</cx:pt>
          <cx:pt idx="2220">36.10107</cx:pt>
          <cx:pt idx="2221">37.446004850000001</cx:pt>
          <cx:pt idx="2222">38.759770000000003</cx:pt>
          <cx:pt idx="2223">38.776104189999998</cx:pt>
          <cx:pt idx="2224">38.792691929999997</cx:pt>
          <cx:pt idx="2225">38.808772560000001</cx:pt>
          <cx:pt idx="2226">38.841694490000002</cx:pt>
          <cx:pt idx="2227">38.857897809999997</cx:pt>
          <cx:pt idx="2228">38.874485550000003</cx:pt>
          <cx:pt idx="2229">38.890557999999999</cx:pt>
          <cx:pt idx="2230">39.103524059999998</cx:pt>
          <cx:pt idx="2231">39.119858239999999</cx:pt>
          <cx:pt idx="2232">39.136192430000001</cx:pt>
          <cx:pt idx="2233">39.152395749999997</cx:pt>
          <cx:pt idx="2234">39.168729929999998</cx:pt>
          <cx:pt idx="2235">39.185317679999997</cx:pt>
          <cx:pt idx="2236">39.218108739999998</cx:pt>
          <cx:pt idx="2237">39.234181190000001</cx:pt>
          <cx:pt idx="2238">39.25076894</cx:pt>
          <cx:pt idx="2239">39.283437309999997</cx:pt>
          <cx:pt idx="2240">39.299771499999999</cx:pt>
          <cx:pt idx="2241">39.31597481</cx:pt>
          <cx:pt idx="2242">39.348643189999997</cx:pt>
          <cx:pt idx="2243">39.365230930000003</cx:pt>
          <cx:pt idx="2244">39.381565119999998</cx:pt>
          <cx:pt idx="2245">39.39776844</cx:pt>
          <cx:pt idx="2246">39.414356179999999</cx:pt>
          <cx:pt idx="2247">39.430428630000002</cx:pt>
          <cx:pt idx="2248">39.446762819999996</cx:pt>
          <cx:pt idx="2249">39.463481430000002</cx:pt>
          <cx:pt idx="2250">39.479553879999997</cx:pt>
          <cx:pt idx="2251">39.496141629999997</cx:pt>
          <cx:pt idx="2252">39.512222250000001</cx:pt>
          <cx:pt idx="2253">39.52881</cx:pt>
          <cx:pt idx="2254">36.25488</cx:pt>
          <cx:pt idx="2255">36.098917210000003</cx:pt>
          <cx:pt idx="2256">36.073215189999999</cx:pt>
          <cx:pt idx="2257">35.969239999999999</cx:pt>
          <cx:pt idx="2258">5.8791335140000003</cx:pt>
          <cx:pt idx="2259">-8.8769530000000003</cx:pt>
          <cx:pt idx="2260">-8.3047061620000004</cx:pt>
          <cx:pt idx="2261">-3.6166836839999998</cx:pt>
          <cx:pt idx="2262">-3.2337748720000001</cx:pt>
          <cx:pt idx="2263">-0.96679689999999996</cx:pt>
          <cx:pt idx="2264">-0.93001022600000005</cx:pt>
          <cx:pt idx="2265">-0.926638882</cx:pt>
          <cx:pt idx="2266">-0.90986590000000001</cx:pt>
          <cx:pt idx="2267">-0.87976832199999999</cx:pt>
          <cx:pt idx="2268">-0.876371856</cx:pt>
          <cx:pt idx="2269">-0.87307922699999996</cx:pt>
          <cx:pt idx="2270">-0.86965763900000004</cx:pt>
          <cx:pt idx="2271">-0.86636500999999999</cx:pt>
          <cx:pt idx="2272">-0.85633304200000004</cx:pt>
          <cx:pt idx="2273">-0.84290293299999997</cx:pt>
          <cx:pt idx="2274">-0.83279225000000001</cx:pt>
          <cx:pt idx="2275">-0.81272663999999994</cx:pt>
          <cx:pt idx="2276">-0.79937524599999998</cx:pt>
          <cx:pt idx="2277">-0.78929135900000003</cx:pt>
          <cx:pt idx="2278">-0.77259541799999998</cx:pt>
          <cx:pt idx="2279">-0.72227479900000002</cx:pt>
          <cx:pt idx="2280">-0.71898384400000004</cx:pt>
          <cx:pt idx="2281">-0.70555373600000004</cx:pt>
          <cx:pt idx="2282">-0.68883267199999998</cx:pt>
          <cx:pt idx="2283">-0.68206653699999997</cx:pt>
          <cx:pt idx="2284">-0.66534547399999999</cx:pt>
          <cx:pt idx="2285">-0.64527986299999995</cx:pt>
          <cx:pt idx="2286">-0.63519430200000004</cx:pt>
          <cx:pt idx="2287">-0.62853200399999998</cx:pt>
          <cx:pt idx="2288">-0.61178581899999995</cx:pt>
          <cx:pt idx="2289">-0.59503795900000001</cx:pt>
          <cx:pt idx="2290">-0.57829009899999995</cx:pt>
          <cx:pt idx="2291">-0.55151027200000002</cx:pt>
          <cx:pt idx="2292">-0.54476925799999998</cx:pt>
          <cx:pt idx="2293">-0.38061511100000001</cx:pt>
          <cx:pt idx="2294">-0.36054950099999999</cx:pt>
          <cx:pt idx="2295">-0.33379647000000001</cx:pt>
          <cx:pt idx="2296">-0.32705545600000002</cx:pt>
          <cx:pt idx="2297">-0.30698984499999998</cx:pt>
          <cx:pt idx="2298">-0.29358653299999998</cx:pt>
          <cx:pt idx="2299">-0.27689226700000003</cx:pt>
          <cx:pt idx="2300">-0.26675478699999999</cx:pt>
          <cx:pt idx="2301">-0.25674794099999998</cx:pt>
          <cx:pt idx="2302">-0.16295322700000001</cx:pt>
          <cx:pt idx="2303">-0.14617857100000001</cx:pt>
          <cx:pt idx="2304">-0.13611980600000001</cx:pt>
          <cx:pt idx="2305">-0.122770088</cx:pt>
          <cx:pt idx="2306">-0.099281214000000007</cx:pt>
          <cx:pt idx="2307">-0.079163684999999998</cx:pt>
          <cx:pt idx="2308">-0.075924648999999997</cx:pt>
          <cx:pt idx="2309">-0.069156838999999998</cx:pt>
          <cx:pt idx="2310">-0.052383857999999998</cx:pt>
          <cx:pt idx="2311">-0.022207563999999999</cx:pt>
          <cx:pt idx="2312">-0.012227514</cx:pt>
          <cx:pt idx="2313">0.091600842000000002</cx:pt>
          <cx:pt idx="2314">0.13183590000000001</cx:pt>
          <cx:pt idx="2315">1.6849957870000001</cx:pt>
          <cx:pt idx="2316">2.532623563</cx:pt>
          <cx:pt idx="2317">2.6759204300000001</cx:pt>
          <cx:pt idx="2318">2.8159669570000001</cx:pt>
          <cx:pt idx="2319">3.0981091479999998</cx:pt>
          <cx:pt idx="2320">3.8047011550000001</cx:pt>
          <cx:pt idx="2321">4.0869140000000002</cx:pt>
          <cx:pt idx="2322">1.032715</cx:pt>
          <cx:pt idx="2323">9.5361329999999995</cx:pt>
          <cx:pt idx="2324">0.21972659999999999</cx:pt>
          <cx:pt idx="2325">4.0125654480000001</cx:pt>
          <cx:pt idx="2326">7.8662109999999998</cx:pt>
          <cx:pt idx="2327">-2.504883</cx:pt>
          <cx:pt idx="2328">2.6367189999999998</cx:pt>
          <cx:pt idx="2329">-3.9770509999999999</cx:pt>
          <cx:pt idx="2330">1.1206050000000001</cx:pt>
          <cx:pt idx="2331">-8.9868159999999992</cx:pt>
          <cx:pt idx="2332">0.30761719999999998</cx:pt>
          <cx:pt idx="2333">-3.9331049999999999</cx:pt>
          <cx:pt idx="2334">-3.1178239209999998</cx:pt>
          <cx:pt idx="2335">-2.5708009999999999</cx:pt>
          <cx:pt idx="2336">-8.7231450000000006</cx:pt>
          <cx:pt idx="2337">-5.6479154329999997</cx:pt>
          <cx:pt idx="2338">-5.625</cx:pt>
          <cx:pt idx="2339">-5.9927364839999999</cx:pt>
          <cx:pt idx="2340">-6.3720699999999999</cx:pt>
          <cx:pt idx="2341">-6.7426122250000002</cx:pt>
          <cx:pt idx="2342">-6.7456050000000003</cx:pt>
          <cx:pt idx="2343">-5.9908711060000002</cx:pt>
          <cx:pt idx="2344">-5.2239456249999998</cx:pt>
          <cx:pt idx="2345">-2.1752929999999999</cx:pt>
          <cx:pt idx="2346">-3.0102540000000002</cx:pt>
          <cx:pt idx="2347">-2.8845773179999998</cx:pt>
          <cx:pt idx="2348">-2.8583957660000001</cx:pt>
          <cx:pt idx="2349">-2.8531699289999999</cx:pt>
          <cx:pt idx="2350">-2.8478603100000002</cx:pt>
          <cx:pt idx="2351">-2.842671127</cx:pt>
          <cx:pt idx="2352">-2.8164503029999999</cx:pt>
          <cx:pt idx="2353">-2.8112637380000001</cx:pt>
          <cx:pt idx="2354">-2.774627894</cx:pt>
          <cx:pt idx="2355">-2.7641290920000001</cx:pt>
          <cx:pt idx="2356">-2.7431786140000001</cx:pt>
          <cx:pt idx="2357">-2.7379501579999999</cx:pt>
          <cx:pt idx="2358">-2.7327217030000002</cx:pt>
          <cx:pt idx="2359">-2.727493247</cx:pt>
          <cx:pt idx="2360">-2.7221417379999999</cx:pt>
          <cx:pt idx="2361">-2.6908155119999999</cx:pt>
          <cx:pt idx="2362">-2.6750908720000002</cx:pt>
          <cx:pt idx="2363">-2.659408123</cx:pt>
          <cx:pt idx="2364">-2.6541377759999998</cx:pt>
          <cx:pt idx="2365">-2.6437227550000002</cx:pt>
          <cx:pt idx="2366">-2.6227696599999999</cx:pt>
          <cx:pt idx="2367">-2.6122734759999999</cx:pt>
          <cx:pt idx="2368">-2.6070450200000002</cx:pt>
          <cx:pt idx="2369">-2.5913622709999999</cx:pt>
          <cx:pt idx="2370">-2.5755957409999999</cx:pt>
          <cx:pt idx="2371">-2.5546845359999999</cx:pt>
          <cx:pt idx="2372">-2.5284637120000002</cx:pt>
          <cx:pt idx="2373">-2.4970955959999999</cx:pt>
          <cx:pt idx="2374">-2.4709140449999998</cx:pt>
          <cx:pt idx="2375">-2.444735112</cx:pt>
          <cx:pt idx="2376">-2.4237820160000001</cx:pt>
          <cx:pt idx="2377">-2.41851167</cx:pt>
          <cx:pt idx="2378">-2.4080573759999999</cx:pt>
          <cx:pt idx="2379">-2.387143553</cx:pt>
          <cx:pt idx="2380">-2.3766473690000001</cx:pt>
          <cx:pt idx="2381">-2.371379642</cx:pt>
          <cx:pt idx="2382">-2.3452399810000002</cx:pt>
          <cx:pt idx="2383">-2.3347019059999998</cx:pt>
          <cx:pt idx="2384">-2.2771522389999999</cx:pt>
          <cx:pt idx="2385">-2.2666979450000002</cx:pt>
          <cx:pt idx="2386">-2.2457029589999999</cx:pt>
          <cx:pt idx="2387">-2.2352486659999999</cx:pt>
          <cx:pt idx="2388">-2.224791754</cx:pt>
          <cx:pt idx="2389">-2.193384365</cx:pt>
          <cx:pt idx="2390">-2.1724312700000001</cx:pt>
          <cx:pt idx="2391">-2.1566647400000001</cx:pt>
          <cx:pt idx="2392">-2.1305669690000002</cx:pt>
          <cx:pt idx="2393">-2.0938080719999999</cx:pt>
          <cx:pt idx="2394">-2.0520249339999999</cx:pt>
          <cx:pt idx="2395">-1.983937192</cx:pt>
          <cx:pt idx="2396">-1.9053139939999999</cx:pt>
          <cx:pt idx="2397">-1.8320815770000001</cx:pt>
          <cx:pt idx="2398">-1.8267719579999999</cx:pt>
          <cx:pt idx="2399">-1.7691411269999999</cx:pt>
          <cx:pt idx="2400">-1.7535002689999999</cx:pt>
          <cx:pt idx="2401">-1.7273187169999999</cx:pt>
          <cx:pt idx="2402">-1.7010978940000001</cx:pt>
          <cx:pt idx="2403">-1.4131086850000001</cx:pt>
          <cx:pt idx="2404">-1.4026543920000001</cx:pt>
          <cx:pt idx="2405">-1.303321586</cx:pt>
          <cx:pt idx="2406">-1.2455703199999999</cx:pt>
          <cx:pt idx="2407">-1.240341865</cx:pt>
          <cx:pt idx="2408">-1.2247795509999999</cx:pt>
          <cx:pt idx="2409">-1.2089318579999999</cx:pt>
          <cx:pt idx="2410">-1.1827921969999999</cx:pt>
          <cx:pt idx="2411">-1.177524469</cx:pt>
          <cx:pt idx="2412">-1.156613264</cx:pt>
          <cx:pt idx="2413">-1.1199355289999999</cx:pt>
          <cx:pt idx="2414">-1.104250161</cx:pt>
          <cx:pt idx="2415">-1.0937539780000001</cx:pt>
          <cx:pt idx="2416">-1.0832577940000001</cx:pt>
          <cx:pt idx="2417">-1.0728427730000001</cx:pt>
          <cx:pt idx="2418">-1.046661222</cx:pt>
          <cx:pt idx="2419">-1.030936582</cx:pt>
          <cx:pt idx="2420">-0.98894922900000004</cx:pt>
          <cx:pt idx="2421">-0.97334764200000001</cx:pt>
          <cx:pt idx="2422">-0.93144145099999998</cx:pt>
          <cx:pt idx="2423">-0.91040719299999995</cx:pt>
          <cx:pt idx="2424">-0.81622168100000003</cx:pt>
          <cx:pt idx="2425">-0.81103511500000003</cx:pt>
          <cx:pt idx="2426">-0.80053893099999995</cx:pt>
          <cx:pt idx="2427">-0.63299794799999998</cx:pt>
          <cx:pt idx="2428">-0.104075633</cx:pt>
          <cx:pt idx="2429">-0.098889067999999997</cx:pt>
          <cx:pt idx="2430">0.246689082</cx:pt>
          <cx:pt idx="2431">0.96941247600000002</cx:pt>
          <cx:pt idx="2432">1.006009049</cx:pt>
          <cx:pt idx="2433">1.252050176</cx:pt>
          <cx:pt idx="2434">1.288809074</cx:pt>
          <cx:pt idx="2435">1.3987192260000001</cx:pt>
          <cx:pt idx="2436">1.555803297</cx:pt>
          <cx:pt idx="2437">1.655298428</cx:pt>
          <cx:pt idx="2438">1.6814799789999999</cx:pt>
          <cx:pt idx="2439">1.6918949999999999</cx:pt>
          <cx:pt idx="2440">1.3616708959999999</cx:pt>
          <cx:pt idx="2441">1.3523688089999999</cx:pt>
          <cx:pt idx="2442">1.3065005279999999</cx:pt>
          <cx:pt idx="2443">1.260636834</cx:pt>
          <cx:pt idx="2444">1.104790175</cx:pt>
          <cx:pt idx="2445">0.90285965499999998</cx:pt>
          <cx:pt idx="2446">0.132286293</cx:pt>
          <cx:pt idx="2447">-0.032720261</cx:pt>
          <cx:pt idx="2448">-0.087890629999999997</cx:pt>
          <cx:pt idx="2449">0.14266301100000001</cx:pt>
          <cx:pt idx="2450">0.33485510899999998</cx:pt>
          <cx:pt idx="2451">0.64217027299999996</cx:pt>
          <cx:pt idx="2452">0.71922008100000001</cx:pt>
          <cx:pt idx="2453">0.75729333899999995</cx:pt>
          <cx:pt idx="2454">0.79598160399999995</cx:pt>
          <cx:pt idx="2455">0.83405486200000001</cx:pt>
          <cx:pt idx="2456">0.98846199199999996</cx:pt>
          <cx:pt idx="2457">0.98876949999999997</cx:pt>
          <cx:pt idx="2458">1.0629364720000001</cx:pt>
          <cx:pt idx="2459">1.210081958</cx:pt>
          <cx:pt idx="2460">1.210676187</cx:pt>
          <cx:pt idx="2461">1.3589729930000001</cx:pt>
          <cx:pt idx="2462">1.4325457370000001</cx:pt>
          <cx:pt idx="2463">1.507864028</cx:pt>
          <cx:pt idx="2464">1.582031</cx:pt>
          <cx:pt idx="2465">-0.328311032</cx:pt>
          <cx:pt idx="2466">-0.96679689999999996</cx:pt>
          <cx:pt idx="2467">-0.243880228</cx:pt>
          <cx:pt idx="2468">0.121815724</cx:pt>
          <cx:pt idx="2469">2.2851560000000002</cx:pt>
          <cx:pt idx="2470">-0.9448242</cx:pt>
          <cx:pt idx="2471">-1.252377311</cx:pt>
          <cx:pt idx="2472">-1.3404913949999999</cx:pt>
          <cx:pt idx="2473">-1.427924134</cx:pt>
          <cx:pt idx="2474">-1.4721679999999999</cx:pt>
          <cx:pt idx="2475">2.0654300000000001</cx:pt>
          <cx:pt idx="2476">1.8944699549999999</cx:pt>
          <cx:pt idx="2477">1.722145308</cx:pt>
          <cx:pt idx="2478">1.5531895309999999</cx:pt>
          <cx:pt idx="2479">1.467389686</cx:pt>
          <cx:pt idx="2480">1.3822294959999999</cx:pt>
          <cx:pt idx="2481">1.297069306</cx:pt>
          <cx:pt idx="2482">1.296387</cx:pt>
          <cx:pt idx="2483">0.79390116700000002</cx:pt>
          <cx:pt idx="2484">-1.2360807840000001</cx:pt>
          <cx:pt idx="2485">-3.2698675499999998</cx:pt>
          <cx:pt idx="2486">-3.2739259999999999</cx:pt>
          <cx:pt idx="2487">-2.9041772950000002</cx:pt>
          <cx:pt idx="2488">-2.528407224</cx:pt>
          <cx:pt idx="2489">-2.1526371530000001</cx:pt>
          <cx:pt idx="2490">-1.4010970119999999</cx:pt>
          <cx:pt idx="2491">-0.26814174099999999</cx:pt>
          <cx:pt idx="2492">0.48339840000000001</cx:pt>
          <cx:pt idx="2493">-0.41523043700000001</cx:pt>
          <cx:pt idx="2494">-1.3134093179999999</cx:pt>
          <cx:pt idx="2495">-2.2120381550000001</cx:pt>
          <cx:pt idx="2496">-2.2192379999999998</cx:pt>
          <cx:pt idx="2497">-1.5904017050000001</cx:pt>
          <cx:pt idx="2498">-1.280904845</cx:pt>
          <cx:pt idx="2499">-0.96890829599999995</cx:pt>
          <cx:pt idx="2500">-0.65691174600000002</cx:pt>
          <cx:pt idx="2501">-0.34507141800000002</cx:pt>
          <cx:pt idx="2502">-0.035418374000000002</cx:pt>
          <cx:pt idx="2503">0.5932617</cx:pt>
          <cx:pt idx="2504">0.37746740000000001</cx:pt>
          <cx:pt idx="2505">0.16340202600000001</cx:pt>
          <cx:pt idx="2506">-0.48560177399999999</cx:pt>
          <cx:pt idx="2507">-0.703125</cx:pt>
          <cx:pt idx="2508">-0.78430623499999996</cx:pt>
          <cx:pt idx="2509">-0.837932762</cx:pt>
          <cx:pt idx="2510">-0.89155929199999995</cx:pt>
          <cx:pt idx="2511">-0.94580593400000001</cx:pt>
          <cx:pt idx="2512">-0.99943246100000005</cx:pt>
          <cx:pt idx="2513">-1.053490373</cx:pt>
          <cx:pt idx="2514">-1.080398003</cx:pt>
          <cx:pt idx="2515">-1.161794931</cx:pt>
          <cx:pt idx="2516">-1.215421458</cx:pt>
          <cx:pt idx="2517">-1.2421268750000001</cx:pt>
          <cx:pt idx="2518">-1.269047984</cx:pt>
          <cx:pt idx="2519">-1.296387</cx:pt>
          <cx:pt idx="2520">-0.99459932200000001</cx:pt>
          <cx:pt idx="2521">-0.54017292100000003</cx:pt>
          <cx:pt idx="2522">-0.38745833800000001</cx:pt>
          <cx:pt idx="2523">0.068181892999999993</cx:pt>
          <cx:pt idx="2524">0.37353520000000001</cx:pt>
          <cx:pt idx="2525">1.5082311479999999</cx:pt>
          <cx:pt idx="2526">3.823242</cx:pt>
          <cx:pt idx="2527">3.3370169390000002</cx:pt>
          <cx:pt idx="2528">-0.103356749</cx:pt>
          <cx:pt idx="2529">-0.5932617</cx:pt>
          <cx:pt idx="2530">-0.65917970000000004</cx:pt>
          <cx:pt idx="2531">3.9990230000000002</cx:pt>
          <cx:pt idx="2532">-1.3403320000000001</cx:pt>
          <cx:pt idx="2533">-1.265238912</cx:pt>
          <cx:pt idx="2534">-0.8129883</cx:pt>
          <cx:pt idx="2535">-2.0214840000000001</cx:pt>
          <cx:pt idx="2536">-1.8955064939999999</cx:pt>
          <cx:pt idx="2537">-1.5234131909999999</cx:pt>
          <cx:pt idx="2538">-1.2763034870000001</cx:pt>
          <cx:pt idx="2539">-0.90222236899999997</cx:pt>
          <cx:pt idx="2540">-0.77916447099999997</cx:pt>
          <cx:pt idx="2541">-0.65511266499999998</cx:pt>
          <cx:pt idx="2542">-0.528141266</cx:pt>
          <cx:pt idx="2543">-0.40315766800000002</cx:pt>
          <cx:pt idx="2544">-0.28103154699999999</cx:pt>
          <cx:pt idx="2545">-0.031996156999999997</cx:pt>
          <cx:pt idx="2546">0.46321717400000001</cx:pt>
          <cx:pt idx="2547">0.58720686499999997</cx:pt>
          <cx:pt idx="2548">0.71125867099999995</cx:pt>
          <cx:pt idx="2549">1.335369085</cx:pt>
          <cx:pt idx="2550">1.4584269839999999</cx:pt>
          <cx:pt idx="2551">1.705536688</cx:pt>
          <cx:pt idx="2552">1.8315141939999999</cx:pt>
          <cx:pt idx="2553">1.9536403149999999</cx:pt>
          <cx:pt idx="2554">1.9555659999999999</cx:pt>
          <cx:pt idx="2555">-0.45112090399999999</cx:pt>
          <cx:pt idx="2556">-1.0546880000000001</cx:pt>
          <cx:pt idx="2557">0.558531479</cx:pt>
          <cx:pt idx="2558">2.4973401000000002</cx:pt>
          <cx:pt idx="2559">2.8203399810000001</cx:pt>
          <cx:pt idx="2560">3.1435017520000001</cx:pt>
          <cx:pt idx="2561">3.4716800000000001</cx:pt>
          <cx:pt idx="2562">-0.90849517599999996</cx:pt>
          <cx:pt idx="2563">-1.582031</cx:pt>
          <cx:pt idx="2564">2.1752929999999999</cx:pt>
          <cx:pt idx="2565">-0.26367190000000001</cx:pt>
          <cx:pt idx="2566">-0.73972923999999995</cx:pt>
          <cx:pt idx="2567">-0.94427927700000003</cx:pt>
          <cx:pt idx="2568">-0.9448242</cx:pt>
          <cx:pt idx="2569">-1.073069295</cx:pt>
          <cx:pt idx="2570">-1.2642053639999999</cx:pt>
          <cx:pt idx="2571">-1.328056007</cx:pt>
          <cx:pt idx="2572">-1.4568129320000001</cx:pt>
          <cx:pt idx="2573">-1.5845781919999999</cx:pt>
          <cx:pt idx="2574">-1.6479490000000001</cx:pt>
          <cx:pt idx="2575">-0.030342826999999999</cx:pt>
          <cx:pt idx="2576">1.6123738270000001</cx:pt>
          <cx:pt idx="2577">3.2170196839999998</cx:pt>
          <cx:pt idx="2578">3.2299799999999999</cx:pt>
          <cx:pt idx="2579">2.9523165929999999</cx:pt>
          <cx:pt idx="2580">2.6703081059999998</cx:pt>
          <cx:pt idx="2581">2.1104960579999998</cx:pt>
          <cx:pt idx="2582">1.550684011</cx:pt>
          <cx:pt idx="2583">-1.2524409999999999</cx:pt>
          <cx:pt idx="2584">-5.5371090000000001</cx:pt>
          <cx:pt idx="2585">1.1206050000000001</cx:pt>
          <cx:pt idx="2586">-0.1757813</cx:pt>
          <cx:pt idx="2587">3.3618160000000001</cx:pt>
          <cx:pt idx="2588">-1.6699219999999999</cx:pt>
          <cx:pt idx="2589">-1.406718205</cx:pt>
          <cx:pt idx="2590">-1.0547619420000001</cx:pt>
          <cx:pt idx="2591">-1.011242478</cx:pt>
          <cx:pt idx="2592">-0.96737151200000004</cx:pt>
          <cx:pt idx="2593">-0.92281953299999997</cx:pt>
          <cx:pt idx="2594">-0.87723503300000005</cx:pt>
          <cx:pt idx="2595">-0.83542910800000003</cx:pt>
          <cx:pt idx="2596">-0.79155814800000002</cx:pt>
          <cx:pt idx="2597">-0.70383819400000003</cx:pt>
          <cx:pt idx="2598">-0.52734380000000003</cx:pt>
          <cx:pt idx="2599">-0.58636763300000005</cx:pt>
          <cx:pt idx="2600">-0.70672702899999995</cx:pt>
          <cx:pt idx="2601">-0.76668155699999996</cx:pt>
          <cx:pt idx="2602">-0.88752131000000001</cx:pt>
          <cx:pt idx="2603">-1.066904539</cx:pt>
          <cx:pt idx="2604">-1.2476688010000001</cx:pt>
          <cx:pt idx="2605">-1.3680582160000001</cx:pt>
          <cx:pt idx="2606">-1.3685085459999999</cx:pt>
          <cx:pt idx="2607">-1.487937246</cx:pt>
          <cx:pt idx="2608">-1.7272750109999999</cx:pt>
          <cx:pt idx="2609">-1.788160228</cx:pt>
          <cx:pt idx="2610">-2.093517023</cx:pt>
          <cx:pt idx="2611">-2.1483077179999999</cx:pt>
          <cx:pt idx="2612">-2.2078119169999999</cx:pt>
          <cx:pt idx="2613">-2.3291019999999998</cx:pt>
          <cx:pt idx="2614">-1.038967285</cx:pt>
          <cx:pt idx="2615">0.25116743000000002</cx:pt>
          <cx:pt idx="2616">1.5621423249999999</cx:pt>
          <cx:pt idx="2617">2.8522771950000001</cx:pt>
          <cx:pt idx="2618">4.1528320000000001</cx:pt>
          <cx:pt idx="2619">3.9321306960000002</cx:pt>
          <cx:pt idx="2620">3.7165442569999998</cx:pt>
          <cx:pt idx="2621">3.280256488</cx:pt>
          <cx:pt idx="2622">3.0645612039999999</cx:pt>
          <cx:pt idx="2623">2.6181525240000001</cx:pt>
          <cx:pt idx="2624">0.88649604000000004</cx:pt>
          <cx:pt idx="2625">0.45184068799999999</cx:pt>
          <cx:pt idx="2626">-0.201474756</cx:pt>
          <cx:pt idx="2627">-0.42933218899999998</cx:pt>
          <cx:pt idx="2628">-0.43945309999999999</cx:pt>
          <cx:pt idx="2629">0.087890629999999997</cx:pt>
          <cx:pt idx="2630">-0.95744485400000001</cx:pt>
          <cx:pt idx="2631">-2.019207465</cx:pt>
          <cx:pt idx="2632">-2.0434570000000001</cx:pt>
          <cx:pt idx="2633">-1.7195706559999999</cx:pt>
          <cx:pt idx="2634">-1.3879687570000001</cx:pt>
          <cx:pt idx="2635">-1.1645509999999999</cx:pt>
          <cx:pt idx="2636">2.7320802780000002</cx:pt>
          <cx:pt idx="2637">6.3940429999999999</cx:pt>
          <cx:pt idx="2638">4.1864460880000003</cx:pt>
          <cx:pt idx="2639">1.979954553</cx:pt>
          <cx:pt idx="2640">-0.21106065700000001</cx:pt>
          <cx:pt idx="2641">-2.504883</cx:pt>
          <cx:pt idx="2642">-2.5241033929999999</cx:pt>
          <cx:pt idx="2643">-2.543480287</cx:pt>
          <cx:pt idx="2644">-2.5828503020000002</cx:pt>
          <cx:pt idx="2645">-2.6216138689999999</cx:pt>
          <cx:pt idx="2646">-2.6411374840000001</cx:pt>
          <cx:pt idx="2647">-2.6802042749999999</cx:pt>
          <cx:pt idx="2648">-2.699884392</cx:pt>
          <cx:pt idx="2649">-2.7195742900000002</cx:pt>
          <cx:pt idx="2650">-2.7584845790000001</cx:pt>
          <cx:pt idx="2651">-2.778017975</cx:pt>
          <cx:pt idx="2652">-2.798617541</cx:pt>
          <cx:pt idx="2653">-2.8172314869999999</cx:pt>
          <cx:pt idx="2654">-2.8564449999999999</cx:pt>
          <cx:pt idx="2655">-1.0989236959999999</cx:pt>
          <cx:pt idx="2656">0.65772437699999997</cx:pt>
          <cx:pt idx="2657">2.3742107180000001</cx:pt>
          <cx:pt idx="2658">4.1168896019999996</cx:pt>
          <cx:pt idx="2659">4.1308590000000001</cx:pt>
          <cx:pt idx="2660">3.5849787310000001</cx:pt>
          <cx:pt idx="2661">1.4392763040000001</cx:pt>
          <cx:pt idx="2662">-1.2524409999999999</cx:pt>
          <cx:pt idx="2663">-2.3950200000000001</cx:pt>
          <cx:pt idx="2664">-1.5404666629999999</cx:pt>
          <cx:pt idx="2665">-0.75057112199999998</cx:pt>
          <cx:pt idx="2666">0.071859219000000002</cx:pt>
          <cx:pt idx="2667">0.90087890000000004</cx:pt>
          <cx:pt idx="2668">0.52463163999999995</cx:pt>
          <cx:pt idx="2669">0.34235207200000001</cx:pt>
          <cx:pt idx="2670">-0.39863981399999998</cx:pt>
          <cx:pt idx="2671">-0.76765154300000005</cx:pt>
          <cx:pt idx="2672">-0.76904300000000003</cx:pt>
          <cx:pt idx="2673">0.41375878399999999</cx:pt>
          <cx:pt idx="2674">5.2016880270000003</cx:pt>
          <cx:pt idx="2675">6.3940429999999999</cx:pt>
          <cx:pt idx="2676">5.74307108</cx:pt>
          <cx:pt idx="2677">4.5089236149999996</cx:pt>
          <cx:pt idx="2678">-2.3950200000000001</cx:pt>
          <cx:pt idx="2679">-4.0209152030000004</cx:pt>
          <cx:pt idx="2680">-5.646973</cx:pt>
          <cx:pt idx="2681">-4.2223173479999998</cx:pt>
          <cx:pt idx="2682">-2.7420166080000001</cx:pt>
          <cx:pt idx="2683">-1.3623050000000001</cx:pt>
          <cx:pt idx="2684">-3.1169318260000001</cx:pt>
          <cx:pt idx="2685">-4.899902</cx:pt>
          <cx:pt idx="2686">-4.2836568909999997</cx:pt>
          <cx:pt idx="2687">-3.6677203459999999</cx:pt>
          <cx:pt idx="2688">-3.0465378599999999</cx:pt>
          <cx:pt idx="2689">0.043945310000000001</cx:pt>
          <cx:pt idx="2690">-0.48339840000000001</cx:pt>
          <cx:pt idx="2691">3.9744945089999999</cx:pt>
          <cx:pt idx="2692">4.7241210000000002</cx:pt>
          <cx:pt idx="2693">3.3635324190000002</cx:pt>
          <cx:pt idx="2694">2.0032831940000002</cx:pt>
          <cx:pt idx="2695">0.62708686300000005</cx:pt>
          <cx:pt idx="2696">-0.039974798999999998</cx:pt>
          <cx:pt idx="2697">-1.384277</cx:pt>
          <cx:pt idx="2698">0.71799042599999996</cx:pt>
          <cx:pt idx="2699">2.9023690110000002</cx:pt>
          <cx:pt idx="2700">4.9877929999999999</cx:pt>
          <cx:pt idx="2701">-1.8237300000000001</cx:pt>
          <cx:pt idx="2702">3.6914060000000002</cx:pt>
          <cx:pt idx="2703">2.2631839999999999</cx:pt>
          <cx:pt idx="2704">-0.96679689999999996</cx:pt>
          <cx:pt idx="2705">2.1673092920000001</cx:pt>
          <cx:pt idx="2706">2.4092082440000002</cx:pt>
          <cx:pt idx="2707">2.880021481</cx:pt>
          <cx:pt idx="2708">3.120117</cx:pt>
          <cx:pt idx="2709">-4.899902</cx:pt>
          <cx:pt idx="2710">-3.9940233749999998</cx:pt>
          <cx:pt idx="2711">-3.52149994</cx:pt>
          <cx:pt idx="2712">-2.1645037280000001</cx:pt>
          <cx:pt idx="2713">-1.7063268330000001</cx:pt>
          <cx:pt idx="2714">-0.78610166800000003</cx:pt>
          <cx:pt idx="2715">-0.327924773</cx:pt>
          <cx:pt idx="2716">0.58524097500000005</cx:pt>
          <cx:pt idx="2717">1.032715</cx:pt>
          <cx:pt idx="2718">1.091694063</cx:pt>
          <cx:pt idx="2719">1.4534582949999999</cx:pt>
          <cx:pt idx="2720">1.5114773720000001</cx:pt>
          <cx:pt idx="2721">1.6331554340000001</cx:pt>
          <cx:pt idx="2722">1.7510835549999999</cx:pt>
          <cx:pt idx="2723">1.8109926080000001</cx:pt>
          <cx:pt idx="2724">1.8727616170000001</cx:pt>
          <cx:pt idx="2725">1.9317406800000001</cx:pt>
          <cx:pt idx="2726">1.990719744</cx:pt>
          <cx:pt idx="2727">2.0534187419999999</cx:pt>
          <cx:pt idx="2728">2.11098783</cx:pt>
          <cx:pt idx="2729">2.1736868290000002</cx:pt>
          <cx:pt idx="2730">2.232665892</cx:pt>
          <cx:pt idx="2731">2.2916149510000001</cx:pt>
          <cx:pt idx="2732">2.3510740000000001</cx:pt>
          <cx:pt idx="2733">1.3039421259999999</cx:pt>
          <cx:pt idx="2734">-0.27475891699999999</cx:pt>
          <cx:pt idx="2735">-2.8564449999999999</cx:pt>
          <cx:pt idx="2736">2.6147459999999998</cx:pt>
          <cx:pt idx="2737">2.379156338</cx:pt>
          <cx:pt idx="2738">2.1972659999999999</cx:pt>
          <cx:pt idx="2739">-0.90087890000000004</cx:pt>
          <cx:pt idx="2740">1.3403320000000001</cx:pt>
          <cx:pt idx="2741">1.2514917670000001</cx:pt>
          <cx:pt idx="2742">-0.28936176400000002</cx:pt>
          <cx:pt idx="2743">-0.37353520000000001</cx:pt>
          <cx:pt idx="2744">-0.36353517099999999</cx:pt>
          <cx:pt idx="2745">-0.34273104199999999</cx:pt>
          <cx:pt idx="2746">-0.33273101300000002</cx:pt>
          <cx:pt idx="2747">-0.312720779</cx:pt>
          <cx:pt idx="2748">-0.30216604200000002</cx:pt>
          <cx:pt idx="2749">-0.27191659299999998</cx:pt>
          <cx:pt idx="2750">-0.231030982</cx:pt>
          <cx:pt idx="2751">-0.21047112800000001</cx:pt>
          <cx:pt idx="2752">-0.200705196</cx:pt>
          <cx:pt idx="2753">-0.19014537100000001</cx:pt>
          <cx:pt idx="2754">-0.17014022600000001</cx:pt>
          <cx:pt idx="2755">-0.149417521</cx:pt>
          <cx:pt idx="2756">-0.129412376</cx:pt>
          <cx:pt idx="2757">-0.119249498</cx:pt>
          <cx:pt idx="2758">-0.098847404</cx:pt>
          <cx:pt idx="2759">-0.088287578000000005</cx:pt>
          <cx:pt idx="2760">-0.087890629999999997</cx:pt>
          <cx:pt idx="2761">-5.6909179999999999</cx:pt>
          <cx:pt idx="2762">-4.9284071779999996</cx:pt>
          <cx:pt idx="2763">-4.1480554009999997</cx:pt>
          <cx:pt idx="2764">-3.3432690699999998</cx:pt>
          <cx:pt idx="2765">-1.8186353390000001</cx:pt>
          <cx:pt idx="2766">-0.26956714700000001</cx:pt>
          <cx:pt idx="2767">0.53521918400000001</cx:pt>
          <cx:pt idx="2768">0.57128909999999999</cx:pt>
          <cx:pt idx="2769">-3.4057620000000002</cx:pt>
          <cx:pt idx="2770">-2.37165866</cx:pt>
          <cx:pt idx="2771">-2.351698222</cx:pt>
          <cx:pt idx="2772">2.2192379999999998</cx:pt>
          <cx:pt idx="2773">6.350098</cx:pt>
          <cx:pt idx="2774">5.126948949</cx:pt>
          <cx:pt idx="2775">3.9763696830000002</cx:pt>
          <cx:pt idx="2776">2.8263754740000002</cx:pt>
          <cx:pt idx="2777">0.4614258</cx:pt>
          <cx:pt idx="2778">0.49205182200000003</cx:pt>
          <cx:pt idx="2779">0.50695547600000002</cx:pt>
          <cx:pt idx="2780">0.521851548</cx:pt>
          <cx:pt idx="2781">0.53675520300000001</cx:pt>
          <cx:pt idx="2782">0.58228487900000003</cx:pt>
          <cx:pt idx="2783">0.90087890000000004</cx:pt>
          <cx:pt idx="2784">9.1845700000000008</cx:pt>
          <cx:pt idx="2785">-1.428223</cx:pt>
          <cx:pt idx="2786">1.010742</cx:pt>
          <cx:pt idx="2787">6.1523440000000003</cx:pt>
          <cx:pt idx="2788">-3.537598</cx:pt>
          <cx:pt idx="2789">-2.4504591119999999</cx:pt>
          <cx:pt idx="2790">2.3730470000000001</cx:pt>
          <cx:pt idx="2791">-0.30979415999999999</cx:pt>
          <cx:pt idx="2792">-0.74776359800000003</cx:pt>
          <cx:pt idx="2793">-1.197762693</cx:pt>
          <cx:pt idx="2794">-1.4167474120000001</cx:pt>
          <cx:pt idx="2795">-1.6356207270000001</cx:pt>
          <cx:pt idx="2796">-1.866746507</cx:pt>
          <cx:pt idx="2797">-2.087402</cx:pt>
          <cx:pt idx="2798">-1.5057729479999999</cx:pt>
          <cx:pt idx="2799">-0.30045865300000002</cx:pt>
          <cx:pt idx="2800">0.28564450000000002</cx:pt>
          <cx:pt idx="2801">-1.749964485</cx:pt>
          <cx:pt idx="2802">-3.7247506480000001</cx:pt>
          <cx:pt idx="2803">-3.8012700000000001</cx:pt>
          <cx:pt idx="2804">-3.156707838</cx:pt>
          <cx:pt idx="2805">-2.4851609109999999</cx:pt>
          <cx:pt idx="2806">-1.8139554579999999</cx:pt>
          <cx:pt idx="2807">-1.1263541960000001</cx:pt>
          <cx:pt idx="2808">0.23791773499999999</cx:pt>
          <cx:pt idx="2809">0.94635535400000004</cx:pt>
          <cx:pt idx="2810">3.6694339999999999</cx:pt>
          <cx:pt idx="2811">8.1738280000000003</cx:pt>
          <cx:pt idx="2812">6.0817161469999999</cx:pt>
          <cx:pt idx="2813">3.9896044169999998</cx:pt>
          <cx:pt idx="2814">2.9715124949999998</cx:pt>
          <cx:pt idx="2815">-1.1645509999999999</cx:pt>
          <cx:pt idx="2816">-0.044019676000000001</cx:pt>
          <cx:pt idx="2817">0</cx:pt>
          <cx:pt idx="2818">0.48909106699999999</cx:pt>
          <cx:pt idx="2819">1.4941409999999999</cx:pt>
          <cx:pt idx="2820">1.5989569109999999</cx:pt>
          <cx:pt idx="2821">1.8676759999999999</cx:pt>
          <cx:pt idx="2822">6.7016600000000004</cx:pt>
          <cx:pt idx="2823">-0.30761719999999998</cx:pt>
          <cx:pt idx="2824">-0.37084422900000003</cx:pt>
          <cx:pt idx="2825">-0.40485781199999998</cx:pt>
          <cx:pt idx="2826">-0.41959760099999999</cx:pt>
          <cx:pt idx="2827">-0.42927356300000002</cx:pt>
          <cx:pt idx="2828">-0.434261701</cx:pt>
          <cx:pt idx="2829">-0.48339840000000001</cx:pt>
          <cx:pt idx="2830">-6.9213870000000002</cx:pt>
          <cx:pt idx="2831">-0.32958979999999999</cx:pt>
          <cx:pt idx="2832">-4.3286129999999998</cx:pt>
          <cx:pt idx="2833">-2.4431431720000001</cx:pt>
          <cx:pt idx="2834">-0.21972659999999999</cx:pt>
          <cx:pt idx="2835">-0.12356829900000001</cx:pt>
          <cx:pt idx="2836">-0.090627583999999997</cx:pt>
          <cx:pt idx="2837">-0.074660756999999994</cx:pt>
          <cx:pt idx="2838">-0.041849984999999999</cx:pt>
          <cx:pt idx="2839">-0.0099163319999999999</cx:pt>
          <cx:pt idx="2840">0.0069357339999999998</cx:pt>
          <cx:pt idx="2841">0.038861264999999999</cx:pt>
          <cx:pt idx="2842">0.054949915000000002</cx:pt>
          <cx:pt idx="2843">0.087760686000000004</cx:pt>
          <cx:pt idx="2844">0.087890629999999997</cx:pt>
          <cx:pt idx="2845">1.38974285</cx:pt>
          <cx:pt idx="2846">2.7329874809999999</cx:pt>
          <cx:pt idx="2847">4.0869140000000002</cx:pt>
          <cx:pt idx="2848">3.5315304730000001</cx:pt>
          <cx:pt idx="2849">2.9453550220000002</cx:pt>
          <cx:pt idx="2850">2.9190830810000001</cx:pt>
          <cx:pt idx="2851">-2.131348</cx:pt>
          <cx:pt idx="2852">1.296387</cx:pt>
          <cx:pt idx="2853">0</cx:pt>
          <cx:pt idx="2854">0.55479758300000004</cx:pt>
          <cx:pt idx="2855">1.536953107</cx:pt>
          <cx:pt idx="2856">2.5708009999999999</cx:pt>
          <cx:pt idx="2857">-1.010742</cx:pt>
          <cx:pt idx="2858">0.19775390000000001</cx:pt>
          <cx:pt idx="2859">3.479445471</cx:pt>
          <cx:pt idx="2860">4.4165039999999998</cx:pt>
          <cx:pt idx="2861">2.7294356030000002</cx:pt>
          <cx:pt idx="2862">2.3141637099999999</cx:pt>
          <cx:pt idx="2863">-1.07666</cx:pt>
          <cx:pt idx="2864">-0.033595862999999997</cx:pt>
          <cx:pt idx="2865">0.069024573000000006</cx:pt>
          <cx:pt idx="2866">0.17733452999999999</cx:pt>
          <cx:pt idx="2867">0.28235605499999999</cx:pt>
          <cx:pt idx="2868">0.28564450000000002</cx:pt>
          <cx:pt idx="2869">4.7680660000000001</cx:pt>
          <cx:pt idx="2870">3.7904409910000001</cx:pt>
          <cx:pt idx="2871">2.8123183799999998</cx:pt>
          <cx:pt idx="2872">1.811310006</cx:pt>
          <cx:pt idx="2873">-0.1757813</cx:pt>
          <cx:pt idx="2874">0.18405355300000001</cx:pt>
          <cx:pt idx="2875">0.42610030399999999</cx:pt>
          <cx:pt idx="2876">0.54388840699999996</cx:pt>
          <cx:pt idx="2877">0.66820697699999998</cx:pt>
          <cx:pt idx="2878">0.90372326000000003</cx:pt>
          <cx:pt idx="2879">1.02804183</cx:pt>
          <cx:pt idx="2880">1.032715</cx:pt>
          <cx:pt idx="2881">0.74498332899999997</cx:pt>
          <cx:pt idx="2882">0.29647142900000001</cx:pt>
          <cx:pt idx="2883">-0.0052995550000000001</cx:pt>
          <cx:pt idx="2884">-1.3473254109999999</cx:pt>
          <cx:pt idx="2885">-1.4941409999999999</cx:pt>
          <cx:pt idx="2886">-1.0729068349999999</cx:pt>
          <cx:pt idx="2887">-0.44668593499999998</cx:pt>
          <cx:pt idx="2888">-0.2416992</cx:pt>
          <cx:pt idx="2889">-0.27506227100000002</cx:pt>
          <cx:pt idx="2890">-0.37167684099999998</cx:pt>
          <cx:pt idx="2891">-0.40330259000000002</cx:pt>
          <cx:pt idx="2892">-0.434928335</cx:pt>
          <cx:pt idx="2893">-0.79101560000000004</cx:pt>
          <cx:pt idx="2894">-0.88374910699999998</cx:pt>
          <cx:pt idx="2895">-0.89910574899999995</cx:pt>
          <cx:pt idx="2896">-0.91469672700000004</cx:pt>
          <cx:pt idx="2897">-0.93066263699999996</cx:pt>
          <cx:pt idx="2898">-0.94601928099999999</cx:pt>
          <cx:pt idx="2899">-1.0398463440000001</cx:pt>
          <cx:pt idx="2900">-1.0867598759999999</cx:pt>
          <cx:pt idx="2901">-1.102108708</cx:pt>
          <cx:pt idx="2902">-1.1183167629999999</cx:pt>
          <cx:pt idx="2903">-1.1805869369999999</cx:pt>
          <cx:pt idx="2904">-1.195935771</cx:pt>
          <cx:pt idx="2905">-1.2275004679999999</cx:pt>
          <cx:pt idx="2906">-1.2428493</cx:pt>
          <cx:pt idx="2907">-1.259057356</cx:pt>
          <cx:pt idx="2908">-1.2744139999999999</cx:pt>
          <cx:pt idx="2909">-1.2299586309999999</cx:pt>
          <cx:pt idx="2910">-1.1399619510000001</cx:pt>
          <cx:pt idx="2911">-1.048539992</cx:pt>
          <cx:pt idx="2912">0.17435600900000001</cx:pt>
          <cx:pt idx="2913">0.1757813</cx:pt>
          <cx:pt idx="2914">3.8516862409999999</cx:pt>
          <cx:pt idx="2915">5.0805299149999996</cx:pt>
          <cx:pt idx="2916">6.328125</cx:pt>
          <cx:pt idx="2917">4.3019052819999999</cx:pt>
          <cx:pt idx="2918">0.21972659999999999</cx:pt>
          <cx:pt idx="2919">-0.19775390000000001</cx:pt>
          <cx:pt idx="2920">4.3505859999999998</cx:pt>
          <cx:pt idx="2921">2.7587687160000001</cx:pt>
          <cx:pt idx="2922">2.3868103970000001</cx:pt>
          <cx:pt idx="2923">-1.516113</cx:pt>
          <cx:pt idx="2924">-1.6880383219999999</cx:pt>
          <cx:pt idx="2925">-2.0416007409999999</cx:pt>
          <cx:pt idx="2926">-3.618063963</cx:pt>
          <cx:pt idx="2927">-3.971538894</cx:pt>
          <cx:pt idx="2928">-3.9770509999999999</cx:pt>
          <cx:pt idx="2929">-3.3201462140000002</cx:pt>
          <cx:pt idx="2930">-2.6415551069999998</cx:pt>
          <cx:pt idx="2931">-1.9577563680000001</cx:pt>
          <cx:pt idx="2932">-1.2470336769999999</cx:pt>
          <cx:pt idx="2933">0.1098633</cx:pt>
          <cx:pt idx="2934">0.17600222300000001</cx:pt>
          <cx:pt idx="2935">0.33890266000000002</cx:pt>
          <cx:pt idx="2936">0.40553259200000003</cx:pt>
          <cx:pt idx="2937">0.46987114600000002</cx:pt>
          <cx:pt idx="2938">0.50383260699999999</cx:pt>
          <cx:pt idx="2939">0.50537109999999996</cx:pt>
          <cx:pt idx="2940">-0.31100867799999998</cx:pt>
          <cx:pt idx="2941">-1.1403687309999999</cx:pt>
          <cx:pt idx="2942">-1.4118509130000001</cx:pt>
          <cx:pt idx="2943">-1.9697288180000001</cx:pt>
          <cx:pt idx="2944">-2.2412109999999998</cx:pt>
          <cx:pt idx="2945">-0.58078005499999996</cx:pt>
          <cx:pt idx="2946">1.170864626</cx:pt>
          <cx:pt idx="2947">4.4917263140000001</cx:pt>
          <cx:pt idx="2948">4.5043949999999997</cx:pt>
          <cx:pt idx="2949">-2.3291019999999998</cx:pt>
          <cx:pt idx="2950">-2.0064006249999999</cx:pt>
          <cx:pt idx="2951">-1.844277049</cx:pt>
          <cx:pt idx="2952">-1.722119953</cx:pt>
          <cx:pt idx="2953">-1.6399293420000001</cx:pt>
          <cx:pt idx="2954">-1.599962857</cx:pt>
          <cx:pt idx="2955">-1.4765243939999999</cx:pt>
          <cx:pt idx="2956">-1.396571091</cx:pt>
          <cx:pt idx="2957">-1.314400818</cx:pt>
          <cx:pt idx="2958">-1.2744139999999999</cx:pt>
          <cx:pt idx="2959">-1.3954197690000001</cx:pt>
          <cx:pt idx="2960">-1.437225792</cx:pt>
          <cx:pt idx="2961">-1.4768357400000001</cx:pt>
          <cx:pt idx="2962">-1.5582315600000001</cx:pt>
          <cx:pt idx="2963">-1.597841509</cx:pt>
          <cx:pt idx="2964">-1.6770412539999999</cx:pt>
          <cx:pt idx="2965">-1.7188472720000001</cx:pt>
          <cx:pt idx="2966">-1.7989939530000001</cx:pt>
          <cx:pt idx="2967">-1.919052787</cx:pt>
          <cx:pt idx="2968">-2.000448607</cx:pt>
          <cx:pt idx="2969">-2.121454376</cx:pt>
          <cx:pt idx="2970">-2.2028703470000002</cx:pt>
          <cx:pt idx="2971">-2.2412109999999998</cx:pt>
          <cx:pt idx="2972">-2.1827873229999999</cx:pt>
          <cx:pt idx="2973">-1.3403320000000001</cx:pt>
          <cx:pt idx="2974">4.5922850000000004</cx:pt>
          <cx:pt idx="2975">3.6912798439999999</cx:pt>
          <cx:pt idx="2976">3.2531519059999998</cx:pt>
          <cx:pt idx="2977">2.8148009649999999</cx:pt>
          <cx:pt idx="2978">1.9140188119999999</cx:pt>
          <cx:pt idx="2979">0.57488571700000002</cx:pt>
          <cx:pt idx="2980">-0.75042348400000003</cx:pt>
          <cx:pt idx="2981">-1.230469</cx:pt>
          <cx:pt idx="2982">-1.1324139900000001</cx:pt>
          <cx:pt idx="2983">-0.92648289800000005</cx:pt>
          <cx:pt idx="2984">-0.81865876400000004</cx:pt>
          <cx:pt idx="2985">-0.61439049300000004</cx:pt>
          <cx:pt idx="2986">0.21972659999999999</cx:pt>
          <cx:pt idx="2987">2.3713841100000002</cx:pt>
          <cx:pt idx="2988">2.9932682709999998</cx:pt>
          <cx:pt idx="2989">3.2958980000000002</cx:pt>
          <cx:pt idx="2990">3.0641014819999999</cx:pt>
          <cx:pt idx="2991">2.8194535850000002</cx:pt>
          <cx:pt idx="2992">2.5877749890000001</cx:pt>
          <cx:pt idx="2993">-0.0038420189999999999</cx:pt>
          <cx:pt idx="2994">-1.186523</cx:pt>
          <cx:pt idx="2995">-0.37355422399999999</cx:pt>
          <cx:pt idx="2996">0.41748049999999998</cx:pt>
          <cx:pt idx="2997">-7.604187123</cx:pt>
          <cx:pt idx="2998">-7.6684570000000001</cx:pt>
          <cx:pt idx="2999">-5.960083075</cx:pt>
          <cx:pt idx="3000">-0.90066765100000001</cx:pt>
          <cx:pt idx="3001">-0.83496090000000001</cx:pt>
          <cx:pt idx="3002">-0.99124008100000005</cx:pt>
          <cx:pt idx="3003">-1.1551040560000001</cx:pt>
          <cx:pt idx="3004">-1.2354541960000001</cx:pt>
          <cx:pt idx="3005">-1.396195015</cx:pt>
          <cx:pt idx="3006">-1.480357827</cx:pt>
          <cx:pt idx="3007">-1.5600590000000001</cx:pt>
          <cx:pt idx="3008">0.74154553499999998</cx:pt>
          <cx:pt idx="3009">3.0794420659999999</cx:pt>
          <cx:pt idx="3010">5.4711910000000001</cx:pt>
          <cx:pt idx="3011">5.1147442160000001</cx:pt>
          <cx:pt idx="3012">4.7385351309999999</cx:pt>
          <cx:pt idx="3013">4.3822696829999996</cx:pt>
          <cx:pt idx="3014">4.0258228989999996</cx:pt>
          <cx:pt idx="3015">2.936901582</cx:pt>
          <cx:pt idx="3016">2.2042457560000002</cx:pt>
          <cx:pt idx="3017">1.8479803079999999</cx:pt>
          <cx:pt idx="3018">0.396991753</cx:pt>
          <cx:pt idx="3019">-1.07666</cx:pt>
          <cx:pt idx="3020">-0.72574761799999998</cx:pt>
          <cx:pt idx="3021">0.19775390000000001</cx:pt>
          <cx:pt idx="3022">5.7128909999999999</cx:pt>
          <cx:pt idx="3023">0.72509769999999996</cx:pt>
          <cx:pt idx="3024">0.18854080300000001</cx:pt>
          <cx:pt idx="3025">-0.28564450000000002</cx:pt>
          <cx:pt idx="3026">4.6754222350000001</cx:pt>
          <cx:pt idx="3027">5.1937873960000003</cx:pt>
          <cx:pt idx="3028">5.6846729250000001</cx:pt>
          <cx:pt idx="3029">6.6941734110000004</cx:pt>
          <cx:pt idx="3030">7.1850589999999999</cx:pt>
          <cx:pt idx="3031">5.8432598249999996</cx:pt>
          <cx:pt idx="3032">0.28564450000000002</cx:pt>
          <cx:pt idx="3033">0.92285159999999999</cx:pt>
          <cx:pt idx="3034">-6.1743160000000001</cx:pt>
          <cx:pt idx="3035">-2.7130177610000001</cx:pt>
          <cx:pt idx="3036">-1.737371464</cx:pt>
          <cx:pt idx="3037">-0.73442397299999995</cx:pt>
          <cx:pt idx="3038">-0.24672488200000001</cx:pt>
          <cx:pt idx="3039">0.24122232399999999</cx:pt>
          <cx:pt idx="3040">0.75622260799999996</cx:pt>
          <cx:pt idx="3041">1.73584</cx:pt>
          <cx:pt idx="3042">1.361883685</cx:pt>
          <cx:pt idx="3043">1.232341219</cx:pt>
          <cx:pt idx="3044">0.85738603499999999</cx:pt>
          <cx:pt idx="3045">0.23701810400000001</cx:pt>
          <cx:pt idx="3046">0.114280517</cx:pt>
          <cx:pt idx="3047">-0.015261949</cx:pt>
          <cx:pt idx="3048">-0.26067468199999999</cx:pt>
          <cx:pt idx="3049">-0.51289229400000003</cx:pt>
          <cx:pt idx="3050">-0.63562987999999998</cx:pt>
          <cx:pt idx="3051">-0.76904300000000003</cx:pt>
          <cx:pt idx="3052">-0.53273932300000004</cx:pt>
          <cx:pt idx="3053">-0.50359969800000004</cx:pt>
          <cx:pt idx="3054">-0.47446007600000001</cx:pt>
          <cx:pt idx="3055">-0.41458007600000002</cx:pt>
          <cx:pt idx="3056">-0.354700073</cx:pt>
          <cx:pt idx="3057">-0.29642082600000003</cx:pt>
          <cx:pt idx="3058">-0.23654082600000001</cx:pt>
          <cx:pt idx="3059">-0.20740120100000001</cx:pt>
          <cx:pt idx="3060">-0.118381575</cx:pt>
          <cx:pt idx="3061">-0.089256773999999997</cx:pt>
          <cx:pt idx="3062">-0.029361953999999999</cx:pt>
          <cx:pt idx="3063">0</cx:pt>
          <cx:pt idx="3064">-0.43571460499999998</cx:pt>
          <cx:pt idx="3065">-1.7066722620000001</cx:pt>
          <cx:pt idx="3066">-2.109375</cx:pt>
          <cx:pt idx="3067">-1.27806325</cx:pt>
          <cx:pt idx="3068">0.29682176700000001</cx:pt>
          <cx:pt idx="3069">2.703419137</cx:pt>
          <cx:pt idx="3070">3.5343301880000002</cx:pt>
          <cx:pt idx="3071">3.5595699999999999</cx:pt>
          <cx:pt idx="3072">2.5563757260000002</cx:pt>
          <cx:pt idx="3073">1.508842869</cx:pt>
          <cx:pt idx="3074">0.99907815300000002</cx:pt>
          <cx:pt idx="3075">0.46131001199999999</cx:pt>
          <cx:pt idx="3076">-0.55821948099999996</cx:pt>
          <cx:pt idx="3077">-1.6057523380000001</cx:pt>
          <cx:pt idx="3078">-1.625977</cx:pt>
          <cx:pt idx="3079">-1.648955833</cx:pt>
          <cx:pt idx="3080">-1.6843056080000001</cx:pt>
          <cx:pt idx="3081">-1.69658189</cx:pt>
          <cx:pt idx="3082">-1.708213298</cx:pt>
          <cx:pt idx="3083">-1.719838789</cx:pt>
          <cx:pt idx="3084">-1.732115071</cx:pt>
          <cx:pt idx="3085">-1.755371969</cx:pt>
          <cx:pt idx="3086">-1.7911832139999999</cx:pt>
          <cx:pt idx="3087">-1.814440112</cx:pt>
          <cx:pt idx="3088">-1.8262549239999999</cx:pt>
          <cx:pt idx="3089">-1.8499792079999999</cx:pt>
          <cx:pt idx="3090">-1.8622495750000001</cx:pt>
          <cx:pt idx="3091">-1.8738809809999999</cx:pt>
          <cx:pt idx="3092">-1.8855123890000001</cx:pt>
          <cx:pt idx="3093">-1.9094141609999999</cx:pt>
          <cx:pt idx="3094">-1.9333159339999999</cx:pt>
          <cx:pt idx="3095">-1.933594</cx:pt>
          <cx:pt idx="3096">-3.8671880000000001</cx:pt>
          <cx:pt idx="3097">-2.9414973689999999</cx:pt>
          <cx:pt idx="3098">-2.0640104080000001</cx:pt>
          <cx:pt idx="3099">-0.295646672</cx:pt>
          <cx:pt idx="3100">1.4941409999999999</cx:pt>
          <cx:pt idx="3101">-0.010985999999999999</cx:pt>
          <cx:pt idx="3102">-0.50342269100000003</cx:pt>
          <cx:pt idx="3103">-1.516113</cx:pt>
          <cx:pt idx="3104">-1.4934975130000001</cx:pt>
          <cx:pt idx="3105">-1.4238326050000001</cx:pt>
          <cx:pt idx="3106">-1.378590121</cx:pt>
          <cx:pt idx="3107">-1.3320816280000001</cx:pt>
          <cx:pt idx="3108">-1.2855846470000001</cx:pt>
          <cx:pt idx="3109">-1.2629576490000001</cx:pt>
          <cx:pt idx="3110">-1.1938336700000001</cx:pt>
          <cx:pt idx="3111">-1.1473366890000001</cx:pt>
          <cx:pt idx="3112">-1.1020826960000001</cx:pt>
          <cx:pt idx="3113">-1.0782127100000001</cx:pt>
          <cx:pt idx="3114">-1.0546880000000001</cx:pt>
          <cx:pt idx="3115">-1.974343945</cx:pt>
          <cx:pt idx="3116">-2.946607346</cx:pt>
          <cx:pt idx="3117">-3.9422517620000002</cx:pt>
          <cx:pt idx="3118">-4.899902</cx:pt>
          <cx:pt idx="3119">-4.2672827670000002</cx:pt>
          <cx:pt idx="3120">-3.5992496909999998</cx:pt>
          <cx:pt idx="3121">-1.032715</cx:pt>
          <cx:pt idx="3122">-3.7854765260000001</cx:pt>
          <cx:pt idx="3123">-4.4604489999999997</cx:pt>
          <cx:pt idx="3124">-0.41748049999999998</cx:pt>
          <cx:pt idx="3125">-0.29750119600000002</cx:pt>
          <cx:pt idx="3126">-0.27650279300000002</cx:pt>
          <cx:pt idx="3127">-0.25660743899999999</cx:pt>
          <cx:pt idx="3128">-0.19582844899999999</cx:pt>
          <cx:pt idx="3129">-0.17594321600000001</cx:pt>
          <cx:pt idx="3130">-0.1757813</cx:pt>
          <cx:pt idx="3131">3.5126322829999999</cx:pt>
          <cx:pt idx="3132">3.6254879999999998</cx:pt>
          <cx:pt idx="3133">2.8420242579999999</cx:pt>
          <cx:pt idx="3134">2.0525339260000002</cx:pt>
          <cx:pt idx="3135">1.2626417510000001</cx:pt>
          <cx:pt idx="3136">-5.9765629999999996</cx:pt>
          <cx:pt idx="3137">-1.801758</cx:pt>
          <cx:pt idx="3138">-1.788479618</cx:pt>
          <cx:pt idx="3139">-1.76330575</cx:pt>
          <cx:pt idx="3140">-1.737440433</cx:pt>
          <cx:pt idx="3141">-1.724853499</cx:pt>
          <cx:pt idx="3142">-1.712272968</cx:pt>
          <cx:pt idx="3143">-1.6864012500000001</cx:pt>
          <cx:pt idx="3144">-1.6605359340000001</cx:pt>
          <cx:pt idx="3145">-1.6479490000000001</cx:pt>
          <cx:pt idx="3146">-1.7183847370000001</cx:pt>
          <cx:pt idx="3147">-1.792763428</cx:pt>
          <cx:pt idx="3148">-2.0058270340000002</cx:pt>
          <cx:pt idx="3149">-2.1506414619999998</cx:pt>
          <cx:pt idx="3150">-2.2211130410000002</cx:pt>
          <cx:pt idx="3151">-2.2915487689999998</cx:pt>
          <cx:pt idx="3152">-2.9374426329999999</cx:pt>
          <cx:pt idx="3153">-3.0117854909999999</cx:pt>
          <cx:pt idx="3154">-3.2248490969999999</cx:pt>
          <cx:pt idx="3155">-3.515625</cx:pt>
          <cx:pt idx="3156">2.48291</cx:pt>
          <cx:pt idx="3157">-0.373995835</cx:pt>
          <cx:pt idx="3158">-0.545786726</cx:pt>
          <cx:pt idx="3159">-0.55234233200000005</cx:pt>
          <cx:pt idx="3160">-0.71102197099999997</cx:pt>
          <cx:pt idx="3161">-0.87617319500000002</cx:pt>
          <cx:pt idx="3162">-1.0505694969999999</cx:pt>
          <cx:pt idx="3163">-1.5553522879999999</cx:pt>
          <cx:pt idx="3164">-2.0601350790000001</cx:pt>
          <cx:pt idx="3165">-2.0654300000000001</cx:pt>
          <cx:pt idx="3166">1.3765774609999999</cx:pt>
          <cx:pt idx="3167">1.40625</cx:pt>
          <cx:pt idx="3168">0.20195649500000001</cx:pt>
          <cx:pt idx="3169">-1.0074246469999999</cx:pt>
          <cx:pt idx="3170">-1.595505296</cx:pt>
          <cx:pt idx="3171">-2.8048865100000002</cx:pt>
          <cx:pt idx="3172">-3.9813471370000002</cx:pt>
          <cx:pt idx="3173">-5.7788089999999999</cx:pt>
          <cx:pt idx="3174">-3.6048145300000001</cx:pt>
          <cx:pt idx="3175">-2.5309978530000001</cx:pt>
          <cx:pt idx="3176">-1.4733206889999999</cx:pt>
          <cx:pt idx="3177">1.7578130000000001</cx:pt>
          <cx:pt idx="3178">1.55886013</cx:pt>
          <cx:pt idx="3179">1.491946244</cx:pt>
          <cx:pt idx="3180">1.426821141</cx:pt>
          <cx:pt idx="3181">1.3940101499999999</cx:pt>
          <cx:pt idx="3182">1.2945337130000001</cx:pt>
          <cx:pt idx="3183">1.227619826</cx:pt>
          <cx:pt idx="3184">1.1950572749999999</cx:pt>
          <cx:pt idx="3185">1.1606893789999999</cx:pt>
          <cx:pt idx="3186">1.1281433890000001</cx:pt>
          <cx:pt idx="3187">1.0955808419999999</cx:pt>
          <cx:pt idx="3188">1.028666952</cx:pt>
          <cx:pt idx="3189">0.99610440499999997</cx:pt>
          <cx:pt idx="3190">0.96173650399999999</cx:pt>
          <cx:pt idx="3191">0.92917395300000005</cx:pt>
          <cx:pt idx="3192">0.49820877299999999</cx:pt>
          <cx:pt idx="3193">0.43308367399999997</cx:pt>
          <cx:pt idx="3194">0.36590478199999998</cx:pt>
          <cx:pt idx="3195">0.30079624500000002</cx:pt>
          <cx:pt idx="3196">0.23388235900000001</cx:pt>
          <cx:pt idx="3197">0.13440592200000001</cx:pt>
          <cx:pt idx="3198">0.067475470999999995</cx:pt>
          <cx:pt idx="3199">0.0023669339999999998</cx:pt>
          <cx:pt idx="3200">-0.064546952000000005</cx:pt>
          <cx:pt idx="3201">-0.097887955999999998</cx:pt>
          <cx:pt idx="3202">-0.16299649199999999</cx:pt>
          <cx:pt idx="3203">-0.22992694</cx:pt>
          <cx:pt idx="3204">-0.26247292999999999</cx:pt>
          <cx:pt idx="3205">-0.329403377</cx:pt>
          <cx:pt idx="3206">-0.4614258</cx:pt>
          <cx:pt idx="3207">-3.9990230000000002</cx:pt>
          <cx:pt idx="3208">0</cx:pt>
          <cx:pt idx="3209">-1.2524409999999999</cx:pt>
          <cx:pt idx="3210">5.2257992519999998</cx:pt>
          <cx:pt idx="3211">7.4639525549999997</cx:pt>
          <cx:pt idx="3212">7.5146480000000002</cx:pt>
          <cx:pt idx="3213">6.6113369280000001</cx:pt>
          <cx:pt idx="3214">5.6863726349999997</cx:pt>
          <cx:pt idx="3215">4.709629337</cx:pt>
          <cx:pt idx="3216">3.7841943580000001</cx:pt>
          <cx:pt idx="3217">-0.90087890000000004</cx:pt>
          <cx:pt idx="3218">-1.2024792500000001</cx:pt>
          <cx:pt idx="3219">-1.215936519</cx:pt>
          <cx:pt idx="3220">-1.230469</cx:pt>
          <cx:pt idx="3221">-1.179242358</cx:pt>
          <cx:pt idx="3222">-1.071396786</cx:pt>
          <cx:pt idx="3223">-0.96646091499999998</cx:pt>
          <cx:pt idx="3224">-0.91397963599999998</cx:pt>
          <cx:pt idx="3225">-0.85693359999999996</cx:pt>
          <cx:pt idx="3226">-0.82408212199999997</cx:pt>
          <cx:pt idx="3227">-0.79014307100000003</cx:pt>
          <cx:pt idx="3228">-0.72040057000000002</cx:pt>
          <cx:pt idx="3229">-0.58277996899999995</cx:pt>
          <cx:pt idx="3230">-0.546147893</cx:pt>
          <cx:pt idx="3231">-0.51303746800000005</cx:pt>
          <cx:pt idx="3232">-0.41042622299999998</cx:pt>
          <cx:pt idx="3233">-0.37353520000000001</cx:pt>
          <cx:pt idx="3234">-0.90801637000000002</cx:pt>
          <cx:pt idx="3235">-2.0421046710000001</cx:pt>
          <cx:pt idx="3236">-3.7280785440000002</cx:pt>
          <cx:pt idx="3237">-4.2799641160000004</cx:pt>
          <cx:pt idx="3238">-5.4140524179999998</cx:pt>
          <cx:pt idx="3239">-5.4272460000000002</cx:pt>
          <cx:pt idx="3240">-4.9036556869999997</cx:pt>
          <cx:pt idx="3241">-3.8013603869999999</cx:pt>
          <cx:pt idx="3242">-3.2649463600000002</cx:pt>
          <cx:pt idx="3243">-1.0900958970000001</cx:pt>
          <cx:pt idx="3244">-0.55368193499999996</cx:pt>
          <cx:pt idx="3245">-0.54931640000000004</cx:pt>
          <cx:pt idx="3246">-8.6975147170000007</cx:pt>
          <cx:pt idx="3247">-8.9428710000000002</cx:pt>
          <cx:pt idx="3248">-7.8003746700000001</cx:pt>
          <cx:pt idx="3249">-6.6104495820000002</cx:pt>
          <cx:pt idx="3250">5.4052730000000002</cx:pt>
          <cx:pt idx="3251">-1.0546880000000001</cx:pt>
          <cx:pt idx="3252">-1.2946520050000001</cx:pt>
          <cx:pt idx="3253">-1.3847848270000001</cx:pt>
          <cx:pt idx="3254">-1.4159246190000001</cx:pt>
          <cx:pt idx="3255">-1.4749326549999999</cx:pt>
          <cx:pt idx="3256">-1.5060574410000001</cx:pt>
          <cx:pt idx="3257">-1.535561459</cx:pt>
          <cx:pt idx="3258">-1.5650654770000001</cx:pt>
          <cx:pt idx="3259">-1.9555659999999999</cx:pt>
          <cx:pt idx="3260">5.9765629999999996</cx:pt>
          <cx:pt idx="3261">-1.186523</cx:pt>
          <cx:pt idx="3262">-5.1416019999999998</cx:pt>
          <cx:pt idx="3263">-4.2488539010000004</cx:pt>
          <cx:pt idx="3264">-3.0480207720000001</cx:pt>
          <cx:pt idx="3265">-2.7558378449999998</cx:pt>
          <cx:pt idx="3266">-1.2744139999999999</cx:pt>
          <cx:pt idx="3267">-0.95005835299999997</cx:pt>
          <cx:pt idx="3268">-0.79233531499999998</cx:pt>
          <cx:pt idx="3269">-0.63453199699999996</cx:pt>
          <cx:pt idx="3270">-0.46797968699999998</cx:pt>
          <cx:pt idx="3271">-0.31017636999999998</cx:pt>
          <cx:pt idx="3272">0.014098997</cx:pt>
          <cx:pt idx="3273">0.8129883</cx:pt>
          <cx:pt idx="3274">5.5824559970000003</cx:pt>
          <cx:pt idx="3275">6.5158398179999999</cx:pt>
          <cx:pt idx="3276">8.4338817559999999</cx:pt>
          <cx:pt idx="3277">9.3672655769999995</cx:pt>
          <cx:pt idx="3278">9.4042969999999997</cx:pt>
          <cx:pt idx="3279">7.7616595630000003</cx:pt>
          <cx:pt idx="3280">-1.032715</cx:pt>
          <cx:pt idx="3281">-1.6479490000000001</cx:pt>
          <cx:pt idx="3282">-0.915336645</cx:pt>
          <cx:pt idx="3283">0.63997299699999999</cx:pt>
          <cx:pt idx="3284">1.3968389269999999</cx:pt>
          <cx:pt idx="3285">2.1533199999999999</cx:pt>
          <cx:pt idx="3286">2.5268549999999999</cx:pt>
          <cx:pt idx="3287">2.1976704570000001</cx:pt>
          <cx:pt idx="3288">2.0219359130000001</cx:pt>
          <cx:pt idx="3289">1.855352428</cx:pt>
          <cx:pt idx="3290">1.6861422530000001</cx:pt>
          <cx:pt idx="3291">1.519643514</cx:pt>
          <cx:pt idx="3292">1.343824224</cx:pt>
          <cx:pt idx="3293">1.010742</cx:pt>
          <cx:pt idx="3294">-8.9868159999999992</cx:pt>
          <cx:pt idx="3295">-7.6691113480000004</cx:pt>
          <cx:pt idx="3296">-6.307783455</cx:pt>
          <cx:pt idx="3297">-4.8709799609999997</cx:pt>
          <cx:pt idx="3298">-4.8280489409999996</cx:pt>
          <cx:pt idx="3299">-3.509651903</cx:pt>
          <cx:pt idx="3300">-0.71221290199999998</cx:pt>
          <cx:pt idx="3301">0.64911515600000003</cx:pt>
          <cx:pt idx="3302">0.703125</cx:pt>
          <cx:pt idx="3303">0.67202716100000004</cx:pt>
          <cx:pt idx="3304">0.50620498899999999</cx:pt>
          <cx:pt idx="3305">0.473805227</cx:pt>
          <cx:pt idx="3306">0.44142194800000001</cx:pt>
          <cx:pt idx="3307">0.40722586199999999</cx:pt>
          <cx:pt idx="3308">0.30824673499999999</cx:pt>
          <cx:pt idx="3309">0.27584697699999999</cx:pt>
          <cx:pt idx="3310">-0.118784085</cx:pt>
          <cx:pt idx="3311">-0.152980171</cx:pt>
          <cx:pt idx="3312">-0.21776321200000001</cx:pt>
          <cx:pt idx="3313">-0.251959294</cx:pt>
          <cx:pt idx="3314">-0.284359056</cx:pt>
          <cx:pt idx="3315">-0.28564450000000002</cx:pt>
          <cx:pt idx="3316">-4.389680297</cx:pt>
          <cx:pt idx="3317">-6.4819339999999999</cx:pt>
          <cx:pt idx="3318">-4.5209493380000003</cx:pt>
          <cx:pt idx="3319">-2.472257833</cx:pt>
          <cx:pt idx="3320">-0.424073268</cx:pt>
          <cx:pt idx="3321">2.6208269049999999</cx:pt>
          <cx:pt idx="3322">4.6142580000000004</cx:pt>
          <cx:pt idx="3323">2.3013876070000001</cx:pt>
          <cx:pt idx="3324">0.108956019</cx:pt>
          <cx:pt idx="3325">0.021972660000000001</cx:pt>
          <cx:pt idx="3326">0.53274416000000002</cx:pt>
          <cx:pt idx="3327">0.80562028500000005</cx:pt>
          <cx:pt idx="3328">1.0641621670000001</cx:pt>
          <cx:pt idx="3329">1.322572584</cx:pt>
          <cx:pt idx="3330">1.595448709</cx:pt>
          <cx:pt idx="3331">1.8539905910000001</cx:pt>
          <cx:pt idx="3332">2.3709428909999999</cx:pt>
          <cx:pt idx="3333">2.3730470000000001</cx:pt>
          <cx:pt idx="3334">-4.7726245250000003</cx:pt>
          <cx:pt idx="3335">-4.9877929999999999</cx:pt>
          <cx:pt idx="3336">-1.3655059759999999</cx:pt>
          <cx:pt idx="3337">0.57717839400000004</cx:pt>
          <cx:pt idx="3338">2.504883</cx:pt>
          <cx:pt idx="3339">2.3269791190000002</cx:pt>
          <cx:pt idx="3340">2.1282627540000001</cx:pt>
          <cx:pt idx="3341">1.567941558</cx:pt>
          <cx:pt idx="3342">1.3707457430000001</cx:pt>
          <cx:pt idx="3343">1.1839086670000001</cx:pt>
          <cx:pt idx="3344">0.99716659500000004</cx:pt>
          <cx:pt idx="3345">0.613133704</cx:pt>
          <cx:pt idx="3346">0.42639163200000002</cx:pt>
          <cx:pt idx="3347">-0.34157912299999998</cx:pt>
          <cx:pt idx="3348">-0.71819936900000003</cx:pt>
          <cx:pt idx="3349">-1.296387</cx:pt>
          <cx:pt idx="3350">1.008810505</cx:pt>
          <cx:pt idx="3351">3.5815429999999999</cx:pt>
          <cx:pt idx="3352">3.3276567350000001</cx:pt>
          <cx:pt idx="3353">1.7454271830000001</cx:pt>
          <cx:pt idx="3354">-1.1425780000000001</cx:pt>
          <cx:pt idx="3355">-1.346481676</cx:pt>
          <cx:pt idx="3356">-1.361934881</cx:pt>
          <cx:pt idx="3357">-1.3937142229999999</cx:pt>
          <cx:pt idx="3358">-1.4091674279999999</cx:pt>
          <cx:pt idx="3359">-1.424628499</cx:pt>
          <cx:pt idx="3360">-1.44094677</cx:pt>
          <cx:pt idx="3361">-1.4563999759999999</cx:pt>
          <cx:pt idx="3362">-1.4718610459999999</cx:pt>
          <cx:pt idx="3363">-1.487565907</cx:pt>
          <cx:pt idx="3364">-1.582031</cx:pt>
          <cx:pt idx="3365">2.3730470000000001</cx:pt>
          <cx:pt idx="3366">2.0284474709999998</cx:pt>
          <cx:pt idx="3367">1.686630482</cx:pt>
          <cx:pt idx="3368">0.81169724399999998</cx:pt>
          <cx:pt idx="3369">0.64074526499999995</cx:pt>
          <cx:pt idx="3370">0.11849831199999999</cx:pt>
          <cx:pt idx="3371">-0.74695692000000002</cx:pt>
          <cx:pt idx="3372">-0.92729995700000001</cx:pt>
          <cx:pt idx="3373">-1.269203893</cx:pt>
          <cx:pt idx="3374">-1.4414601739999999</cx:pt>
          <cx:pt idx="3375">-1.625977</cx:pt>
          <cx:pt idx="3376">-1.662536521</cx:pt>
          <cx:pt idx="3377">-1.738076347</cx:pt>
          <cx:pt idx="3378">-1.7770185279999999</cx:pt>
          <cx:pt idx="3379">-1.891500534</cx:pt>
          <cx:pt idx="3380">-1.9289749979999999</cx:pt>
          <cx:pt idx="3381">-2.0434570000000001</cx:pt>
          <cx:pt idx="3382">-2.1033918329999999</cx:pt>
          <cx:pt idx="3383">-2.1601494020000001</cx:pt>
          <cx:pt idx="3384">-2.2178312610000002</cx:pt>
          <cx:pt idx="3385">-2.3345525380000001</cx:pt>
          <cx:pt idx="3386">-2.3913101060000002</cx:pt>
          <cx:pt idx="3387">-2.4480965499999998</cx:pt>
          <cx:pt idx="3388">-2.504883</cx:pt>
          <cx:pt idx="3389">-0.98876949999999997</cx:pt>
          <cx:pt idx="3390">1.182359012</cx:pt>
          <cx:pt idx="3391">2.4178673399999999</cx:pt>
          <cx:pt idx="3392">2.7465820000000001</cx:pt>
          <cx:pt idx="3393">2.5568471320000001</cx:pt>
          <cx:pt idx="3394">2.362465276</cx:pt>
          <cx:pt idx="3395">1.572776658</cx:pt>
          <cx:pt idx="3396">1.3676177839999999</cx:pt>
          <cx:pt idx="3397">-1.010742</cx:pt>
          <cx:pt idx="3398">0.93461351500000001</cx:pt>
          <cx:pt idx="3399">0.9448242</cx:pt>
          <cx:pt idx="3400">-2.1341691209999998</cx:pt>
          <cx:pt idx="3401">-4.2382172479999998</cx:pt>
          <cx:pt idx="3402">-4.2626949999999999</cx:pt>
          <cx:pt idx="3403">-3.212240354</cx:pt>
          <cx:pt idx="3404">-2.676603133</cx:pt>
          <cx:pt idx="3405">-1.5842384</cx:pt>
          <cx:pt idx="3406">-1.052657017</cx:pt>
          <cx:pt idx="3407">0.039707653000000002</cx:pt>
          <cx:pt idx="3408">0.57128909999999999</cx:pt>
          <cx:pt idx="3409">0.43032052599999998</cx:pt>
          <cx:pt idx="3410">0.022292938000000002</cx:pt>
          <cx:pt idx="3411">-0.111202595</cx:pt>
          <cx:pt idx="3412">-0.38573463400000002</cx:pt>
          <cx:pt idx="3413">-0.51923018300000001</cx:pt>
          <cx:pt idx="3414">-0.65917970000000004</cx:pt>
          <cx:pt idx="3415">-0.70115406400000002</cx:pt>
          <cx:pt idx="3416">-0.74692221599999997</cx:pt>
          <cx:pt idx="3417">-0.79165369799999996</cx:pt>
          <cx:pt idx="3418">-0.83362805600000001</cx:pt>
          <cx:pt idx="3419">-0.87939621300000004</cx:pt>
          <cx:pt idx="3420">-0.96610205400000004</cx:pt>
          <cx:pt idx="3421">-1.0094660049999999</cx:pt>
          <cx:pt idx="3422">-1.0985760520000001</cx:pt>
          <cx:pt idx="3423">-1.187686099</cx:pt>
          <cx:pt idx="3424">-1.1887227730000001</cx:pt>
          <cx:pt idx="3425">-1.231050049</cx:pt>
          <cx:pt idx="3426">-1.2744139999999999</cx:pt>
          <cx:pt idx="3427">-1.153908691</cx:pt>
          <cx:pt idx="3428">-0.92725491800000004</cx:pt>
          <cx:pt idx="3429">-0.69875608300000003</cx:pt>
          <cx:pt idx="3430">-0.58096069800000005</cx:pt>
          <cx:pt idx="3431">-0.46760499100000003</cx:pt>
          <cx:pt idx="3432">-0.23466647900000001</cx:pt>
          <cx:pt idx="3433">-0.0016703270000000001</cx:pt>
          <cx:pt idx="3434">0.111627727</cx:pt>
          <cx:pt idx="3435">0.224983447</cx:pt>
          <cx:pt idx="3436">0.45792194600000002</cx:pt>
          <cx:pt idx="3437">0.57306506000000001</cx:pt>
          <cx:pt idx="3438">0.68642078100000004</cx:pt>
          <cx:pt idx="3439">1.032715</cx:pt>
          <cx:pt idx="3440">0.92079644999999999</cx:pt>
          <cx:pt idx="3441">0.81186978200000004</cx:pt>
          <cx:pt idx="3442">0.69995123199999998</cx:pt>
          <cx:pt idx="3443">0.53356934499999997</cx:pt>
          <cx:pt idx="3444">0.20036232800000001</cx:pt>
          <cx:pt idx="3445">-0.020455188999999999</cx:pt>
          <cx:pt idx="3446">-0.13240144000000001</cx:pt>
          <cx:pt idx="3447">-0.24130040699999999</cx:pt>
          <cx:pt idx="3448">-0.29878332800000001</cx:pt>
          <cx:pt idx="3449">-0.52048733000000003</cx:pt>
          <cx:pt idx="3450">-0.57492296600000004</cx:pt>
          <cx:pt idx="3451">-0.79576818400000005</cx:pt>
          <cx:pt idx="3452">-0.85023152099999999</cx:pt>
          <cx:pt idx="3453">-1.128531959</cx:pt>
          <cx:pt idx="3454">-1.2408937520000001</cx:pt>
          <cx:pt idx="3455">-1.461738969</cx:pt>
          <cx:pt idx="3456">-1.628120856</cx:pt>
          <cx:pt idx="3457">-1.682556486</cx:pt>
          <cx:pt idx="3458">-1.7945027440000001</cx:pt>
          <cx:pt idx="3459">-1.848938373</cx:pt>
          <cx:pt idx="3460">-1.9608846310000001</cx:pt>
          <cx:pt idx="3461">-2.125105713</cx:pt>
          <cx:pt idx="3462">-2.2370242629999999</cx:pt>
          <cx:pt idx="3463">-2.2914876</cx:pt>
          <cx:pt idx="3464">-2.3489705139999999</cx:pt>
          <cx:pt idx="3465">-2.6242513679999999</cx:pt>
          <cx:pt idx="3466">-2.845096592</cx:pt>
          <cx:pt idx="3467">-2.9003909999999999</cx:pt>
          <cx:pt idx="3468">-1.742812689</cx:pt>
          <cx:pt idx="3469">-1.720468916</cx:pt>
          <cx:pt idx="3470">-1.1799220159999999</cx:pt>
          <cx:pt idx="3471">-0.022343703999999999</cx:pt>
          <cx:pt idx="3472">0</cx:pt>
          <cx:pt idx="3473">-1.1319987010000001</cx:pt>
          <cx:pt idx="3474">-1.3552640730000001</cx:pt>
          <cx:pt idx="3475">-1.3623050000000001</cx:pt>
          <cx:pt idx="3476">4.6801760000000003</cx:pt>
          <cx:pt idx="3477">3.9696725769999999</cx:pt>
          <cx:pt idx="3478">2.6175237349999998</cx:pt>
          <cx:pt idx="3479">1.9440185729999999</cx:pt>
          <cx:pt idx="3480">0.56001006900000005</cx:pt>
          <cx:pt idx="3481">-0.83496090000000001</cx:pt>
          <cx:pt idx="3482">-6.4125508010000001</cx:pt>
          <cx:pt idx="3483">-8.2468543010000008</cx:pt>
          <cx:pt idx="3484">-8.3056640000000002</cx:pt>
          <cx:pt idx="3485">-6.8485856500000004</cx:pt>
          <cx:pt idx="3486">-5.3565797550000003</cx:pt>
          <cx:pt idx="3487">-3.7810519870000001</cx:pt>
          <cx:pt idx="3488">-3.757514059</cx:pt>
          <cx:pt idx="3489">-2.2882870369999999</cx:pt>
          <cx:pt idx="3490">-2.2412109999999998</cx:pt>
          <cx:pt idx="3491">-2.1676589229999998</cx:pt>
          <cx:pt idx="3492">-2.0108921309999999</cx:pt>
          <cx:pt idx="3493">-1.9349050779999999</cx:pt>
          <cx:pt idx="3494">-1.8589566630000001</cx:pt>
          <cx:pt idx="3495">-1.626821219</cx:pt>
          <cx:pt idx="3496">-1.314485809</cx:pt>
          <cx:pt idx="3497">-0.15380859999999999</cx:pt>
          <cx:pt idx="3498">-4.5483399999999996</cx:pt>
          <cx:pt idx="3499">-2.3071290000000002</cx:pt>
          <cx:pt idx="3500">-4.0869140000000002</cx:pt>
          <cx:pt idx="3501">-8.9868159999999992</cx:pt>
          <cx:pt idx="3502">0.21972659999999999</cx:pt>
          <cx:pt idx="3503">-1.428223</cx:pt>
          <cx:pt idx="3504">-1.0162252890000001</cx:pt>
          <cx:pt idx="3505">-0.91264670299999995</cx:pt>
          <cx:pt idx="3506">-0.81545169100000003</cx:pt>
          <cx:pt idx="3507">-0.50543666700000001</cx:pt>
          <cx:pt idx="3508">-0.40427766799999998</cx:pt>
          <cx:pt idx="3509">-0.095086331999999996</cx:pt>
          <cx:pt idx="3510">0.21410500399999999</cx:pt>
          <cx:pt idx="3511">0.32092684199999999</cx:pt>
          <cx:pt idx="3512">0.52329632699999995</cx:pt>
          <cx:pt idx="3513">0.73132866500000004</cx:pt>
          <cx:pt idx="3514">0.93452183899999997</cx:pt>
          <cx:pt idx="3515">1.1425026869999999</cx:pt>
          <cx:pt idx="3516">1.350535013</cx:pt>
          <cx:pt idx="3517">1.4516940229999999</cx:pt>
          <cx:pt idx="3518">2.070900371</cx:pt>
          <cx:pt idx="3519">2.2732698569999998</cx:pt>
          <cx:pt idx="3520">2.3809153950000002</cx:pt>
          <cx:pt idx="3521">2.583284881</cx:pt>
          <cx:pt idx="3522">2.892476217</cx:pt>
          <cx:pt idx="3523">2.9936352159999999</cx:pt>
          <cx:pt idx="3524">3.302826552</cx:pt>
          <cx:pt idx="3525">3.510858877</cx:pt>
          <cx:pt idx="3526">3.7188397379999998</cx:pt>
          <cx:pt idx="3527">3.823242</cx:pt>
          <cx:pt idx="3528">3.2919564160000001</cx:pt>
          <cx:pt idx="3529">-1.713867</cx:pt>
          <cx:pt idx="3530">3.845215</cx:pt>
          <cx:pt idx="3531">2.044802008</cx:pt>
          <cx:pt idx="3532">1.054193776</cx:pt>
          <cx:pt idx="3533">0.41748049999999998</cx:pt>
          <cx:pt idx="3534">-0.371404489</cx:pt>
          <cx:pt idx="3535">-0.50458301500000002</cx:pt>
          <cx:pt idx="3536">-0.63416835999999999</cx:pt>
          <cx:pt idx="3537">-0.76737985799999997</cx:pt>
          <cx:pt idx="3538">-0.83215604499999996</cx:pt>
          <cx:pt idx="3539">-1.032715</cx:pt>
          <cx:pt idx="3540">2.580706583</cx:pt>
          <cx:pt idx="3541">4.3665253999999996</cx:pt>
          <cx:pt idx="3542">6.1523440000000003</cx:pt>
          <cx:pt idx="3543">4.869907209</cx:pt>
          <cx:pt idx="3544">1.032715</cx:pt>
          <cx:pt idx="3545">-0.54931640000000004</cx:pt>
          <cx:pt idx="3546">4.6801760000000003</cx:pt>
          <cx:pt idx="3547">-0.37353520000000001</cx:pt>
          <cx:pt idx="3548">-0.34745042300000001</cx:pt>
          <cx:pt idx="3549">-0.33566898000000001</cx:pt>
          <cx:pt idx="3550">-0.33283130599999999</cx:pt>
          <cx:pt idx="3551">-0.329970347</cx:pt>
          <cx:pt idx="3552">-0.32711084499999998</cx:pt>
          <cx:pt idx="3553">-0.32123031000000002</cx:pt>
          <cx:pt idx="3554">-0.31548656600000002</cx:pt>
          <cx:pt idx="3555">-0.31242187700000001</cx:pt>
          <cx:pt idx="3556">-0.30674652800000002</cx:pt>
          <cx:pt idx="3557">-0.30086744900000001</cx:pt>
          <cx:pt idx="3558">-0.292127411</cx:pt>
          <cx:pt idx="3559">-0.28633855499999999</cx:pt>
          <cx:pt idx="3560">-0.28347759700000003</cx:pt>
          <cx:pt idx="3561">-0.27759851699999999</cx:pt>
          <cx:pt idx="3562">-0.27183149000000001</cx:pt>
          <cx:pt idx="3563">-0.268813368</cx:pt>
          <cx:pt idx="3564">-0.263091452</cx:pt>
          <cx:pt idx="3565">-0.22220711000000001</cx:pt>
          <cx:pt idx="3566">-0.181503216</cx:pt>
          <cx:pt idx="3567">-0.1757813</cx:pt>
          <cx:pt idx="3568">-1.3428855930000001</cx:pt>
          <cx:pt idx="3569">-1.9332325699999999</cx:pt>
          <cx:pt idx="3570">-2.5237256970000002</cx:pt>
          <cx:pt idx="3571">-3.0981450000000001</cx:pt>
          <cx:pt idx="3572">-4.0093431300000004</cx:pt>
          <cx:pt idx="3573">-4.0229561660000002</cx:pt>
          <cx:pt idx="3574">-4.8722367240000004</cx:pt>
          <cx:pt idx="3575">-4.899902</cx:pt>
          <cx:pt idx="3576">-3.3053184259999999</cx:pt>
          <cx:pt idx="3577">-1.723161371</cx:pt>
          <cx:pt idx="3578">-1.6918949999999999</cx:pt>
          <cx:pt idx="3579">-0.51574109099999998</cx:pt>
          <cx:pt idx="3580">-0.44755925800000002</cx:pt>
          <cx:pt idx="3581">-0.239268282</cx:pt>
          <cx:pt idx="3582">-0.099159123000000002</cx:pt>
          <cx:pt idx="3583">-0.030977299</cx:pt>
          <cx:pt idx="3584">0.040984706000000003</cx:pt>
          <cx:pt idx="3585">0.109131852</cx:pt>
          <cx:pt idx="3586">0.11131673</cx:pt>
          <cx:pt idx="3587">0.177313685</cx:pt>
          <cx:pt idx="3588">0.52734380000000003</cx:pt>
          <cx:pt idx="3589">3.0322269999999998</cx:pt>
          <cx:pt idx="3590">8.2836909999999992</cx:pt>
          <cx:pt idx="3591">-0.72509769999999996</cx:pt>
          <cx:pt idx="3592">-0.69371887099999996</cx:pt>
          <cx:pt idx="3593">-0.61523439999999996</cx:pt>
          <cx:pt idx="3594">1.1206050000000001</cx:pt>
          <cx:pt idx="3595">0.51846339100000005</cx:pt>
          <cx:pt idx="3596">0.440057965</cx:pt>
          <cx:pt idx="3597">0.43945309999999999</cx:pt>
          <cx:pt idx="3598">1.27958397</cx:pt>
          <cx:pt idx="3599">2.1266082339999999</cx:pt>
          <cx:pt idx="3600">2.1533199999999999</cx:pt>
          <cx:pt idx="3601">1.594628905</cx:pt>
          <cx:pt idx="3602">-0.92285159999999999</cx:pt>
          <cx:pt idx="3603">0.087890629999999997</cx:pt>
          <cx:pt idx="3604">1.1686424689999999</cx:pt>
          <cx:pt idx="3605">1.7049267349999999</cx:pt>
          <cx:pt idx="3606">2.2412109999999998</cx:pt>
          <cx:pt idx="3607">-0.43945309999999999</cx:pt>
          <cx:pt idx="3608">5.4052730000000002</cx:pt>
          <cx:pt idx="3609">1.5600590000000001</cx:pt>
          <cx:pt idx="3610">-0.3515625</cx:pt>
          <cx:pt idx="3611">3.6914060000000002</cx:pt>
          <cx:pt idx="3612">1.07666</cx:pt>
          <cx:pt idx="3613">5.0756839999999999</cx:pt>
          <cx:pt idx="3614">-2.109375</cx:pt>
          <cx:pt idx="3615">0.2416992</cx:pt>
          <cx:pt idx="3616">-7.9760739999999997</cx:pt>
          <cx:pt idx="3617">-7.0384922799999998</cx:pt>
          <cx:pt idx="3618">-5.0959779210000002</cx:pt>
          <cx:pt idx="3619">-4.1433754450000002</cx:pt>
          <cx:pt idx="3620">-2.1858404459999998</cx:pt>
          <cx:pt idx="3621">-1.1726706730000001</cx:pt>
          <cx:pt idx="3622">-0.227820943</cx:pt>
          <cx:pt idx="3623">0.72429703000000001</cx:pt>
          <cx:pt idx="3624">0.74707029999999996</cx:pt>
          <cx:pt idx="3625">0.57473563999999999</cx:pt>
          <cx:pt idx="3626">0.40511932699999997</cx:pt>
          <cx:pt idx="3627">0.23079984200000001</cx:pt>
          <cx:pt idx="3628">-0.113179112</cx:pt>
          <cx:pt idx="3629">-0.28749859799999999</cx:pt>
          <cx:pt idx="3630">-0.45983325800000002</cx:pt>
          <cx:pt idx="3631">-0.54466299200000001</cx:pt>
          <cx:pt idx="3632">-0.71898247800000004</cx:pt>
          <cx:pt idx="3633">-1.3214202660000001</cx:pt>
          <cx:pt idx="3634">-1.40625</cx:pt>
          <cx:pt idx="3635">1.98133077</cx:pt>
          <cx:pt idx="3636">5.2954100000000004</cx:pt>
          <cx:pt idx="3637">4.3955649489999997</cx:pt>
          <cx:pt idx="3638">2.6584381549999998</cx:pt>
          <cx:pt idx="3639">0.86540375700000005</cx:pt>
          <cx:pt idx="3640">-0.0064874390000000002</cx:pt>
          <cx:pt idx="3641">-1.7578130000000001</cx:pt>
          <cx:pt idx="3642">-1.818878561</cx:pt>
          <cx:pt idx="3643">-1.9956302429999999</cx:pt>
          <cx:pt idx="3644">-2.172381933</cx:pt>
          <cx:pt idx="3645">-2.2894512370000002</cx:pt>
          <cx:pt idx="3646">-2.4051373649999999</cx:pt>
          <cx:pt idx="3647">-2.4662029190000001</cx:pt>
          <cx:pt idx="3648">-2.582801356</cx:pt>
          <cx:pt idx="3649">-2.64065913</cx:pt>
          <cx:pt idx="3650">-2.7017246909999999</cx:pt>
          <cx:pt idx="3651">-2.7026370000000002</cx:pt>
          <cx:pt idx="3652">-2.4560472139999998</cx:pt>
          <cx:pt idx="3653">-2.336641942</cx:pt>
          <cx:pt idx="3654">-2.2152609989999998</cx:pt>
          <cx:pt idx="3655">-1.221307803</cx:pt>
          <cx:pt idx="3656">-1.09801291</cx:pt>
          <cx:pt idx="3657">-0.110789393</cx:pt>
          <cx:pt idx="3658">-0.1098633</cx:pt>
          <cx:pt idx="3659">-0.15368420299999999</cx:pt>
          <cx:pt idx="3660">-0.175423264</cx:pt>
          <cx:pt idx="3661">-0.220095595</cx:pt>
          <cx:pt idx="3662">-0.26390543900000002</cx:pt>
          <cx:pt idx="3663">-0.28564450000000002</cx:pt>
          <cx:pt idx="3664">-3.836116971</cx:pt>
          <cx:pt idx="3665">-3.88916</cx:pt>
          <cx:pt idx="3666">-3.3749740749999999</cx:pt>
          <cx:pt idx="3667">-2.8483949690000001</cx:pt>
          <cx:pt idx="3668">-2.0402002050000001</cx:pt>
          <cx:pt idx="3669">-1.2524409999999999</cx:pt>
          <cx:pt idx="3670">-1.2706273269999999</cx:pt>
          <cx:pt idx="3671">-1.2886576700000001</cx:pt>
          <cx:pt idx="3672">-1.324874339</cx:pt>
          <cx:pt idx="3673">-1.34391401</cx:pt>
          <cx:pt idx="3674">-1.3619443520000001</cx:pt>
          <cx:pt idx="3675">-1.656109592</cx:pt>
          <cx:pt idx="3676">-1.673855485</cx:pt>
          <cx:pt idx="3677">-1.6918949999999999</cx:pt>
          <cx:pt idx="3678">-2.8945550940000002</cx:pt>
          <cx:pt idx="3679">-3.516723362</cx:pt>
          <cx:pt idx="3680">-4.0972152590000004</cx:pt>
          <cx:pt idx="3681">-5.2954100000000004</cx:pt>
          <cx:pt idx="3682">0.61523439999999996</cx:pt>
          <cx:pt idx="3683">2.3950200000000001</cx:pt>
          <cx:pt idx="3684">0.70679651300000002</cx:pt>
          <cx:pt idx="3685">-0.995279091</cx:pt>
          <cx:pt idx="3686">-1.07666</cx:pt>
          <cx:pt idx="3687">-1.078110999</cx:pt>
          <cx:pt idx="3688">-1.0795502779999999</cx:pt>
          <cx:pt idx="3689">-1.0824639949999999</cx:pt>
          <cx:pt idx="3690">-1.0868638690000001</cx:pt>
          <cx:pt idx="3691">-1.0897658670000001</cx:pt>
          <cx:pt idx="3692">-1.091285716</cx:pt>
          <cx:pt idx="3693">-1.0941650080000001</cx:pt>
          <cx:pt idx="3694">-1.095650432</cx:pt>
          <cx:pt idx="3695">-1.097090444</cx:pt>
          <cx:pt idx="3696">-1.098609561</cx:pt>
          <cx:pt idx="3697">-1.098633</cx:pt>
          <cx:pt idx="3698">-5.8463335499999998</cx:pt>
          <cx:pt idx="3699">-5.9985350000000004</cx:pt>
          <cx:pt idx="3700">-5.0273355070000001</cx:pt>
          <cx:pt idx="3701">-4.0934897619999999</cx:pt>
          <cx:pt idx="3702">-3.1519816770000002</cx:pt>
          <cx:pt idx="3703">-2.2104737069999998</cx:pt>
          <cx:pt idx="3704">-1.216766056</cx:pt>
          <cx:pt idx="3705">0.703125</cx:pt>
          <cx:pt idx="3706">0.65390037099999998</cx:pt>
          <cx:pt idx="3707">0.549398257</cx:pt>
          <cx:pt idx="3708">0.54776864599999997</cx:pt>
          <cx:pt idx="3709">0.39404191</cx:pt>
          <cx:pt idx="3710">0.343187664</cx:pt>
          <cx:pt idx="3711">0.18661557000000001</cx:pt>
          <cx:pt idx="3712">0.031259215999999999</cx:pt>
          <cx:pt idx="3713">-0.071225275000000005</cx:pt>
          <cx:pt idx="3714">-0.175753254</cx:pt>
          <cx:pt idx="3715">-0.277435875</cx:pt>
          <cx:pt idx="3716">-0.38356759299999998</cx:pt>
          <cx:pt idx="3717">-0.43439597499999999</cx:pt>
          <cx:pt idx="3718">-0.486853961</cx:pt>
          <cx:pt idx="3719">-0.53931195300000001</cx:pt>
          <cx:pt idx="3720">-0.90087890000000004</cx:pt>
          <cx:pt idx="3721">-1.28399353</cx:pt>
          <cx:pt idx="3722">-1.3617088150000001</cx:pt>
          <cx:pt idx="3723">-1.3623050000000001</cx:pt>
          <cx:pt idx="3724">3.0102540000000002</cx:pt>
          <cx:pt idx="3725">2.9458543800000001</cx:pt>
          <cx:pt idx="3726">2.6128677219999998</cx:pt>
          <cx:pt idx="3727">2.4783411129999999</cx:pt>
          <cx:pt idx="3728">2.2128841540000002</cx:pt>
          <cx:pt idx="3729">2.078357537</cx:pt>
          <cx:pt idx="3730">0.87890630000000003</cx:pt>
          <cx:pt idx="3731">-4.2996182919999999</cx:pt>
          <cx:pt idx="3732">-4.3286129999999998</cx:pt>
          <cx:pt idx="3733">-3.8973059029999999</cx:pt>
          <cx:pt idx="3734">-3.4792895399999999</cx:pt>
          <cx:pt idx="3735">-3.0445525070000001</cx:pt>
          <cx:pt idx="3736">-2.1917991620000001</cx:pt>
          <cx:pt idx="3737">-1.3456911840000001</cx:pt>
          <cx:pt idx="3738">-0.90087890000000004</cx:pt>
          <cx:pt idx="3739">1.6410559149999999</cx:pt>
          <cx:pt idx="3740">6.7236330000000004</cx:pt>
          <cx:pt idx="3741">5.1467909079999998</cx:pt>
          <cx:pt idx="3742">0.57128909999999999</cx:pt>
          <cx:pt idx="3743">0.497789276</cx:pt>
          <cx:pt idx="3744">-0.90087890000000004</cx:pt>
          <cx:pt idx="3745">-6.3940429999999999</cx:pt>
          <cx:pt idx="3746">-1.263446941</cx:pt>
          <cx:pt idx="3747">-1.247492687</cx:pt>
          <cx:pt idx="3748">-0.25214984800000001</cx:pt>
          <cx:pt idx="3749">-0.21972659999999999</cx:pt>
          <cx:pt idx="3750">-0.26415949399999999</cx:pt>
          <cx:pt idx="3751">-0.31260838499999999</cx:pt>
          <cx:pt idx="3752">-0.49764814800000001</cx:pt>
          <cx:pt idx="3753">-0.68668056200000005</cx:pt>
          <cx:pt idx="3754">-0.73258442800000001</cx:pt>
          <cx:pt idx="3755">-0.87172031900000002</cx:pt>
          <cx:pt idx="3756">-0.96604973500000002</cx:pt>
          <cx:pt idx="3757">-0.96679689999999996</cx:pt>
          <cx:pt idx="3758">-1.444747502</cx:pt>
          <cx:pt idx="3759">-1.961250454</cx:pt>
          <cx:pt idx="3760">-2.4431551539999998</cx:pt>
          <cx:pt idx="3761">-2.9443359999999998</cx:pt>
          <cx:pt idx="3762">1.6918949999999999</cx:pt>
          <cx:pt idx="3763">1.608858463</cx:pt>
          <cx:pt idx="3764">1.5234983419999999</cx:pt>
          <cx:pt idx="3765">1.4819906380000001</cx:pt>
          <cx:pt idx="3766">1.396630512</cx:pt>
          <cx:pt idx="3767">1.3551228070000001</cx:pt>
          <cx:pt idx="3768">1.1425780000000001</cx:pt>
          <cx:pt idx="3769">-1.032715</cx:pt>
          <cx:pt idx="3770">-1.0336710760000001</cx:pt>
          <cx:pt idx="3771">-1.036538827</cx:pt>
          <cx:pt idx="3772">-1.048959202</cx:pt>
          <cx:pt idx="3773">-1.0518346119999999</cx:pt>
          <cx:pt idx="3774">-1.0528055300000001</cx:pt>
          <cx:pt idx="3775">-1.0537467650000001</cx:pt>
          <cx:pt idx="3776">-1.0546880000000001</cx:pt>
          <cx:pt idx="3777">0.23202394000000001</cx:pt>
          <cx:pt idx="3778">0.67545979300000003</cx:pt>
          <cx:pt idx="3779">2.8125</cx:pt>
          <cx:pt idx="3780">-2.7026370000000002</cx:pt>
          <cx:pt idx="3781">-1.636909768</cx:pt>
          <cx:pt idx="3782">-0.57128909999999999</cx:pt>
          <cx:pt idx="3783">-0.83225178399999999</cx:pt>
          <cx:pt idx="3784">-1.086991799</cx:pt>
          <cx:pt idx="3785">-1.3418614740000001</cx:pt>
          <cx:pt idx="3786">-1.5986757119999999</cx:pt>
          <cx:pt idx="3787">-1.8676759999999999</cx:pt>
          <cx:pt idx="3788">-1.8340340159999999</cx:pt>
          <cx:pt idx="3789">-1.7664973559999999</cx:pt>
          <cx:pt idx="3790">-1.700274702</cx:pt>
          <cx:pt idx="3791">-1.3623050000000001</cx:pt>
          <cx:pt idx="3792">0.69146959100000005</cx:pt>
          <cx:pt idx="3793">0.89928466699999998</cx:pt>
          <cx:pt idx="3794">0.90087890000000004</cx:pt>
          <cx:pt idx="3795">0.87916596999999996</cx:pt>
          <cx:pt idx="3796">0.84991138499999996</cx:pt>
          <cx:pt idx="3797">0.82791275799999997</cx:pt>
          <cx:pt idx="3798">0.65917970000000004</cx:pt>
          <cx:pt idx="3799">1.322997977</cx:pt>
          <cx:pt idx="3800">1.5600590000000001</cx:pt>
          <cx:pt idx="3801">-1.0546880000000001</cx:pt>
          <cx:pt idx="3802">-0.52812896200000004</cx:pt>
          <cx:pt idx="3803">1.5652897990000001</cx:pt>
          <cx:pt idx="3804">2.087402</cx:pt>
          <cx:pt idx="3805">2.0118108239999999</cx:pt>
          <cx:pt idx="3806">1.618736693</cx:pt>
          <cx:pt idx="3807">-0.33202356900000002</cx:pt>
          <cx:pt idx="3808">-0.41308387899999999</cx:pt>
          <cx:pt idx="3809">-0.413669852</cx:pt>
          <cx:pt idx="3810">-0.56907124899999995</cx:pt>
          <cx:pt idx="3811">-0.72263658399999997</cx:pt>
          <cx:pt idx="3812">-0.72509769999999996</cx:pt>
          <cx:pt idx="3813">-1.3388706939999999</cx:pt>
          <cx:pt idx="3814">-1.541912556</cx:pt>
          <cx:pt idx="3815">-1.756211567</cx:pt>
          <cx:pt idx="3816">-2.163844428</cx:pt>
          <cx:pt idx="3817">-2.5810820080000001</cx:pt>
          <cx:pt idx="3818">-2.790527</cx:pt>
          <cx:pt idx="3819">-2.091677953</cx:pt>
          <cx:pt idx="3820">-1.409492918</cx:pt>
          <cx:pt idx="3821">-0.72696082200000001</cx:pt>
          <cx:pt idx="3822">0.68115230000000004</cx:pt>
          <cx:pt idx="3823">0.49007177699999999</cx:pt>
          <cx:pt idx="3824">0.100267527</cx:pt>
          <cx:pt idx="3825">-0.37821770300000002</cx:pt>
          <cx:pt idx="3826">-0.69002190500000005</cx:pt>
          <cx:pt idx="3827">-0.88267027200000003</cx:pt>
          <cx:pt idx="3828">-1.075220632</cx:pt>
          <cx:pt idx="3829">-1.2785499060000001</cx:pt>
          <cx:pt idx="3830">-1.4711982729999999</cx:pt>
          <cx:pt idx="3831">-1.663748633</cx:pt>
          <cx:pt idx="3832">-1.6699219999999999</cx:pt>
          <cx:pt idx="3833">-1.4854212369999999</cx:pt>
          <cx:pt idx="3834">-1.3942839899999999</cx:pt>
          <cx:pt idx="3835">-1.2973028200000001</cx:pt>
          <cx:pt idx="3836">-1.1157240239999999</cx:pt>
          <cx:pt idx="3837">-1.0245404</cx:pt>
          <cx:pt idx="3838">-0.92830131599999999</cx:pt>
          <cx:pt idx="3839">-0.74523834899999997</cx:pt>
          <cx:pt idx="3840">-0.46667838299999997</cx:pt>
          <cx:pt idx="3841">-0.28217763099999998</cx:pt>
          <cx:pt idx="3842">0</cx:pt>
          <cx:pt idx="3843">0.061801666999999998</cx:pt>
          <cx:pt idx="3844">0.092468522999999997</cx:pt>
          <cx:pt idx="3845">0.124835627</cx:pt>
          <cx:pt idx="3846">0.15548688199999999</cx:pt>
          <cx:pt idx="3847">0.18615373900000001</cx:pt>
          <cx:pt idx="3848">0.24967125400000001</cx:pt>
          <cx:pt idx="3849">0.280322509</cx:pt>
          <cx:pt idx="3850">0.343356465</cx:pt>
          <cx:pt idx="3851">0.40564169100000003</cx:pt>
          <cx:pt idx="3852">0.43630854800000002</cx:pt>
          <cx:pt idx="3853">0.49957648500000001</cx:pt>
          <cx:pt idx="3854">0.52999376300000001</cx:pt>
          <cx:pt idx="3855">0.56064501799999999</cx:pt>
          <cx:pt idx="3856">0.59301212199999997</cx:pt>
          <cx:pt idx="3857">0.5932617</cx:pt>
          <cx:pt idx="3858">0.30567977200000002</cx:pt>
          <cx:pt idx="3859">0.0076670339999999997</cx:pt>
          <cx:pt idx="3860">-0.13667486500000001</cx:pt>
          <cx:pt idx="3861">-0.28109019899999999</cx:pt>
          <cx:pt idx="3862">-0.28564450000000002</cx:pt>
          <cx:pt idx="3863">5.7557627480000004</cx:pt>
          <cx:pt idx="3864">5.8007809999999997</cx:pt>
          <cx:pt idx="3865">5.3351495990000002</cx:pt>
          <cx:pt idx="3866">1.032715</cx:pt>
          <cx:pt idx="3867">-3.5815429999999999</cx:pt>
          <cx:pt idx="3868">-3.4026954150000002</cx:pt>
          <cx:pt idx="3869">-3.3131523500000002</cx:pt>
          <cx:pt idx="3870">-3.253143889</cx:pt>
          <cx:pt idx="3871">-3.194775409</cx:pt>
          <cx:pt idx="3872">-3.1652258980000001</cx:pt>
          <cx:pt idx="3873">-3.1640630000000001</cx:pt>
          <cx:pt idx="3874">-2.2465906879999999</cx:pt>
          <cx:pt idx="3875">-1.9254444529999999</cx:pt>
          <cx:pt idx="3876">-1.621322787</cx:pt>
          <cx:pt idx="3877">0.54931640000000004</cx:pt>
          <cx:pt idx="3878">0.46536687199999999</cx:pt>
          <cx:pt idx="3879">0.44143864900000002</cx:pt>
          <cx:pt idx="3880">0.41788196500000002</cx:pt>
          <cx:pt idx="3881">0.405351558</cx:pt>
          <cx:pt idx="3882">0.39366610000000002</cx:pt>
          <cx:pt idx="3883">0.369456228</cx:pt>
          <cx:pt idx="3884">0.345899544</cx:pt>
          <cx:pt idx="3885">0.33402232500000001</cx:pt>
          <cx:pt idx="3886">0.32159379100000002</cx:pt>
          <cx:pt idx="3887">0.30981245400000001</cx:pt>
          <cx:pt idx="3888">0.20221036000000001</cx:pt>
          <cx:pt idx="3889">0.189775834</cx:pt>
          <cx:pt idx="3890">0.17800048900000001</cx:pt>
          <cx:pt idx="3891">0.15425204200000001</cx:pt>
          <cx:pt idx="3892">0.14182351000000001</cx:pt>
          <cx:pt idx="3893">0.094332609999999997</cx:pt>
          <cx:pt idx="3894">0.081898084999999995</cx:pt>
          <cx:pt idx="3895">0.070116745999999994</cx:pt>
          <cx:pt idx="3896">0.058341400000000002</cx:pt>
          <cx:pt idx="3897">0.022350189999999999</cx:pt>
          <cx:pt idx="3898">0.021972660000000001</cx:pt>
          <cx:pt idx="3899">-1.336944125</cx:pt>
          <cx:pt idx="3900">-2.6647922340000001</cx:pt>
          <cx:pt idx="3901">-3.9919648259999998</cx:pt>
          <cx:pt idx="3902">-5.3306194519999996</cx:pt>
          <cx:pt idx="3903">-5.3833010000000003</cx:pt>
          <cx:pt idx="3904">-3.5160927040000001</cx:pt>
          <cx:pt idx="3905">-1.6769486330000001</cx:pt>
          <cx:pt idx="3906">-1.6479490000000001</cx:pt>
          <cx:pt idx="3907">-1.636354128</cx:pt>
          <cx:pt idx="3908">-1.623920349</cx:pt>
          <cx:pt idx="3909">-1.5879313020000001</cx:pt>
          <cx:pt idx="3910">-1.5404492489999999</cx:pt>
          <cx:pt idx="3911">-1.504460202</cx:pt>
          <cx:pt idx="3912">-1.492583698</cx:pt>
          <cx:pt idx="3913">-1.252626757</cx:pt>
          <cx:pt idx="3914">-1.2524409999999999</cx:pt>
          <cx:pt idx="3915">-4.5904292089999998</cx:pt>
          <cx:pt idx="3916">-8.1699249439999999</cx:pt>
          <cx:pt idx="3917">-8.1958009999999994</cx:pt>
          <cx:pt idx="3918">0</cx:pt>
          <cx:pt idx="3919">-6.1743160000000001</cx:pt>
          <cx:pt idx="3920">0.39550780000000002</cx:pt>
          <cx:pt idx="3921">0.57128909999999999</cx:pt>
          <cx:pt idx="3922">0.90208076400000003</cx:pt>
          <cx:pt idx="3923">0.98528501599999996</cx:pt>
          <cx:pt idx="3924">1.1477668379999999</cx:pt>
          <cx:pt idx="3925">1.2315910859999999</cx:pt>
          <cx:pt idx="3926">1.3128113370000001</cx:pt>
          <cx:pt idx="3927">1.479839836</cx:pt>
          <cx:pt idx="3928">2.3071290000000002</cx:pt>
          <cx:pt idx="3929">-0.45928092799999998</cx:pt>
          <cx:pt idx="3930">-0.4614258</cx:pt>
          <cx:pt idx="3931">-0.86136680399999999</cx:pt>
          <cx:pt idx="3932">-0.97544182599999996</cx:pt>
          <cx:pt idx="3933">-1.00352139</cx:pt>
          <cx:pt idx="3934">-1.003964152</cx:pt>
          <cx:pt idx="3935">-1.032715</cx:pt>
          <cx:pt idx="3936">-1.6755419090000001</cx:pt>
          <cx:pt idx="3937">-2.33102418</cx:pt>
          <cx:pt idx="3938">-2.96898369</cx:pt>
          <cx:pt idx="3939">-3.2980227929999999</cx:pt>
          <cx:pt idx="3940">-3.9535050639999998</cx:pt>
          <cx:pt idx="3941">-4.2724848189999998</cx:pt>
          <cx:pt idx="3942">-4.5913022989999996</cx:pt>
          <cx:pt idx="3943">-5.5709562740000003</cx:pt>
          <cx:pt idx="3944">-6.2238425709999996</cx:pt>
          <cx:pt idx="3945">-6.5478519999999998</cx:pt>
          <cx:pt idx="3946">-0.92285159999999999</cx:pt>
          <cx:pt idx="3947">-2.087402</cx:pt>
          <cx:pt idx="3948">5.4272460000000002</cx:pt>
          <cx:pt idx="3949">0.32958979999999999</cx:pt>
          <cx:pt idx="3950">-0.37151996599999998</cx:pt>
          <cx:pt idx="3951">-0.37353520000000001</cx:pt>
          <cx:pt idx="3952">1.2885074489999999</cx:pt>
          <cx:pt idx="3953">2.8864331070000002</cx:pt>
          <cx:pt idx="3954">4.6142580000000004</cx:pt>
          <cx:pt idx="3955">3.9953132280000001</cx:pt>
          <cx:pt idx="3956">-2.2631839999999999</cx:pt>
          <cx:pt idx="3957">-2.0329583869999999</cx:pt>
          <cx:pt idx="3958">-2.011701956</cx:pt>
          <cx:pt idx="3959">-1.9914307819999999</cx:pt>
          <cx:pt idx="3960">-1.928479039</cx:pt>
          <cx:pt idx="3961">-1.886616026</cx:pt>
          <cx:pt idx="3962">-1.864866964</cx:pt>
          <cx:pt idx="3963">-1.8442708649999999</cx:pt>
          <cx:pt idx="3964">-1.8236642830000001</cx:pt>
          <cx:pt idx="3965">-1.801758</cx:pt>
          <cx:pt idx="3966">1.820154222</cx:pt>
          <cx:pt idx="3967">5.4717847580000001</cx:pt>
          <cx:pt idx="3968">5.5590820000000001</cx:pt>
          <cx:pt idx="3969">1.8965630840000001</cx:pt>
          <cx:pt idx="3970">0.67900147300000002</cx:pt>
          <cx:pt idx="3971">-0.59633445299999999</cx:pt>
          <cx:pt idx="3972">-1.8046767050000001</cx:pt>
          <cx:pt idx="3973">-1.8237300000000001</cx:pt>
          <cx:pt idx="3974">-1.6619450849999999</cx:pt>
          <cx:pt idx="3975">-1.2586780639999999</cx:pt>
          <cx:pt idx="3976">-1.0975009010000001</cx:pt>
          <cx:pt idx="3977">-0.93377116999999998</cx:pt>
          <cx:pt idx="3978">-0.851602419</cx:pt>
          <cx:pt idx="3979">-0.773242282</cx:pt>
          <cx:pt idx="3980">-0.68916923799999996</cx:pt>
          <cx:pt idx="3981">-0.52734380000000003</cx:pt>
          <cx:pt idx="3982">-0.350686371</cx:pt>
          <cx:pt idx="3983">-0.33274460099999997</cx:pt>
          <cx:pt idx="3984">-0.31563445200000001</cx:pt>
          <cx:pt idx="3985">-0.297276871</cx:pt>
          <cx:pt idx="3986">-0.26249920900000001</cx:pt>
          <cx:pt idx="3987">-0.226748372</cx:pt>
          <cx:pt idx="3988">-0.20936396600000001</cx:pt>
          <cx:pt idx="3989">-0.138419658</cx:pt>
          <cx:pt idx="3990">-0.121035251</cx:pt>
          <cx:pt idx="3991">-0.050232496000000001</cx:pt>
          <cx:pt idx="3992">-0.014481661</cx:pt>
          <cx:pt idx="3993">0.038237772000000003</cx:pt>
          <cx:pt idx="3994">0.056595353000000001</cx:pt>
          <cx:pt idx="3995">0.073979760000000006</cx:pt>
          <cx:pt idx="3996">0.1098633</cx:pt>
          <cx:pt idx="3997">-4.8591306860000003</cx:pt>
          <cx:pt idx="3998">-4.899902</cx:pt>
          <cx:pt idx="3999">-4.7293654040000002</cx:pt>
          <cx:pt idx="4000">-4.5478969969999996</cx:pt>
          <cx:pt idx="4001">-0.52734380000000003</cx:pt>
          <cx:pt idx="4002">-0.59077488099999997</cx:pt>
          <cx:pt idx="4003">-0.62689780799999995</cx:pt>
          <cx:pt idx="4004">-0.63578946599999997</cx:pt>
          <cx:pt idx="4005">-0.65406123599999999</cx:pt>
          <cx:pt idx="4006">-0.67212495999999999</cx:pt>
          <cx:pt idx="4007">-0.68115230000000004</cx:pt>
          <cx:pt idx="4008">-1.106925962</cx:pt>
          <cx:pt idx="4009">-1.1480982749999999</cx:pt>
          <cx:pt idx="4010">-1.1922722880000001</cx:pt>
          <cx:pt idx="4011">-1.233125274</cx:pt>
          <cx:pt idx="4012">-1.3191315530000001</cx:pt>
          <cx:pt idx="4013">-1.360985106</cx:pt>
          <cx:pt idx="4014">-1.3623050000000001</cx:pt>
          <cx:pt idx="4015">-1.376208114</cx:pt>
          <cx:pt idx="4016">-1.383079285</cx:pt>
          <cx:pt idx="4017">-1.39719909</cx:pt>
          <cx:pt idx="4018">-1.410993857</cx:pt>
          <cx:pt idx="4019">-1.4251171570000001</cx:pt>
          <cx:pt idx="4020">-1.4392369599999999</cx:pt>
          <cx:pt idx="4021">-1.446108132</cx:pt>
          <cx:pt idx="4022">-1.4602279359999999</cx:pt>
          <cx:pt idx="4023">-1.4739667839999999</cx:pt>
          <cx:pt idx="4024">-1.481002221</cx:pt>
          <cx:pt idx="4025">-1.4878698969999999</cx:pt>
          <cx:pt idx="4026">-1.502101541</cx:pt>
          <cx:pt idx="4027">-1.5090251379999999</cx:pt>
          <cx:pt idx="4028">-1.51589631</cx:pt>
          <cx:pt idx="4029">-1.516113</cx:pt>
          <cx:pt idx="4030">3.2988364899999998</cx:pt>
          <cx:pt idx="4031">8.0037020670000008</cx:pt>
          <cx:pt idx="4032">8.0419920000000005</cx:pt>
          <cx:pt idx="4033">7.2077331259999999</cx:pt>
          <cx:pt idx="4034">5.5058450969999999</cx:pt>
          <cx:pt idx="4035">4.6181080919999999</cx:pt>
          <cx:pt idx="4036">3.7774318990000002</cx:pt>
          <cx:pt idx="4037">-0.52734380000000003</cx:pt>
          <cx:pt idx="4038">4.196777</cx:pt>
          <cx:pt idx="4039">0.9448242</cx:pt>
          <cx:pt idx="4040">7.2290039999999998</cx:pt>
          <cx:pt idx="4041">-1.1645509999999999</cx:pt>
          <cx:pt idx="4042">-0.30761719999999998</cx:pt>
          <cx:pt idx="4043">-3.853869295</cx:pt>
          <cx:pt idx="4044">-7.4267580000000004</cx:pt>
          <cx:pt idx="4045">1.779785</cx:pt>
          <cx:pt idx="4046">1.631009532</cx:pt>
          <cx:pt idx="4047">1.4703166320000001</cx:pt>
          <cx:pt idx="4048">1.3215411640000001</cx:pt>
          <cx:pt idx="4049">1.010919509</cx:pt>
          <cx:pt idx="4050">0.85860725900000001</cx:pt>
          <cx:pt idx="4051">0.707448297</cx:pt>
          <cx:pt idx="4052">0.244514392</cx:pt>
          <cx:pt idx="4053">0.093355430000000003</cx:pt>
          <cx:pt idx="4054">-0.066184163000000004</cx:pt>
          <cx:pt idx="4055">-0.217343125</cx:pt>
          <cx:pt idx="4056">-0.21972659999999999</cx:pt>
          <cx:pt idx="4057">0.46318583800000002</cx:pt>
          <cx:pt idx="4058">0.79808374800000004</cx:pt>
          <cx:pt idx="4059">1.132811367</cx:pt>
          <cx:pt idx="4060">1.478270663</cx:pt>
          <cx:pt idx="4061">1.8131686140000001</cx:pt>
          <cx:pt idx="4062">1.8237300000000001</cx:pt>
          <cx:pt idx="4063">1.5180787920000001</cx:pt>
          <cx:pt idx="4064">1.2197158530000001</cx:pt>
          <cx:pt idx="4065">0.62040868900000001</cx:pt>
          <cx:pt idx="4066">0.30534347899999997</cx:pt>
          <cx:pt idx="4067">0.0045511170000000004</cx:pt>
          <cx:pt idx="4068">-0.29396368499999997</cx:pt>
          <cx:pt idx="4069">-1.511405981</cx:pt>
          <cx:pt idx="4070">-1.516113</cx:pt>
          <cx:pt idx="4071">-1.0918613429999999</cx:pt>
          <cx:pt idx="4072">-0.95226656499999995</cx:pt>
          <cx:pt idx="4073">-0.80493231799999998</cx:pt>
          <cx:pt idx="4074">-0.66540853899999997</cx:pt>
          <cx:pt idx="4075">-0.52581377699999998</cx:pt>
          <cx:pt idx="4076">-0.38515392399999998</cx:pt>
          <cx:pt idx="4077">-0.098295898000000007</cx:pt>
          <cx:pt idx="4078">0.041298863999999998</cx:pt>
          <cx:pt idx="4079">0.045701143</cx:pt>
          <cx:pt idx="4080">0.32822790600000001</cx:pt>
          <cx:pt idx="4081">0.46775166899999998</cx:pt>
          <cx:pt idx="4082">0.61508593199999995</cx:pt>
          <cx:pt idx="4083">0.90087890000000004</cx:pt>
          <cx:pt idx="4084">0.25209299800000001</cx:pt>
          <cx:pt idx="4085">-0.093094392999999998</cx:pt>
          <cx:pt idx="4086">-0.75485602399999996</cx:pt>
          <cx:pt idx="4087">-4.4165039999999998</cx:pt>
          <cx:pt idx="4088">-3.1458758470000001</cx:pt>
          <cx:pt idx="4089">-2.5232363910000002</cx:pt>
          <cx:pt idx="4090">-1.2380324519999999</cx:pt>
          <cx:pt idx="4091">-0.61507607900000005</cx:pt>
          <cx:pt idx="4092">0.012633225</cx:pt>
          <cx:pt idx="4093">1.282944536</cx:pt>
          <cx:pt idx="4094">2.5532558480000001</cx:pt>
          <cx:pt idx="4095">3.186035</cx:pt>
          <cx:pt idx="4096">1.6559935800000001</cx:pt>
          <cx:pt idx="4097">-1.5756753100000001</cx:pt>
          <cx:pt idx="4098">-3.1302291310000001</cx:pt>
          <cx:pt idx="4099">-3.14209</cx:pt>
          <cx:pt idx="4100">-2.91610814</cx:pt>
          <cx:pt idx="4101">-2.8057279240000002</cx:pt>
          <cx:pt idx="4102">-2.5789038899999999</cx:pt>
          <cx:pt idx="4103">-2.2451806040000002</cx:pt>
          <cx:pt idx="4104">-2.0192548850000001</cx:pt>
          <cx:pt idx="4105">-1.9062358779999999</cx:pt>
          <cx:pt idx="4106">-1.5716704180000001</cx:pt>
          <cx:pt idx="4107">-1.461290215</cx:pt>
          <cx:pt idx="4108">-1.3447902439999999</cx:pt>
          <cx:pt idx="4109">-1.234466168</cx:pt>
          <cx:pt idx="4110">-1.1214471610000001</cx:pt>
          <cx:pt idx="4111">-1.1206050000000001</cx:pt>
          <cx:pt idx="4112">3.88916</cx:pt>
          <cx:pt idx="4113">2.1447925250000002</cx:pt>
          <cx:pt idx="4114">-1.3040610509999999</cx:pt>
          <cx:pt idx="4115">-3.0761720000000001</cx:pt>
          <cx:pt idx="4116">-2.492351728</cx:pt>
          <cx:pt idx="4117">-1.894270168</cx:pt>
          <cx:pt idx="4118">-1.3101527369999999</cx:pt>
          <cx:pt idx="4119">-0.69840420700000005</cx:pt>
          <cx:pt idx="4120">-0.123794301</cx:pt>
          <cx:pt idx="4121">0.460323129</cx:pt>
          <cx:pt idx="4122">2.2587273250000002</cx:pt>
          <cx:pt idx="4123">2.2631839999999999</cx:pt>
          <cx:pt idx="4124">2.0736454339999999</cx:pt>
          <cx:pt idx="4125">1.677916328</cx:pt>
          <cx:pt idx="4126">1.4853412130000001</cx:pt>
          <cx:pt idx="4127">-0.28564450000000002</cx:pt>
          <cx:pt idx="4128">2.504883</cx:pt>
          <cx:pt idx="4129">1.7210337410000001</cx:pt>
          <cx:pt idx="4130">-1.672380881</cx:pt>
          <cx:pt idx="4131">-2.0214840000000001</cx:pt>
          <cx:pt idx="4132">-1.74374151</cx:pt>
          <cx:pt idx="4133">-1.6885399299999999</cx:pt>
          <cx:pt idx="4134">-1.6054045159999999</cx:pt>
          <cx:pt idx="4135">-1.605196367</cx:pt>
          <cx:pt idx="4136">-1.495001357</cx:pt>
          <cx:pt idx="4137">-1.4941409999999999</cx:pt>
          <cx:pt idx="4138">-5.9985350000000004</cx:pt>
          <cx:pt idx="4139">-2.9779513350000002</cx:pt>
          <cx:pt idx="4140">-1.497273004</cx:pt>
          <cx:pt idx="4141">-1.4501949999999999</cx:pt>
          <cx:pt idx="4142">-8.9648439999999994</cx:pt>
          <cx:pt idx="4143">-1.230469</cx:pt>
          <cx:pt idx="4144">0.410582004</cx:pt>
          <cx:pt idx="4145">1.218264504</cx:pt>
          <cx:pt idx="4146">5.2954100000000004</cx:pt>
          <cx:pt idx="4147">-0.51213973800000001</cx:pt>
          <cx:pt idx="4148">-2.7246090000000001</cx:pt>
          <cx:pt idx="4149">-0.023308071</cx:pt>
          <cx:pt idx="4150">0.41103812000000001</cx:pt>
          <cx:pt idx="4151">0.85257097199999998</cx:pt>
          <cx:pt idx="4152">1.3183590000000001</cx:pt>
          <cx:pt idx="4153">-0.4614258</cx:pt>
          <cx:pt idx="4154">-0.232404581</cx:pt>
          <cx:pt idx="4155">-0.010384974999999999</cx:pt>
          <cx:pt idx="4156">0.43884897299999998</cx:pt>
          <cx:pt idx="4157">0.67317790200000005</cx:pt>
          <cx:pt idx="4158">1.1206050000000001</cx:pt>
          <cx:pt idx="4159">1.0687658579999999</cx:pt>
          <cx:pt idx="4160">1.041422426</cx:pt>
          <cx:pt idx="4161">1.015502854</cx:pt>
          <cx:pt idx="4162">0.98958328200000001</cx:pt>
          <cx:pt idx="4163">0.85775734599999998</cx:pt>
          <cx:pt idx="4164">0.83018978499999996</cx:pt>
          <cx:pt idx="4165">0.80469209799999997</cx:pt>
          <cx:pt idx="4166">0.77733547999999997</cx:pt>
          <cx:pt idx="4167">0.75142909400000002</cx:pt>
          <cx:pt idx="4168">0.72550952099999999</cx:pt>
          <cx:pt idx="4169">0.69877254899999997</cx:pt>
          <cx:pt idx="4170">0.67326167699999995</cx:pt>
          <cx:pt idx="4171">0.594079103</cx:pt>
          <cx:pt idx="4172">0.5932617</cx:pt>
          <cx:pt idx="4173">3.6474609999999998</cx:pt>
          <cx:pt idx="4174">-1.5718990580000001</cx:pt>
          <cx:pt idx="4175">-2.716261598</cx:pt>
          <cx:pt idx="4176">-3.3178709999999998</cx:pt>
          <cx:pt idx="4177">-2.9193645579999998</cx:pt>
          <cx:pt idx="4178">-2.5290651799999999</cx:pt>
          <cx:pt idx="4179">-2.3906700609999998</cx:pt>
          <cx:pt idx="4180">-2.1284407789999999</cx:pt>
          <cx:pt idx="4181">-1.9983189210000001</cx:pt>
          <cx:pt idx="4182">-1.9952743610000001</cx:pt>
          <cx:pt idx="4183">-1.73092712</cx:pt>
          <cx:pt idx="4184">-1.463469138</cx:pt>
          <cx:pt idx="4185">-1.0701252000000001</cx:pt>
          <cx:pt idx="4186">0.78321769900000004</cx:pt>
          <cx:pt idx="4187">1.05166848</cx:pt>
          <cx:pt idx="4188">1.1817903219999999</cx:pt>
          <cx:pt idx="4189">1.314956741</cx:pt>
          <cx:pt idx="4190">1.4450785989999999</cx:pt>
          <cx:pt idx="4191">1.5803629610000001</cx:pt>
          <cx:pt idx="4192">1.8457030000000001</cx:pt>
          <cx:pt idx="4193">1.677547525</cx:pt>
          <cx:pt idx="4194">1.511378801</cx:pt>
          <cx:pt idx="4195">1.423665723</cx:pt>
          <cx:pt idx="4196">0.74707029999999996</cx:pt>
          <cx:pt idx="4197">-0.52734380000000003</cx:pt>
          <cx:pt idx="4198">5.2294919999999996</cx:pt>
          <cx:pt idx="4199">1.1645509999999999</cx:pt>
          <cx:pt idx="4200">1.1645509999999999</cx:pt>
          <cx:pt idx="4201">-0.41073685700000001</cx:pt>
          <cx:pt idx="4202">-0.87890630000000003</cx:pt>
          <cx:pt idx="4203">5.2294919999999996</cx:pt>
          <cx:pt idx="4204">-8.8330079999999995</cx:pt>
          <cx:pt idx="4205">24.279789999999998</cx:pt>
          <cx:pt idx="4206">116.9385</cx:pt>
          <cx:pt idx="4207">106.2158</cx:pt>
          <cx:pt idx="4208">47.570799999999998</cx:pt>
          <cx:pt idx="4209">86.374510000000001</cx:pt>
          <cx:pt idx="4210">107.0288</cx:pt>
          <cx:pt idx="4211">103.9746</cx:pt>
          <cx:pt idx="4212">54.492190000000001</cx:pt>
          <cx:pt idx="4213">37.881068069999998</cx:pt>
          <cx:pt idx="4214">26.674800000000001</cx:pt>
          <cx:pt idx="4215">7.3168949999999997</cx:pt>
          <cx:pt idx="4216">4.0694755999999996</cx:pt>
          <cx:pt idx="4217">1.230469</cx:pt>
          <cx:pt idx="4218">1.229974761</cx:pt>
          <cx:pt idx="4219">1.2298938100000001</cx:pt>
          <cx:pt idx="4220">1.226843677</cx:pt>
          <cx:pt idx="4221">1.2213237109999999</cx:pt>
          <cx:pt idx="4222">1.217452236</cx:pt>
          <cx:pt idx="4223">1.2162980240000001</cx:pt>
          <cx:pt idx="4224">1.216215754</cx:pt>
          <cx:pt idx="4225">1.2059991409999999</cx:pt>
          <cx:pt idx="4226">1.2058352590000001</cx:pt>
          <cx:pt idx="4227">1.2032799830000001</cx:pt>
          <cx:pt idx="4228">1.2031161020000001</cx:pt>
          <cx:pt idx="4229">1.2030325550000001</cx:pt>
          <cx:pt idx="4230">1.199655937</cx:pt>
          <cx:pt idx="4231">1.1992439690000001</cx:pt>
          <cx:pt idx="4232">1.1952054000000001</cx:pt>
          <cx:pt idx="4233">1.194628274</cx:pt>
          <cx:pt idx="4234">1.188779968</cx:pt>
          <cx:pt idx="4235">1.1838332970000001</cx:pt>
          <cx:pt idx="4236">1.1835890819999999</cx:pt>
          <cx:pt idx="4237">1.1819412499999999</cx:pt>
          <cx:pt idx="4238">1.181117354</cx:pt>
          <cx:pt idx="4239">1.179056275</cx:pt>
          <cx:pt idx="4240">1.1771616730000001</cx:pt>
          <cx:pt idx="4241">1.1702406839999999</cx:pt>
          <cx:pt idx="4242">1.1655440370000001</cx:pt>
          <cx:pt idx="4243">1.1590338630000001</cx:pt>
          <cx:pt idx="4244">1.1535932419999999</cx:pt>
          <cx:pt idx="4245">1.1525262430000001</cx:pt>
          <cx:pt idx="4246">1.152445827</cx:pt>
          <cx:pt idx="4247">1.152198193</cx:pt>
          <cx:pt idx="4248">1.1505504010000001</cx:pt>
          <cx:pt idx="4249">1.1503027669999999</cx:pt>
          <cx:pt idx="4250">1.143544052</cx:pt>
          <cx:pt idx="4251">1.142390129</cx:pt>
          <cx:pt idx="4252">1.1391758679999999</cx:pt>
          <cx:pt idx="4253">1.1381871429999999</cx:pt>
          <cx:pt idx="4254">1.13398387</cx:pt>
          <cx:pt idx="4255">1.131764472</cx:pt>
          <cx:pt idx="4256">1.131347353</cx:pt>
          <cx:pt idx="4257">1.1258326190000001</cx:pt>
          <cx:pt idx="4258">1.1209711019999999</cx:pt>
          <cx:pt idx="4259">1.120310428</cx:pt>
          <cx:pt idx="4260">1.118829648</cx:pt>
          <cx:pt idx="4261">1.118661895</cx:pt>
          <cx:pt idx="4262">1.1185802840000001</cx:pt>
          <cx:pt idx="4263">1.1164394479999999</cx:pt>
          <cx:pt idx="4264">1.1163571779999999</cx:pt>
          <cx:pt idx="4265">1.109511868</cx:pt>
          <cx:pt idx="4266">1.1049867229999999</cx:pt>
          <cx:pt idx="4267">1.10095005</cx:pt>
          <cx:pt idx="4268">1.098636393</cx:pt>
          <cx:pt idx="4269">1.094770027</cx:pt>
          <cx:pt idx="4270">1.0815045169999999</cx:pt>
          <cx:pt idx="4271">1.0789505180000001</cx:pt>
          <cx:pt idx="4272">1.067908732</cx:pt>
          <cx:pt idx="4273">1.0665077089999999</cx:pt>
          <cx:pt idx="4274">1.0631246649999999</cx:pt>
          <cx:pt idx="4275">1.057192771</cx:pt>
          <cx:pt idx="4276">1.057032762</cx:pt>
          <cx:pt idx="4277">1.0568669449999999</cx:pt>
          <cx:pt idx="4278">1.0493701479999999</cx:pt>
          <cx:pt idx="4279">1.049206885</cx:pt>
          <cx:pt idx="4280">1.043521801</cx:pt>
          <cx:pt idx="4281">1.0414555729999999</cx:pt>
          <cx:pt idx="4282">1.038407377</cx:pt>
          <cx:pt idx="4283">1.0336284600000001</cx:pt>
          <cx:pt idx="4284">1.0327274019999999</cx:pt>
          <cx:pt idx="4285">1.0135249310000001</cx:pt>
          <cx:pt idx="4286">1.0084985849999999</cx:pt>
          <cx:pt idx="4287">1.0049599819999999</cx:pt>
          <cx:pt idx="4288">1.0038025559999999</cx:pt>
          <cx:pt idx="4289">1.003390588</cx:pt>
          <cx:pt idx="4290">0.99424467999999999</cx:pt>
          <cx:pt idx="4291">0.993420784</cx:pt>
          <cx:pt idx="4292">0.99326139400000002</cx:pt>
          <cx:pt idx="4293">0.984851963</cx:pt>
          <cx:pt idx="4294">0.98155633799999997</cx:pt>
          <cx:pt idx="4295">0.97479988900000003</cx:pt>
          <cx:pt idx="4296">0.97265785900000001</cx:pt>
          <cx:pt idx="4297">0.97241492100000004</cx:pt>
          <cx:pt idx="4298">0.97232816</cx:pt>
          <cx:pt idx="4299">0.96640013899999999</cx:pt>
          <cx:pt idx="4300">0.964583317</cx:pt>
          <cx:pt idx="4301">0.95996951699999999</cx:pt>
          <cx:pt idx="4302">0.95832172500000001</cx:pt>
          <cx:pt idx="4303">0.95477863100000004</cx:pt>
          <cx:pt idx="4304">0.95264109100000005</cx:pt>
          <cx:pt idx="4305">0.95098880900000005</cx:pt>
          <cx:pt idx="4306">0.94950551599999999</cx:pt>
          <cx:pt idx="4307">0.94192966199999995</cx:pt>
          <cx:pt idx="4308">0.92693025900000003</cx:pt>
          <cx:pt idx="4309">0.92610636300000004</cx:pt>
          <cx:pt idx="4310">0.92116290499999998</cx:pt>
          <cx:pt idx="4311">0.914653885</cx:pt>
          <cx:pt idx="4312">0.91448872699999995</cx:pt>
          <cx:pt idx="4313">0.90880360199999999</cx:pt>
          <cx:pt idx="4314">0.90872133200000005</cx:pt>
          <cx:pt idx="4315">0.90789743599999995</cx:pt>
          <cx:pt idx="4316">0.89636268799999996</cx:pt>
          <cx:pt idx="4317">0.89545652200000003</cx:pt>
          <cx:pt idx="4318">0.89471489599999998</cx:pt>
          <cx:pt idx="4319">0.88598091599999995</cx:pt>
          <cx:pt idx="4320">0.88433312500000005</cx:pt>
          <cx:pt idx="4321">0.87823475500000003</cx:pt>
          <cx:pt idx="4322">0.87271482899999997</cx:pt>
          <cx:pt idx="4323">0.86538318999999997</cx:pt>
          <cx:pt idx="4324">0.86315695400000003</cx:pt>
          <cx:pt idx="4325">0.85953290800000004</cx:pt>
          <cx:pt idx="4326">0.85607274300000002</cx:pt>
          <cx:pt idx="4327">0.85557854499999997</cx:pt>
          <cx:pt idx="4328">0.84684460699999997</cx:pt>
          <cx:pt idx="4329">0.83514469999999996</cx:pt>
          <cx:pt idx="4330">0.83407399400000004</cx:pt>
          <cx:pt idx="4331">0.83333236799999999</cx:pt>
          <cx:pt idx="4332">0.82879956099999996</cx:pt>
          <cx:pt idx="4333">0.82435161899999998</cx:pt>
          <cx:pt idx="4334">0.81949043200000005</cx:pt>
          <cx:pt idx="4335">0.81396918799999995</cx:pt>
          <cx:pt idx="4336">0.81380530699999998</cx:pt>
          <cx:pt idx="4337">0.81372175999999996</cx:pt>
          <cx:pt idx="4338">0.80853215099999998</cx:pt>
          <cx:pt idx="4339">0.80746144500000006</cx:pt>
          <cx:pt idx="4340">0.80737855700000005</cx:pt>
          <cx:pt idx="4341">0.80573072400000001</cx:pt>
          <cx:pt idx="4342">0.79848007799999998</cx:pt>
          <cx:pt idx="4343">0.79773906999999999</cx:pt>
          <cx:pt idx="4344">0.797491642</cx:pt>
          <cx:pt idx="4345">0.79304242300000005</cx:pt>
          <cx:pt idx="4346">0.79114716200000001</cx:pt>
          <cx:pt idx="4347">0.79032260700000001</cx:pt>
          <cx:pt idx="4348">0.77755137600000002</cx:pt>
          <cx:pt idx="4349">0.77549289300000002</cx:pt>
          <cx:pt idx="4350">0.77532835300000003</cx:pt>
          <cx:pt idx="4351">0.76585274699999994</cx:pt>
          <cx:pt idx="4352">0.764863034</cx:pt>
          <cx:pt idx="4353">0.76206160700000003</cx:pt>
          <cx:pt idx="4354">0.76082574300000005</cx:pt>
          <cx:pt idx="4355">0.76041509200000001</cx:pt>
          <cx:pt idx="4356">0.75629553100000002</cx:pt>
          <cx:pt idx="4357">0.75209373999999996</cx:pt>
          <cx:pt idx="4358">0.75077300999999996</cx:pt>
          <cx:pt idx="4359">0.74418048400000003</cx:pt>
          <cx:pt idx="4360">0.73866311299999998</cx:pt>
          <cx:pt idx="4361">0.72671643699999999</cx:pt>
          <cx:pt idx="4362">0.72589122299999997</cx:pt>
          <cx:pt idx="4363">0.72531603300000003</cx:pt>
          <cx:pt idx="4364">0.72523054899999995</cx:pt>
          <cx:pt idx="4365">0.72152423300000001</cx:pt>
          <cx:pt idx="4366">0.71435457999999996</cx:pt>
          <cx:pt idx="4367">0.71320415800000003</cx:pt>
          <cx:pt idx="4368">0.71295673000000004</cx:pt>
          <cx:pt idx="4369">0.71262641299999996</cx:pt>
          <cx:pt idx="4370">0.71032050199999996</cx:pt>
          <cx:pt idx="4371">0.70949528799999995</cx:pt>
          <cx:pt idx="4372">0.70776522600000003</cx:pt>
          <cx:pt idx="4373">0.69828962000000006</cx:pt>
          <cx:pt idx="4374">0.69606338300000004</cx:pt>
          <cx:pt idx="4375">0.68889500800000003</cx:pt>
          <cx:pt idx="4376">0.68420091400000005</cx:pt>
          <cx:pt idx="4377">0.67975165400000004</cx:pt>
          <cx:pt idx="4378">0.67629149</cx:pt>
          <cx:pt idx="4379">0.67604406100000003</cx:pt>
          <cx:pt idx="4380">0.67225419799999997</cx:pt>
          <cx:pt idx="4381">0.66664878900000002</cx:pt>
          <cx:pt idx="4382">0.66343733000000005</cx:pt>
          <cx:pt idx="4383">0.65758836600000004</cx:pt>
          <cx:pt idx="4384">0.65346559000000004</cx:pt>
          <cx:pt idx="4385">0.64786599099999997</cx:pt>
          <cx:pt idx="4386">0.64596817500000003</cx:pt>
          <cx:pt idx="4387">0.64160118499999996</cx:pt>
          <cx:pt idx="4388">0.63105808699999999</cx:pt>
          <cx:pt idx="4389">0.63031646100000005</cx:pt>
          <cx:pt idx="4390">0.62479521699999996</cx:pt>
          <cx:pt idx="4391">0.62404716500000001</cx:pt>
          <cx:pt idx="4392">0.62092374299999997</cx:pt>
          <cx:pt idx="4393">0.62083825999999998</cx:pt>
          <cx:pt idx="4394">0.61927529199999998</cx:pt>
          <cx:pt idx="4395">0.61902786399999998</cx:pt>
          <cx:pt idx="4396">0.61704905600000004</cx:pt>
          <cx:pt idx="4397">0.60576239499999995</cx:pt>
          <cx:pt idx="4398">0.60436203200000005</cx:pt>
          <cx:pt idx="4399">0.60205352499999998</cx:pt>
          <cx:pt idx="4400">0.59472254499999999</cx:pt>
          <cx:pt idx="4401">0.58887292099999999</cx:pt>
          <cx:pt idx="4402">0.581209647</cx:pt>
          <cx:pt idx="4403">0.57972701400000004</cx:pt>
          <cx:pt idx="4404">0.57664602499999995</cx:pt>
          <cx:pt idx="4405">0.57486389000000004</cx:pt>
          <cx:pt idx="4406">0.56876230699999997</cx:pt>
          <cx:pt idx="4407">0.56860229799999995</cx:pt>
          <cx:pt idx="4408">0.56588507700000001</cx:pt>
          <cx:pt idx="4409">0.56538890200000003</cx:pt>
          <cx:pt idx="4410">0.56143388100000002</cx:pt>
          <cx:pt idx="4411">0.55706693200000001</cx:pt>
          <cx:pt idx="4412">0.55533682900000003</cx:pt>
          <cx:pt idx="4413">0.55014594299999997</cx:pt>
          <cx:pt idx="4414">0.546275128</cx:pt>
          <cx:pt idx="4415">0.54157782200000004</cx:pt>
          <cx:pt idx="4416">0.54149682899999996</cx:pt>
          <cx:pt idx="4417">0.54025902800000003</cx:pt>
          <cx:pt idx="4418">0.534569454</cx:pt>
          <cx:pt idx="4419">0.53177185900000001</cx:pt>
          <cx:pt idx="4420">0.53135605900000005</cx:pt>
          <cx:pt idx="4421">0.52856105799999997</cx:pt>
          <cx:pt idx="4422">0.52773588500000002</cx:pt>
          <cx:pt idx="4423">0.52724102900000003</cx:pt>
          <cx:pt idx="4424">0.51974357199999999</cx:pt>
          <cx:pt idx="4425">0.51669471700000003</cx:pt>
          <cx:pt idx="4426">0.51175253600000004</cx:pt>
          <cx:pt idx="4427">0.51133929099999997</cx:pt>
          <cx:pt idx="4428">0.50449612300000002</cx:pt>
          <cx:pt idx="4429">0.50277178700000003</cx:pt>
          <cx:pt idx="4430">0.49667473499999998</cx:pt>
          <cx:pt idx="4431">0.49477885599999999</cx:pt>
          <cx:pt idx="4432">0.49041124800000002</cx:pt>
          <cx:pt idx="4433">0.48340737099999997</cx:pt>
          <cx:pt idx="4434">0.48323834100000002</cx:pt>
          <cx:pt idx="4435">0.48307895000000001</cx:pt>
          <cx:pt idx="4436">0.47269655999999999</cx:pt>
          <cx:pt idx="4437">0.47228071900000002</cx:pt>
          <cx:pt idx="4438">0.47112712499999998</cx:pt>
          <cx:pt idx="4439">0.47087969699999999</cx:pt>
          <cx:pt idx="4440">0.46791377000000001</cx:pt>
          <cx:pt idx="4441">0.46783150000000001</cx:pt>
          <cx:pt idx="4442">0.46330001100000001</cx:pt>
          <cx:pt idx="4443">0.46214637600000003</cx:pt>
          <cx:pt idx="4444">0.45967917899999999</cx:pt>
          <cx:pt idx="4445">0.45950948899999999</cx:pt>
          <cx:pt idx="4446">0.45531284799999999</cx:pt>
          <cx:pt idx="4447">0.45300046900000002</cx:pt>
          <cx:pt idx="4448">0.448963218</cx:pt>
          <cx:pt idx="4449">0.44863352000000001</cx:pt>
          <cx:pt idx="4450">0.44855125000000001</cx:pt>
          <cx:pt idx="4451">0.43397279599999999</cx:pt>
          <cx:pt idx="4452">0.433803147</cx:pt>
          <cx:pt idx="4453">0.43034298199999999</cx:pt>
          <cx:pt idx="4454">0.42432815899999998</cx:pt>
          <cx:pt idx="4455">0.42276646899999998</cx:pt>
          <cx:pt idx="4456">0.42252031800000001</cx:pt>
          <cx:pt idx="4457">0.42235066900000001</cx:pt>
          <cx:pt idx="4458">0.41856080600000001</cx:pt>
          <cx:pt idx="4459">0.41650104599999999</cx:pt>
          <cx:pt idx="4460">0.416418116</cx:pt>
          <cx:pt idx="4461">0.41592391899999998</cx:pt>
          <cx:pt idx="4462">0.41567715</cx:pt>
          <cx:pt idx="4463">0.41229859600000002</cx:pt>
          <cx:pt idx="4464">0.405134669</cx:pt>
          <cx:pt idx="4465">0.40076384799999998</cx:pt>
          <cx:pt idx="4466">0.38815777600000001</cx:pt>
          <cx:pt idx="4467">0.386101888</cx:pt>
          <cx:pt idx="4468">0.37579913199999998</cx:pt>
          <cx:pt idx="4469">0.36879978600000002</cx:pt>
          <cx:pt idx="4470">0.36187496600000002</cx:pt>
          <cx:pt idx="4471">0.34869176699999999</cx:pt>
          <cx:pt idx="4472">0.34745590300000001</cx:pt>
          <cx:pt idx="4473">0.34729136300000002</cx:pt>
          <cx:pt idx="4474">0.34564352999999998</cx:pt>
          <cx:pt idx="4475">0.34119431099999997</cx:pt>
          <cx:pt idx="4476">0.34053491400000002</cx:pt>
          <cx:pt idx="4477">0.33979328800000003</cx:pt>
          <cx:pt idx="4478">0.33031830099999998</cx:pt>
          <cx:pt idx="4479">0.32413897899999999</cx:pt>
          <cx:pt idx="4480">0.32100789400000002</cx:pt>
          <cx:pt idx="4481">0.32076108399999997</cx:pt>
          <cx:pt idx="4482">0.31927779099999998</cx:pt>
          <cx:pt idx="4483">0.31268654200000001</cx:pt>
          <cx:pt idx="4484">0.308072124</cx:pt>
          <cx:pt idx="4485">0.30560039500000002</cx:pt>
          <cx:pt idx="4486">0.30214023000000001</cx:pt>
          <cx:pt idx="4487">0.29324175099999999</cx:pt>
          <cx:pt idx="4488">0.29044032400000003</cx:pt>
          <cx:pt idx="4489">0.28829829299999998</cx:pt>
          <cx:pt idx="4490">0.28722630999999998</cx:pt>
          <cx:pt idx="4491">0.27775070400000001</cx:pt>
          <cx:pt idx="4492">0.27107846200000002</cx:pt>
          <cx:pt idx="4493">0.26127254</cx:pt>
          <cx:pt idx="4494">0.25896662799999998</cx:pt>
          <cx:pt idx="4495">0.25632908199999999</cx:pt>
          <cx:pt idx="4496">0.25344604399999998</cx:pt>
          <cx:pt idx="4497">0.25270503599999999</cx:pt>
          <cx:pt idx="4498">0.25006814900000002</cx:pt>
          <cx:pt idx="4499">0.24907905399999999</cx:pt>
          <cx:pt idx="4500">0.24685475400000001</cx:pt>
          <cx:pt idx="4501">0.246607985</cx:pt>
          <cx:pt idx="4502">0.24430075500000001</cx:pt>
          <cx:pt idx="4503">0.240098964</cx:pt>
          <cx:pt idx="4504">0.23927375000000001</cx:pt>
          <cx:pt idx="4505">0.232847</cx:pt>
          <cx:pt idx="4506">0.231115661</cx:pt>
          <cx:pt idx="4507">0.23087078699999999</cx:pt>
          <cx:pt idx="4508">0.22567862399999999</cx:pt>
          <cx:pt idx="4509">0.22493761600000001</cx:pt>
          <cx:pt idx="4510">0.224032068</cx:pt>
          <cx:pt idx="4511">0.219582849</cx:pt>
          <cx:pt idx="4512">0.21949930200000001</cx:pt>
          <cx:pt idx="4513">0.21389451100000001</cx:pt>
          <cx:pt idx="4514">0.211422782</cx:pt>
          <cx:pt idx="4515">0.20796583099999999</cx:pt>
          <cx:pt idx="4516">0.207882284</cx:pt>
          <cx:pt idx="4517">0.201485891</cx:pt>
          <cx:pt idx="4518">0.20021777399999999</cx:pt>
          <cx:pt idx="4519">0.19535654499999999</cx:pt>
          <cx:pt idx="4520">0.19395873599999999</cx:pt>
          <cx:pt idx="4521">0.19354615</cx:pt>
          <cx:pt idx="4522">0.19337905499999999</cx:pt>
          <cx:pt idx="4523">0.191237025</cx:pt>
          <cx:pt idx="4524">0.19090860400000001</cx:pt>
          <cx:pt idx="4525">0.18876851</cx:pt>
          <cx:pt idx="4526">0.17575046899999999</cx:pt>
          <cx:pt idx="4527">0.175584034</cx:pt>
          <cx:pt idx="4528">0.170971551</cx:pt>
          <cx:pt idx="4529">0.170886068</cx:pt>
          <cx:pt idx="4530">0.161163693</cx:pt>
          <cx:pt idx="4531">0.15918937499999999</cx:pt>
          <cx:pt idx="4532">0.150373166</cx:pt>
          <cx:pt idx="4533">0.14468676499999999</cx:pt>
          <cx:pt idx="4534">0.140733679</cx:pt>
          <cx:pt idx="4535">0.13636479400000001</cx:pt>
          <cx:pt idx="4536">0.13438792199999999</cx:pt>
          <cx:pt idx="4537">0.132080692</cx:pt>
          <cx:pt idx="4538">0.127878243</cx:pt>
          <cx:pt idx="4539">0.12746821</cx:pt>
          <cx:pt idx="4540">0.123594182</cx:pt>
          <cx:pt idx="4541">0.121533763</cx:pt>
          <cx:pt idx="4542">0.089731645999999998</cx:pt>
          <cx:pt idx="4543">0.082810039000000002</cx:pt>
          <cx:pt idx="4544">0.082644881000000003</cx:pt>
          <cx:pt idx="4545">0.082479064000000005</cx:pt>
          <cx:pt idx="4546">0.082398071000000003</cx:pt>
          <cx:pt idx="4547">0.080585080000000003</cx:pt>
          <cx:pt idx="4548">0.080419262000000005</cx:pt>
          <cx:pt idx="4549">0.080336374000000002</cx:pt>
          <cx:pt idx="4550">0.068802944000000005</cx:pt>
          <cx:pt idx="4551">0.065917970000000006</cx:pt>
          <cx:pt idx="4552">0.065911837000000001</cx:pt>
          <cx:pt idx="4553">0.065811808999999999</cx:pt>
          <cx:pt idx="4554">0.065776454999999998</cx:pt>
          <cx:pt idx="4555">0.06577181</cx:pt>
          <cx:pt idx="4556">0.065730286999999998</cx:pt>
          <cx:pt idx="4557">0.065651705000000005</cx:pt>
          <cx:pt idx="4558">0.065645645000000002</cx:pt>
          <cx:pt idx="4559">0.065604108999999994</cx:pt>
          <cx:pt idx="4560">0.065601038</cx:pt>
          <cx:pt idx="4561">0.065568755000000006</cx:pt>
          <cx:pt idx="4562">0.065473334999999994</cx:pt>
          <cx:pt idx="4563">0.065364090999999999</cx:pt>
          <cx:pt idx="4564">0.065353350000000004</cx:pt>
          <cx:pt idx="4565">0.065313327000000004</cx:pt>
          <cx:pt idx="4566">0.065279472000000005</cx:pt>
          <cx:pt idx="4567">0.065247165999999995</cx:pt>
          <cx:pt idx="4568">0.065241010000000002</cx:pt>
          <cx:pt idx="4569">0.065239474000000006</cx:pt>
          <cx:pt idx="4570">0.065207166999999996</cx:pt>
          <cx:pt idx="4571">0.065197937999999997</cx:pt>
          <cx:pt idx="4572">0.065122572000000004</cx:pt>
          <cx:pt idx="4573">0.065036285999999999</cx:pt>
          <cx:pt idx="4574">0.064957920000000002</cx:pt>
          <cx:pt idx="4575">0.064928685</cx:pt>
          <cx:pt idx="4576">0.064776394000000001</cx:pt>
          <cx:pt idx="4577">0.064607132999999997</cx:pt>
          <cx:pt idx="4578">0.064580971000000001</cx:pt>
          <cx:pt idx="4579">0.064577897999999995</cx:pt>
          <cx:pt idx="4580">0.064550200000000002</cx:pt>
          <cx:pt idx="4581">0.064465581999999994</cx:pt>
          <cx:pt idx="4582">0.064411732999999999</cx:pt>
          <cx:pt idx="4583">0.064337904000000001</cx:pt>
          <cx:pt idx="4584">0.064228550999999995</cx:pt>
          <cx:pt idx="4585">0.064160949999999994</cx:pt>
          <cx:pt idx="4586">0.064154794000000001</cx:pt>
          <cx:pt idx="4587">0.063954786</cx:pt>
          <cx:pt idx="4588">0.063853150999999997</cx:pt>
          <cx:pt idx="4589">0.063766995000000007</cx:pt>
          <cx:pt idx="4590">0.063639293999999999</cx:pt>
          <cx:pt idx="4591">0.063613132000000003</cx:pt>
          <cx:pt idx="4592">0.063477749999999999</cx:pt>
          <cx:pt idx="4593">0.063463995999999995</cx:pt>
          <cx:pt idx="4594">0.063411588000000005</cx:pt>
          <cx:pt idx="4595">0.063368505000000006</cx:pt>
          <cx:pt idx="4596">0.063367065</cx:pt>
          <cx:pt idx="4597">0.063254651999999995</cx:pt>
          <cx:pt idx="4598">0.063253212000000003</cx:pt>
          <cx:pt idx="4599">0.063166960999999994</cx:pt>
          <cx:pt idx="4600">0.062963869000000006</cx:pt>
          <cx:pt idx="4601">0.062886944</cx:pt>
          <cx:pt idx="4602">0.062837799999999999</cx:pt>
          <cx:pt idx="4603">0.062713086000000001</cx:pt>
          <cx:pt idx="4604">0.062608463000000003</cx:pt>
          <cx:pt idx="4605">0.062417684000000001</cx:pt>
          <cx:pt idx="4606">0.062416134999999998</cx:pt>
          <cx:pt idx="4607">0.062371528000000002</cx:pt>
          <cx:pt idx="4608">0.062359227000000003</cx:pt>
          <cx:pt idx="4609">0.062353071000000003</cx:pt>
          <cx:pt idx="4610">0.062240754000000002</cx:pt>
          <cx:pt idx="4611">0.062234598000000002</cx:pt>
          <cx:pt idx="4612">0.062134594000000001</cx:pt>
          <cx:pt idx="4613">0.062020740999999997</cx:pt>
          <cx:pt idx="4614">0.06192843</cx:pt>
          <cx:pt idx="4615">0.061789963000000003</cx:pt>
          <cx:pt idx="4616">0.061471482000000001</cx:pt>
          <cx:pt idx="4617">0.061386863999999999</cx:pt>
          <cx:pt idx="4618">0.061311473999999998</cx:pt>
          <cx:pt idx="4619">0.061308401999999998</cx:pt>
          <cx:pt idx="4620">0.061268390999999998</cx:pt>
          <cx:pt idx="4621">0.061114485000000003</cx:pt>
          <cx:pt idx="4622">0.061105241999999997</cx:pt>
          <cx:pt idx="4623">0.060971432999999998</cx:pt>
          <cx:pt idx="4624">0.060968403999999997</cx:pt>
          <cx:pt idx="4625">0.060965302999999998</cx:pt>
          <cx:pt idx="4626">0.060931433</cx:pt>
          <cx:pt idx="4627">0.060892937000000001</cx:pt>
          <cx:pt idx="4628">0.060889947</cx:pt>
          <cx:pt idx="4629">0.060888313999999999</cx:pt>
          <cx:pt idx="4630">0.060734510999999998</cx:pt>
          <cx:pt idx="4631">0.060645261999999998</cx:pt>
          <cx:pt idx="4632">0.060636031</cx:pt>
          <cx:pt idx="4633">0.060634494999999997</cx:pt>
          <cx:pt idx="4634">0.060582171999999997</cx:pt>
          <cx:pt idx="4635">0.060580624</cx:pt>
          <cx:pt idx="4636">0.060417600000000002</cx:pt>
          <cx:pt idx="4637">0.060276074999999998</cx:pt>
          <cx:pt idx="4638">0.059900639999999998</cx:pt>
          <cx:pt idx="4639">0.059872941999999998</cx:pt>
          <cx:pt idx="4640">0.059849864000000003</cx:pt>
          <cx:pt idx="4641">0.059848327999999999</cx:pt>
          <cx:pt idx="4642">0.059811401</cx:pt>
          <cx:pt idx="4643">0.059808328000000001</cx:pt>
          <cx:pt idx="4644">0.059622157000000002</cx:pt>
          <cx:pt idx="4645">0.059612928000000003</cx:pt>
          <cx:pt idx="4646">0.05955908</cx:pt>
          <cx:pt idx="4647">0.059556007000000001</cx:pt>
          <cx:pt idx="4648">0.059552923000000001</cx:pt>
          <cx:pt idx="4649">0.059514483999999999</cx:pt>
          <cx:pt idx="4650">0.059499099</cx:pt>
          <cx:pt idx="4651">0.059423684999999997</cx:pt>
          <cx:pt idx="4652">0.059366752000000002</cx:pt>
          <cx:pt idx="4653">0.059349830999999999</cx:pt>
          <cx:pt idx="4654">0.059346458999999997</cx:pt>
          <cx:pt idx="4655">0.059329741999999998</cx:pt>
          <cx:pt idx="4656">0.059328206000000001</cx:pt>
          <cx:pt idx="4657">0.059303688</cx:pt>
          <cx:pt idx="4658">0.059238966999999997</cx:pt>
          <cx:pt idx="4659">0.059237526999999998</cx:pt>
          <cx:pt idx="4660">0.059222045000000001</cx:pt>
          <cx:pt idx="4661">0.059077518000000002</cx:pt>
          <cx:pt idx="4662">0.058905196999999999</cx:pt>
          <cx:pt idx="4663">0.058857505999999997</cx:pt>
          <cx:pt idx="4664">0.058835963999999998</cx:pt>
          <cx:pt idx="4665">0.058832891999999998</cx:pt>
          <cx:pt idx="4666">0.058775850999999997</cx:pt>
          <cx:pt idx="4667">0.058768158000000001</cx:pt>
          <cx:pt idx="4668">0.058675955000000002</cx:pt>
          <cx:pt idx="4669">0.058672883000000002</cx:pt>
          <cx:pt idx="4670">0.058635859999999998</cx:pt>
          <cx:pt idx="4671">0.058597397000000002</cx:pt>
          <cx:pt idx="4672">0.058458929999999999</cx:pt>
          <cx:pt idx="4673">0.058395853999999997</cx:pt>
          <cx:pt idx="4674">0.058280453000000003</cx:pt>
          <cx:pt idx="4675">0.058252766999999997</cx:pt>
          <cx:pt idx="4676">0.058014283999999999</cx:pt>
          <cx:pt idx="4677">0.057983609999999998</cx:pt>
          <cx:pt idx="4678">0.057980442</cx:pt>
          <cx:pt idx="4679">0.057940442000000002</cx:pt>
          <cx:pt idx="4680">0.057925140999999999</cx:pt>
          <cx:pt idx="4681">0.057874281</cx:pt>
          <cx:pt idx="4682">0.057871292999999997</cx:pt>
          <cx:pt idx="4683">0.057786578999999998</cx:pt>
          <cx:pt idx="4684">0.057726586000000003</cx:pt>
          <cx:pt idx="4685">0.057692731999999997</cx:pt>
          <cx:pt idx="4686">0.057674273999999998</cx:pt>
          <cx:pt idx="4687">0.057580414000000003</cx:pt>
          <cx:pt idx="4688">0.057565028999999997</cx:pt>
          <cx:pt idx="4689">0.057563493</cx:pt>
          <cx:pt idx="4690">0.057534259999999997</cx:pt>
          <cx:pt idx="4691">0.057412713999999997</cx:pt>
          <cx:pt idx="4692">0.057378870999999998</cx:pt>
          <cx:pt idx="4693">0.057371179000000001</cx:pt>
          <cx:pt idx="4694">0.057335787999999999</cx:pt>
          <cx:pt idx="4695">0.057268174999999998</cx:pt>
          <cx:pt idx="4696">0.057226555999999998</cx:pt>
          <cx:pt idx="4697">0.057192700999999999</cx:pt>
          <cx:pt idx="4698">0.057166623</cx:pt>
          <cx:pt idx="4699">0.057057318000000003</cx:pt>
          <cx:pt idx="4700">0.057038849000000003</cx:pt>
          <cx:pt idx="4701">0.057009615</cx:pt>
          <cx:pt idx="4702">0.056966543000000001</cx:pt>
          <cx:pt idx="4703">0.056955765999999998</cx:pt>
          <cx:pt idx="4704">0.056937308999999998</cx:pt>
          <cx:pt idx="4705">0.056932689000000002</cx:pt>
          <cx:pt idx="4706">0.056723453</cx:pt>
          <cx:pt idx="4707">0.056612672000000003</cx:pt>
          <cx:pt idx="4708">0.056606515000000003</cx:pt>
          <cx:pt idx="4709">0.056580366</cx:pt>
          <cx:pt idx="4710">0.056523444999999999</cx:pt>
          <cx:pt idx="4711">0.056404971999999998</cx:pt>
          <cx:pt idx="4712">0.056380357999999998</cx:pt>
          <cx:pt idx="4713">0.056275734000000001</cx:pt>
          <cx:pt idx="4714">0.056014186000000001</cx:pt>
          <cx:pt idx="4715">0.055984950999999998</cx:pt>
          <cx:pt idx="4716">0.055966481999999998</cx:pt>
          <cx:pt idx="4717">0.055960336999999999</cx:pt>
          <cx:pt idx="4718">0.055761866</cx:pt>
          <cx:pt idx="4719">0.055738775999999997</cx:pt>
          <cx:pt idx="4720">0.055671078999999998</cx:pt>
          <cx:pt idx="4721">0.055517228000000002</cx:pt>
          <cx:pt idx="4722">0.055494149999999999</cx:pt>
          <cx:pt idx="4723">0.055297190000000003</cx:pt>
          <cx:pt idx="4724">0.055229529999999999</cx:pt>
          <cx:pt idx="4725">0.055169524999999997</cx:pt>
          <cx:pt idx="4726">0.055160283999999997</cx:pt>
          <cx:pt idx="4727">0.055155676000000001</cx:pt>
          <cx:pt idx="4728">0.055034130000000001</cx:pt>
          <cx:pt idx="4729">0.054964896999999999</cx:pt>
          <cx:pt idx="4730">0.054844888000000001</cx:pt>
          <cx:pt idx="4731">0.054811045000000003</cx:pt>
          <cx:pt idx="4732">0.054761804999999997</cx:pt>
          <cx:pt idx="4733">0.05461411</cx:pt>
          <cx:pt idx="4734">0.054520250999999999</cx:pt>
          <cx:pt idx="4735">0.054506414000000003</cx:pt>
          <cx:pt idx="4736">0.054438680000000003</cx:pt>
          <cx:pt idx="4737">0.054355634</cx:pt>
          <cx:pt idx="4738">0.054220240000000003</cx:pt>
          <cx:pt idx="4739">0.054174083999999997</cx:pt>
          <cx:pt idx="4740">0.054151006000000002</cx:pt>
          <cx:pt idx="4741">0.054078688999999999</cx:pt>
          <cx:pt idx="4742">0.053989388999999999</cx:pt>
          <cx:pt idx="4743">0.053981744999999998</cx:pt>
          <cx:pt idx="4744">0.053874012999999998</cx:pt>
          <cx:pt idx="4745">0.053850935000000003</cx:pt>
          <cx:pt idx="4746">0.053717111999999997</cx:pt>
          <cx:pt idx="4747">0.053715600000000002</cx:pt>
          <cx:pt idx="4748">0.053627837999999997</cx:pt>
          <cx:pt idx="4749">0.053530438999999999</cx:pt>
          <cx:pt idx="4750">0.053392500000000002</cx:pt>
          <cx:pt idx="4751">0.053383211</cx:pt>
          <cx:pt idx="4752">0.053278646999999998</cx:pt>
          <cx:pt idx="4753">0.053250899999999997</cx:pt>
          <cx:pt idx="4754">0.053244743999999997</cx:pt>
          <cx:pt idx="4755">0.053240124</cx:pt>
          <cx:pt idx="4756">0.053217045999999997</cx:pt>
          <cx:pt idx="4757">0.053198588999999998</cx:pt>
          <cx:pt idx="4758">0.053055501999999997</cx:pt>
          <cx:pt idx="4759">0.053044795999999998</cx:pt>
          <cx:pt idx="4760">0.052946304999999999</cx:pt>
          <cx:pt idx="4761">0.052910915000000003</cx:pt>
          <cx:pt idx="4762">0.052818603999999998</cx:pt>
          <cx:pt idx="4763">0.052815494999999997</cx:pt>
          <cx:pt idx="4764">0.052692388999999999</cx:pt>
          <cx:pt idx="4765">0.052640102000000001</cx:pt>
          <cx:pt idx="4766">0.052538573999999998</cx:pt>
          <cx:pt idx="4767">0.052512400000000001</cx:pt>
          <cx:pt idx="4768">0.052432412999999997</cx:pt>
          <cx:pt idx="4769">0.052417039999999998</cx:pt>
          <cx:pt idx="4770">0.052386233999999997</cx:pt>
          <cx:pt idx="4771">0.052344711000000002</cx:pt>
          <cx:pt idx="4772">0.052321620999999999</cx:pt>
          <cx:pt idx="4773">0.052126209999999999</cx:pt>
          <cx:pt idx="4774">0.051921630000000003</cx:pt>
          <cx:pt idx="4775">0.051895443999999999</cx:pt>
          <cx:pt idx="4776">0.051752332999999998</cx:pt>
          <cx:pt idx="4777">0.051704664999999997</cx:pt>
          <cx:pt idx="4778">0.051701484999999998</cx:pt>
          <cx:pt idx="4779">0.051498489000000001</cx:pt>
          <cx:pt idx="4780">0.051392329</cx:pt>
          <cx:pt idx="4781">0.051352354000000003</cx:pt>
          <cx:pt idx="4782">0.051349234000000001</cx:pt>
          <cx:pt idx="4783">0.051316951</cx:pt>
          <cx:pt idx="4784">0.051315415000000003</cx:pt>
          <cx:pt idx="4785">0.051306078999999997</cx:pt>
          <cx:pt idx="4786">0.051121576000000002</cx:pt>
          <cx:pt idx="4787">0.051118468</cx:pt>
          <cx:pt idx="4788">0.051106071000000003</cx:pt>
          <cx:pt idx="4789">0.051101546999999997</cx:pt>
          <cx:pt idx="4790">0.051078469000000001</cx:pt>
          <cx:pt idx="4791">0.050962984000000003</cx:pt>
          <cx:pt idx="4792">0.050926068999999997</cx:pt>
          <cx:pt idx="4793">0.050910768000000002</cx:pt>
          <cx:pt idx="4794">0.050852300000000003</cx:pt>
          <cx:pt idx="4795">0.050832306000000001</cx:pt>
          <cx:pt idx="4796">0.050806143999999998</cx:pt>
          <cx:pt idx="4797">0.050783066000000002</cx:pt>
          <cx:pt idx="4798">0.050753831999999999</cx:pt>
          <cx:pt idx="4799">0.050738446</cx:pt>
          <cx:pt idx="4800">0.050673738000000003</cx:pt>
          <cx:pt idx="4801">0.050666045</cx:pt>
          <cx:pt idx="4802">0.050607589000000001</cx:pt>
          <cx:pt idx="4803">0.050564576999999999</cx:pt>
          <cx:pt idx="4804">0.050452188000000002</cx:pt>
          <cx:pt idx="4805">0.050430659000000003</cx:pt>
          <cx:pt idx="4806">0.050275259000000003</cx:pt>
          <cx:pt idx="4807">0.050163038</cx:pt>
          <cx:pt idx="4808">0.050161501999999997</cx:pt>
          <cx:pt idx="4809">0.050144581000000001</cx:pt>
          <cx:pt idx="4810">0.049982939999999997</cx:pt>
          <cx:pt idx="4811">0.049858395</cx:pt>
          <cx:pt idx="4812">0.049769083999999998</cx:pt>
          <cx:pt idx="4813">0.049749174</cx:pt>
          <cx:pt idx="4814">0.049745994000000002</cx:pt>
          <cx:pt idx="4815">0.049721380000000003</cx:pt>
          <cx:pt idx="4816">0.049507295</cx:pt>
          <cx:pt idx="4817">0.049481061999999999</cx:pt>
          <cx:pt idx="4818">0.049239507000000002</cx:pt>
          <cx:pt idx="4819">0.049013326000000003</cx:pt>
          <cx:pt idx="4820">0.048787179999999999</cx:pt>
          <cx:pt idx="4821">0.048759482</cx:pt>
          <cx:pt idx="4822">0.048687175999999999</cx:pt>
          <cx:pt idx="4823">0.048641021</cx:pt>
          <cx:pt idx="4824">0.048570251000000002</cx:pt>
          <cx:pt idx="4825">0.048362539000000003</cx:pt>
          <cx:pt idx="4826">0.048322516000000003</cx:pt>
          <cx:pt idx="4827">0.048316382999999997</cx:pt>
          <cx:pt idx="4828">0.048188681999999997</cx:pt>
          <cx:pt idx="4829">0.048162532000000001</cx:pt>
          <cx:pt idx="4830">0.048145586999999997</cx:pt>
          <cx:pt idx="4831">0.048071757</cx:pt>
          <cx:pt idx="4832">0.048019445000000001</cx:pt>
          <cx:pt idx="4833">0.048008679999999998</cx:pt>
          <cx:pt idx="4834">0.047999426999999997</cx:pt>
          <cx:pt idx="4835">0.047939447000000003</cx:pt>
          <cx:pt idx="4836">0.047830141999999999</cx:pt>
          <cx:pt idx="4837">0.047694819999999999</cx:pt>
          <cx:pt idx="4838">0.047550173000000001</cx:pt>
          <cx:pt idx="4839">0.047524034</cx:pt>
          <cx:pt idx="4840">0.04731631</cx:pt>
          <cx:pt idx="4841">0.047285564000000002</cx:pt>
          <cx:pt idx="4842">0.047219403</cx:pt>
          <cx:pt idx="4843">0.047139405000000002</cx:pt>
          <cx:pt idx="4844">0.047112125999999997</cx:pt>
          <cx:pt idx="4845">0.047019370999999997</cx:pt>
          <cx:pt idx="4846">0.046985516999999997</cx:pt>
          <cx:pt idx="4847">0.046847062000000002</cx:pt>
          <cx:pt idx="4848">0.046831689000000003</cx:pt>
          <cx:pt idx="4849">0.046825964999999997</cx:pt>
          <cx:pt idx="4850">0.046654687</cx:pt>
          <cx:pt idx="4851">0.046634753000000001</cx:pt>
          <cx:pt idx="4852">0.046548539</cx:pt>
          <cx:pt idx="4853">0.046543978999999999</cx:pt>
          <cx:pt idx="4854">0.046437783000000003</cx:pt>
          <cx:pt idx="4855">0.046414729000000002</cx:pt>
          <cx:pt idx="4856">0.046413191999999999</cx:pt>
          <cx:pt idx="4857">0.04640238</cx:pt>
          <cx:pt idx="4858">0.046399308</cx:pt>
          <cx:pt idx="4859">0.046388591</cx:pt>
          <cx:pt idx="4860">0.046385493999999999</cx:pt>
          <cx:pt idx="4861">0.046219353999999997</cx:pt>
          <cx:pt idx="4862">0.046170101999999998</cx:pt>
          <cx:pt idx="4863">0.046073171000000003</cx:pt>
          <cx:pt idx="4864">0.046046972999999998</cx:pt>
          <cx:pt idx="4865">0.046003937000000002</cx:pt>
          <cx:pt idx="4866">0.046002400999999998</cx:pt>
          <cx:pt idx="4867">0.045913125999999999</cx:pt>
          <cx:pt idx="4868">0.045788532999999999</cx:pt>
          <cx:pt idx="4869">0.045665474999999997</cx:pt>
          <cx:pt idx="4870">0.045662378000000003</cx:pt>
          <cx:pt idx="4871">0.045660806999999998</cx:pt>
          <cx:pt idx="4872">0.045365403999999998</cx:pt>
          <cx:pt idx="4873">0.045357746999999997</cx:pt>
          <cx:pt idx="4874">0.045356150999999997</cx:pt>
          <cx:pt idx="4875">0.045200811</cx:pt>
          <cx:pt idx="4876">0.044985371000000003</cx:pt>
          <cx:pt idx="4877">0.044976189999999999</cx:pt>
          <cx:pt idx="4878">0.044886914999999999</cx:pt>
          <cx:pt idx="4879">0.044883879000000002</cx:pt>
          <cx:pt idx="4880">0.04482535</cx:pt>
          <cx:pt idx="4881">0.044797676000000002</cx:pt>
          <cx:pt idx="4882">0.044780754999999998</cx:pt>
          <cx:pt idx="4883">0.044568469999999999</cx:pt>
          <cx:pt idx="4884">0.044560777000000003</cx:pt>
          <cx:pt idx="4885">0.044557693000000002</cx:pt>
          <cx:pt idx="4886">0.044525350999999998</cx:pt>
          <cx:pt idx="4887">0.044497689</cx:pt>
          <cx:pt idx="4888">0.044494579999999999</cx:pt>
          <cx:pt idx="4889">0.044485256000000001</cx:pt>
          <cx:pt idx="4890">0.044383836000000003</cx:pt>
          <cx:pt idx="4891">0.044242260999999998</cx:pt>
          <cx:pt idx="4892">0.044234568000000002</cx:pt>
          <cx:pt idx="4893">0.044231496000000002</cx:pt>
          <cx:pt idx="4894">0.044168456000000002</cx:pt>
          <cx:pt idx="4895">0.044153070000000003</cx:pt>
          <cx:pt idx="4896">0.044011482999999997</cx:pt>
          <cx:pt idx="4897">0.043971483999999998</cx:pt>
          <cx:pt idx="4898">0.043969948000000002</cx:pt>
          <cx:pt idx="4899">0.043945310000000001</cx:pt>
          <cx:pt idx="4900">0.044061402999999999</cx:pt>
          <cx:pt idx="4901">0.04418681</cx:pt>
          <cx:pt idx="4902">0.044302941999999998</cx:pt>
          <cx:pt idx="4903">0.044609556000000002</cx:pt>
          <cx:pt idx="4904">0.044851093000000002</cx:pt>
          <cx:pt idx="4905">0.045111255000000003</cx:pt>
          <cx:pt idx="4906">0.045376053999999999</cx:pt>
          <cx:pt idx="4907">0.045394606999999997</cx:pt>
          <cx:pt idx="4908">0.045547877000000001</cx:pt>
          <cx:pt idx="4909">0.045733722999999997</cx:pt>
          <cx:pt idx="4910">0.046202883</cx:pt>
          <cx:pt idx="4911">0.046244696000000002</cx:pt>
          <cx:pt idx="4912">0.046421194999999998</cx:pt>
          <cx:pt idx="4913">0.046593087999999998</cx:pt>
          <cx:pt idx="4914">0.046737083999999998</cx:pt>
          <cx:pt idx="4915">0.046797487999999998</cx:pt>
          <cx:pt idx="4916">0.047052974999999997</cx:pt>
          <cx:pt idx="4917">0.047870527000000003</cx:pt>
          <cx:pt idx="4918">0.047907704000000002</cx:pt>
          <cx:pt idx="4919">0.047954155999999998</cx:pt>
          <cx:pt idx="4920">0.047968106000000003</cx:pt>
          <cx:pt idx="4921">0.048218992000000002</cx:pt>
          <cx:pt idx="4922">0.048311859999999998</cx:pt>
          <cx:pt idx="4923">0.048748772000000003</cx:pt>
          <cx:pt idx="4924">0.049185468000000003</cx:pt>
          <cx:pt idx="4925">0.049617199000000001</cx:pt>
          <cx:pt idx="4926">0.049626472999999997</cx:pt>
          <cx:pt idx="4927">0.049840147000000001</cx:pt>
          <cx:pt idx="4928">0.050030883999999998</cx:pt>
          <cx:pt idx="4929">0.050541607000000002</cx:pt>
          <cx:pt idx="4930">0.050592732000000001</cx:pt>
          <cx:pt idx="4931">0.050824956999999997</cx:pt>
          <cx:pt idx="4932">0.050936451000000001</cx:pt>
          <cx:pt idx="4933">0.051238680000000002</cx:pt>
          <cx:pt idx="4934">0.051322017999999997</cx:pt>
          <cx:pt idx="4935">0.051470941999999999</cx:pt>
          <cx:pt idx="4936">0.051517393000000002</cx:pt>
          <cx:pt idx="4937">0.051522032000000002</cx:pt>
          <cx:pt idx="4938">0.051782157000000002</cx:pt>
          <cx:pt idx="4939">0.051907673000000001</cx:pt>
          <cx:pt idx="4940">0.052084132999999998</cx:pt>
          <cx:pt idx="4941">0.052093480999999997</cx:pt>
          <cx:pt idx="4942">0.052218816000000001</cx:pt>
          <cx:pt idx="4943">0.052850595</cx:pt>
          <cx:pt idx="4944">0.053282615999999998</cx:pt>
          <cx:pt idx="4945">0.053356933000000002</cx:pt>
          <cx:pt idx="4946">0.053700471</cx:pt>
          <cx:pt idx="4947">0.053747140999999998</cx:pt>
          <cx:pt idx="4948">0.054169847</cx:pt>
          <cx:pt idx="4949">0.054174523000000002</cx:pt>
          <cx:pt idx="4950">0.054230251</cx:pt>
          <cx:pt idx="4951">0.054434648000000002</cx:pt>
          <cx:pt idx="4952">0.054880656</cx:pt>
          <cx:pt idx="4953">0.054894532000000003</cx:pt>
          <cx:pt idx="4954">0.055136251999999997</cx:pt>
          <cx:pt idx="4955">0.055177884000000003</cx:pt>
          <cx:pt idx="4956">0.055182522999999997</cx:pt>
          <cx:pt idx="4957">0.055451960000000002</cx:pt>
          <cx:pt idx="4958">0.05545667</cx:pt>
          <cx:pt idx="4959">0.056055912999999999</cx:pt>
          <cx:pt idx="4960">0.056473945999999997</cx:pt>
          <cx:pt idx="4961">0.056562251000000001</cx:pt>
          <cx:pt idx="4962">0.056655118999999997</cx:pt>
          <cx:pt idx="4963">0.057161635000000002</cx:pt>
          <cx:pt idx="4964">0.057370670999999998</cx:pt>
          <cx:pt idx="4965">0.057533109999999998</cx:pt>
          <cx:pt idx="4966">0.058239133999999998</cx:pt>
          <cx:pt idx="4967">0.058290258999999997</cx:pt>
          <cx:pt idx="4968">0.058294897999999998</cx:pt>
          <cx:pt idx="4969">0.058545748000000002</cx:pt>
          <cx:pt idx="4970">0.058582888</cx:pt>
          <cx:pt idx="4971">0.058764239000000003</cx:pt>
          <cx:pt idx="4972">0.058903958999999999</cx:pt>
          <cx:pt idx="4973">0.058922004</cx:pt>
          <cx:pt idx="4974">0.058931351999999999</cx:pt>
          <cx:pt idx="4975">0.059043353</cx:pt>
          <cx:pt idx="4976">0.059196078999999999</cx:pt>
          <cx:pt idx="4977">0.059740136999999999</cx:pt>
          <cx:pt idx="4978">0.059832571000000001</cx:pt>
          <cx:pt idx="4979">0.060269155999999997</cx:pt>
          <cx:pt idx="4980">0.060334233000000001</cx:pt>
          <cx:pt idx="4981">0.060682588000000003</cx:pt>
          <cx:pt idx="4982">0.060691937000000001</cx:pt>
          <cx:pt idx="4983">0.060747627999999998</cx:pt>
          <cx:pt idx="4984">0.060756905</cx:pt>
          <cx:pt idx="4985">0.061058917999999997</cx:pt>
          <cx:pt idx="4986">0.061416549000000001</cx:pt>
          <cx:pt idx="4987">0.061583768999999997</cx:pt>
          <cx:pt idx="4988">0.061862483000000003</cx:pt>
          <cx:pt idx="4989">0.062131994000000003</cx:pt>
          <cx:pt idx="4990">0.062150617999999998</cx:pt>
          <cx:pt idx="4991">0.062554703000000003</cx:pt>
          <cx:pt idx="4992">0.063595241999999996</cx:pt>
          <cx:pt idx="4993">0.063743837999999997</cx:pt>
          <cx:pt idx="4994">0.064217853000000005</cx:pt>
          <cx:pt idx="4995">0.064227020999999995</cx:pt>
          <cx:pt idx="4996">0.064231587000000007</cx:pt>
          <cx:pt idx="4997">0.064496567000000005</cx:pt>
          <cx:pt idx="4998">0.064552294999999996</cx:pt>
          <cx:pt idx="4999">0.064868076999999996</cx:pt>
          <cx:pt idx="5000">0.065146790999999996</cx:pt>
          <cx:pt idx="5001">0.065188531999999993</cx:pt>
          <cx:pt idx="5002">0.065193350999999997</cx:pt>
          <cx:pt idx="5003">0.065393003000000005</cx:pt>
          <cx:pt idx="5004">0.065564861000000002</cx:pt>
          <cx:pt idx="5005">0.065829625000000003</cx:pt>
          <cx:pt idx="5006">0.066433649999999997</cx:pt>
          <cx:pt idx="5007">0.066475354</cx:pt>
          <cx:pt idx="5008">0.066494305000000004</cx:pt>
          <cx:pt idx="5009">0.067093220999999995</cx:pt>
          <cx:pt idx="5010">0.067121085999999996</cx:pt>
          <cx:pt idx="5011">0.067265079000000005</cx:pt>
          <cx:pt idx="5012">0.067460310999999995</cx:pt>
          <cx:pt idx="5013">0.067743626000000001</cx:pt>
          <cx:pt idx="5014">0.068013062999999999</cx:pt>
          <cx:pt idx="5015">0.068212739999999994</cx:pt>
          <cx:pt idx="5016">0.068217492000000005</cx:pt>
          <cx:pt idx="5017">0.068500770000000002</cx:pt>
          <cx:pt idx="5018">0.068630974999999997</cx:pt>
          <cx:pt idx="5019">0.068951419</cx:pt>
          <cx:pt idx="5020">0.069495735000000003</cx:pt>
          <cx:pt idx="5021">0.069518067000000003</cx:pt>
          <cx:pt idx="5022">0.071413477000000003</cx:pt>
          <cx:pt idx="5023">0.071436704000000004</cx:pt>
          <cx:pt idx="5024">0.071655127999999998</cx:pt>
          <cx:pt idx="5025">0.072049976000000002</cx:pt>
          <cx:pt idx="5026">0.072398298</cx:pt>
          <cx:pt idx="5027">0.072723466</cx:pt>
          <cx:pt idx="5028">0.072732815000000006</cx:pt>
          <cx:pt idx="5029">0.072793144000000004</cx:pt>
          <cx:pt idx="5030">0.074005653000000005</cx:pt>
          <cx:pt idx="5031">0.074052103999999994</cx:pt>
          <cx:pt idx="5032">0.074066054000000006</cx:pt>
          <cx:pt idx="5033">0.074172872000000001</cx:pt>
          <cx:pt idx="5034">0.075143732000000005</cx:pt>
          <cx:pt idx="5035">0.075329577999999994</cx:pt>
          <cx:pt idx="5036">0.075724422</cx:pt>
          <cx:pt idx="5037">0.075803305000000001</cx:pt>
          <cx:pt idx="5038">0.075910231999999994</cx:pt>
          <cx:pt idx="5039">0.076523422999999993</cx:pt>
          <cx:pt idx="5040">0.076574440999999993</cx:pt>
          <cx:pt idx="5041">0.076811884999999996</cx:pt>
          <cx:pt idx="5042">0.076815980000000006</cx:pt>
          <cx:pt idx="5043">0.076825292000000003</cx:pt>
          <cx:pt idx="5044">0.076992511999999999</cx:pt>
          <cx:pt idx="5045">0.077052915</cx:pt>
          <cx:pt idx="5046">0.077062190000000003</cx:pt>
          <cx:pt idx="5047">0.077368985000000001</cx:pt>
          <cx:pt idx="5048">0.077494210999999993</cx:pt>
          <cx:pt idx="5049">0.077531459999999996</cx:pt>
          <cx:pt idx="5050">0.077629004000000001</cx:pt>
          <cx:pt idx="5051">0.077958733000000002</cx:pt>
          <cx:pt idx="5052">0.078739219999999999</cx:pt>
          <cx:pt idx="5053">0.079106308</cx:pt>
          <cx:pt idx="5054">0.079552169000000006</cx:pt>
          <cx:pt idx="5055">0.080169892000000006</cx:pt>
          <cx:pt idx="5056">0.080207140999999996</cx:pt>
          <cx:pt idx="5057">0.080337221</cx:pt>
          <cx:pt idx="5058">0.080866784999999997</cx:pt>
          <cx:pt idx="5059">0.081837645000000001</cx:pt>
          <cx:pt idx="5060">0.082947970999999995</cx:pt>
          <cx:pt idx="5061">0.083203348999999996</cx:pt>
          <cx:pt idx="5062">0.083496011999999994</cx:pt>
          <cx:pt idx="5063">0.083519349000000007</cx:pt>
          <cx:pt idx="5064">0.083607612999999997</cx:pt>
          <cx:pt idx="5065">0.083654139000000002</cx:pt>
          <cx:pt idx="5066">0.083802626000000005</cx:pt>
          <cx:pt idx="5067">0.083830492000000006</cx:pt>
          <cx:pt idx="5068">0.084313602000000001</cx:pt>
          <cx:pt idx="5069">0.084332191000000001</cx:pt>
          <cx:pt idx="5070">0.084346104000000005</cx:pt>
          <cx:pt idx="5071">0.084643406000000004</cx:pt>
          <cx:pt idx="5072">0.084657356000000003</cx:pt>
          <cx:pt idx="5073">0.084661995000000004</cx:pt>
          <cx:pt idx="5074">0.084959297000000003</cx:pt>
          <cx:pt idx="5075">0.085080100000000006</cx:pt>
          <cx:pt idx="5076">0.085354140999999994</cx:pt>
          <cx:pt idx="5077">0.085386788000000005</cx:pt>
          <cx:pt idx="5078">0.085855983999999996</cx:pt>
          <cx:pt idx="5079">0.085967330999999994</cx:pt>
          <cx:pt idx="5080">0.086023241</cx:pt>
          <cx:pt idx="5081">0.086483127000000007</cx:pt>
          <cx:pt idx="5082">0.086487728</cx:pt>
          <cx:pt idx="5083">0.086599256999999999</cx:pt>
          <cx:pt idx="5084">0.086896486999999994</cx:pt>
          <cx:pt idx="5085">0.086919711999999996</cx:pt>
          <cx:pt idx="5086">0.086929313999999994</cx:pt>
          <cx:pt idx="5087">0.087142697000000005</cx:pt>
          <cx:pt idx="5088">0.087899775999999999</cx:pt>
          <cx:pt idx="5089">0.088100441000000002</cx:pt>
          <cx:pt idx="5090">0.088183310000000001</cx:pt>
          <cx:pt idx="5091">0.088828966999999995</cx:pt>
          <cx:pt idx="5092">0.088894260000000003</cx:pt>
          <cx:pt idx="5093">0.088903209999999996</cx:pt>
          <cx:pt idx="5094">0.089065864999999994</cx:pt>
          <cx:pt idx="5095">0.089404982999999993</cx:pt>
          <cx:pt idx="5096">0.089409909999999995</cx:pt>
          <cx:pt idx="5097">0.089660760000000006</cx:pt>
          <cx:pt idx="5098">0.090269277999999994</cx:pt>
          <cx:pt idx="5099">0.091542112999999994</cx:pt>
          <cx:pt idx="5100">0.091834524000000001</cx:pt>
          <cx:pt idx="5101">0.091918114999999995</cx:pt>
          <cx:pt idx="5102">0.092281218999999998</cx:pt>
          <cx:pt idx="5103">0.092350101000000004</cx:pt>
          <cx:pt idx="5104">0.092438368000000007</cx:pt>
          <cx:pt idx="5105">0.092926117000000003</cx:pt>
          <cx:pt idx="5106">0.093395312999999994</cx:pt>
          <cx:pt idx="5107">0.093413900999999994</cx:pt>
          <cx:pt idx="5108">0.093559201999999994</cx:pt>
          <cx:pt idx="5109">0.093864764000000003</cx:pt>
          <cx:pt idx="5110">0.094138839000000002</cx:pt>
          <cx:pt idx="5111">0.094185293000000003</cx:pt>
          <cx:pt idx="5112">0.094709962999999994</cx:pt>
          <cx:pt idx="5113">0.094719203000000002</cx:pt>
          <cx:pt idx="5114">0.095030709000000005</cx:pt>
          <cx:pt idx="5115">0.095467115000000005</cx:pt>
          <cx:pt idx="5116">0.095676184999999997</cx:pt>
          <cx:pt idx="5117">0.096020194000000003</cx:pt>
          <cx:pt idx="5118">0.096284738999999994</cx:pt>
          <cx:pt idx="5119">0.096312821000000007</cx:pt>
          <cx:pt idx="5120">0.096554395000000001</cx:pt>
          <cx:pt idx="5121">0.097051202000000003</cx:pt>
          <cx:pt idx="5122">0.097171970999999996</cx:pt>
          <cx:pt idx="5123">0.097255816999999994</cx:pt>
          <cx:pt idx="5124">0.097525364000000003</cx:pt>
          <cx:pt idx="5125">0.097966658999999998</cx:pt>
          <cx:pt idx="5126">0.098240626999999997</cx:pt>
          <cx:pt idx="5127">0.098310087000000004</cx:pt>
          <cx:pt idx="5128">0.098389296000000001</cx:pt>
          <cx:pt idx="5129">0.098403246</cx:pt>
          <cx:pt idx="5130">0.098602969999999998</cx:pt>
          <cx:pt idx="5131">0.098714536000000006</cx:pt>
          <cx:pt idx="5132">0.098746746999999996</cx:pt>
          <cx:pt idx="5133">0.09885824</cx:pt>
          <cx:pt idx="5134">0.099123257000000006</cx:pt>
          <cx:pt idx="5135">0.099197356</cx:pt>
          <cx:pt idx="5136">0.099202209999999999</cx:pt>
          <cx:pt idx="5137">0.099374106000000004</cx:pt>
          <cx:pt idx="5138">0.099662312000000003</cx:pt>
          <cx:pt idx="5139">0.099941026000000002</cx:pt>
          <cx:pt idx="5140">0.10000584999999999</cx:pt>
          <cx:pt idx="5141">0.10003838900000001</cx:pt>
          <cx:pt idx="5142">0.10080956200000001</cx:pt>
          <cx:pt idx="5143">0.10095815900000001</cx:pt>
          <cx:pt idx="5144">0.10100460999999999</cx:pt>
          <cx:pt idx="5145">0.101213683</cx:pt>
          <cx:pt idx="5146">0.10122302900000001</cx:pt>
          <cx:pt idx="5147">0.10182680099999999</cx:pt>
          <cx:pt idx="5148">0.102077759</cx:pt>
          <cx:pt idx="5149">0.102375024</cx:pt>
          <cx:pt idx="5150">0.102602576</cx:pt>
          <cx:pt idx="5151">0.10305318500000001</cx:pt>
          <cx:pt idx="5152">0.103150801</cx:pt>
          <cx:pt idx="5153">0.103332008</cx:pt>
          <cx:pt idx="5154">0.103582822</cx:pt>
          <cx:pt idx="5155">0.103722104</cx:pt>
          <cx:pt idx="5156">0.103754715</cx:pt>
          <cx:pt idx="5157">0.104335478</cx:pt>
          <cx:pt idx="5158">0.104530383</cx:pt>
          <cx:pt idx="5159">0.104999578</cx:pt>
          <cx:pt idx="5160">0.105612843</cx:pt>
          <cx:pt idx="5161">0.105798726</cx:pt>
          <cx:pt idx="5162">0.105942575</cx:pt>
          <cx:pt idx="5163">0.106081932</cx:pt>
          <cx:pt idx="5164">0.10639314699999999</cx:pt>
          <cx:pt idx="5165">0.106500002</cx:pt>
          <cx:pt idx="5166">0.10676943899999999</cx:pt>
          <cx:pt idx="5167">0.106820638</cx:pt>
          <cx:pt idx="5168">0.106932023</cx:pt>
          <cx:pt idx="5169">0.106936771</cx:pt>
          <cx:pt idx="5170">0.10694137200000001</cx:pt>
          <cx:pt idx="5171">0.10694593600000001</cx:pt>
          <cx:pt idx="5172">0.10695525</cx:pt>
          <cx:pt idx="5173">0.106983656</cx:pt>
          <cx:pt idx="5174">0.107001701</cx:pt>
          <cx:pt idx="5175">0.107150407</cx:pt>
          <cx:pt idx="5176">0.107159647</cx:pt>
          <cx:pt idx="5177">0.107299004</cx:pt>
          <cx:pt idx="5178">0.107847154</cx:pt>
          <cx:pt idx="5179">0.108116557</cx:pt>
          <cx:pt idx="5180">0.108451033</cx:pt>
          <cx:pt idx="5181">0.108831964</cx:pt>
          <cx:pt idx="5182">0.109068865</cx:pt>
          <cx:pt idx="5183">0.109171117</cx:pt>
          <cx:pt idx="5184">0.109403379</cx:pt>
          <cx:pt idx="5185">0.10950552400000001</cx:pt>
          <cx:pt idx="5186">0.1098633</cx:pt>
          <cx:pt idx="5187">0.11137648</cx:pt>
          <cx:pt idx="5188">0.11374509100000001</cx:pt>
          <cx:pt idx="5189">0.114380378</cx:pt>
          <cx:pt idx="5190">0.11445369399999999</cx:pt>
          <cx:pt idx="5191">0.116869535</cx:pt>
          <cx:pt idx="5192">0.117235934</cx:pt>
          <cx:pt idx="5193">0.11735799399999999</cx:pt>
          <cx:pt idx="5194">0.118628385</cx:pt>
          <cx:pt idx="5195">0.12041007400000001</cx:pt>
          <cx:pt idx="5196">0.122143972</cx:pt>
          <cx:pt idx="5197">0.122899805</cx:pt>
          <cx:pt idx="5198">0.12370552899999999</cx:pt>
          <cx:pt idx="5199">0.128271362</cx:pt>
          <cx:pt idx="5200">0.12854006700000001</cx:pt>
          <cx:pt idx="5201">0.128979965</cx:pt>
          <cx:pt idx="5202">0.129003391</cx:pt>
          <cx:pt idx="5203">0.12902833</cx:pt>
          <cx:pt idx="5204">0.129052525</cx:pt>
          <cx:pt idx="5205">0.129077843</cx:pt>
          <cx:pt idx="5206">0.129102037</cx:pt>
          <cx:pt idx="5207">0.12912584099999999</cx:pt>
          <cx:pt idx="5208">0.12917515800000001</cx:pt>
          <cx:pt idx="5209">0.12919915800000001</cx:pt>
          <cx:pt idx="5210">0.12924867000000001</cx:pt>
          <cx:pt idx="5211">0.129272474</cx:pt>
          <cx:pt idx="5212">0.12929665700000001</cx:pt>
          <cx:pt idx="5213">0.129321987</cx:pt>
          <cx:pt idx="5214">0.129369973</cx:pt>
          <cx:pt idx="5215">0.12941872900000001</cx:pt>
          <cx:pt idx="5216">0.12944404600000001</cx:pt>
          <cx:pt idx="5217">0.129541557</cx:pt>
          <cx:pt idx="5218">0.12958934899999999</cx:pt>
          <cx:pt idx="5219">0.12961487399999999</cx:pt>
          <cx:pt idx="5220">0.12963867800000001</cx:pt>
          <cx:pt idx="5221">0.12981024999999999</cx:pt>
          <cx:pt idx="5222">0.12983444499999999</cx:pt>
          <cx:pt idx="5223">0.12985824900000001</cx:pt>
          <cx:pt idx="5224">0.12988318800000001</cx:pt>
          <cx:pt idx="5225">0.12988757000000001</cx:pt>
          <cx:pt idx="5226">0.12990776100000001</cx:pt>
          <cx:pt idx="5227">0.129931565</cx:pt>
          <cx:pt idx="5228">0.129955552</cx:pt>
          <cx:pt idx="5229">0.129981078</cx:pt>
          <cx:pt idx="5230">0.13000488199999999</cx:pt>
          <cx:pt idx="5231">0.130029064</cx:pt>
          <cx:pt idx="5232">0.13005439399999999</cx:pt>
          <cx:pt idx="5233">0.130078576</cx:pt>
          <cx:pt idx="5234">0.130102576</cx:pt>
          <cx:pt idx="5235">0.130176454</cx:pt>
          <cx:pt idx="5236">0.130200648</cx:pt>
          <cx:pt idx="5237">0.13022445199999999</cx:pt>
          <cx:pt idx="5238">0.13025377399999999</cx:pt>
          <cx:pt idx="5239">0.13029776900000001</cx:pt>
          <cx:pt idx="5240">0.13032175600000001</cx:pt>
          <cx:pt idx="5241">0.130517523</cx:pt>
          <cx:pt idx="5242">0.13056685200000001</cx:pt>
          <cx:pt idx="5243">0.13059083899999999</cx:pt>
          <cx:pt idx="5244">0.130619978</cx:pt>
          <cx:pt idx="5245">0.13078680100000001</cx:pt>
          <cx:pt idx="5246">0.13098618100000001</cx:pt>
          <cx:pt idx="5247">0.131054542</cx:pt>
          <cx:pt idx="5248">0.13110349299999999</cx:pt>
          <cx:pt idx="5249">0.13115185800000001</cx:pt>
          <cx:pt idx="5250">0.131323247</cx:pt>
          <cx:pt idx="5251">0.13135238499999999</cx:pt>
          <cx:pt idx="5252">0.13149406199999999</cx:pt>
          <cx:pt idx="5253">0.13151806099999999</cx:pt>
          <cx:pt idx="5254">0.13154339100000001</cx:pt>
          <cx:pt idx="5255">0.13156739100000001</cx:pt>
          <cx:pt idx="5256">0.131591756</cx:pt>
          <cx:pt idx="5257">0.131616134</cx:pt>
          <cx:pt idx="5258">0.13164013299999999</cx:pt>
          <cx:pt idx="5259">0.131718589</cx:pt>
          <cx:pt idx="5260">0.13183590000000001</cx:pt>
          <cx:pt idx="5261">1.6222150609999999</cx:pt>
          <cx:pt idx="5262">1.91987354</cx:pt>
          <cx:pt idx="5263">2.2431690940000002</cx:pt>
          <cx:pt idx="5264">3.1197487370000001</cx:pt>
          <cx:pt idx="5265">3.170873845</cx:pt>
          <cx:pt idx="5266">3.417407216</cx:pt>
          <cx:pt idx="5267">4.0171957540000003</cx:pt>
          <cx:pt idx="5268">4.6055072399999997</cx:pt>
          <cx:pt idx="5269">5.7959921139999997</cx:pt>
          <cx:pt idx="5270">7.5911843049999996</cx:pt>
          <cx:pt idx="5271">7.6423094120000004</cx:pt>
          <cx:pt idx="5272">7.8888427840000004</cx:pt>
          <cx:pt idx="5273">8.1817315629999996</cx:pt>
          <cx:pt idx="5274">8.784054029</cx:pt>
          <cx:pt idx="5275">9.0747070000000001</cx:pt>
          <cx:pt idx="5276">40.012210000000003</cx:pt>
          <cx:pt idx="5277">27.927250000000001</cx:pt>
          <cx:pt idx="5278">6.9213870000000002</cx:pt>
          <cx:pt idx="5279">47.263179999999998</cx:pt>
          <cx:pt idx="5280">76.772459999999995</cx:pt>
          <cx:pt idx="5281">90.043949999999995</cx:pt>
          <cx:pt idx="5282">98.569339999999997</cx:pt>
          <cx:pt idx="5283">98.629229769999995</cx:pt>
          <cx:pt idx="5284">98.639279779999995</cx:pt>
          <cx:pt idx="5285">98.92085548</cx:pt>
          <cx:pt idx="5286">98.979338850000005</cx:pt>
          <cx:pt idx="5287">99.448787969999998</cx:pt>
          <cx:pt idx="5288">99.508208940000003</cx:pt>
          <cx:pt idx="5289">99.566721599999994</cx:pt>
          <cx:pt idx="5290">99.62385716</cx:pt>
          <cx:pt idx="5291">99.858318019999999</cx:pt>
          <cx:pt idx="5292">99.976720450000002</cx:pt>
          <cx:pt idx="5293">100.0342955</cx:pt>
          <cx:pt idx="5294">100.4457008</cx:pt>
          <cx:pt idx="5295">100.5028363</cx:pt>
          <cx:pt idx="5296">100.6216783</cx:pt>
          <cx:pt idx="5297">100.6788138</cx:pt>
          <cx:pt idx="5298">100.7372972</cx:pt>
          <cx:pt idx="5299">100.7980953</cx:pt>
          <cx:pt idx="5300">100.9132747</cx:pt>
          <cx:pt idx="5301">101.0303</cx:pt>
          <cx:pt idx="5302">98.833010000000002</cx:pt>
          <cx:pt idx="5303">98.781605659999997</cx:pt>
          <cx:pt idx="5304">98.731025020000004</cx:pt>
          <cx:pt idx="5305">98.680032530000005</cx:pt>
          <cx:pt idx="5306">98.576811980000002</cx:pt>
          <cx:pt idx="5307">98.216621200000006</cx:pt>
          <cx:pt idx="5308">98.16362092</cx:pt>
          <cx:pt idx="5309">98.009407890000006</cx:pt>
          <cx:pt idx="5310">97.907834750000006</cx:pt>
          <cx:pt idx="5311">97.854808739999996</cx:pt>
          <cx:pt idx="5312">97.804228100000003</cx:pt>
          <cx:pt idx="5313">97.753235599999996</cx:pt>
          <cx:pt idx="5314">97.701831260000006</cx:pt>
          <cx:pt idx="5315">97.648830989999993</cx:pt>
          <cx:pt idx="5316">97.598224610000003</cx:pt>
          <cx:pt idx="5317">97.237210110000007</cx:pt>
          <cx:pt idx="5318">97.187015590000001</cx:pt>
          <cx:pt idx="5319">97.032030329999998</cx:pt>
          <cx:pt idx="5320">96.929633490000001</cx:pt>
          <cx:pt idx="5321">96.876633220000002</cx:pt>
          <cx:pt idx="5322">96.826026839999997</cx:pt>
          <cx:pt idx="5323">96.774622489999999</cx:pt>
          <cx:pt idx="5324">96.72363</cx:pt>
          <cx:pt idx="5325">98.701170000000005</cx:pt>
          <cx:pt idx="5326">98.65254856</cx:pt>
          <cx:pt idx="5327">98.605045129999993</cx:pt>
          <cx:pt idx="5328">98.462178030000004</cx:pt>
          <cx:pt idx="5329">98.368312959999997</cx:pt>
          <cx:pt idx="5330">98.27218809</cx:pt>
          <cx:pt idx="5331">98.130438999999996</cx:pt>
          <cx:pt idx="5332">97.987571900000006</cx:pt>
          <cx:pt idx="5333">97.938950460000001</cx:pt>
          <cx:pt idx="5334">97.930791380000002</cx:pt>
          <cx:pt idx="5335">97.748579930000005</cx:pt>
          <cx:pt idx="5336">97.701837699999999</cx:pt>
          <cx:pt idx="5337">97.654714870000006</cx:pt>
          <cx:pt idx="5338">97.605356020000002</cx:pt>
          <cx:pt idx="5339">97.558589999999995</cx:pt>
          <cx:pt idx="5340">94.877930000000006</cx:pt>
          <cx:pt idx="5341">95.459121670000002</cx:pt>
          <cx:pt idx="5342">98.261719999999997</cx:pt>
          <cx:pt idx="5343">95.141599999999997</cx:pt>
          <cx:pt idx="5344">97.932130000000001</cx:pt>
          <cx:pt idx="5345">94.855959999999996</cx:pt>
          <cx:pt idx="5346">99.733890000000002</cx:pt>
          <cx:pt idx="5347">98.504966969999998</cx:pt>
          <cx:pt idx="5348">94.680179999999993</cx:pt>
          <cx:pt idx="5349">98.876949999999994</cx:pt>
          <cx:pt idx="5350">94.833979999999997</cx:pt>
          <cx:pt idx="5351">100.6567</cx:pt>
          <cx:pt idx="5352">99.868904499999999</cx:pt>
          <cx:pt idx="5353">96.262209999999996</cx:pt>
          <cx:pt idx="5354">96.009568669999993</cx:pt>
          <cx:pt idx="5355">95.752910999999997</cx:pt>
          <cx:pt idx="5356">95.484074710000002</cx:pt>
          <cx:pt idx="5357">95.229489999999998</cx:pt>
          <cx:pt idx="5358">99.821780000000004</cx:pt>
          <cx:pt idx="5359">94.680179999999993</cx:pt>
          <cx:pt idx="5360">101.0303</cx:pt>
          <cx:pt idx="5361">91.647949999999994</cx:pt>
          <cx:pt idx="5362">100.5908</cx:pt>
          <cx:pt idx="5363">93.823239999999998</cx:pt>
          <cx:pt idx="5364">101.0962</cx:pt>
          <cx:pt idx="5365">95.053709999999995</cx:pt>
          <cx:pt idx="5366">96.319797170000001</cx:pt>
          <cx:pt idx="5367">97.646916149999996</cx:pt>
          <cx:pt idx="5368">97.869617750000003</cx:pt>
          <cx:pt idx="5369">98.942869999999999</cx:pt>
          <cx:pt idx="5370">95.646969999999996</cx:pt>
          <cx:pt idx="5371">97.410483200000002</cx:pt>
          <cx:pt idx="5372">99.095768989999996</cx:pt>
          <cx:pt idx="5373">100.7666</cx:pt>
          <cx:pt idx="5374">94.021000000000001</cx:pt>
          <cx:pt idx="5375">100.5908</cx:pt>
          <cx:pt idx="5376">94.350589999999997</cx:pt>
          <cx:pt idx="5377">100.21729999999999</cx:pt>
          <cx:pt idx="5378">95.910640000000001</cx:pt>
          <cx:pt idx="5379">100.1074</cx:pt>
          <cx:pt idx="5380">96.262209999999996</cx:pt>
          <cx:pt idx="5381">100.61279999999999</cx:pt>
          <cx:pt idx="5382">95.31738</cx:pt>
          <cx:pt idx="5383">102.7441</cx:pt>
          <cx:pt idx="5384">101.76674199999999</cx:pt>
          <cx:pt idx="5385">97.294920000000005</cx:pt>
          <cx:pt idx="5386">96.350099999999998</cx:pt>
          <cx:pt idx="5387">99.33248347</cx:pt>
          <cx:pt idx="5388">102.4365</cx:pt>
          <cx:pt idx="5389">96.350099999999998</cx:pt>
          <cx:pt idx="5390">105.5566</cx:pt>
          <cx:pt idx="5391">90.769040000000004</cx:pt>
          <cx:pt idx="5392">105.09520000000001</cx:pt>
          <cx:pt idx="5393">92.087400000000002</cx:pt>
          <cx:pt idx="5394">105.1392</cx:pt>
          <cx:pt idx="5395">90.263670000000005</cx:pt>
          <cx:pt idx="5396">106.4795</cx:pt>
          <cx:pt idx="5397">89.69238</cx:pt>
          <cx:pt idx="5398">107.70999999999999</cx:pt>
          <cx:pt idx="5399">104.6202589</cx:pt>
          <cx:pt idx="5400">90.483400000000003</cx:pt>
          <cx:pt idx="5401">104.9194</cx:pt>
          <cx:pt idx="5402">87.780760000000001</cx:pt>
          <cx:pt idx="5403">108.43510000000001</cx:pt>
          <cx:pt idx="5404">91.494140000000002</cx:pt>
          <cx:pt idx="5405">106.17189999999999</cx:pt>
          <cx:pt idx="5406">91.71387</cx:pt>
          <cx:pt idx="5407">106.56740000000001</cx:pt>
          <cx:pt idx="5408">89.362790000000004</cx:pt>
          <cx:pt idx="5409">107.8198</cx:pt>
          <cx:pt idx="5410">84.638670000000005</cx:pt>
          <cx:pt idx="5411">109.1382</cx:pt>
          <cx:pt idx="5412">93.647459999999995</cx:pt>
          <cx:pt idx="5413">-7.4989497930000004</cx:pt>
          <cx:pt idx="5414">-6.8346324940000001</cx:pt>
          <cx:pt idx="5415">-6.1488526480000001</cx:pt>
          <cx:pt idx="5416">-5.4739744420000003</cx:pt>
          <cx:pt idx="5417">-4.767072701</cx:pt>
          <cx:pt idx="5418">-4.0976453140000002</cx:pt>
          <cx:pt idx="5419">-4.0921944940000001</cx:pt>
          <cx:pt idx="5420">-3.4278771940000001</cx:pt>
          <cx:pt idx="5421">-2.726426273</cx:pt>
          <cx:pt idx="5422">-2.6783910120000001</cx:pt>
          <cx:pt idx="5423">-2.0460972470000001</cx:pt>
          <cx:pt idx="5424">-1.3763291280000001</cx:pt>
          <cx:pt idx="5425">0</cx:pt>
          <cx:pt idx="5426">0.024189691999999999</cx:pt>
          <cx:pt idx="5427">0.123268185</cx:pt>
          <cx:pt idx="5428">0.19855394700000001</cx:pt>
          <cx:pt idx="5429">0.223128191</cx:pt>
          <cx:pt idx="5430">0.24731788299999999</cx:pt>
          <cx:pt idx="5431">0.32182212900000001</cx:pt>
          <cx:pt idx="5432">0.34756244200000003</cx:pt>
          <cx:pt idx="5433">0.37213668599999999</cx:pt>
          <cx:pt idx="5434">0.420900626</cx:pt>
          <cx:pt idx="5435">0.44664093500000002</cx:pt>
          <cx:pt idx="5436">0.54495032300000001</cx:pt>
          <cx:pt idx="5437">0.59506640099999997</cx:pt>
          <cx:pt idx="5438">0.59526488099999997</cx:pt>
          <cx:pt idx="5439">0.61945456899999995</cx:pt>
          <cx:pt idx="5440">0.64499640199999997</cx:pt>
          <cx:pt idx="5441">0.72085279300000005</cx:pt>
          <cx:pt idx="5442">0.76846306799999997</cx:pt>
          <cx:pt idx="5443">0.96740156700000002</cx:pt>
          <cx:pt idx="5444">1.1405997569999999</cx:pt>
          <cx:pt idx="5445">1.1911127939999999</cx:pt>
          <cx:pt idx="5446">1.612013417</cx:pt>
          <cx:pt idx="5447">2.6796595459999999</cx:pt>
          <cx:pt idx="5448">3.0761720000000001</cx:pt>
          <cx:pt idx="5449">-8.9868159999999992</cx:pt>
          <cx:pt idx="5450">3.3618160000000001</cx:pt>
          <cx:pt idx="5451">61.149900000000002</cx:pt>
          <cx:pt idx="5452">58.886719999999997</cx:pt>
          <cx:pt idx="5453">49.965820000000001</cx:pt>
          <cx:pt idx="5454">55.590820000000001</cx:pt>
          <cx:pt idx="5455">50.207520000000002</cx:pt>
          <cx:pt idx="5456">35.969239999999999</cx:pt>
          <cx:pt idx="5457">21.88477</cx:pt>
          <cx:pt idx="5458">14.23828</cx:pt>
          <cx:pt idx="5459">20.874020000000002</cx:pt>
          <cx:pt idx="5460">4.0649410000000001</cx:pt>
          <cx:pt idx="5461">-7.1411129999999998</cx:pt>
          <cx:pt idx="5462">2.8125</cx:pt>
          <cx:pt idx="5463">-5.2514649999999996</cx:pt>
          <cx:pt idx="5464">3.7573240000000001</cx:pt>
          <cx:pt idx="5465">-3.186035</cx:pt>
          <cx:pt idx="5466">1.604004</cx:pt>
          <cx:pt idx="5467">-7.1411129999999998</cx:pt>
          <cx:pt idx="5468">-5.625</cx:pt>
          <cx:pt idx="5469">-3.7449828090000001</cx:pt>
          <cx:pt idx="5470">1.625977</cx:pt>
          <cx:pt idx="5471">-3.6914060000000002</cx:pt>
          <cx:pt idx="5472">-2.7759585960000002</cx:pt>
          <cx:pt idx="5473">-1.908599844</cx:pt>
          <cx:pt idx="5474">-1.0412409869999999</cx:pt>
          <cx:pt idx="5475">-0.13991135499999999</cx:pt>
          <cx:pt idx="5476">0.73406513500000004</cx:pt>
          <cx:pt idx="5477">1.601423992</cx:pt>
          <cx:pt idx="5478">3.3837890000000002</cx:pt>
          <cx:pt idx="5479">2.4818399320000002</cx:pt>
          <cx:pt idx="5480">1.5623662650000001</cx:pt>
          <cx:pt idx="5481">0.206142621</cx:pt>
          <cx:pt idx="5482">-0.26611181499999997</cx:pt>
          <cx:pt idx="5483">-0.71355867699999997</cx:pt>
          <cx:pt idx="5484">-1.1610055379999999</cx:pt>
          <cx:pt idx="5485">-1.625977</cx:pt>
          <cx:pt idx="5486">-6.1083980000000002</cx:pt>
          <cx:pt idx="5487">-4.3246547030000002</cx:pt>
          <cx:pt idx="5488">-0.65917970000000004</cx:pt>
          <cx:pt idx="5489">-0.59460617900000001</cx:pt>
          <cx:pt idx="5490">-0.528476265</cx:pt>
          <cx:pt idx="5491">-0.45976340799999998</cx:pt>
          <cx:pt idx="5492">-0.32958979999999999</cx:pt>
          <cx:pt idx="5493">0.21437851099999999</cx:pt>
          <cx:pt idx="5494">0.76488589799999995</cx:pt>
          <cx:pt idx="5495">1.032715</cx:pt>
          <cx:pt idx="5496">0.68853419900000001</cx:pt>
          <cx:pt idx="5497">0.35210294199999997</cx:pt>
          <cx:pt idx="5498">0.020894185999999999</cx:pt>
          <cx:pt idx="5499">-0.32850915600000002</cx:pt>
          <cx:pt idx="5500">-0.65971787199999998</cx:pt>
          <cx:pt idx="5501">-0.98823112800000001</cx:pt>
          <cx:pt idx="5502">-1.3246623850000001</cx:pt>
          <cx:pt idx="5503">-2.6806640000000002</cx:pt>
          <cx:pt idx="5504">1.1645509999999999</cx:pt>
          <cx:pt idx="5505">-1.0049169360000001</cx:pt>
          <cx:pt idx="5506">-1.010742</cx:pt>
          <cx:pt idx="5507">2.3071290000000002</cx:pt>
          <cx:pt idx="5508">1.8346421470000001</cx:pt>
          <cx:pt idx="5509">1.371160602</cx:pt>
          <cx:pt idx="5510">0.89867375000000005</cx:pt>
          <cx:pt idx="5511">0.201455623</cx:pt>
          <cx:pt idx="5512">-0.040920154</cx:pt>
          <cx:pt idx="5513">-0.270848174</cx:pt>
          <cx:pt idx="5514">-0.50065922200000001</cx:pt>
          <cx:pt idx="5515">-0.97326304600000002</cx:pt>
          <cx:pt idx="5516">-1.4457498980000001</cx:pt>
          <cx:pt idx="5517">-1.903734671</cx:pt>
          <cx:pt idx="5518">-2.1372882240000002</cx:pt>
          <cx:pt idx="5519">-2.6097750770000001</cx:pt>
          <cx:pt idx="5520">-3.306693176</cx:pt>
          <cx:pt idx="5521">-3.5493689800000001</cx:pt>
          <cx:pt idx="5522">-3.7792970000000001</cx:pt>
          <cx:pt idx="5523">-3.4788386490000001</cx:pt>
          <cx:pt idx="5524">-0.48339840000000001</cx:pt>
          <cx:pt idx="5525">5.9985350000000004</cx:pt>
          <cx:pt idx="5526">-0.87890630000000003</cx:pt>
          <cx:pt idx="5527">-1.0558812989999999</cx:pt>
          <cx:pt idx="5528">-1.348246593</cx:pt>
          <cx:pt idx="5529">-1.407090926</cx:pt>
          <cx:pt idx="5530">-1.5261350460000001</cx:pt>
          <cx:pt idx="5531">-1.6479490000000001</cx:pt>
          <cx:pt idx="5532">-1.3129461060000001</cx:pt>
          <cx:pt idx="5533">-1.131828072</cx:pt>
          <cx:pt idx="5534">-0.96031148899999996</cx:pt>
          <cx:pt idx="5535">-0.78600175400000005</cx:pt>
          <cx:pt idx="5536">2.7026370000000002</cx:pt>
          <cx:pt idx="5537">-0.065917970000000006</cx:pt>
          <cx:pt idx="5538">-1.9335939849999999</cx:pt>
          <cx:pt idx="5539">-3.8012700000000001</cx:pt>
          <cx:pt idx="5540">0.63720699999999997</cx:pt>
          <cx:pt idx="5541">-0.23305825699999999</cx:pt>
          <cx:pt idx="5542">-0.29869204399999999</cx:pt>
          <cx:pt idx="5543">-0.36429244100000002</cx:pt>
          <cx:pt idx="5544">-0.43356513000000002</cx:pt>
          <cx:pt idx="5545">-0.49919890900000002</cx:pt>
          <cx:pt idx="5546">-0.56483269599999997</cx:pt>
          <cx:pt idx="5547">-0.63096724500000001</cx:pt>
          <cx:pt idx="5548">-0.76584033799999995</cx:pt>
          <cx:pt idx="5549">-0.90074680600000001</cx:pt>
          <cx:pt idx="5550">-1.0319809900000001</cx:pt>
          <cx:pt idx="5551">-1.5663321370000001</cx:pt>
          <cx:pt idx="5552">-1.6324666859999999</cx:pt>
          <cx:pt idx="5553">-1.832973559</cx:pt>
          <cx:pt idx="5554">-1.9668117300000001</cx:pt>
          <cx:pt idx="5555">-2.036084411</cx:pt>
          <cx:pt idx="5556">-2.1016848160000001</cx:pt>
          <cx:pt idx="5557">-2.1673185949999998</cx:pt>
          <cx:pt idx="5558">-2.2350222180000001</cx:pt>
          <cx:pt idx="5559">-2.3016909189999999</cx:pt>
          <cx:pt idx="5560">-2.4365640040000001</cx:pt>
          <cx:pt idx="5561">-2.5677981879999998</cx:pt>
          <cx:pt idx="5562">-2.6339661269999999</cx:pt>
          <cx:pt idx="5563">-2.7688392130000001</cx:pt>
          <cx:pt idx="5564">-2.834473</cx:pt>
          <cx:pt idx="5565">-7.756348</cx:pt>
          <cx:pt idx="5566">-4.979448981</cx:pt>
          <cx:pt idx="5567">0.68115230000000004</cx:pt>
          <cx:pt idx="5568">2.4609380000000001</cx:pt>
          <cx:pt idx="5569">3.845215</cx:pt>
          <cx:pt idx="5570">3.7136877940000002</cx:pt>
          <cx:pt idx="5571">3.577023316</cx:pt>
          <cx:pt idx="5572">3.4476037100000001</cx:pt>
          <cx:pt idx="5573">3.1845492979999999</cx:pt>
          <cx:pt idx="5574">2.9236024700000001</cx:pt>
          <cx:pt idx="5575">2.786937993</cx:pt>
          <cx:pt idx="5576">1.73584</cx:pt>
          <cx:pt idx="5577">2.1202171079999999</cx:pt>
          <cx:pt idx="5578">2.6586910000000001</cx:pt>
          <cx:pt idx="5579">6.8115230000000002</cx:pt>
          <cx:pt idx="5580">-1.779785</cx:pt>
          <cx:pt idx="5581">0.1098633</cx:pt>
          <cx:pt idx="5582">6.5039059999999997</cx:pt>
          <cx:pt idx="5583">8.6132810000000006</cx:pt>
          <cx:pt idx="5584">2.9223629999999998</cx:pt>
          <cx:pt idx="5585">-0.8129883</cx:pt>
          <cx:pt idx="5586">-7.009277</cx:pt>
          <cx:pt idx="5587">5.7348629999999998</cx:pt>
          <cx:pt idx="5588">0.065917970000000006</cx:pt>
          <cx:pt idx="5589">0.750121488</cx:pt>
          <cx:pt idx="5590">1.418346074</cx:pt>
          <cx:pt idx="5591">1.7578130000000001</cx:pt>
          <cx:pt idx="5592">-1.2524409999999999</cx:pt>
          <cx:pt idx="5593">-1.2752253389999999</cx:pt>
          <cx:pt idx="5594">-1.2983807220000001</cx:pt>
          <cx:pt idx="5595">-1.321536104</cx:pt>
          <cx:pt idx="5596">-1.3455959040000001</cx:pt>
          <cx:pt idx="5597">-1.3683802439999999</cx:pt>
          <cx:pt idx="5598">-1.39117618</cx:pt>
          <cx:pt idx="5599">-1.414691012</cx:pt>
          <cx:pt idx="5600">-1.4606307329999999</cx:pt>
          <cx:pt idx="5601">-1.484690533</cx:pt>
          <cx:pt idx="5602">-1.5074864670000001</cx:pt>
          <cx:pt idx="5603">-1.5302708089999999</cx:pt>
          <cx:pt idx="5604">-1.553426191</cx:pt>
          <cx:pt idx="5605">-1.6699219999999999</cx:pt>
          <cx:pt idx="5606">-2.4509632520000002</cx:pt>
          <cx:pt idx="5607">-2.7085794129999998</cx:pt>
          <cx:pt idx="5608">-2.968276275</cx:pt>
          <cx:pt idx="5609">-3.493652</cx:pt>
          <cx:pt idx="5610">-2.9973468699999999</cx:pt>
          <cx:pt idx="5611">-2.501294165</cx:pt>
          <cx:pt idx="5612">-0.97703669299999996</cx:pt>
          <cx:pt idx="5613">-0.48098404900000002</cx:pt>
          <cx:pt idx="5614">0.023146884</cx:pt>
          <cx:pt idx="5615">0.52727775600000004</cx:pt>
          <cx:pt idx="5616">1.051099225</cx:pt>
          <cx:pt idx="5617">2.0434570000000001</cx:pt>
          <cx:pt idx="5618">1.9861040190000001</cx:pt>
          <cx:pt idx="5619">1.8774512189999999</cx:pt>
          <cx:pt idx="5620">1.820098239</cx:pt>
          <cx:pt idx="5621">1.6566906189999999</cx:pt>
          <cx:pt idx="5622">1.599337639</cx:pt>
          <cx:pt idx="5623">1.490684838</cx:pt>
          <cx:pt idx="5624">1.4333318580000001</cx:pt>
          <cx:pt idx="5625">1.0482791579999999</cx:pt>
          <cx:pt idx="5626">0.43945309999999999</cx:pt>
          <cx:pt idx="5627">10.32715</cx:pt>
          <cx:pt idx="5628">-1.010742</cx:pt>
          <cx:pt idx="5629">1.801758</cx:pt>
          <cx:pt idx="5630">7.6464840000000001</cx:pt>
          <cx:pt idx="5631">0.57128909999999999</cx:pt>
          <cx:pt idx="5632">-0.69713526199999998</cx:pt>
          <cx:pt idx="5633">-0.703125</cx:pt>
          <cx:pt idx="5634">-0.68115230000000004</cx:pt>
          <cx:pt idx="5635">4.5483399999999996</cx:pt>
          <cx:pt idx="5636">-5.2954100000000004</cx:pt>
          <cx:pt idx="5637">-3.4045314759999998</cx:pt>
          <cx:pt idx="5638">-1.5420731679999999</cx:pt>
          <cx:pt idx="5639">0.423644731</cx:pt>
          <cx:pt idx="5640">2.2851560000000002</cx:pt>
          <cx:pt idx="5641">1.479905569</cx:pt>
          <cx:pt idx="5642">0.65524646600000003</cx:pt>
          <cx:pt idx="5643">-1.824925122</cx:pt>
          <cx:pt idx="5644">-2.681794273</cx:pt>
          <cx:pt idx="5645">-3.493652</cx:pt>
          <cx:pt idx="5646">-2.9663384439999998</cx:pt>
          <cx:pt idx="5647">-2.7532297149999998</cx:pt>
          <cx:pt idx="5648">-0.43735333599999998</cx:pt>
          <cx:pt idx="5649">-0.116503685</cx:pt>
          <cx:pt idx="5650">-0.012823466</cx:pt>
          <cx:pt idx="5651">0.092438851000000002</cx:pt>
          <cx:pt idx="5652">0.19775390000000001</cx:pt>
          <cx:pt idx="5653">0.19369962800000001</cx:pt>
          <cx:pt idx="5654">0.18134709299999999</cx:pt>
          <cx:pt idx="5655">0.17700411399999999</cx:pt>
          <cx:pt idx="5656">0.17294984199999999</cx:pt>
          <cx:pt idx="5657">0.160725162</cx:pt>
          <cx:pt idx="5658">0.144190498</cx:pt>
          <cx:pt idx="5659">0.14000837099999999</cx:pt>
          <cx:pt idx="5660">0.13183590000000001</cx:pt>
          <cx:pt idx="5661">0.15653431100000001</cx:pt>
          <cx:pt idx="5662">0.17992340800000001</cx:pt>
          <cx:pt idx="5663">0.203133963</cx:pt>
          <cx:pt idx="5664">0.25160236200000002</cx:pt>
          <cx:pt idx="5665">0.275003363</cx:pt>
          <cx:pt idx="5666">0.322531438</cx:pt>
          <cx:pt idx="5667">0.34649187199999998</cx:pt>
          <cx:pt idx="5668">0.369880969</cx:pt>
          <cx:pt idx="5669">0.39457937999999998</cx:pt>
          <cx:pt idx="5670">0.39550780000000002</cx:pt>
          <cx:pt idx="5671">18.478999999999999</cx:pt>
          <cx:pt idx="5672">16.191743450000001</cx:pt>
          <cx:pt idx="5673">13.903341060000001</cx:pt>
          <cx:pt idx="5674">4.7680660000000001</cx:pt>
          <cx:pt idx="5675">-1.0546880000000001</cx:pt>
          <cx:pt idx="5676">6.5039059999999997</cx:pt>
          <cx:pt idx="5677">1.911621</cx:pt>
          <cx:pt idx="5678">0.59765014500000002</cx:pt>
          <cx:pt idx="5679">-0.325401993</cx:pt>
          <cx:pt idx="5680">-1.6496201660000001</cx:pt>
          <cx:pt idx="5681">-1.911621</cx:pt>
          <cx:pt idx="5682">-1.788307877</cx:pt>
          <cx:pt idx="5683">-1.671531815</cx:pt>
          <cx:pt idx="5684">-1.5546963300000001</cx:pt>
          <cx:pt idx="5685">-1.436018582</cx:pt>
          <cx:pt idx="5686">-1.079093925</cx:pt>
          <cx:pt idx="5687">-0.84179785299999998</cx:pt>
          <cx:pt idx="5688">-0.71848471599999997</cx:pt>
          <cx:pt idx="5689">-0.60164923000000003</cx:pt>
          <cx:pt idx="5690">-0.48487318299999999</cx:pt>
          <cx:pt idx="5691">-0.24472456000000001</cx:pt>
          <cx:pt idx="5692">-0.12794851300000001</cx:pt>
          <cx:pt idx="5693">0</cx:pt>
          <cx:pt idx="5694">-2.7238305610000002</cx:pt>
          <cx:pt idx="5695">-5.5371090000000001</cx:pt>
          <cx:pt idx="5696">-4.3749726999999998</cx:pt>
          <cx:pt idx="5697">-2.18859973</cx:pt>
          <cx:pt idx="5698">0.023351358999999999</cx:pt>
          <cx:pt idx="5699">1.151012785</cx:pt>
          <cx:pt idx="5700">2.243643198</cx:pt>
          <cx:pt idx="5701">3.397438749</cx:pt>
          <cx:pt idx="5702">3.4497070000000001</cx:pt>
          <cx:pt idx="5703">1.626394635</cx:pt>
          <cx:pt idx="5704">-0.2416992</cx:pt>
          <cx:pt idx="5705">-0.15415662499999999</cx:pt>
          <cx:pt idx="5706">0.18280844800000001</cx:pt>
          <cx:pt idx="5707">0.265752402</cx:pt>
          <cx:pt idx="5708">0.51779063199999997</cx:pt>
          <cx:pt idx="5709">0.60533319699999999</cx:pt>
          <cx:pt idx="5710">0.77117891900000002</cx:pt>
          <cx:pt idx="5711">0.85872148299999995</cx:pt>
          <cx:pt idx="5712">1.1950537240000001</cx:pt>
          <cx:pt idx="5713">1.2773226499999999</cx:pt>
          <cx:pt idx="5714">1.3654980569999999</cx:pt>
          <cx:pt idx="5715">1.448442011</cx:pt>
          <cx:pt idx="5716">1.531385955</cx:pt>
          <cx:pt idx="5717">1.6188863440000001</cx:pt>
          <cx:pt idx="5718">1.8676759999999999</cx:pt>
          <cx:pt idx="5719">1.610897416</cx:pt>
          <cx:pt idx="5720">1.1206050000000001</cx:pt>
          <cx:pt idx="5721">2.1946151199999999</cx:pt>
          <cx:pt idx="5722">3.2519529999999999</cx:pt>
          <cx:pt idx="5723">0.48339840000000001</cx:pt>
          <cx:pt idx="5724">0.34182776999999998</cx:pt>
          <cx:pt idx="5725">-0.8129883</cx:pt>
          <cx:pt idx="5726">8.5693359999999998</cx:pt>
          <cx:pt idx="5727">-0.87890630000000003</cx:pt>
          <cx:pt idx="5728">-0.67410864599999998</cx:pt>
          <cx:pt idx="5729">2.7026370000000002</cx:pt>
          <cx:pt idx="5730">2.0443981170000001</cx:pt>
          <cx:pt idx="5731">-2.790527</cx:pt>
          <cx:pt idx="5732">1.40625</cx:pt>
          <cx:pt idx="5733">-5.1416019999999998</cx:pt>
          <cx:pt idx="5734">-4.0820888640000002</cx:pt>
          <cx:pt idx="5735">-3.5827540369999999</cx:pt>
          <cx:pt idx="5736">-3.0508994189999998</cx:pt>
          <cx:pt idx="5737">-2.5069811</cx:pt>
          <cx:pt idx="5738">-1.9913863460000001</cx:pt>
          <cx:pt idx="5739">-1.475791592</cx:pt>
          <cx:pt idx="5740">-0.95232923700000005</cx:pt>
          <cx:pt idx="5741">0.13183590000000001</cx:pt>
          <cx:pt idx="5742">0.258341455</cx:pt>
          <cx:pt idx="5743">0.29463351199999999</cx:pt>
          <cx:pt idx="5744">0.30061874100000002</cx:pt>
          <cx:pt idx="5745">0.30665230999999998</cx:pt>
          <cx:pt idx="5746">0.31886145100000002</cx:pt>
          <cx:pt idx="5747">0.33073824699999999</cx:pt>
          <cx:pt idx="5748">0.33710114099999999</cx:pt>
          <cx:pt idx="5749">0.33724314300000002</cx:pt>
          <cx:pt idx="5750">0.34897793700000002</cx:pt>
          <cx:pt idx="5751">0.36094839400000001</cx:pt>
          <cx:pt idx="5752">0.37329953700000001</cx:pt>
          <cx:pt idx="5753">0.37353520000000001</cx:pt>
          <cx:pt idx="5754">0.72883760099999995</cx:pt>
          <cx:pt idx="5755">1.853867844</cx:pt>
          <cx:pt idx="5756">2.2445686789999999</cx:pt>
          <cx:pt idx="5757">2.6147459999999998</cx:pt>
          <cx:pt idx="5758">1.714096361</cx:pt>
          <cx:pt idx="5759">0.8129883</cx:pt>
          <cx:pt idx="5760">1.2336201170000001</cx:pt>
          <cx:pt idx="5761">1.2433325550000001</cx:pt>
          <cx:pt idx="5762">1.4367549900000001</cx:pt>
          <cx:pt idx="5763">2.48291</cx:pt>
          <cx:pt idx="5764">-4.5922850000000004</cx:pt>
          <cx:pt idx="5765">1.296387</cx:pt>
          <cx:pt idx="5766">-0.209922199</cx:pt>
          <cx:pt idx="5767">-0.83399128300000003</cx:pt>
          <cx:pt idx="5768">-0.92285159999999999</cx:pt>
          <cx:pt idx="5769">-0.98860925600000005</cx:pt>
          <cx:pt idx="5770">-1.0580480059999999</cx:pt>
          <cx:pt idx="5771">-1.1895967869999999</cx:pt>
          <cx:pt idx="5772">-1.3248266559999999</cx:pt>
          <cx:pt idx="5773">-1.390584319</cx:pt>
          <cx:pt idx="5774">-1.4600230620000001</cx:pt>
          <cx:pt idx="5775">-1.5910698809999999</cx:pt>
          <cx:pt idx="5776">-1.7262662870000001</cx:pt>
          <cx:pt idx="5777">-1.792057413</cx:pt>
          <cx:pt idx="5778">-1.993044944</cx:pt>
          <cx:pt idx="5779">-2.0624836869999998</cx:pt>
          <cx:pt idx="5780">-2.1282413500000001</cx:pt>
          <cx:pt idx="5781">-2.2634712189999999</cx:pt>
          <cx:pt idx="5782">-2.3950200000000001</cx:pt>
          <cx:pt idx="5783">4.5922850000000004</cx:pt>
          <cx:pt idx="5784">4.4474982030000003</cx:pt>
          <cx:pt idx="5785">4.3015420000000004</cx:pt>
          <cx:pt idx="5786">4.1498849480000004</cx:pt>
          <cx:pt idx="5787">4.0061944570000003</cx:pt>
          <cx:pt idx="5788">3.717790269</cx:pt>
          <cx:pt idx="5789">-1.257949575</cx:pt>
          <cx:pt idx="5790">-1.4004706600000001</cx:pt>
          <cx:pt idx="5791">-1.544161151</cx:pt>
          <cx:pt idx="5792">-1.695818185</cx:pt>
          <cx:pt idx="5793">-1.7015190330000001</cx:pt>
          <cx:pt idx="5794">-2.131348</cx:pt>
          <cx:pt idx="5795">-1.1064551469999999</cx:pt>
          <cx:pt idx="5796">-0.10499436099999999</cx:pt>
          <cx:pt idx="5797">0.95199004799999998</cx:pt>
          <cx:pt idx="5798">1.9529414810000001</cx:pt>
          <cx:pt idx="5799">2.9544023890000002</cx:pt>
          <cx:pt idx="5800">4.0113867980000002</cx:pt>
          <cx:pt idx="5801">4.0429690000000003</cx:pt>
          <cx:pt idx="5802">3.7879586750000001</cx:pt>
          <cx:pt idx="5803">3.2464469459999998</cx:pt>
          <cx:pt idx="5804">2.9831283449999999</cx:pt>
          <cx:pt idx="5805">2.7196757169999999</cx:pt>
          <cx:pt idx="5806">2.4562231209999998</cx:pt>
          <cx:pt idx="5807">2.1782980140000001</cx:pt>
          <cx:pt idx="5808">1.647238636</cx:pt>
          <cx:pt idx="5809">1.1163132840000001</cx:pt>
          <cx:pt idx="5810">0.57480155499999996</cx:pt>
          <cx:pt idx="5811">0.31148295399999998</cx:pt>
          <cx:pt idx="5812">0.033423851999999997</cx:pt>
          <cx:pt idx="5813">-0.23002874400000001</cx:pt>
          <cx:pt idx="5814">-0.49334737699999998</cx:pt>
          <cx:pt idx="5815">-0.77140647799999995</cx:pt>
          <cx:pt idx="5816">-1.032715</cx:pt>
          <cx:pt idx="5817">-0.96447311899999999</cx:pt>
          <cx:pt idx="5818">-0.828494116</cx:pt>
          <cx:pt idx="5819">-0.696216591</cx:pt>
          <cx:pt idx="5820">-0.62901786000000004</cx:pt>
          <cx:pt idx="5821">-0.56289591699999997</cx:pt>
          <cx:pt idx="5822">0.043945310000000001</cx:pt>
          <cx:pt idx="5823">-0.058010784000000003</cx:pt>
          <cx:pt idx="5824">-0.34057619500000003</cx:pt>
          <cx:pt idx="5825">-0.43652639300000001</cx:pt>
          <cx:pt idx="5826">-0.53617623000000003</cx:pt>
          <cx:pt idx="5827">-0.72509769999999996</cx:pt>
          <cx:pt idx="5828">-0.65410440800000003</cx:pt>
          <cx:pt idx="5829">-0.57913693200000005</cx:pt>
          <cx:pt idx="5830">0.79101560000000004</cx:pt>
          <cx:pt idx="5831">0.68766501899999999</cx:pt>
          <cx:pt idx="5832">0.65917970000000004</cx:pt>
          <cx:pt idx="5833">2.2631839999999999</cx:pt>
          <cx:pt idx="5834">-3.6474609999999998</cx:pt>
          <cx:pt idx="5835">-3.4519639469999999</cx:pt>
          <cx:pt idx="5836">-3.3502225910000001</cx:pt>
          <cx:pt idx="5837">-3.249289911</cx:pt>
          <cx:pt idx="5838">-3.1444654779999999</cx:pt>
          <cx:pt idx="5839">-3.14209</cx:pt>
          <cx:pt idx="5840">-2.7594850809999998</cx:pt>
          <cx:pt idx="5841">-2.5659667709999998</cx:pt>
          <cx:pt idx="5842">-2.3616153610000001</cx:pt>
          <cx:pt idx="5843">-0.5932617</cx:pt>
          <cx:pt idx="5844">-0.63578757500000005</cx:pt>
          <cx:pt idx="5845">-1.3623050000000001</cx:pt>
          <cx:pt idx="5846">-0.66643804600000001</cx:pt>
          <cx:pt idx="5847">-0.65917970000000004</cx:pt>
          <cx:pt idx="5848">-0.46644287200000001</cx:pt>
          <cx:pt idx="5849">1.479018803</cx:pt>
          <cx:pt idx="5850">1.6737660089999999</cx:pt>
          <cx:pt idx="5851">1.737482</cx:pt>
          <cx:pt idx="5852">1.8012304219999999</cx:pt>
          <cx:pt idx="5853">1.865984029</cx:pt>
          <cx:pt idx="5854">1.9307376359999999</cx:pt>
          <cx:pt idx="5855">1.997987999</cx:pt>
          <cx:pt idx="5856">1.999512</cx:pt>
          <cx:pt idx="5857">-0.35217890699999999</cx:pt>
          <cx:pt idx="5858">-2.7614674570000002</cx:pt>
          <cx:pt idx="5859">-5.1891380040000001</cx:pt>
          <cx:pt idx="5860">-5.2075199999999997</cx:pt>
          <cx:pt idx="5861">-4.8961658110000004</cx:pt>
          <cx:pt idx="5862">-4.5991702270000001</cx:pt>
          <cx:pt idx="5863">-4.3020234759999996</cx:pt>
          <cx:pt idx="5864">-3.988402201</cx:pt>
          <cx:pt idx="5865">-3.6936737399999999</cx:pt>
          <cx:pt idx="5866">-3.0830568450000002</cx:pt>
          <cx:pt idx="5867">0.234527557</cx:pt>
          <cx:pt idx="5868">0.85693359999999996</cx:pt>
          <cx:pt idx="5869">0.126624024</cx:pt>
          <cx:pt idx="5870">-0.63347038499999997</cx:pt>
          <cx:pt idx="5871">-2.9628794369999998</cx:pt>
          <cx:pt idx="5872">-3.7353519999999998</cx:pt>
          <cx:pt idx="5873">-1.199011032</cx:pt>
          <cx:pt idx="5874">-0.30761719999999998</cx:pt>
          <cx:pt idx="5875">-1.6479490000000001</cx:pt>
          <cx:pt idx="5876">-0.74707029999999996</cx:pt>
          <cx:pt idx="5877">-4.1308590000000001</cx:pt>
          <cx:pt idx="5878">-1.7805653290000001</cx:pt>
          <cx:pt idx="5879">-0.85693359999999996</cx:pt>
          <cx:pt idx="5880">-2.0654300000000001</cx:pt>
          <cx:pt idx="5881">1.9555659999999999</cx:pt>
          <cx:pt idx="5882">-2.648075011</cx:pt>
          <cx:pt idx="5883">-3.823242</cx:pt>
          <cx:pt idx="5884">1.0546880000000001</cx:pt>
          <cx:pt idx="5885">0.93204737900000001</cx:pt>
          <cx:pt idx="5886">0.88957044799999996</cx:pt>
          <cx:pt idx="5887">0.84934530799999997</cx:pt>
          <cx:pt idx="5888">0.76821948699999998</cx:pt>
          <cx:pt idx="5889">0.72733928000000003</cx:pt>
          <cx:pt idx="5890">0.68488281799999995</cx:pt>
          <cx:pt idx="5891">0.64463720899999999</cx:pt>
          <cx:pt idx="5892">0.60439159499999995</cx:pt>
          <cx:pt idx="5893">0.56383892199999996</cx:pt>
          <cx:pt idx="5894">0.52136199000000005</cx:pt>
          <cx:pt idx="5895">0.48113685099999998</cx:pt>
          <cx:pt idx="5896">0.39841430500000002</cx:pt>
          <cx:pt idx="5897">0.35818916499999998</cx:pt>
          <cx:pt idx="5898">0.15380859999999999</cx:pt>
          <cx:pt idx="5899">-2.438965</cx:pt>
          <cx:pt idx="5900">0.5932617</cx:pt>
          <cx:pt idx="5901">1.07666</cx:pt>
          <cx:pt idx="5902">12.700200000000001</cx:pt>
          <cx:pt idx="5903">4.21875</cx:pt>
          <cx:pt idx="5904">1.8021803620000001</cx:pt>
          <cx:pt idx="5905">-0.39550780000000002</cx:pt>
          <cx:pt idx="5906">-7.5585940000000003</cx:pt>
          <cx:pt idx="5907">-0.86698600100000001</cx:pt>
          <cx:pt idx="5908">-0.85693359999999996</cx:pt>
          <cx:pt idx="5909">-0.64382722199999998</cx:pt>
          <cx:pt idx="5910">-0.44034633200000001</cx:pt>
          <cx:pt idx="5911">-0.23686544100000001</cx:pt>
          <cx:pt idx="5912">-0.031832065999999999</cx:pt>
          <cx:pt idx="5913">0.18293031500000001</cx:pt>
          <cx:pt idx="5914">3.2958980000000002</cx:pt>
          <cx:pt idx="5915">-0.72509769999999996</cx:pt>
          <cx:pt idx="5916">-0.73167063099999996</cx:pt>
          <cx:pt idx="5917">-0.738607982</cx:pt>
          <cx:pt idx="5918">-0.74517757100000004</cx:pt>
          <cx:pt idx="5919">-0.75175050200000004</cx:pt>
          <cx:pt idx="5920">-0.75868785299999997</cx:pt>
          <cx:pt idx="5921">-0.778557096</cx:pt>
          <cx:pt idx="5922">-0.78523366999999999</cx:pt>
          <cx:pt idx="5923">-0.79874395200000003</cx:pt>
          <cx:pt idx="5924">-0.80531354099999997</cx:pt>
          <cx:pt idx="5925">-0.81225089100000003</cx:pt>
          <cx:pt idx="5926">-0.81882382300000001</cx:pt>
          <cx:pt idx="5927">-0.82539341099999997</cx:pt>
          <cx:pt idx="5928">-0.83196634300000005</cx:pt>
          <cx:pt idx="5929">-0.83890369399999998</cx:pt>
          <cx:pt idx="5930">-0.84547328200000005</cx:pt>
          <cx:pt idx="5931">-0.87212608400000002</cx:pt>
          <cx:pt idx="5932">-0.87890630000000003</cx:pt>
          <cx:pt idx="5933">-1.9150544460000001</cx:pt>
          <cx:pt idx="5934">-2.9275133179999999</cx:pt>
          <cx:pt idx="5935">-3.9961053240000002</cx:pt>
          <cx:pt idx="5936">-5.00804925</cx:pt>
          <cx:pt idx="5937">-6.0205080000000004</cx:pt>
          <cx:pt idx="5938">-1.6699219999999999</cx:pt>
          <cx:pt idx="5939">-5.4711910000000001</cx:pt>
          <cx:pt idx="5940">-1.933594</cx:pt>
          <cx:pt idx="5941">0.26367190000000001</cx:pt>
          <cx:pt idx="5942">-8.2397460000000002</cx:pt>
          <cx:pt idx="5943">-3.0319310499999998</cx:pt>
          <cx:pt idx="5944">-0.3515625</cx:pt>
          <cx:pt idx="5945">-0.25666228600000002</cx:pt>
          <cx:pt idx="5946">-0.249461722</cx:pt>
          <cx:pt idx="5947">-0.24186194</cx:pt>
          <cx:pt idx="5948">-0.23466503799999999</cx:pt>
          <cx:pt idx="5949">-0.227464474</cx:pt>
          <cx:pt idx="5950">-0.19826666100000001</cx:pt>
          <cx:pt idx="5951">-0.18346997800000001</cx:pt>
          <cx:pt idx="5952">-0.17621447600000001</cx:pt>
          <cx:pt idx="5953">-0.16890037299999999</cx:pt>
          <cx:pt idx="5954">-0.066341775000000006</cx:pt>
          <cx:pt idx="5955">-0.058914134</cx:pt>
          <cx:pt idx="5956">-0.051713569000000001</cx:pt>
          <cx:pt idx="5957">-0.044113787000000002</cx:pt>
          <cx:pt idx="5958">-0.043945310000000001</cx:pt>
          <cx:pt idx="5959">0.120504704</cx:pt>
          <cx:pt idx="5960">0.80367072500000003</cx:pt>
          <cx:pt idx="5961">0.98148925799999998</cx:pt>
          <cx:pt idx="5962">1.1498812940000001</cx:pt>
          <cx:pt idx="5963">1.3183590000000001</cx:pt>
          <cx:pt idx="5964">7.6857930190000001</cx:pt>
          <cx:pt idx="5965">7.734375</cx:pt>
          <cx:pt idx="5966">6.1883376549999998</cx:pt>
          <cx:pt idx="5967">4.7121311690000001</cx:pt>
          <cx:pt idx="5968">3.224661405</cx:pt>
          <cx:pt idx="5969">0.13183590000000001</cx:pt>
          <cx:pt idx="5970">4.3725589999999999</cx:pt>
          <cx:pt idx="5971">0.76169983600000002</cx:pt>
          <cx:pt idx="5972">-0.070026613000000001</cx:pt>
          <cx:pt idx="5973">-1.73584</cx:pt>
          <cx:pt idx="5974">2.5708009999999999</cx:pt>
          <cx:pt idx="5975">2.7465820000000001</cx:pt>
          <cx:pt idx="5976">1.999512</cx:pt>
          <cx:pt idx="5977">-1.911621</cx:pt>
          <cx:pt idx="5978">0.2416992</cx:pt>
          <cx:pt idx="5979">-3.7353519999999998</cx:pt>
          <cx:pt idx="5980">0.87890630000000003</cx:pt>
          <cx:pt idx="5981">-0.629840646</cx:pt>
          <cx:pt idx="5982">-1.384277</cx:pt>
          <cx:pt idx="5983">-2.1608874259999999</cx:pt>
          <cx:pt idx="5984">-3.3837890000000002</cx:pt>
          <cx:pt idx="5985">0.63720699999999997</cx:pt>
          <cx:pt idx="5986">0.122588237</cx:pt>
          <cx:pt idx="5987">-0.043945310000000001</cx:pt>
          <cx:pt idx="5988">6.1617616320000002</cx:pt>
          <cx:pt idx="5989">6.306152</cx:pt>
          <cx:pt idx="5990">-1.2354751960000001</cx:pt>
          <cx:pt idx="5991">-1.296387</cx:pt>
          <cx:pt idx="5992">-1.2034091899999999</cx:pt>
          <cx:pt idx="5993">-1.014424821</cx:pt>
          <cx:pt idx="5994">-0.914668378</cx:pt>
          <cx:pt idx="5995">-0.72568401000000005</cx:pt>
          <cx:pt idx="5996">-0.43694319799999998</cx:pt>
          <cx:pt idx="5997">-0.34093664000000001</cx:pt>
          <cx:pt idx="5998">-0.24493008199999999</cx:pt>
          <cx:pt idx="5999">-0.14517363899999999</cx:pt>
          <cx:pt idx="6000">-0.050705497000000002</cx:pt>
          <cx:pt idx="6001">0.043810729999999999</cx:pt>
          <cx:pt idx="6002">0.14356717199999999</cx:pt>
          <cx:pt idx="6003">0.43230797199999998</cx:pt>
          <cx:pt idx="6004">0.530525998</cx:pt>
          <cx:pt idx="6005">0.62129234</cx:pt>
          <cx:pt idx="6006">0.72104878299999997</cx:pt>
          <cx:pt idx="6007">0.81556500899999995</cx:pt>
          <cx:pt idx="6008">1.0045493780000001</cx:pt>
          <cx:pt idx="6009">1.101277072</cx:pt>
          <cx:pt idx="6010">1.582031</cx:pt>
          <cx:pt idx="6011">0.54931640000000004</cx:pt>
          <cx:pt idx="6012">5.0317379999999998</cx:pt>
          <cx:pt idx="6013">-1.032715</cx:pt>
          <cx:pt idx="6014">1.384277</cx:pt>
          <cx:pt idx="6015">-8.9868159999999992</cx:pt>
          <cx:pt idx="6016">-6.3554366399999997</cx:pt>
          <cx:pt idx="6017">-5.4385358799999999</cx:pt>
          <cx:pt idx="6018">-4.5570731670000004</cx:pt>
          <cx:pt idx="6019">-3.6612558160000002</cx:pt>
          <cx:pt idx="6020">-2.7026370000000002</cx:pt>
          <cx:pt idx="6021">-0.63720699999999997</cx:pt>
          <cx:pt idx="6022">-1.8457030000000001</cx:pt>
          <cx:pt idx="6023">0.63554368400000005</cx:pt>
          <cx:pt idx="6024">0.63720699999999997</cx:pt>
          <cx:pt idx="6025">-0.011706474</cx:pt>
          <cx:pt idx="6026">-0.169811237</cx:pt>
          <cx:pt idx="6027">-0.32799647300000001</cx:pt>
          <cx:pt idx="6028">-0.494951896</cx:pt>
          <cx:pt idx="6029">-0.65305665800000001</cx:pt>
          <cx:pt idx="6030">-0.812529265</cx:pt>
          <cx:pt idx="6031">-1.1425780000000001</cx:pt>
          <cx:pt idx="6032">-1.214539166</cx:pt>
          <cx:pt idx="6033">-1.2519798049999999</cx:pt>
          <cx:pt idx="6034">-1.2896994319999999</cx:pt>
          <cx:pt idx="6035">-1.326247301</cx:pt>
          <cx:pt idx="6036">-1.3648411039999999</cx:pt>
          <cx:pt idx="6037">-1.4379554349999999</cx:pt>
          <cx:pt idx="6038">-1.4765492339999999</cx:pt>
          <cx:pt idx="6039">-1.513115701</cx:pt>
          <cx:pt idx="6040">-1.5496635649999999</cx:pt>
          <cx:pt idx="6041">-1.625977</cx:pt>
          <cx:pt idx="6042">-0.81007412599999995</cx:pt>
          <cx:pt idx="6043">0.032839808999999998</cx:pt>
          <cx:pt idx="6044">0.92248700299999997</cx:pt>
          <cx:pt idx="6045">1.765400836</cx:pt>
          <cx:pt idx="6046">2.6078860559999999</cx:pt>
          <cx:pt idx="6047">2.6147459999999998</cx:pt>
          <cx:pt idx="6048">2.3143220229999999</cx:pt>
          <cx:pt idx="6049">1.4034959410000001</cx:pt>
          <cx:pt idx="6050">1.1006455159999999</cx:pt>
          <cx:pt idx="6051">-0.13183590000000001</cx:pt>
          <cx:pt idx="6052">2.936152275</cx:pt>
          <cx:pt idx="6053">9.3966728130000003</cx:pt>
          <cx:pt idx="6054">9.4702149999999996</cx:pt>
          <cx:pt idx="6055">0.52734380000000003</cx:pt>
          <cx:pt idx="6056">2.5708009999999999</cx:pt>
          <cx:pt idx="6057">7.8662109999999998</cx:pt>
          <cx:pt idx="6058">-1.6970959800000001</cx:pt>
          <cx:pt idx="6059">-4.1528320000000001</cx:pt>
          <cx:pt idx="6060">-3.2035162590000001</cx:pt>
          <cx:pt idx="6061">-2.7155410940000002</cx:pt>
          <cx:pt idx="6062">-2.1972659999999999</cx:pt>
          <cx:pt idx="6063">1.1130266360000001</cx:pt>
          <cx:pt idx="6064">4.5043949999999997</cx:pt>
          <cx:pt idx="6065">4.2399193510000002</cx:pt>
          <cx:pt idx="6066">0.15380859999999999</cx:pt>
          <cx:pt idx="6067">-3.7792970000000001</cx:pt>
          <cx:pt idx="6068">3.2986775590000001</cx:pt>
          <cx:pt idx="6069">3.3398439999999998</cx:pt>
          <cx:pt idx="6070">-1.235093529</cx:pt>
          <cx:pt idx="6071">-1.5528613419999999</cx:pt>
          <cx:pt idx="6072">-1.5600590000000001</cx:pt>
          <cx:pt idx="6073">-2.762449851</cx:pt>
          <cx:pt idx="6074">-3.0613372619999999</cx:pt>
          <cx:pt idx="6075">-3.376795703</cx:pt>
          <cx:pt idx="6076">-3.3837890000000002</cx:pt>
          <cx:pt idx="6077">-2.7862946179999999</cx:pt>
          <cx:pt idx="6078">-2.174166547</cx:pt>
          <cx:pt idx="6079">-0.93091751199999995</cx:pt>
          <cx:pt idx="6080">-0.28485144899999998</cx:pt>
          <cx:pt idx="6081">0.32727669700000001</cx:pt>
          <cx:pt idx="6082">0.3515625</cx:pt>
          <cx:pt idx="6083">0.31266603500000001</cx:pt>
          <cx:pt idx="6084">0.22943419500000001</cx:pt>
          <cx:pt idx="6085">0.18893077799999999</cx:pt>
          <cx:pt idx="6086">0.14620235000000001</cx:pt>
          <cx:pt idx="6087">-0.018036320000000002</cx:pt>
          <cx:pt idx="6088">-0.099022549000000001</cx:pt>
          <cx:pt idx="6089">-0.14049425600000001</cx:pt>
          <cx:pt idx="6090">-0.222757807</cx:pt>
          <cx:pt idx="6091">-0.265506835</cx:pt>
          <cx:pt idx="6092">-0.30601024700000001</cx:pt>
          <cx:pt idx="6093">-0.30761719999999998</cx:pt>
          <cx:pt idx="6094">-4.1127871200000001</cx:pt>
          <cx:pt idx="6095">-7.8881839999999999</cx:pt>
          <cx:pt idx="6096">-4.2022030150000003</cx:pt>
          <cx:pt idx="6097">-0.57128909999999999</cx:pt>
          <cx:pt idx="6098">-0.58211787699999995</cx:pt>
          <cx:pt idx="6099">-0.5932617</cx:pt>
          <cx:pt idx="6100">5.5371090000000001</cx:pt>
          <cx:pt idx="6101">5.8859534910000004</cx:pt>
          <cx:pt idx="6102">5.8886719999999997</cx:pt>
          <cx:pt idx="6103">4.1421226149999999</cx:pt>
          <cx:pt idx="6104">0.59122706800000002</cx:pt>
          <cx:pt idx="6105">-1.281752864</cx:pt>
          <cx:pt idx="6106">-1.338646848</cx:pt>
          <cx:pt idx="6107">-3.0572007459999999</cx:pt>
          <cx:pt idx="6108">-3.14209</cx:pt>
          <cx:pt idx="6109">-2.9942044640000001</cx:pt>
          <cx:pt idx="6110">-2.8303612010000001</cx:pt>
          <cx:pt idx="6111">-2.6750497800000002</cx:pt>
          <cx:pt idx="6112">-2.5197383599999998</cx:pt>
          <cx:pt idx="6113">-2.3620570000000001</cx:pt>
          <cx:pt idx="6114">-2.0428233040000001</cx:pt>
          <cx:pt idx="6115">-1.7236686210000001</cx:pt>
          <cx:pt idx="6116">-1.719955688</cx:pt>
          <cx:pt idx="6117">-1.5683571999999999</cx:pt>
          <cx:pt idx="6118">-1.413045798</cx:pt>
          <cx:pt idx="6119">-1.2492025170000001</cx:pt>
          <cx:pt idx="6120">-1.0938911149999999</cx:pt>
          <cx:pt idx="6121">-0.78208330400000003</cx:pt>
          <cx:pt idx="6122">-0.46292862099999998</cx:pt>
          <cx:pt idx="6123">-0.30761719999999998</cx:pt>
          <cx:pt idx="6124">-4.5058885960000001</cx:pt>
          <cx:pt idx="6125">-8.8008653020000001</cx:pt>
          <cx:pt idx="6126">-8.9648439999999994</cx:pt>
          <cx:pt idx="6127">-7.8633283189999998</cx:pt>
          <cx:pt idx="6128">-6.6527112229999998</cx:pt>
          <cx:pt idx="6129">-5.5062714960000001</cx:pt>
          <cx:pt idx="6130">0.37353520000000001</cx:pt>
          <cx:pt idx="6131">12.612299999999999</cx:pt>
          <cx:pt idx="6132">9.9568688339999998</cx:pt>
          <cx:pt idx="6133">7.2364008159999997</cx:pt>
          <cx:pt idx="6134">1.6460192060000001</cx:pt>
          <cx:pt idx="6135">1.5380860000000001</cx:pt>
          <cx:pt idx="6136">0.72748206199999998</cx:pt>
          <cx:pt idx="6137">-4.4165039999999998</cx:pt>
          <cx:pt idx="6138">-3.7692096730000002</cx:pt>
          <cx:pt idx="6139">-3.1562297840000002</cx:pt>
          <cx:pt idx="6140">-2.5429378950000001</cx:pt>
          <cx:pt idx="6141">-1.895643642</cx:pt>
          <cx:pt idx="6142">-1.2826636789999999</cx:pt>
          <cx:pt idx="6143">-0.046409511000000001</cx:pt>
          <cx:pt idx="6144">0.59090242599999998</cx:pt>
          <cx:pt idx="6145">0.61523439999999996</cx:pt>
          <cx:pt idx="6146">0.204539004</cx:pt>
          <cx:pt idx="6147">-0.24683438699999999</cx:pt>
          <cx:pt idx="6148">-1.5600590000000001</cx:pt>
          <cx:pt idx="6149">3.3618160000000001</cx:pt>
          <cx:pt idx="6150">0.28242188400000001</cx:pt>
          <cx:pt idx="6151">-0.320214895</cx:pt>
          <cx:pt idx="6152">-0.92285159999999999</cx:pt>
          <cx:pt idx="6153">-0.213664666</cx:pt>
          <cx:pt idx="6154">2.6575475210000001</cx:pt>
          <cx:pt idx="6155">3.3560752580000002</cx:pt>
          <cx:pt idx="6156">3.3837890000000002</cx:pt>
          <cx:pt idx="6157">3.0243152040000001</cx:pt>
          <cx:pt idx="6158">2.6290273860000002</cx:pt>
          <cx:pt idx="6159">2.2545041239999999</cx:pt>
          <cx:pt idx="6160">-0.021972660000000001</cx:pt>
          <cx:pt idx="6161">2.0434570000000001</cx:pt>
          <cx:pt idx="6162">2.4782676979999998</cx:pt>
          <cx:pt idx="6163">2.504883</cx:pt>
          <cx:pt idx="6164">-8.9648439999999994</cx:pt>
          <cx:pt idx="6165">9.3815781410000003</cx:pt>
          <cx:pt idx="6166">15.43595811</cx:pt>
          <cx:pt idx="6167">21.533104179999999</cx:pt>
          <cx:pt idx="6168">27.871570139999999</cx:pt>
          <cx:pt idx="6169">28.015139999999999</cx:pt>
          <cx:pt idx="6170">9.140625</cx:pt>
          <cx:pt idx="6171">-1.0546880000000001</cx:pt>
          <cx:pt idx="6172">0.37353520000000001</cx:pt>
          <cx:pt idx="6173">96.613770000000002</cx:pt>
          <cx:pt idx="6174">-8.9648439999999994</cx:pt>
          <cx:pt idx="6175">1.801758</cx:pt>
          <cx:pt idx="6176">-8.7670899999999996</cx:pt>
          <cx:pt idx="6177">59.392090000000003</cx:pt>
          <cx:pt idx="6178">23.181149999999999</cx:pt>
          <cx:pt idx="6179">-8.9648439999999994</cx:pt>
          <cx:pt idx="6180">-6.5258789999999998</cx:pt>
          <cx:pt idx="6181">13.535159999999999</cx:pt>
          <cx:pt idx="6182">-8.9428710000000002</cx:pt>
          <cx:pt idx="6183">79.782709999999994</cx:pt>
          <cx:pt idx="6184">-8.9868159999999992</cx:pt>
          <cx:pt idx="6185">-2.9613391509999998</cx:pt>
          <cx:pt idx="6186">0.1098633</cx:pt>
          <cx:pt idx="6187">-1.713867</cx:pt>
          <cx:pt idx="6188">-8.9868159999999992</cx:pt>
          <cx:pt idx="6189">-1.4501949999999999</cx:pt>
          <cx:pt idx="6190">-8.8729308469999992</cx:pt>
          <cx:pt idx="6191">-8.9868159999999992</cx:pt>
          <cx:pt idx="6192">13.11768</cx:pt>
          <cx:pt idx="6193">60.979279439999999</cx:pt>
          <cx:pt idx="6194">61.765140000000002</cx:pt>
          <cx:pt idx="6195">43.681640000000002</cx:pt>
          <cx:pt idx="6196">97.404790000000006</cx:pt>
          <cx:pt idx="6197">27.399899999999999</cx:pt>
          <cx:pt idx="6198">14.61182</cx:pt>
          <cx:pt idx="6199">-8.9868159999999992</cx:pt>
          <cx:pt idx="6200">54.316409999999998</cx:pt>
          <cx:pt idx="6201">30.234380000000002</cx:pt>
          <cx:pt idx="6202">79.804689999999994</cx:pt>
          <cx:pt idx="6203">23.44482</cx:pt>
          <cx:pt idx="6204">4.8339840000000001</cx:pt>
          <cx:pt idx="6205">25.817869999999999</cx:pt>
          <cx:pt idx="6206">17.292480000000001</cx:pt>
          <cx:pt idx="6207">50.141599999999997</cx:pt>
          <cx:pt idx="6208">-8.9868159999999992</cx:pt>
          <cx:pt idx="6209">-2.7465820000000001</cx:pt>
          <cx:pt idx="6210">-8.9868159999999992</cx:pt>
          <cx:pt idx="6211">-7.9321289999999998</cx:pt>
          <cx:pt idx="6212">84.199219999999997</cx:pt>
          <cx:pt idx="6213">74.641109999999998</cx:pt>
          <cx:pt idx="6214">5.8666989999999997</cx:pt>
          <cx:pt idx="6215">-8.9868159999999992</cx:pt>
          <cx:pt idx="6216">5.7128909999999999</cx:pt>
          <cx:pt idx="6217">62.622070000000001</cx:pt>
          <cx:pt idx="6218">11.755369999999999</cx:pt>
          <cx:pt idx="6219">-8.9648439999999994</cx:pt>
          <cx:pt idx="6220">-6.8115230000000002</cx:pt>
          <cx:pt idx="6221">-8.9868159999999992</cx:pt>
          <cx:pt idx="6222">76.113280000000003</cx:pt>
          <cx:pt idx="6223">47.922359999999998</cx:pt>
          <cx:pt idx="6224">46.032710000000002</cx:pt>
          <cx:pt idx="6225">33.75</cx:pt>
          <cx:pt idx="6226">-8.9868159999999992</cx:pt>
          <cx:pt idx="6227">-4.943848</cx:pt>
          <cx:pt idx="6228">7.2290039999999998</cx:pt>
          <cx:pt idx="6229">5.2954100000000004</cx:pt>
          <cx:pt idx="6230">23.708500000000001</cx:pt>
          <cx:pt idx="6231">-8.9648439999999994</cx:pt>
          <cx:pt idx="6232">15.271000000000001</cx:pt>
          <cx:pt idx="6233">22.587890000000002</cx:pt>
          <cx:pt idx="6234">74.377440000000007</cx:pt>
          <cx:pt idx="6235">37.221679999999999</cx:pt>
          <cx:pt idx="6236">25.817869999999999</cx:pt>
          <cx:pt idx="6237">-7.5146480000000002</cx:pt>
          <cx:pt idx="6238">-8.9648439999999994</cx:pt>
          <cx:pt idx="6239">14.04053</cx:pt>
          <cx:pt idx="6240">139.61429999999999</cx:pt>
          <cx:pt idx="6241">36.10107</cx:pt>
          <cx:pt idx="6242">26.652830000000002</cx:pt>
          <cx:pt idx="6243">-8.9868159999999992</cx:pt>
          <cx:pt idx="6244">10.678710000000001</cx:pt>
          <cx:pt idx="6245">-8.9868159999999992</cx:pt>
          <cx:pt idx="6246">8.1958009999999994</cx:pt>
          <cx:pt idx="6247">45.966799999999999</cx:pt>
          <cx:pt idx="6248">23.840330000000002</cx:pt>
          <cx:pt idx="6249">40.385739999999998</cx:pt>
          <cx:pt idx="6250">31.750489999999999</cx:pt>
          <cx:pt idx="6251">3.0102540000000002</cx:pt>
          <cx:pt idx="6252">-8.9868159999999992</cx:pt>
          <cx:pt idx="6253">17.248539999999998</cx:pt>
          <cx:pt idx="6254">5.5810550000000001</cx:pt>
          <cx:pt idx="6255">67.016599999999997</cx:pt>
          <cx:pt idx="6256">27.04834</cx:pt>
          <cx:pt idx="6257">59.809570000000001</cx:pt>
          <cx:pt idx="6258">-8.9648439999999994</cx:pt>
          <cx:pt idx="6259">4.3945309999999997</cx:pt>
          <cx:pt idx="6260">-8.9648439999999994</cx:pt>
          <cx:pt idx="6261">-3.9990230000000002</cx:pt>
          <cx:pt idx="6262">14.743650000000001</cx:pt>
          <cx:pt idx="6263">170.1123</cx:pt>
          <cx:pt idx="6264">172.6611</cx:pt>
          <cx:pt idx="6265">122.2998</cx:pt>
          <cx:pt idx="6266">111.20359999999999</cx:pt>
          <cx:pt idx="6267">118.7842</cx:pt>
          <cx:pt idx="6268">94.372559999999993</cx:pt>
          <cx:pt idx="6269">28.630369999999999</cx:pt>
          <cx:pt idx="6270">25.883790000000001</cx:pt>
          <cx:pt idx="6271">33.728029999999997</cx:pt>
          <cx:pt idx="6272">29.22363</cx:pt>
          <cx:pt idx="6273">39.660640000000001</cx:pt>
          <cx:pt idx="6274">57.590330000000002</cx:pt>
          <cx:pt idx="6275">-7.3168949999999997</cx:pt>
          <cx:pt idx="6276">14.326169999999999</cx:pt>
          <cx:pt idx="6277">19.951170000000001</cx:pt>
          <cx:pt idx="6278">-8.3276369999999993</cx:pt>
          <cx:pt idx="6279">4.5263669999999996</cx:pt>
          <cx:pt idx="6280">6.328125</cx:pt>
          <cx:pt idx="6281">-8.9868159999999992</cx:pt>
          <cx:pt idx="6282">1.428223</cx:pt>
          <cx:pt idx="6283">33.75</cx:pt>
          <cx:pt idx="6284">43.43994</cx:pt>
          <cx:pt idx="6285">21.203610000000001</cx:pt>
          <cx:pt idx="6286">12.41455</cx:pt>
          <cx:pt idx="6287">17.95166</cx:pt>
          <cx:pt idx="6288">-8.1958009999999994</cx:pt>
          <cx:pt idx="6289">13.623049999999999</cx:pt>
          <cx:pt idx="6290">11.79932</cx:pt>
          <cx:pt idx="6291">0.065917970000000006</cx:pt>
          <cx:pt idx="6292">1.2524409999999999</cx:pt>
          <cx:pt idx="6293">-8.9868159999999992</cx:pt>
          <cx:pt idx="6294">-0.98876949999999997</cx:pt>
          <cx:pt idx="6295">129.59469999999999</cx:pt>
          <cx:pt idx="6296">115.3125</cx:pt>
          <cx:pt idx="6297">74.641109999999998</cx:pt>
          <cx:pt idx="6298">45.483400000000003</cx:pt>
          <cx:pt idx="6299">7.053223</cx:pt>
          <cx:pt idx="6300">21.818850000000001</cx:pt>
          <cx:pt idx="6301">20.698239999999998</cx:pt>
          <cx:pt idx="6302">11.535640000000001</cx:pt>
          <cx:pt idx="6303">14.08447</cx:pt>
          <cx:pt idx="6304">2.7465820000000001</cx:pt>
          <cx:pt idx="6305">1.713867</cx:pt>
          <cx:pt idx="6306">27.883299999999998</cx:pt>
          <cx:pt idx="6307">9.0747070000000001</cx:pt>
          <cx:pt idx="6308">6.7575103429999999</cx:pt>
          <cx:pt idx="6309">4.1308590000000001</cx:pt>
          <cx:pt idx="6310">49.52637</cx:pt>
          <cx:pt idx="6311">11.25</cx:pt>
          <cx:pt idx="6312">16.127929999999999</cx:pt>
          <cx:pt idx="6313">-9.0087890000000002</cx:pt>
          <cx:pt idx="6314">-0.5932617</cx:pt>
          <cx:pt idx="6315">32.673340000000003</cx:pt>
          <cx:pt idx="6316">7.6245120000000002</cx:pt>
          <cx:pt idx="6317">-8.9868159999999992</cx:pt>
          <cx:pt idx="6318">2.9882810000000002</cx:pt>
          <cx:pt idx="6319">65.039060000000006</cx:pt>
          <cx:pt idx="6320">26.58691</cx:pt>
          <cx:pt idx="6321">9.1625979999999991</cx:pt>
          <cx:pt idx="6322">-0.116820851</cx:pt>
          <cx:pt idx="6323">-5.2514649999999996</cx:pt>
          <cx:pt idx="6324">2.131348</cx:pt>
          <cx:pt idx="6325">-0.50537109999999996</cx:pt>
          <cx:pt idx="6326">1.032715</cx:pt>
          <cx:pt idx="6327">-8.9868159999999992</cx:pt>
          <cx:pt idx="6328">-1.8676759999999999</cx:pt>
          <cx:pt idx="6329">-8.9208979999999993</cx:pt>
          <cx:pt idx="6330">0.96472839499999996</cx:pt>
          <cx:pt idx="6331">1.1206050000000001</cx:pt>
          <cx:pt idx="6332">1.6692075479999999</cx:pt>
          <cx:pt idx="6333">3.4277340000000001</cx:pt>
          <cx:pt idx="6334">0.69050651100000005</cx:pt>
          <cx:pt idx="6335">-2.0654300000000001</cx:pt>
          <cx:pt idx="6336">-8.9428710000000002</cx:pt>
          <cx:pt idx="6337">11.22027791</cx:pt>
          <cx:pt idx="6338">11.62354</cx:pt>
          <cx:pt idx="6339">11.8511311</cx:pt>
          <cx:pt idx="6340">12.10126434</cx:pt>
          <cx:pt idx="6341">12.10693</cx:pt>
          <cx:pt idx="6342">0.76904300000000003</cx:pt>
          <cx:pt idx="6343">42.319339999999997</cx:pt>
          <cx:pt idx="6344">-8.9868159999999992</cx:pt>
          <cx:pt idx="6345">42.1875</cx:pt>
          <cx:pt idx="6346">45.615229999999997</cx:pt>
          <cx:pt idx="6347">19.643550000000001</cx:pt>
          <cx:pt idx="6348">7.9541019999999998</cx:pt>
          <cx:pt idx="6349">3.186035</cx:pt>
          <cx:pt idx="6350">-7.9541019999999998</cx:pt>
          <cx:pt idx="6351">-3.0624211909999999</cx:pt>
          <cx:pt idx="6352">2.3510740000000001</cx:pt>
          <cx:pt idx="6353">-0.3515625</cx:pt>
          <cx:pt idx="6354">-9.0087890000000002</cx:pt>
          <cx:pt idx="6355">-0.703125</cx:pt>
          <cx:pt idx="6356">3.845215</cx:pt>
          <cx:pt idx="6357">-0.96679689999999996</cx:pt>
          <cx:pt idx="6358">-0.26092616699999999</cx:pt>
          <cx:pt idx="6359">0.015935785000000001</cx:pt>
          <cx:pt idx="6360">0.15931578599999999</cx:pt>
          <cx:pt idx="6361">0.29937286600000002</cx:pt>
          <cx:pt idx="6362">0.44607577199999998</cx:pt>
          <cx:pt idx="6363">0.58719334599999995</cx:pt>
          <cx:pt idx="6364">0.72286702800000002</cx:pt>
          <cx:pt idx="6365">0.86518651899999999</cx:pt>
          <cx:pt idx="6366">1.296387</cx:pt>
          <cx:pt idx="6367">1.489284343</cx:pt>
          <cx:pt idx="6368">1.5864874689999999</cx:pt>
          <cx:pt idx="6369">1.6806240969999999</cx:pt>
          <cx:pt idx="6370">1.7877081530000001</cx:pt>
          <cx:pt idx="6371">1.878048173</cx:pt>
          <cx:pt idx="6372">1.97374238</cx:pt>
          <cx:pt idx="6373">1.9775389999999999</cx:pt>
          <cx:pt idx="6374">-2.5354894140000002</cx:pt>
          <cx:pt idx="6375">-2.5708009999999999</cx:pt>
          <cx:pt idx="6376">-2.4354247529999999</cx:pt>
          <cx:pt idx="6377">-2.2979496350000002</cx:pt>
          <cx:pt idx="6378">-2.1527787329999999</cx:pt>
          <cx:pt idx="6379">-2.0130648459999998</cx:pt>
          <cx:pt idx="6380">-1.8723015240000001</cx:pt>
          <cx:pt idx="6381">-1.8711821319999999</cx:pt>
          <cx:pt idx="6382">-1.5961619549999999</cx:pt>
          <cx:pt idx="6383">-1.3134459780000001</cx:pt>
          <cx:pt idx="6384">-1.1726826560000001</cx:pt>
          <cx:pt idx="6385">-0.75906798499999995</cx:pt>
          <cx:pt idx="6386">-0.61389706600000005</cx:pt>
          <cx:pt idx="6387">-0.47635199099999997</cx:pt>
          <cx:pt idx="6388">-0.33887688999999999</cx:pt>
          <cx:pt idx="6389">-0.193705971</cx:pt>
          <cx:pt idx="6390">0.086771238000000001</cx:pt>
          <cx:pt idx="6391">0.087890629999999997</cx:pt>
          <cx:pt idx="6392">-3.472462991</cx:pt>
          <cx:pt idx="6393">-6.9213870000000002</cx:pt>
          <cx:pt idx="6394">-4.5285646990000004</cx:pt>
          <cx:pt idx="6395">0.32958979999999999</cx:pt>
          <cx:pt idx="6396">-1.1645509999999999</cx:pt>
          <cx:pt idx="6397">15.93018</cx:pt>
          <cx:pt idx="6398">-9.0087890000000002</cx:pt>
          <cx:pt idx="6399">0.30761719999999998</cx:pt>
          <cx:pt idx="6400">1.5358953479999999</cx:pt>
          <cx:pt idx="6401">2.3818284759999999</cx:pt>
          <cx:pt idx="6402">2.3950200000000001</cx:pt>
          <cx:pt idx="6403">94.504390000000001</cx:pt>
          <cx:pt idx="6404">125.2002</cx:pt>
          <cx:pt idx="6405">97.976070000000007</cx:pt>
          <cx:pt idx="6406">59.809570000000001</cx:pt>
          <cx:pt idx="6407">74.267579999999995</cx:pt>
          <cx:pt idx="6408">64.841309999999993</cx:pt>
          <cx:pt idx="6409">73.43262</cx:pt>
          <cx:pt idx="6410">-8.9648439999999994</cx:pt>
          <cx:pt idx="6411">69.016109999999998</cx:pt>
          <cx:pt idx="6412">19.66553</cx:pt>
          <cx:pt idx="6413">-0.43945309999999999</cx:pt>
          <cx:pt idx="6414">-7.8662109999999998</cx:pt>
          <cx:pt idx="6415">-3.4716800000000001</cx:pt>
          <cx:pt idx="6416">-3.7997299660000001</cx:pt>
          <cx:pt idx="6417">-5.5371090000000001</cx:pt>
          <cx:pt idx="6418">-2.8701866429999998</cx:pt>
          <cx:pt idx="6419">-0.26367190000000001</cx:pt>
          <cx:pt idx="6420">0.44840371600000001</cx:pt>
          <cx:pt idx="6421">0.58876167599999996</cx:pt>
          <cx:pt idx="6422">0.5932617</cx:pt>
          <cx:pt idx="6423">7.1015971379999998</cx:pt>
          <cx:pt idx="6424">13.982715949999999</cx:pt>
          <cx:pt idx="6425">14.3042</cx:pt>
          <cx:pt idx="6426">6.1799730549999996</cx:pt>
          <cx:pt idx="6427">2.0214840000000001</cx:pt>
          <cx:pt idx="6428">0.93292419100000001</cx:pt>
          <cx:pt idx="6429">0.75416605000000003</cx:pt>
          <cx:pt idx="6430">0.74707029999999996</cx:pt>
          <cx:pt idx="6431">-8.7144160090000007</cx:pt>
          <cx:pt idx="6432">-8.7890630000000005</cx:pt>
          <cx:pt idx="6433">46.918079980000002</cx:pt>
          <cx:pt idx="6434">105.4224864</cx:pt>
          <cx:pt idx="6435">167.14076059999999</cx:pt>
          <cx:pt idx="6436">227.96629999999999</cx:pt>
          <cx:pt idx="6437">183.25200000000001</cx:pt>
          <cx:pt idx="6438">119.9927</cx:pt>
          <cx:pt idx="6439">74.487300000000005</cx:pt>
          <cx:pt idx="6440">36.826169999999998</cx:pt>
          <cx:pt idx="6441">18.962399999999999</cx:pt>
          <cx:pt idx="6442">7.2070309999999997</cx:pt>
          <cx:pt idx="6443">2.6586910000000001</cx:pt>
          <cx:pt idx="6444">3.0761720000000001</cx:pt>
          <cx:pt idx="6445">26.85059</cx:pt>
          <cx:pt idx="6446">-9.0087890000000002</cx:pt>
          <cx:pt idx="6447">12.392580000000001</cx:pt>
          <cx:pt idx="6448">65.983890000000002</cx:pt>
          <cx:pt idx="6449">62.270510000000002</cx:pt>
          <cx:pt idx="6450">41.72607</cx:pt>
          <cx:pt idx="6451">2.2192379999999998</cx:pt>
          <cx:pt idx="6452">13.952640000000001</cx:pt>
          <cx:pt idx="6453">-2.6147459999999998</cx:pt>
          <cx:pt idx="6454">16.127929999999999</cx:pt>
          <cx:pt idx="6455">-8.9868159999999992</cx:pt>
          <cx:pt idx="6456">3.4057620000000002</cx:pt>
          <cx:pt idx="6457">7.3608399999999996</cx:pt>
          <cx:pt idx="6458">23.29102</cx:pt>
          <cx:pt idx="6459">-8.9868159999999992</cx:pt>
          <cx:pt idx="6460">22.367555920000001</cx:pt>
          <cx:pt idx="6461">51.789549999999998</cx:pt>
          <cx:pt idx="6462">144.8877</cx:pt>
          <cx:pt idx="6463">101.1621</cx:pt>
          <cx:pt idx="6464">77.321780000000004</cx:pt>
          <cx:pt idx="6465">22.19238</cx:pt>
          <cx:pt idx="6466">-8.9648439999999994</cx:pt>
          <cx:pt idx="6467">11.535640000000001</cx:pt>
          <cx:pt idx="6468">23.203130000000002</cx:pt>
          <cx:pt idx="6469">25.13672</cx:pt>
          <cx:pt idx="6470">19.929200000000002</cx:pt>
          <cx:pt idx="6471">-1.3183590000000001</cx:pt>
          <cx:pt idx="6472">-8.9868159999999992</cx:pt>
          <cx:pt idx="6473">-8.1329712090000008</cx:pt>
          <cx:pt idx="6474">-4.3725589999999999</cx:pt>
          <cx:pt idx="6475">-1.110815219</cx:pt>
          <cx:pt idx="6476">1.713867</cx:pt>
          <cx:pt idx="6477">-8.5693359999999998</cx:pt>
          <cx:pt idx="6478">0.703125</cx:pt>
          <cx:pt idx="6479">-0.69643618600000001</cx:pt>
          <cx:pt idx="6480">-0.91845725600000006</cx:pt>
          <cx:pt idx="6481">-1.1605454120000001</cx:pt>
          <cx:pt idx="6482">-1.393533379</cx:pt>
          <cx:pt idx="6483">-1.617421156</cx:pt>
          <cx:pt idx="6484">-2.1052141949999998</cx:pt>
          <cx:pt idx="6485">-2.3253685850000001</cx:pt>
          <cx:pt idx="6486">-2.3291019999999998</cx:pt>
          <cx:pt idx="6487">-5.5656255760000004</cx:pt>
          <cx:pt idx="6488">-9.0087890000000002</cx:pt>
          <cx:pt idx="6489">-7.6900346229999998</cx:pt>
          <cx:pt idx="6490">-6.3975687360000002</cx:pt>
          <cx:pt idx="6491">-1.73584</cx:pt>
          <cx:pt idx="6492">9.6679689999999994</cx:pt>
          <cx:pt idx="6493">-0.57128909999999999</cx:pt>
          <cx:pt idx="6494">2.5488279999999999</cx:pt>
          <cx:pt idx="6495">-8.9648439999999994</cx:pt>
          <cx:pt idx="6496">-1.6918949999999999</cx:pt>
          <cx:pt idx="6497">-8.9648439999999994</cx:pt>
          <cx:pt idx="6498">-4.2318992089999998</cx:pt>
          <cx:pt idx="6499">-3.0102540000000002</cx:pt>
          <cx:pt idx="6500">-2.087402</cx:pt>
          <cx:pt idx="6501">-8.7890630000000005</cx:pt>
          <cx:pt idx="6502">-1.8676759999999999</cx:pt>
          <cx:pt idx="6503">-3.823242</cx:pt>
          <cx:pt idx="6504">1.098633</cx:pt>
          <cx:pt idx="6505">-1.9775389999999999</cx:pt>
          <cx:pt idx="6506">-8.9868159999999992</cx:pt>
          <cx:pt idx="6507">-7.5366210000000002</cx:pt>
          <cx:pt idx="6508">1.8676759999999999</cx:pt>
          <cx:pt idx="6509">-1.9555659999999999</cx:pt>
          <cx:pt idx="6510">0.95917621500000005</cx:pt>
          <cx:pt idx="6511">1.1645509999999999</cx:pt>
          <cx:pt idx="6512">2.758941804</cx:pt>
          <cx:pt idx="6513">4.3780520190000001</cx:pt>
          <cx:pt idx="6514">7.6690065360000004</cx:pt>
          <cx:pt idx="6515">9.3787538710000007</cx:pt>
          <cx:pt idx="6516">9.4042969999999997</cx:pt>
          <cx:pt idx="6517">8.4202483780000001</cx:pt>
          <cx:pt idx="6518">0.4614258</cx:pt>
          <cx:pt idx="6519">-2.3291019999999998</cx:pt>
          <cx:pt idx="6520">-8.9868159999999992</cx:pt>
          <cx:pt idx="6521">-6.6856012519999997</cx:pt>
          <cx:pt idx="6522">-6.2361988699999999</cx:pt>
          <cx:pt idx="6523">-5.7865677470000003</cx:pt>
          <cx:pt idx="6524">-5.3264162610000003</cx:pt>
          <cx:pt idx="6525">-1.6479490000000001</cx:pt>
          <cx:pt idx="6526">1.3403320000000001</cx:pt>
          <cx:pt idx="6527">-8.9868159999999992</cx:pt>
          <cx:pt idx="6528">-4.4874483420000004</cx:pt>
          <cx:pt idx="6529">-0.72509769999999996</cx:pt>
          <cx:pt idx="6530">-0.39550780000000002</cx:pt>
          <cx:pt idx="6531">-8.9868159999999992</cx:pt>
          <cx:pt idx="6532">-8.5421300989999995</cx:pt>
          <cx:pt idx="6533">-7.2290039999999998</cx:pt>
          <cx:pt idx="6534">75.62988</cx:pt>
          <cx:pt idx="6535">57.414549999999998</cx:pt>
          <cx:pt idx="6536">-6.4875246210000004</cx:pt>
          <cx:pt idx="6537">-8.9648439999999994</cx:pt>
          <cx:pt idx="6538">3.6914060000000002</cx:pt>
          <cx:pt idx="6539">5.7348629999999998</cx:pt>
          <cx:pt idx="6540">-8.9868159999999992</cx:pt>
          <cx:pt idx="6541">1.4941409999999999</cx:pt>
          <cx:pt idx="6542">-0.48339840000000001</cx:pt>
          <cx:pt idx="6543">15.029299999999999</cx:pt>
          <cx:pt idx="6544">3.6474609999999998</cx:pt>
          <cx:pt idx="6545">2.0654300000000001</cx:pt>
          <cx:pt idx="6546">55.568849999999998</cx:pt>
          <cx:pt idx="6547">-4.2846679999999999</cx:pt>
          <cx:pt idx="6548">-8.9868159999999992</cx:pt>
          <cx:pt idx="6549">9.4702149999999996</cx:pt>
          <cx:pt idx="6550">2.2155756059999998</cx:pt>
          <cx:pt idx="6551">-4.8120120000000002</cx:pt>
          <cx:pt idx="6552">-8.9868159999999992</cx:pt>
          <cx:pt idx="6553">-5.2626532680000002</cx:pt>
          <cx:pt idx="6554">-4.649958356</cx:pt>
          <cx:pt idx="6555">-4.0375751409999996</cx:pt>
          <cx:pt idx="6556">-3.4248802290000002</cx:pt>
          <cx:pt idx="6557">-2.7782159759999998</cx:pt>
          <cx:pt idx="6558">-2.7685550000000001</cx:pt>
          <cx:pt idx="6559">-1.308342594</cx:pt>
          <cx:pt idx="6560">0.19775390000000001</cx:pt>
          <cx:pt idx="6561">-0.8129883</cx:pt>
          <cx:pt idx="6562">4.8120120000000002</cx:pt>
          <cx:pt idx="6563">-8.9868159999999992</cx:pt>
          <cx:pt idx="6564">-0.28564450000000002</cx:pt>
          <cx:pt idx="6565">-0.25928391200000001</cx:pt>
          <cx:pt idx="6566">-0.2416992</cx:pt>
          <cx:pt idx="6567">-8.9648439999999994</cx:pt>
          <cx:pt idx="6568">5.0537109999999998</cx:pt>
          <cx:pt idx="6569">0.90087890000000004</cx:pt>
          <cx:pt idx="6570">1.7384154190000001</cx:pt>
          <cx:pt idx="6571">2.011843201</cx:pt>
          <cx:pt idx="6572">2.2702262470000001</cx:pt>
          <cx:pt idx="6573">2.5566284050000001</cx:pt>
          <cx:pt idx="6574">2.834473</cx:pt>
          <cx:pt idx="6575">-3.9883828769999998</cx:pt>
          <cx:pt idx="6576">-4.2480228630000001</cx:pt>
          <cx:pt idx="6577">-4.4933767270000002</cx:pt>
          <cx:pt idx="6578">-4.7653367830000004</cx:pt>
          <cx:pt idx="6579">-5.3173830000000004</cx:pt>
          <cx:pt idx="6580">-4.1748050000000001</cx:pt>
          <cx:pt idx="6581">-8.9868159999999992</cx:pt>
          <cx:pt idx="6582">1.73584</cx:pt>
          <cx:pt idx="6583">-9.0087890000000002</cx:pt>
          <cx:pt idx="6584">21.379390000000001</cx:pt>
          <cx:pt idx="6585">-8.8330079999999995</cx:pt>
          <cx:pt idx="6586">41.132809999999999</cx:pt>
          <cx:pt idx="6587">97.331619970000006</cx:pt>
          <cx:pt idx="6588">98.217770000000002</cx:pt>
          <cx:pt idx="6589">85.55009767</cx:pt>
          <cx:pt idx="6590">85.451660000000004</cx:pt>
          <cx:pt idx="6591">38.408200000000001</cx:pt>
          <cx:pt idx="6592">19.81934</cx:pt>
          <cx:pt idx="6593">3.911133</cx:pt>
          <cx:pt idx="6594">-8.9648439999999994</cx:pt>
          <cx:pt idx="6595">-6.5698239999999997</cx:pt>
          <cx:pt idx="6596">5.5810550000000001</cx:pt>
          <cx:pt idx="6597">1.4716163739999999</cx:pt>
          <cx:pt idx="6598">0.39550780000000002</cx:pt>
          <cx:pt idx="6599">-8.6572270000000007</cx:pt>
          <cx:pt idx="6600">-8.4553816249999993</cx:pt>
          <cx:pt idx="6601">-8.2551534419999992</cx:pt>
          <cx:pt idx="6602">-7.6464840000000001</cx:pt>
          <cx:pt idx="6603">-2.6367189999999998</cx:pt>
          <cx:pt idx="6604">-8.5473630000000007</cx:pt>
          <cx:pt idx="6605">15.029299999999999</cx:pt>
          <cx:pt idx="6606">20.96191</cx:pt>
          <cx:pt idx="6607">4.249267229</cx:pt>
          <cx:pt idx="6608">4.1528320000000001</cx:pt>
          <cx:pt idx="6609">2.618239634</cx:pt>
          <cx:pt idx="6610">1.022263522</cx:pt>
          <cx:pt idx="6611">-0.54931640000000004</cx:pt>
          <cx:pt idx="6612">-0.29191303600000001</cx:pt>
          <cx:pt idx="6613">-0.2416992</cx:pt>
          <cx:pt idx="6614">-2.48291</cx:pt>
          <cx:pt idx="6615">-8.9868159999999992</cx:pt>
          <cx:pt idx="6616">11.25</cx:pt>
          <cx:pt idx="6617">43.330080000000002</cx:pt>
          <cx:pt idx="6618">37.705080000000002</cx:pt>
          <cx:pt idx="6619">15.358890000000001</cx:pt>
          <cx:pt idx="6620">46.032710000000002</cx:pt>
          <cx:pt idx="6621">126.05710000000001</cx:pt>
          <cx:pt idx="6622">100.459</cx:pt>
          <cx:pt idx="6623">67.80762</cx:pt>
          <cx:pt idx="6624">43.264159999999997</cx:pt>
          <cx:pt idx="6625">27.290040000000001</cx:pt>
          <cx:pt idx="6626">13.798830000000001</cx:pt>
          <cx:pt idx="6627">0.54931640000000004</cx:pt>
          <cx:pt idx="6628">0.9448242</cx:pt>
          <cx:pt idx="6629">0.038536002999999999</cx:pt>
          <cx:pt idx="6630">-3.0478263000000001</cx:pt>
          <cx:pt idx="6631">-3.2378485979999998</cx:pt>
          <cx:pt idx="6632">-3.4165968609999999</cx:pt>
          <cx:pt idx="6633">-3.599527411</cx:pt>
          <cx:pt idx="6634">-3.7810941769999999</cx:pt>
          <cx:pt idx="6635">-3.9641156620000002</cx:pt>
          <cx:pt idx="6636">-4.1442277089999999</cx:pt>
          <cx:pt idx="6637">-4.3286129999999998</cx:pt>
          <cx:pt idx="6638">0.065917970000000006</cx:pt>
          <cx:pt idx="6639">1.6699219999999999</cx:pt>
          <cx:pt idx="6640">63.071077150000001</cx:pt>
          <cx:pt idx="6641">63.193359999999998</cx:pt>
          <cx:pt idx="6642">48.867190000000001</cx:pt>
          <cx:pt idx="6643">25.268550000000001</cx:pt>
          <cx:pt idx="6644">44.165039999999998</cx:pt>
          <cx:pt idx="6645">42.143549999999998</cx:pt>
          <cx:pt idx="6646">29.86084</cx:pt>
          <cx:pt idx="6647">39.287109999999998</cx:pt>
          <cx:pt idx="6648">25.00488</cx:pt>
          <cx:pt idx="6649">3.0322269999999998</cx:pt>
          <cx:pt idx="6650">-3.8671880000000001</cx:pt>
          <cx:pt idx="6651">-3.5336200550000001</cx:pt>
          <cx:pt idx="6652">-3.4497070000000001</cx:pt>
          <cx:pt idx="6653">18.566890000000001</cx:pt>
          <cx:pt idx="6654">-8.9868159999999992</cx:pt>
          <cx:pt idx="6655">-8.1100625120000007</cx:pt>
          <cx:pt idx="6656">-6.3678535070000004</cx:pt>
          <cx:pt idx="6657">-5.8007809999999997</cx:pt>
          <cx:pt idx="6658">0.76904300000000003</cx:pt>
          <cx:pt idx="6659">2.48291</cx:pt>
          <cx:pt idx="6660">0.37353520000000001</cx:pt>
          <cx:pt idx="6661">57.96387</cx:pt>
          <cx:pt idx="6662">136.32271560000001</cx:pt>
          <cx:pt idx="6663">136.9556</cx:pt>
          <cx:pt idx="6664">114.47750000000001</cx:pt>
          <cx:pt idx="6665">77.607420000000005</cx:pt>
          <cx:pt idx="6666">49.174799999999998</cx:pt>
          <cx:pt idx="6667">32.980960000000003</cx:pt>
          <cx:pt idx="6668">16.787109999999998</cx:pt>
          <cx:pt idx="6669">1.40625</cx:pt>
          <cx:pt idx="6670">1.230469</cx:pt>
          <cx:pt idx="6671">39.265140000000002</cx:pt>
          <cx:pt idx="6672">49.438479999999998</cx:pt>
          <cx:pt idx="6673">15.84229</cx:pt>
          <cx:pt idx="6674">4.3725589999999999</cx:pt>
          <cx:pt idx="6675">-8.8330079999999995</cx:pt>
          <cx:pt idx="6676">4.1308590000000001</cx:pt>
          <cx:pt idx="6677">0.15380859999999999</cx:pt>
          <cx:pt idx="6678">-8.9868159999999992</cx:pt>
          <cx:pt idx="6679">83.320310000000006</cx:pt>
          <cx:pt idx="6680">154.1602</cx:pt>
          <cx:pt idx="6681">137.98830000000001</cx:pt>
          <cx:pt idx="6682">93.999020000000002</cx:pt>
          <cx:pt idx="6683">38.979489999999998</cx:pt>
          <cx:pt idx="6684">15.79834</cx:pt>
          <cx:pt idx="6685">0.61523439999999996</cx:pt>
          <cx:pt idx="6686">-0.47820703599999997</cx:pt>
          <cx:pt idx="6687">-0.92285159999999999</cx:pt>
          <cx:pt idx="6688">3.3398439999999998</cx:pt>
          <cx:pt idx="6689">-3.3178709999999998</cx:pt>
          <cx:pt idx="6690">-3.1729539400000002</cx:pt>
          <cx:pt idx="6691">-3.124526023</cx:pt>
          <cx:pt idx="6692">-3.0734334720000001</cx:pt>
          <cx:pt idx="6693">-2.8793062100000002</cx:pt>
          <cx:pt idx="6694">-2.831244989</cx:pt>
          <cx:pt idx="6695">-2.6356265109999999</cx:pt>
          <cx:pt idx="6696">-2.5868074550000002</cx:pt>
          <cx:pt idx="6697">-2.4392257599999998</cx:pt>
          <cx:pt idx="6698">-2.391164533</cx:pt>
          <cx:pt idx="6699">-2.2458563329999999</cx:pt>
          <cx:pt idx="6700">-2.1459447250000001</cx:pt>
          <cx:pt idx="6701">-2.145553585</cx:pt>
          <cx:pt idx="6702">-2.0978834979999998</cx:pt>
          <cx:pt idx="6703">-2.0002698300000001</cx:pt>
          <cx:pt idx="6704">-1.999512</cx:pt>
          <cx:pt idx="6705">-2.0330098410000002</cx:pt>
          <cx:pt idx="6706">-2.1250776309999999</cx:pt>
          <cx:pt idx="6707">-2.1335661500000001</cx:pt>
          <cx:pt idx="6708">-2.1752929999999999</cx:pt>
          <cx:pt idx="6709">35.96860599</cx:pt>
          <cx:pt idx="6710">73.240423210000003</cx:pt>
          <cx:pt idx="6711">73.828130000000002</cx:pt>
          <cx:pt idx="6712">33.156739999999999</cx:pt>
          <cx:pt idx="6713">24.075681450000001</cx:pt>
          <cx:pt idx="6714">15.205080000000001</cx:pt>
          <cx:pt idx="6715">1.296387</cx:pt>
          <cx:pt idx="6716">2.8125</cx:pt>
          <cx:pt idx="6717">-0.63720699999999997</cx:pt>
          <cx:pt idx="6718">6.5698239999999997</cx:pt>
          <cx:pt idx="6719">3.0848879409999999</cx:pt>
          <cx:pt idx="6720">-0.5932617</cx:pt>
          <cx:pt idx="6721">0.43945309999999999</cx:pt>
          <cx:pt idx="6722">30.695799999999998</cx:pt>
          <cx:pt idx="6723">10.17334</cx:pt>
          <cx:pt idx="6724">1.1425780000000001</cx:pt>
          <cx:pt idx="6725">-2.48291</cx:pt>
          <cx:pt idx="6726">-0.61523439999999996</cx:pt>
          <cx:pt idx="6727">-8.9868159999999992</cx:pt>
          <cx:pt idx="6728">-6.4469048259999999</cx:pt>
          <cx:pt idx="6729">-4.8894748750000003</cx:pt>
          <cx:pt idx="6730">-4.3864588219999998</cx:pt>
          <cx:pt idx="6731">1.2524409999999999</cx:pt>
          <cx:pt idx="6732">-0.2416992</cx:pt>
          <cx:pt idx="6733">4.3725589999999999</cx:pt>
          <cx:pt idx="6734">-1.186523</cx:pt>
          <cx:pt idx="6735">-8.9868159999999992</cx:pt>
          <cx:pt idx="6736">0.1757813</cx:pt>
          <cx:pt idx="6737">-2.6806640000000002</cx:pt>
          <cx:pt idx="6738">2.7685550000000001</cx:pt>
          <cx:pt idx="6739">2.175693264</cx:pt>
          <cx:pt idx="6740">2.1279315959999998</cx:pt>
          <cx:pt idx="6741">2.0826379899999998</cx:pt>
          <cx:pt idx="6742">2.039858159</cx:pt>
          <cx:pt idx="6743">1.9924621300000001</cx:pt>
          <cx:pt idx="6744">1.9471685240000001</cx:pt>
          <cx:pt idx="6745">1.8534276759999999</cx:pt>
          <cx:pt idx="6746">1.8099165639999999</cx:pt>
          <cx:pt idx="6747">1.625977</cx:pt>
          <cx:pt idx="6748">6.4819339999999999</cx:pt>
          <cx:pt idx="6749">-8.2177729999999993</cx:pt>
          <cx:pt idx="6750">-5.8553735409999996</cx:pt>
          <cx:pt idx="6751">-4.6882391849999996</cx:pt>
          <cx:pt idx="6752">-3.4277340000000001</cx:pt>
          <cx:pt idx="6753">-3.37145115</cx:pt>
          <cx:pt idx="6754">-3.3436492900000001</cx:pt>
          <cx:pt idx="6755">-3.2864750800000002</cx:pt>
          <cx:pt idx="6756">-3.2299799999999999</cx:pt>
          <cx:pt idx="6757">1.7578130000000001</cx:pt>
          <cx:pt idx="6758">-8.9868159999999992</cx:pt>
          <cx:pt idx="6759">15.44678</cx:pt>
          <cx:pt idx="6760">21.796880000000002</cx:pt>
          <cx:pt idx="6761">17.076333730000002</cx:pt>
          <cx:pt idx="6762">12.53461356</cx:pt>
          <cx:pt idx="6763">8.0639649999999996</cx:pt>
          <cx:pt idx="6764">6.9875723199999999</cx:pt>
          <cx:pt idx="6765">5.9357888909999996</cx:pt>
          <cx:pt idx="6766">3.7573240000000001</cx:pt>
          <cx:pt idx="6767">31.84042505</cx:pt>
          <cx:pt idx="6768">60.380859999999998</cx:pt>
          <cx:pt idx="6769">-6.7016600000000004</cx:pt>
          <cx:pt idx="6770">-1.032715</cx:pt>
          <cx:pt idx="6771">-8.9208979999999993</cx:pt>
          <cx:pt idx="6772">1.384277</cx:pt>
          <cx:pt idx="6773">3.515625</cx:pt>
          <cx:pt idx="6774">8.5913090000000008</cx:pt>
          <cx:pt idx="6775">51.56982</cx:pt>
          <cx:pt idx="6776">48.999020000000002</cx:pt>
          <cx:pt idx="6777">15.79834</cx:pt>
          <cx:pt idx="6778">3.1640630000000001</cx:pt>
          <cx:pt idx="6779">-0.070973193000000004</cx:pt>
          <cx:pt idx="6780">-0.087890629999999997</cx:pt>
          <cx:pt idx="6781">13.337400000000001</cx:pt>
          <cx:pt idx="6782">-8.9868159999999992</cx:pt>
          <cx:pt idx="6783">-1.010742</cx:pt>
          <cx:pt idx="6784">-0.91745005199999996</cx:pt>
          <cx:pt idx="6785">-0.63864465299999995</cx:pt>
          <cx:pt idx="6786">-0.61523439999999996</cx:pt>
          <cx:pt idx="6787">-0.64102382099999999</cx:pt>
          <cx:pt idx="6788">-0.66582423300000004</cx:pt>
          <cx:pt idx="6789">-0.79101560000000004</cx:pt>
          <cx:pt idx="6790">-0.87969893300000002</cx:pt>
          <cx:pt idx="6791">-0.90148215700000001</cx:pt>
          <cx:pt idx="6792">-1.010585201</cx:pt>
          <cx:pt idx="6793">-1.0323684230000001</cx:pt>
          <cx:pt idx="6794">-1.0761108029999999</cx:pt>
          <cx:pt idx="6795">-1.1416364080000001</cx:pt>
          <cx:pt idx="6796">-1.1644532620000001</cx:pt>
          <cx:pt idx="6797">-1.186412421</cx:pt>
          <cx:pt idx="6798">-1.2521139610000001</cx:pt>
          <cx:pt idx="6799">-1.2744139999999999</cx:pt>
          <cx:pt idx="6800">-8.6352539999999998</cx:pt>
          <cx:pt idx="6801">1.3623050000000001</cx:pt>
          <cx:pt idx="6802">-4.921875</cx:pt>
          <cx:pt idx="6803">-0.68115230000000004</cx:pt>
          <cx:pt idx="6804">17.781317699999999</cx:pt>
          <cx:pt idx="6805">27.158200000000001</cx:pt>
          <cx:pt idx="6806">-8.8110350000000004</cx:pt>
          <cx:pt idx="6807">-3.6914060000000002</cx:pt>
          <cx:pt idx="6808">-1.555497651</cx:pt>
          <cx:pt idx="6809">-0.48339840000000001</cx:pt>
          <cx:pt idx="6810">-4.3505859999999998</cx:pt>
          <cx:pt idx="6811">1.2744139999999999</cx:pt>
          <cx:pt idx="6812">-0.95425249599999995</cx:pt>
          <cx:pt idx="6813">-3.3826746110000001</cx:pt>
          <cx:pt idx="6814">-5.6647640729999997</cx:pt>
          <cx:pt idx="6815">-8.0200200000000006</cx:pt>
          <cx:pt idx="6816">-6.4842411049999997</cx:pt>
          <cx:pt idx="6817">-4.924621771</cx:pt>
          <cx:pt idx="6818">-0.32958979999999999</cx:pt>
          <cx:pt idx="6819">-0.30906440899999998</cx:pt>
          <cx:pt idx="6820">-0.30761719999999998</cx:pt>
          <cx:pt idx="6821">-5.3436551229999996</cx:pt>
          <cx:pt idx="6822">-7.8222659999999999</cx:pt>
          <cx:pt idx="6823">1.5600590000000001</cx:pt>
          <cx:pt idx="6824">1.2803464870000001</cx:pt>
          <cx:pt idx="6825">0.99514942799999995</cx:pt>
          <cx:pt idx="6826">0.71656197200000005</cx:pt>
          <cx:pt idx="6827">0.57614320399999996</cx:pt>
          <cx:pt idx="6828">0.15931673399999999</cx:pt>
          <cx:pt idx="6829">-0.26299430000000001</cx:pt>
          <cx:pt idx="6830">-0.40453810800000001</cx:pt>
          <cx:pt idx="6831">-0.54383183599999996</cx:pt>
          <cx:pt idx="6832">-0.54931640000000004</cx:pt>
          <cx:pt idx="6833">0.02536128</cx:pt>
          <cx:pt idx="6834">0.32729100900000002</cx:pt>
          <cx:pt idx="6835">0.611307194</cx:pt>
          <cx:pt idx="6836">0.88391069200000005</cx:pt>
          <cx:pt idx="6837">1.4698565720000001</cx:pt>
          <cx:pt idx="6838">1.4721679999999999</cx:pt>
          <cx:pt idx="6839">34.138348440000001</cx:pt>
          <cx:pt idx="6840">65.324709999999996</cx:pt>
          <cx:pt idx="6841">130.166</cx:pt>
          <cx:pt idx="6842">112.87350000000001</cx:pt>
          <cx:pt idx="6843">40.737299999999998</cx:pt>
          <cx:pt idx="6844">78.486329999999995</cx:pt>
          <cx:pt idx="6845">52.822270000000003</cx:pt>
          <cx:pt idx="6846">24.873049999999999</cx:pt>
          <cx:pt idx="6847">8.1958009999999994</cx:pt>
          <cx:pt idx="6848">4.7900390000000002</cx:pt>
          <cx:pt idx="6849">-8.9868159999999992</cx:pt>
          <cx:pt idx="6850">-1.1645509999999999</cx:pt>
          <cx:pt idx="6851">-8.9868159999999992</cx:pt>
          <cx:pt idx="6852">-7.1630980959999997</cx:pt>
          <cx:pt idx="6853">-1.752966483</cx:pt>
          <cx:pt idx="6854">-1.1496925629999999</cx:pt>
          <cx:pt idx="6855">-0.53705388099999996</cx:pt>
          <cx:pt idx="6856">0.065917970000000006</cx:pt>
          <cx:pt idx="6857">-0.1757813</cx:pt>
          <cx:pt idx="6858">2.3264078289999999</cx:pt>
          <cx:pt idx="6859">2.3291019999999998</cx:pt>
          <cx:pt idx="6860">2.443684465</cx:pt>
          <cx:pt idx="6861">2.5628502179999999</cx:pt>
          <cx:pt idx="6862">2.6783728490000001</cx:pt>
          <cx:pt idx="6863">3.0322269999999998</cx:pt>
          <cx:pt idx="6864">-2.6147459999999998</cx:pt>
          <cx:pt idx="6865">42.626950000000001</cx:pt>
          <cx:pt idx="6866">58.293460000000003</cx:pt>
          <cx:pt idx="6867">-8.6791990000000006</cx:pt>
          <cx:pt idx="6868">46.56006</cx:pt>
          <cx:pt idx="6869">88.374020000000002</cx:pt>
          <cx:pt idx="6870">74.157709999999994</cx:pt>
          <cx:pt idx="6871">18.89648</cx:pt>
          <cx:pt idx="6872">21.906739999999999</cx:pt>
          <cx:pt idx="6873">-5.603027</cx:pt>
          <cx:pt idx="6874">-6.6796879999999996</cx:pt>
          <cx:pt idx="6875">15.358890000000001</cx:pt>
          <cx:pt idx="6876">50.712890000000002</cx:pt>
          <cx:pt idx="6877">21.906739999999999</cx:pt>
          <cx:pt idx="6878">13.44727</cx:pt>
          <cx:pt idx="6879">-8.9868159999999992</cx:pt>
          <cx:pt idx="6880">5.4711910000000001</cx:pt>
          <cx:pt idx="6881">-8.9868159999999992</cx:pt>
          <cx:pt idx="6882">-2.4361030129999999</cx:pt>
          <cx:pt idx="6883">11.03027</cx:pt>
          <cx:pt idx="6884">-4.7460940000000003</cx:pt>
          <cx:pt idx="6885">0.85693359999999996</cx:pt>
          <cx:pt idx="6886">0.90608059299999999</cx:pt>
          <cx:pt idx="6887">0.922338879</cx:pt>
          <cx:pt idx="6888">0.92285159999999999</cx:pt>
          <cx:pt idx="6889">23.670820849999998</cx:pt>
          <cx:pt idx="6890">23.840330000000002</cx:pt>
          <cx:pt idx="6891">8.1518549999999994</cx:pt>
          <cx:pt idx="6892">0</cx:pt>
          <cx:pt idx="6893">-1.911621</cx:pt>
          <cx:pt idx="6894">-8.9428710000000002</cx:pt>
          <cx:pt idx="6895">-7.4485271749999997</cx:pt>
          <cx:pt idx="6896">-5.9268492689999999</cx:pt>
          <cx:pt idx="6897">-5.429821295</cx:pt>
          <cx:pt idx="6898">-2.9223629999999998</cx:pt>
          <cx:pt idx="6899">17.556149999999999</cx:pt>
          <cx:pt idx="6900">-8.9868159999999992</cx:pt>
          <cx:pt idx="6901">-3.9732685929999998</cx:pt>
          <cx:pt idx="6902">-2.48291</cx:pt>
          <cx:pt idx="6903">4.196777</cx:pt>
          <cx:pt idx="6904">-1.2744139999999999</cx:pt>
          <cx:pt idx="6905">18.808589999999999</cx:pt>
          <cx:pt idx="6906">0.73399234899999999</cx:pt>
          <cx:pt idx="6907">0.30761719999999998</cx:pt>
          <cx:pt idx="6908">1.1206050000000001</cx:pt>
          <cx:pt idx="6909">-3.7573240000000001</cx:pt>
          <cx:pt idx="6910">-0.79101560000000004</cx:pt>
          <cx:pt idx="6911">-0.112933308</cx:pt>
          <cx:pt idx="6912">-0.1098633</cx:pt>
          <cx:pt idx="6913">-8.8989259999999994</cx:pt>
          <cx:pt idx="6914">-4.175209357</cx:pt>
          <cx:pt idx="6915">-2.513858033</cx:pt>
          <cx:pt idx="6916">2.2346906830000002</cx:pt>
          <cx:pt idx="6917">2.2851560000000002</cx:pt>
          <cx:pt idx="6918">-8.8542867760000004</cx:pt>
          <cx:pt idx="6919">-8.9428710000000002</cx:pt>
          <cx:pt idx="6920">-8.3957003859999997</cx:pt>
          <cx:pt idx="6921">-8.3870017380000004</cx:pt>
          <cx:pt idx="6922">-3.3398439999999998</cx:pt>
          <cx:pt idx="6923">-8.6132810000000006</cx:pt>
          <cx:pt idx="6924">-3.3837890000000002</cx:pt>
          <cx:pt idx="6925">-5.646973</cx:pt>
          <cx:pt idx="6926">-0.68115230000000004</cx:pt>
          <cx:pt idx="6927">-1.582031</cx:pt>
          <cx:pt idx="6928">2.9003909999999999</cx:pt>
          <cx:pt idx="6929">17.468260000000001</cx:pt>
          <cx:pt idx="6930">3.6035159999999999</cx:pt>
          <cx:pt idx="6931">-4.1748050000000001</cx:pt>
          <cx:pt idx="6932">-1.8676759999999999</cx:pt>
        </cx:lvl>
      </cx:numDim>
    </cx:data>
    <cx:data id="2">
      <cx:numDim type="val">
        <cx:f>'Desalination_Unit_Data (3)'!$C$3:$C$7000</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1</cx:pt>
          <cx:pt idx="351">-1</cx:pt>
          <cx:pt idx="352">-1</cx:pt>
          <cx:pt idx="353">-1</cx:pt>
          <cx:pt idx="354">-1</cx:pt>
          <cx:pt idx="355">-1</cx:pt>
          <cx:pt idx="356">-1</cx:pt>
          <cx:pt idx="357">-1</cx:pt>
          <cx:pt idx="358">-1</cx:pt>
          <cx:pt idx="359">-1</cx:pt>
          <cx:pt idx="360">-1</cx:pt>
          <cx:pt idx="361">-1</cx:pt>
          <cx:pt idx="362">-1</cx:pt>
          <cx:pt idx="363">-1</cx:pt>
          <cx:pt idx="364">-1</cx:pt>
          <cx:pt idx="365">-1</cx:pt>
          <cx:pt idx="366">-1</cx:pt>
          <cx:pt idx="367">-1</cx:pt>
          <cx:pt idx="368">-1</cx:pt>
          <cx:pt idx="369">-1</cx:pt>
          <cx:pt idx="370">-1</cx:pt>
          <cx:pt idx="371">-1</cx:pt>
          <cx:pt idx="372">-1</cx:pt>
          <cx:pt idx="373">-1</cx:pt>
          <cx:pt idx="374">-1</cx:pt>
          <cx:pt idx="375">-1</cx:pt>
          <cx:pt idx="376">-1</cx:pt>
          <cx:pt idx="377">-1</cx:pt>
          <cx:pt idx="378">-1</cx:pt>
          <cx:pt idx="379">-1</cx:pt>
          <cx:pt idx="380">-1</cx:pt>
          <cx:pt idx="381">-1</cx:pt>
          <cx:pt idx="382">-1</cx:pt>
          <cx:pt idx="383">-1</cx:pt>
          <cx:pt idx="384">-1</cx:pt>
          <cx:pt idx="385">-1</cx:pt>
          <cx:pt idx="386">-1</cx:pt>
          <cx:pt idx="387">-1</cx:pt>
          <cx:pt idx="388">-1</cx:pt>
          <cx:pt idx="389">-1</cx:pt>
          <cx:pt idx="390">-1</cx:pt>
          <cx:pt idx="391">-1</cx:pt>
          <cx:pt idx="392">-1</cx:pt>
          <cx:pt idx="393">-1</cx:pt>
          <cx:pt idx="394">-1</cx:pt>
          <cx:pt idx="395">-1</cx:pt>
          <cx:pt idx="396">-1</cx:pt>
          <cx:pt idx="397">-1</cx:pt>
          <cx:pt idx="398">-1</cx:pt>
          <cx:pt idx="399">-1</cx:pt>
          <cx:pt idx="400">-1</cx:pt>
          <cx:pt idx="401">-1</cx:pt>
          <cx:pt idx="402">-1</cx:pt>
          <cx:pt idx="403">-1</cx:pt>
          <cx:pt idx="404">-1</cx:pt>
          <cx:pt idx="405">-1</cx:pt>
          <cx:pt idx="406">-1</cx:pt>
          <cx:pt idx="407">-1</cx:pt>
          <cx:pt idx="408">-1</cx:pt>
          <cx:pt idx="409">-1</cx:pt>
          <cx:pt idx="410">-1</cx:pt>
          <cx:pt idx="411">-1</cx:pt>
          <cx:pt idx="412">-1</cx:pt>
          <cx:pt idx="413">-1</cx:pt>
          <cx:pt idx="414">-1</cx:pt>
          <cx:pt idx="415">-1</cx:pt>
          <cx:pt idx="416">-1</cx:pt>
          <cx:pt idx="417">-1</cx:pt>
          <cx:pt idx="418">-1</cx:pt>
          <cx:pt idx="419">-1</cx:pt>
          <cx:pt idx="420">-1</cx:pt>
          <cx:pt idx="421">-1</cx:pt>
          <cx:pt idx="422">-1</cx:pt>
          <cx:pt idx="423">-1</cx:pt>
          <cx:pt idx="424">-1</cx:pt>
          <cx:pt idx="425">-1</cx:pt>
          <cx:pt idx="426">-1</cx:pt>
          <cx:pt idx="427">-1</cx:pt>
          <cx:pt idx="428">-1</cx:pt>
          <cx:pt idx="429">-1</cx:pt>
          <cx:pt idx="430">-1</cx:pt>
          <cx:pt idx="431">-1</cx:pt>
          <cx:pt idx="432">-1</cx:pt>
          <cx:pt idx="433">-1</cx:pt>
          <cx:pt idx="434">-1</cx:pt>
          <cx:pt idx="435">-1</cx:pt>
          <cx:pt idx="436">-1</cx:pt>
          <cx:pt idx="437">-1</cx:pt>
          <cx:pt idx="438">-1</cx:pt>
          <cx:pt idx="439">-1</cx:pt>
          <cx:pt idx="440">-1</cx:pt>
          <cx:pt idx="441">-1</cx:pt>
          <cx:pt idx="442">-1</cx:pt>
          <cx:pt idx="443">-1</cx:pt>
          <cx:pt idx="444">-1</cx:pt>
          <cx:pt idx="445">-1</cx:pt>
          <cx:pt idx="446">-1</cx:pt>
          <cx:pt idx="447">-1</cx:pt>
          <cx:pt idx="448">-1</cx:pt>
          <cx:pt idx="449">-1</cx:pt>
          <cx:pt idx="450">-1</cx:pt>
          <cx:pt idx="451">-1</cx:pt>
          <cx:pt idx="452">-1</cx:pt>
          <cx:pt idx="453">-1</cx:pt>
          <cx:pt idx="454">-1</cx:pt>
          <cx:pt idx="455">-1</cx:pt>
          <cx:pt idx="456">-1</cx:pt>
          <cx:pt idx="457">-1</cx:pt>
          <cx:pt idx="458">-1</cx:pt>
          <cx:pt idx="459">-1</cx:pt>
          <cx:pt idx="460">-1</cx:pt>
          <cx:pt idx="461">-1</cx:pt>
          <cx:pt idx="462">-1</cx:pt>
          <cx:pt idx="463">-1</cx:pt>
          <cx:pt idx="464">-1</cx:pt>
          <cx:pt idx="465">-1</cx:pt>
          <cx:pt idx="466">-1</cx:pt>
          <cx:pt idx="467">-1</cx:pt>
          <cx:pt idx="468">-1</cx:pt>
          <cx:pt idx="469">-1</cx:pt>
          <cx:pt idx="470">-1</cx:pt>
          <cx:pt idx="471">-1</cx:pt>
          <cx:pt idx="472">-1</cx:pt>
          <cx:pt idx="473">-1</cx:pt>
          <cx:pt idx="474">-1</cx:pt>
          <cx:pt idx="475">-1</cx:pt>
          <cx:pt idx="476">-1</cx:pt>
          <cx:pt idx="477">-1</cx:pt>
          <cx:pt idx="478">-1</cx:pt>
          <cx:pt idx="479">-1</cx:pt>
          <cx:pt idx="480">-1</cx:pt>
          <cx:pt idx="481">-1</cx:pt>
          <cx:pt idx="482">-1</cx:pt>
          <cx:pt idx="483">-1</cx:pt>
          <cx:pt idx="484">-1</cx:pt>
          <cx:pt idx="485">-1</cx:pt>
          <cx:pt idx="486">-1</cx:pt>
          <cx:pt idx="487">-1</cx:pt>
          <cx:pt idx="488">-1</cx:pt>
          <cx:pt idx="489">-1</cx:pt>
          <cx:pt idx="490">-1</cx:pt>
          <cx:pt idx="491">-1</cx:pt>
          <cx:pt idx="492">-1</cx:pt>
          <cx:pt idx="493">-1</cx:pt>
          <cx:pt idx="494">-1</cx:pt>
          <cx:pt idx="495">-1</cx:pt>
          <cx:pt idx="496">-1</cx:pt>
          <cx:pt idx="497">-1</cx:pt>
          <cx:pt idx="498">-1</cx:pt>
          <cx:pt idx="499">-1</cx:pt>
          <cx:pt idx="500">-1</cx:pt>
          <cx:pt idx="501">-1</cx:pt>
          <cx:pt idx="502">-1</cx:pt>
          <cx:pt idx="503">-1</cx:pt>
          <cx:pt idx="504">-1</cx:pt>
          <cx:pt idx="505">-1</cx:pt>
          <cx:pt idx="506">-1</cx:pt>
          <cx:pt idx="507">-1</cx:pt>
          <cx:pt idx="508">-1</cx:pt>
          <cx:pt idx="509">-1</cx:pt>
          <cx:pt idx="510">-1</cx:pt>
          <cx:pt idx="511">-1</cx:pt>
          <cx:pt idx="512">-1</cx:pt>
          <cx:pt idx="513">-1</cx:pt>
          <cx:pt idx="514">-1</cx:pt>
          <cx:pt idx="515">-1</cx:pt>
          <cx:pt idx="516">-1</cx:pt>
          <cx:pt idx="517">-1</cx:pt>
          <cx:pt idx="518">-1</cx:pt>
          <cx:pt idx="519">-1</cx:pt>
          <cx:pt idx="520">-1</cx:pt>
          <cx:pt idx="521">-1</cx:pt>
          <cx:pt idx="522">-1</cx:pt>
          <cx:pt idx="523">-1</cx:pt>
          <cx:pt idx="524">-1</cx:pt>
          <cx:pt idx="525">-1</cx:pt>
          <cx:pt idx="526">-1</cx:pt>
          <cx:pt idx="527">-1</cx:pt>
          <cx:pt idx="528">-1</cx:pt>
          <cx:pt idx="529">-1</cx:pt>
          <cx:pt idx="530">-1</cx:pt>
          <cx:pt idx="531">-1</cx:pt>
          <cx:pt idx="532">-1</cx:pt>
          <cx:pt idx="533">-1</cx:pt>
          <cx:pt idx="534">-1</cx:pt>
          <cx:pt idx="535">-1</cx:pt>
          <cx:pt idx="536">-1</cx:pt>
          <cx:pt idx="537">-1</cx:pt>
          <cx:pt idx="538">-1</cx:pt>
          <cx:pt idx="539">-1</cx:pt>
          <cx:pt idx="540">-1</cx:pt>
          <cx:pt idx="541">-1</cx:pt>
          <cx:pt idx="542">-1</cx:pt>
          <cx:pt idx="543">-1</cx:pt>
          <cx:pt idx="544">-1</cx:pt>
          <cx:pt idx="545">-1</cx:pt>
          <cx:pt idx="546">-1</cx:pt>
          <cx:pt idx="547">-1</cx:pt>
          <cx:pt idx="548">-1</cx:pt>
          <cx:pt idx="549">-1</cx:pt>
          <cx:pt idx="550">-1</cx:pt>
          <cx:pt idx="551">-1</cx:pt>
          <cx:pt idx="552">-1</cx:pt>
          <cx:pt idx="553">-1</cx:pt>
          <cx:pt idx="554">-1</cx:pt>
          <cx:pt idx="555">-1</cx:pt>
          <cx:pt idx="556">-1</cx:pt>
          <cx:pt idx="557">-1</cx:pt>
          <cx:pt idx="558">-1</cx:pt>
          <cx:pt idx="559">-1</cx:pt>
          <cx:pt idx="560">-1</cx:pt>
          <cx:pt idx="561">-1</cx:pt>
          <cx:pt idx="562">-1</cx:pt>
          <cx:pt idx="563">-1</cx:pt>
          <cx:pt idx="564">-1</cx:pt>
          <cx:pt idx="565">-1</cx:pt>
          <cx:pt idx="566">-1</cx:pt>
          <cx:pt idx="567">-1</cx:pt>
          <cx:pt idx="568">-1</cx:pt>
          <cx:pt idx="569">-1</cx:pt>
          <cx:pt idx="570">-1</cx:pt>
          <cx:pt idx="571">-1</cx:pt>
          <cx:pt idx="572">-1</cx:pt>
          <cx:pt idx="573">-1</cx:pt>
          <cx:pt idx="574">-1</cx:pt>
          <cx:pt idx="575">-1</cx:pt>
          <cx:pt idx="576">-1</cx:pt>
          <cx:pt idx="577">-1</cx:pt>
          <cx:pt idx="578">-1</cx:pt>
          <cx:pt idx="579">-1</cx:pt>
          <cx:pt idx="580">-1</cx:pt>
          <cx:pt idx="581">-1</cx:pt>
          <cx:pt idx="582">-1</cx:pt>
          <cx:pt idx="583">-1</cx:pt>
          <cx:pt idx="584">-1</cx:pt>
          <cx:pt idx="585">-1</cx:pt>
          <cx:pt idx="586">-1</cx:pt>
          <cx:pt idx="587">-1</cx:pt>
          <cx:pt idx="588">-1</cx:pt>
          <cx:pt idx="589">-1</cx:pt>
          <cx:pt idx="590">-1</cx:pt>
          <cx:pt idx="591">-1</cx:pt>
          <cx:pt idx="592">-1</cx:pt>
          <cx:pt idx="593">-1</cx:pt>
          <cx:pt idx="594">-1</cx:pt>
          <cx:pt idx="595">-1</cx:pt>
          <cx:pt idx="596">-1</cx:pt>
          <cx:pt idx="597">-1</cx:pt>
          <cx:pt idx="598">-1</cx:pt>
          <cx:pt idx="599">-1</cx:pt>
          <cx:pt idx="600">-1</cx:pt>
          <cx:pt idx="601">-1</cx:pt>
          <cx:pt idx="602">-1</cx:pt>
          <cx:pt idx="603">-1</cx:pt>
          <cx:pt idx="604">-1</cx:pt>
          <cx:pt idx="605">-1</cx:pt>
          <cx:pt idx="606">-1</cx:pt>
          <cx:pt idx="607">-1</cx:pt>
          <cx:pt idx="608">-1</cx:pt>
          <cx:pt idx="609">-1</cx:pt>
          <cx:pt idx="610">-1</cx:pt>
          <cx:pt idx="611">-1</cx:pt>
          <cx:pt idx="612">-1</cx:pt>
          <cx:pt idx="613">-1</cx:pt>
          <cx:pt idx="614">-1</cx:pt>
          <cx:pt idx="615">-1</cx:pt>
          <cx:pt idx="616">-1</cx:pt>
          <cx:pt idx="617">-1</cx:pt>
          <cx:pt idx="618">-1</cx:pt>
          <cx:pt idx="619">-1</cx:pt>
          <cx:pt idx="620">-1</cx:pt>
          <cx:pt idx="621">-1</cx:pt>
          <cx:pt idx="622">-1</cx:pt>
          <cx:pt idx="623">-1</cx:pt>
          <cx:pt idx="624">-1</cx:pt>
          <cx:pt idx="625">-1</cx:pt>
          <cx:pt idx="626">-1</cx:pt>
          <cx:pt idx="627">-1</cx:pt>
          <cx:pt idx="628">-1</cx:pt>
          <cx:pt idx="629">-1</cx:pt>
          <cx:pt idx="630">-1</cx:pt>
          <cx:pt idx="631">-1</cx:pt>
          <cx:pt idx="632">-1</cx:pt>
          <cx:pt idx="633">-1</cx:pt>
          <cx:pt idx="634">-1</cx:pt>
          <cx:pt idx="635">-1</cx:pt>
          <cx:pt idx="636">-1</cx:pt>
          <cx:pt idx="637">-1</cx:pt>
          <cx:pt idx="638">-1</cx:pt>
          <cx:pt idx="639">-1</cx:pt>
          <cx:pt idx="640">-1</cx:pt>
          <cx:pt idx="641">-1</cx:pt>
          <cx:pt idx="642">-1</cx:pt>
          <cx:pt idx="643">-1</cx:pt>
          <cx:pt idx="644">-1</cx:pt>
          <cx:pt idx="645">-1</cx:pt>
          <cx:pt idx="646">-1</cx:pt>
          <cx:pt idx="647">-1</cx:pt>
          <cx:pt idx="648">-1</cx:pt>
          <cx:pt idx="649">-1</cx:pt>
          <cx:pt idx="650">-1</cx:pt>
          <cx:pt idx="651">-1</cx:pt>
          <cx:pt idx="652">-1</cx:pt>
          <cx:pt idx="653">-1</cx:pt>
          <cx:pt idx="654">-1</cx:pt>
          <cx:pt idx="655">-1</cx:pt>
          <cx:pt idx="656">-1</cx:pt>
          <cx:pt idx="657">-1</cx:pt>
          <cx:pt idx="658">-1</cx:pt>
          <cx:pt idx="659">-1</cx:pt>
          <cx:pt idx="660">-1</cx:pt>
          <cx:pt idx="661">-1</cx:pt>
          <cx:pt idx="662">-1</cx:pt>
          <cx:pt idx="663">-1</cx:pt>
          <cx:pt idx="664">-1</cx:pt>
          <cx:pt idx="665">-1</cx:pt>
          <cx:pt idx="666">-1</cx:pt>
          <cx:pt idx="667">-1</cx:pt>
          <cx:pt idx="668">-1</cx:pt>
          <cx:pt idx="669">-1</cx:pt>
          <cx:pt idx="670">-1</cx:pt>
          <cx:pt idx="671">-1</cx:pt>
          <cx:pt idx="672">-1</cx:pt>
          <cx:pt idx="673">-1</cx:pt>
          <cx:pt idx="674">-1</cx:pt>
          <cx:pt idx="675">-1</cx:pt>
          <cx:pt idx="676">-1</cx:pt>
          <cx:pt idx="677">-1</cx:pt>
          <cx:pt idx="678">-1</cx:pt>
          <cx:pt idx="679">-1</cx:pt>
          <cx:pt idx="680">-1</cx:pt>
          <cx:pt idx="681">-1</cx:pt>
          <cx:pt idx="682">-1</cx:pt>
          <cx:pt idx="683">-1</cx:pt>
          <cx:pt idx="684">-1</cx:pt>
          <cx:pt idx="685">-1</cx:pt>
          <cx:pt idx="686">-1</cx:pt>
          <cx:pt idx="687">-1</cx:pt>
          <cx:pt idx="688">-1</cx:pt>
          <cx:pt idx="689">-1</cx:pt>
          <cx:pt idx="690">-1</cx:pt>
          <cx:pt idx="691">-1</cx:pt>
          <cx:pt idx="692">-1</cx:pt>
          <cx:pt idx="693">-1</cx:pt>
          <cx:pt idx="694">-1</cx:pt>
          <cx:pt idx="695">-1</cx:pt>
          <cx:pt idx="696">-1</cx:pt>
          <cx:pt idx="697">-1</cx:pt>
          <cx:pt idx="698">-1</cx:pt>
          <cx:pt idx="699">-1</cx:pt>
          <cx:pt idx="700">-1</cx:pt>
          <cx:pt idx="701">-1</cx:pt>
          <cx:pt idx="702">-1</cx:pt>
          <cx:pt idx="703">-1</cx:pt>
          <cx:pt idx="704">-1</cx:pt>
          <cx:pt idx="705">-1</cx:pt>
          <cx:pt idx="706">-1</cx:pt>
          <cx:pt idx="707">-1</cx:pt>
          <cx:pt idx="708">-1</cx:pt>
          <cx:pt idx="709">-1</cx:pt>
          <cx:pt idx="710">-1</cx:pt>
          <cx:pt idx="711">-1</cx:pt>
          <cx:pt idx="712">-1</cx:pt>
          <cx:pt idx="713">-1</cx:pt>
          <cx:pt idx="714">-1</cx:pt>
          <cx:pt idx="715">-1</cx:pt>
          <cx:pt idx="716">-1</cx:pt>
          <cx:pt idx="717">-1</cx:pt>
          <cx:pt idx="718">-1</cx:pt>
          <cx:pt idx="719">-1</cx:pt>
          <cx:pt idx="720">-1</cx:pt>
          <cx:pt idx="721">-1</cx:pt>
          <cx:pt idx="722">-1</cx:pt>
          <cx:pt idx="723">-1</cx:pt>
          <cx:pt idx="724">-1</cx:pt>
          <cx:pt idx="725">-1</cx:pt>
          <cx:pt idx="726">-1</cx:pt>
          <cx:pt idx="727">-1</cx:pt>
          <cx:pt idx="728">-1</cx:pt>
          <cx:pt idx="729">-1</cx:pt>
          <cx:pt idx="730">-1</cx:pt>
          <cx:pt idx="731">-1</cx:pt>
          <cx:pt idx="732">-1</cx:pt>
          <cx:pt idx="733">-1</cx:pt>
          <cx:pt idx="734">-1</cx:pt>
          <cx:pt idx="735">-1</cx:pt>
          <cx:pt idx="736">-1</cx:pt>
          <cx:pt idx="737">-1</cx:pt>
          <cx:pt idx="738">-1</cx:pt>
          <cx:pt idx="739">-1</cx:pt>
          <cx:pt idx="740">-1</cx:pt>
          <cx:pt idx="741">-1</cx:pt>
          <cx:pt idx="742">-1</cx:pt>
          <cx:pt idx="743">-1</cx:pt>
          <cx:pt idx="744">-1</cx:pt>
          <cx:pt idx="745">-1</cx:pt>
          <cx:pt idx="746">-1</cx:pt>
          <cx:pt idx="747">-1</cx:pt>
          <cx:pt idx="748">-1</cx:pt>
          <cx:pt idx="749">-1</cx:pt>
          <cx:pt idx="750">-1</cx:pt>
          <cx:pt idx="751">-1</cx:pt>
          <cx:pt idx="752">-1</cx:pt>
          <cx:pt idx="753">-1</cx:pt>
          <cx:pt idx="754">-1</cx:pt>
          <cx:pt idx="755">-1</cx:pt>
          <cx:pt idx="756">-1</cx:pt>
          <cx:pt idx="757">-1</cx:pt>
          <cx:pt idx="758">-1</cx:pt>
          <cx:pt idx="759">-1</cx:pt>
          <cx:pt idx="760">-1</cx:pt>
          <cx:pt idx="761">-1</cx:pt>
          <cx:pt idx="762">-1</cx:pt>
          <cx:pt idx="763">-1</cx:pt>
          <cx:pt idx="764">-1</cx:pt>
          <cx:pt idx="765">-1</cx:pt>
          <cx:pt idx="766">-1</cx:pt>
          <cx:pt idx="767">-1</cx:pt>
          <cx:pt idx="768">-1</cx:pt>
          <cx:pt idx="769">-1</cx:pt>
          <cx:pt idx="770">-1</cx:pt>
          <cx:pt idx="771">-1</cx:pt>
          <cx:pt idx="772">-1</cx:pt>
          <cx:pt idx="773">-1</cx:pt>
          <cx:pt idx="774">-1</cx:pt>
          <cx:pt idx="775">-1</cx:pt>
          <cx:pt idx="776">-1</cx:pt>
          <cx:pt idx="777">-1</cx:pt>
          <cx:pt idx="778">-1</cx:pt>
          <cx:pt idx="779">-1</cx:pt>
          <cx:pt idx="780">-1</cx:pt>
          <cx:pt idx="781">-1</cx:pt>
          <cx:pt idx="782">-1</cx:pt>
          <cx:pt idx="783">-1</cx:pt>
          <cx:pt idx="784">-1</cx:pt>
          <cx:pt idx="785">-1</cx:pt>
          <cx:pt idx="786">-1</cx:pt>
          <cx:pt idx="787">-1</cx:pt>
          <cx:pt idx="788">-1</cx:pt>
          <cx:pt idx="789">-1</cx:pt>
          <cx:pt idx="790">-1</cx:pt>
          <cx:pt idx="791">-1</cx:pt>
          <cx:pt idx="792">-1</cx:pt>
          <cx:pt idx="793">-1</cx:pt>
          <cx:pt idx="794">-1</cx:pt>
          <cx:pt idx="795">-1</cx:pt>
          <cx:pt idx="796">-1</cx:pt>
          <cx:pt idx="797">-1</cx:pt>
          <cx:pt idx="798">-1</cx:pt>
          <cx:pt idx="799">-1</cx:pt>
          <cx:pt idx="800">-1</cx:pt>
          <cx:pt idx="801">-1</cx:pt>
          <cx:pt idx="802">-1</cx:pt>
          <cx:pt idx="803">-1</cx:pt>
          <cx:pt idx="804">-1</cx:pt>
          <cx:pt idx="805">-1</cx:pt>
          <cx:pt idx="806">-1</cx:pt>
          <cx:pt idx="807">-1</cx:pt>
          <cx:pt idx="808">-1</cx:pt>
          <cx:pt idx="809">-1</cx:pt>
          <cx:pt idx="810">-1</cx:pt>
          <cx:pt idx="811">-1</cx:pt>
          <cx:pt idx="812">-1</cx:pt>
          <cx:pt idx="813">-1</cx:pt>
          <cx:pt idx="814">-1</cx:pt>
          <cx:pt idx="815">-1</cx:pt>
          <cx:pt idx="816">-1</cx:pt>
          <cx:pt idx="817">-1</cx:pt>
          <cx:pt idx="818">-1</cx:pt>
          <cx:pt idx="819">-1</cx:pt>
          <cx:pt idx="820">-1</cx:pt>
          <cx:pt idx="821">-1</cx:pt>
          <cx:pt idx="822">-1</cx:pt>
          <cx:pt idx="823">-1</cx:pt>
          <cx:pt idx="824">-1</cx:pt>
          <cx:pt idx="825">-1</cx:pt>
          <cx:pt idx="826">-1</cx:pt>
          <cx:pt idx="827">-1</cx:pt>
          <cx:pt idx="828">-1</cx:pt>
          <cx:pt idx="829">-1</cx:pt>
          <cx:pt idx="830">-1</cx:pt>
          <cx:pt idx="831">-1</cx:pt>
          <cx:pt idx="832">-1</cx:pt>
          <cx:pt idx="833">-1</cx:pt>
          <cx:pt idx="834">-1</cx:pt>
          <cx:pt idx="835">-1</cx:pt>
          <cx:pt idx="836">-1</cx:pt>
          <cx:pt idx="837">-1</cx:pt>
          <cx:pt idx="838">-1</cx:pt>
          <cx:pt idx="839">-1</cx:pt>
          <cx:pt idx="840">-1</cx:pt>
          <cx:pt idx="841">-1</cx:pt>
          <cx:pt idx="842">-1</cx:pt>
          <cx:pt idx="843">-1</cx:pt>
          <cx:pt idx="844">-1</cx:pt>
          <cx:pt idx="845">-1</cx:pt>
          <cx:pt idx="846">-1</cx:pt>
          <cx:pt idx="847">-1</cx:pt>
          <cx:pt idx="848">-1</cx:pt>
          <cx:pt idx="849">-1</cx:pt>
          <cx:pt idx="850">-1</cx:pt>
          <cx:pt idx="851">-1</cx:pt>
          <cx:pt idx="852">-1</cx:pt>
          <cx:pt idx="853">-1</cx:pt>
          <cx:pt idx="854">-1</cx:pt>
          <cx:pt idx="855">-1</cx:pt>
          <cx:pt idx="856">-1</cx:pt>
          <cx:pt idx="857">-1</cx:pt>
          <cx:pt idx="858">-1</cx:pt>
          <cx:pt idx="859">-1</cx:pt>
          <cx:pt idx="860">-1</cx:pt>
          <cx:pt idx="861">-1</cx:pt>
          <cx:pt idx="862">-1</cx:pt>
          <cx:pt idx="863">-1</cx:pt>
          <cx:pt idx="864">-1</cx:pt>
          <cx:pt idx="865">-1</cx:pt>
          <cx:pt idx="866">-1</cx:pt>
          <cx:pt idx="867">-1</cx:pt>
          <cx:pt idx="868">-1</cx:pt>
          <cx:pt idx="869">-1</cx:pt>
          <cx:pt idx="870">-1</cx:pt>
          <cx:pt idx="871">-1</cx:pt>
          <cx:pt idx="872">-1</cx:pt>
          <cx:pt idx="873">-1</cx:pt>
          <cx:pt idx="874">-1</cx:pt>
          <cx:pt idx="875">-1</cx:pt>
          <cx:pt idx="876">-1</cx:pt>
          <cx:pt idx="877">-1</cx:pt>
          <cx:pt idx="878">-1</cx:pt>
          <cx:pt idx="879">-1</cx:pt>
          <cx:pt idx="880">-1</cx:pt>
          <cx:pt idx="881">-1</cx:pt>
          <cx:pt idx="882">-1</cx:pt>
          <cx:pt idx="883">-1</cx:pt>
          <cx:pt idx="884">-1</cx:pt>
          <cx:pt idx="885">-1</cx:pt>
          <cx:pt idx="886">-1</cx:pt>
          <cx:pt idx="887">-1</cx:pt>
          <cx:pt idx="888">-1</cx:pt>
          <cx:pt idx="889">-1</cx:pt>
          <cx:pt idx="890">-1</cx:pt>
          <cx:pt idx="891">-1</cx:pt>
          <cx:pt idx="892">-1</cx:pt>
          <cx:pt idx="893">-1</cx:pt>
          <cx:pt idx="894">-1</cx:pt>
          <cx:pt idx="895">-1</cx:pt>
          <cx:pt idx="896">-1</cx:pt>
          <cx:pt idx="897">-1</cx:pt>
          <cx:pt idx="898">-1</cx:pt>
          <cx:pt idx="899">-1</cx:pt>
          <cx:pt idx="900">-1</cx:pt>
          <cx:pt idx="901">-1</cx:pt>
          <cx:pt idx="902">-1</cx:pt>
          <cx:pt idx="903">-1</cx:pt>
          <cx:pt idx="904">-1</cx:pt>
          <cx:pt idx="905">-1</cx:pt>
          <cx:pt idx="906">-1</cx:pt>
          <cx:pt idx="907">-1</cx:pt>
          <cx:pt idx="908">-1</cx:pt>
          <cx:pt idx="909">-1</cx:pt>
          <cx:pt idx="910">-1</cx:pt>
          <cx:pt idx="911">-1</cx:pt>
          <cx:pt idx="912">-1</cx:pt>
          <cx:pt idx="913">-1</cx:pt>
          <cx:pt idx="914">-1</cx:pt>
          <cx:pt idx="915">-1</cx:pt>
          <cx:pt idx="916">-1</cx:pt>
          <cx:pt idx="917">-1</cx:pt>
          <cx:pt idx="918">-1</cx:pt>
          <cx:pt idx="919">-1</cx:pt>
          <cx:pt idx="920">-1</cx:pt>
          <cx:pt idx="921">-1</cx:pt>
          <cx:pt idx="922">-1</cx:pt>
          <cx:pt idx="923">-1</cx:pt>
          <cx:pt idx="924">-1</cx:pt>
          <cx:pt idx="925">-1</cx:pt>
          <cx:pt idx="926">-1</cx:pt>
          <cx:pt idx="927">-1</cx:pt>
          <cx:pt idx="928">-1</cx:pt>
          <cx:pt idx="929">-1</cx:pt>
          <cx:pt idx="930">-1</cx:pt>
          <cx:pt idx="931">-1</cx:pt>
          <cx:pt idx="932">-1</cx:pt>
          <cx:pt idx="933">-1</cx:pt>
          <cx:pt idx="934">-1</cx:pt>
          <cx:pt idx="935">-1</cx:pt>
          <cx:pt idx="936">-1</cx:pt>
          <cx:pt idx="937">-1</cx:pt>
          <cx:pt idx="938">-1</cx:pt>
          <cx:pt idx="939">-1</cx:pt>
          <cx:pt idx="940">-1</cx:pt>
          <cx:pt idx="941">-1</cx:pt>
          <cx:pt idx="942">-1</cx:pt>
          <cx:pt idx="943">-1</cx:pt>
          <cx:pt idx="944">-1</cx:pt>
          <cx:pt idx="945">-1</cx:pt>
          <cx:pt idx="946">-1</cx:pt>
          <cx:pt idx="947">-1</cx:pt>
          <cx:pt idx="948">-1</cx:pt>
          <cx:pt idx="949">-1</cx:pt>
          <cx:pt idx="950">-1</cx:pt>
          <cx:pt idx="951">-1</cx:pt>
          <cx:pt idx="952">-1</cx:pt>
          <cx:pt idx="953">-1</cx:pt>
          <cx:pt idx="954">-1</cx:pt>
          <cx:pt idx="955">-1</cx:pt>
          <cx:pt idx="956">-1</cx:pt>
          <cx:pt idx="957">-1</cx:pt>
          <cx:pt idx="958">-1</cx:pt>
          <cx:pt idx="959">-1</cx:pt>
          <cx:pt idx="960">-1</cx:pt>
          <cx:pt idx="961">-1</cx:pt>
          <cx:pt idx="962">-1</cx:pt>
          <cx:pt idx="963">-1</cx:pt>
          <cx:pt idx="964">-1</cx:pt>
          <cx:pt idx="965">-1</cx:pt>
          <cx:pt idx="966">-1</cx:pt>
          <cx:pt idx="967">-1</cx:pt>
          <cx:pt idx="968">-1</cx:pt>
          <cx:pt idx="969">-1</cx:pt>
          <cx:pt idx="970">-1</cx:pt>
          <cx:pt idx="971">-1</cx:pt>
          <cx:pt idx="972">-1</cx:pt>
          <cx:pt idx="973">-1</cx:pt>
          <cx:pt idx="974">-1</cx:pt>
          <cx:pt idx="975">-1</cx:pt>
          <cx:pt idx="976">-1</cx:pt>
          <cx:pt idx="977">-1</cx:pt>
          <cx:pt idx="978">-1</cx:pt>
          <cx:pt idx="979">-1</cx:pt>
          <cx:pt idx="980">-1</cx:pt>
          <cx:pt idx="981">-1</cx:pt>
          <cx:pt idx="982">-1</cx:pt>
          <cx:pt idx="983">-1</cx:pt>
          <cx:pt idx="984">-1</cx:pt>
          <cx:pt idx="985">-1</cx:pt>
          <cx:pt idx="986">-1</cx:pt>
          <cx:pt idx="987">-1</cx:pt>
          <cx:pt idx="988">-1</cx:pt>
          <cx:pt idx="989">-1</cx:pt>
          <cx:pt idx="990">-1</cx:pt>
          <cx:pt idx="991">-1</cx:pt>
          <cx:pt idx="992">-1</cx:pt>
          <cx:pt idx="993">-1</cx:pt>
          <cx:pt idx="994">-1</cx:pt>
          <cx:pt idx="995">-1</cx:pt>
          <cx:pt idx="996">-1</cx:pt>
          <cx:pt idx="997">-1</cx:pt>
          <cx:pt idx="998">-1</cx:pt>
          <cx:pt idx="999">-1</cx:pt>
          <cx:pt idx="1000">-1</cx:pt>
          <cx:pt idx="1001">-1</cx:pt>
          <cx:pt idx="1002">-1</cx:pt>
          <cx:pt idx="1003">-1</cx:pt>
          <cx:pt idx="1004">-1</cx:pt>
          <cx:pt idx="1005">-1</cx:pt>
          <cx:pt idx="1006">-1</cx:pt>
          <cx:pt idx="1007">-1</cx:pt>
          <cx:pt idx="1008">-1</cx:pt>
          <cx:pt idx="1009">-1</cx:pt>
          <cx:pt idx="1010">-1</cx:pt>
          <cx:pt idx="1011">-1</cx:pt>
          <cx:pt idx="1012">-1</cx:pt>
          <cx:pt idx="1013">-1</cx:pt>
          <cx:pt idx="1014">-1</cx:pt>
          <cx:pt idx="1015">-1</cx:pt>
          <cx:pt idx="1016">-1</cx:pt>
          <cx:pt idx="1017">-1</cx:pt>
          <cx:pt idx="1018">-1</cx:pt>
          <cx:pt idx="1019">-1</cx:pt>
          <cx:pt idx="1020">-1</cx:pt>
          <cx:pt idx="1021">-1</cx:pt>
          <cx:pt idx="1022">-1</cx:pt>
          <cx:pt idx="1023">-1</cx:pt>
          <cx:pt idx="1024">-1</cx:pt>
          <cx:pt idx="1025">-1</cx:pt>
          <cx:pt idx="1026">-1</cx:pt>
          <cx:pt idx="1027">-1</cx:pt>
          <cx:pt idx="1028">-1</cx:pt>
          <cx:pt idx="1029">-1</cx:pt>
          <cx:pt idx="1030">-1</cx:pt>
          <cx:pt idx="1031">-1</cx:pt>
          <cx:pt idx="1032">-1</cx:pt>
          <cx:pt idx="1033">-1</cx:pt>
          <cx:pt idx="1034">-1</cx:pt>
          <cx:pt idx="1035">-1</cx:pt>
          <cx:pt idx="1036">-1</cx:pt>
          <cx:pt idx="1037">-1</cx:pt>
          <cx:pt idx="1038">-1</cx:pt>
          <cx:pt idx="1039">-1</cx:pt>
          <cx:pt idx="1040">-1</cx:pt>
          <cx:pt idx="1041">-1</cx:pt>
          <cx:pt idx="1042">-1</cx:pt>
          <cx:pt idx="1043">-1</cx:pt>
          <cx:pt idx="1044">-1</cx:pt>
          <cx:pt idx="1045">-1</cx:pt>
          <cx:pt idx="1046">-1</cx:pt>
          <cx:pt idx="1047">-1</cx:pt>
          <cx:pt idx="1048">-1</cx:pt>
          <cx:pt idx="1049">-1</cx:pt>
          <cx:pt idx="1050">-1</cx:pt>
          <cx:pt idx="1051">-1</cx:pt>
          <cx:pt idx="1052">-1</cx:pt>
          <cx:pt idx="1053">-1</cx:pt>
          <cx:pt idx="1054">-1</cx:pt>
          <cx:pt idx="1055">-1</cx:pt>
          <cx:pt idx="1056">-1</cx:pt>
          <cx:pt idx="1057">-1</cx:pt>
          <cx:pt idx="1058">-1</cx:pt>
          <cx:pt idx="1059">-1</cx:pt>
          <cx:pt idx="1060">-1</cx:pt>
          <cx:pt idx="1061">-1</cx:pt>
          <cx:pt idx="1062">-1</cx:pt>
          <cx:pt idx="1063">-1</cx:pt>
          <cx:pt idx="1064">-1</cx:pt>
          <cx:pt idx="1065">-1</cx:pt>
          <cx:pt idx="1066">-1</cx:pt>
          <cx:pt idx="1067">-1</cx:pt>
          <cx:pt idx="1068">-1</cx:pt>
          <cx:pt idx="1069">-1</cx:pt>
          <cx:pt idx="1070">-1</cx:pt>
          <cx:pt idx="1071">-1</cx:pt>
          <cx:pt idx="1072">-1</cx:pt>
          <cx:pt idx="1073">-1</cx:pt>
          <cx:pt idx="1074">-1</cx:pt>
          <cx:pt idx="1075">-1</cx:pt>
          <cx:pt idx="1076">-1</cx:pt>
          <cx:pt idx="1077">-1</cx:pt>
          <cx:pt idx="1078">-1</cx:pt>
          <cx:pt idx="1079">-1</cx:pt>
          <cx:pt idx="1080">-1</cx:pt>
          <cx:pt idx="1081">-1</cx:pt>
          <cx:pt idx="1082">-1</cx:pt>
          <cx:pt idx="1083">-1</cx:pt>
          <cx:pt idx="1084">-1</cx:pt>
          <cx:pt idx="1085">-1</cx:pt>
          <cx:pt idx="1086">-1</cx:pt>
          <cx:pt idx="1087">-1</cx:pt>
          <cx:pt idx="1088">-1</cx:pt>
          <cx:pt idx="1089">-1</cx:pt>
          <cx:pt idx="1090">-1</cx:pt>
          <cx:pt idx="1091">-1</cx:pt>
          <cx:pt idx="1092">-1</cx:pt>
          <cx:pt idx="1093">-1</cx:pt>
          <cx:pt idx="1094">-1</cx:pt>
          <cx:pt idx="1095">-1</cx:pt>
          <cx:pt idx="1096">-1</cx:pt>
          <cx:pt idx="1097">-1</cx:pt>
          <cx:pt idx="1098">-1</cx:pt>
          <cx:pt idx="1099">-1</cx:pt>
          <cx:pt idx="1100">-1</cx:pt>
          <cx:pt idx="1101">-1</cx:pt>
          <cx:pt idx="1102">-1</cx:pt>
          <cx:pt idx="1103">-1</cx:pt>
          <cx:pt idx="1104">-1</cx:pt>
          <cx:pt idx="1105">-1</cx:pt>
          <cx:pt idx="1106">-1</cx:pt>
          <cx:pt idx="1107">-1</cx:pt>
          <cx:pt idx="1108">-1</cx:pt>
          <cx:pt idx="1109">-1</cx:pt>
          <cx:pt idx="1110">-1</cx:pt>
          <cx:pt idx="1111">-1</cx:pt>
          <cx:pt idx="1112">-1</cx:pt>
          <cx:pt idx="1113">-1</cx:pt>
          <cx:pt idx="1114">-1</cx:pt>
          <cx:pt idx="1115">-1</cx:pt>
          <cx:pt idx="1116">-1</cx:pt>
          <cx:pt idx="1117">-1</cx:pt>
          <cx:pt idx="1118">-1</cx:pt>
          <cx:pt idx="1119">-1</cx:pt>
          <cx:pt idx="1120">-1</cx:pt>
          <cx:pt idx="1121">-1</cx:pt>
          <cx:pt idx="1122">-1</cx:pt>
          <cx:pt idx="1123">-1</cx:pt>
          <cx:pt idx="1124">-1</cx:pt>
          <cx:pt idx="1125">-1</cx:pt>
          <cx:pt idx="1126">-1</cx:pt>
          <cx:pt idx="1127">-1</cx:pt>
          <cx:pt idx="1128">-1</cx:pt>
          <cx:pt idx="1129">-1</cx:pt>
          <cx:pt idx="1130">-1</cx:pt>
          <cx:pt idx="1131">-1</cx:pt>
          <cx:pt idx="1132">-1</cx:pt>
          <cx:pt idx="1133">-1</cx:pt>
          <cx:pt idx="1134">-1</cx:pt>
          <cx:pt idx="1135">-1</cx:pt>
          <cx:pt idx="1136">-1</cx:pt>
          <cx:pt idx="1137">-1</cx:pt>
          <cx:pt idx="1138">-1</cx:pt>
          <cx:pt idx="1139">-1</cx:pt>
          <cx:pt idx="1140">-1</cx:pt>
          <cx:pt idx="1141">-1</cx:pt>
          <cx:pt idx="1142">-1</cx:pt>
          <cx:pt idx="1143">-1</cx:pt>
          <cx:pt idx="1144">-1</cx:pt>
          <cx:pt idx="1145">-1</cx:pt>
          <cx:pt idx="1146">-1</cx:pt>
          <cx:pt idx="1147">-1</cx:pt>
          <cx:pt idx="1148">-1</cx:pt>
          <cx:pt idx="1149">-1</cx:pt>
          <cx:pt idx="1150">-1</cx:pt>
          <cx:pt idx="1151">-1</cx:pt>
          <cx:pt idx="1152">-1</cx:pt>
          <cx:pt idx="1153">-1</cx:pt>
          <cx:pt idx="1154">-1</cx:pt>
          <cx:pt idx="1155">-1</cx:pt>
          <cx:pt idx="1156">-1</cx:pt>
          <cx:pt idx="1157">-1</cx:pt>
          <cx:pt idx="1158">-1</cx:pt>
          <cx:pt idx="1159">-1</cx:pt>
          <cx:pt idx="1160">-1</cx:pt>
          <cx:pt idx="1161">-1</cx:pt>
          <cx:pt idx="1162">-1</cx:pt>
          <cx:pt idx="1163">-1</cx:pt>
          <cx:pt idx="1164">-1</cx:pt>
          <cx:pt idx="1165">-1</cx:pt>
          <cx:pt idx="1166">-1</cx:pt>
          <cx:pt idx="1167">-1</cx:pt>
          <cx:pt idx="1168">-1</cx:pt>
          <cx:pt idx="1169">-1</cx:pt>
          <cx:pt idx="1170">-1</cx:pt>
          <cx:pt idx="1171">-1</cx:pt>
          <cx:pt idx="1172">-1</cx:pt>
          <cx:pt idx="1173">-1</cx:pt>
          <cx:pt idx="1174">-1</cx:pt>
          <cx:pt idx="1175">-1</cx:pt>
          <cx:pt idx="1176">-1</cx:pt>
          <cx:pt idx="1177">-1</cx:pt>
          <cx:pt idx="1178">-1</cx:pt>
          <cx:pt idx="1179">-1</cx:pt>
          <cx:pt idx="1180">-1</cx:pt>
          <cx:pt idx="1181">-1</cx:pt>
          <cx:pt idx="1182">-1</cx:pt>
          <cx:pt idx="1183">-1</cx:pt>
          <cx:pt idx="1184">-1</cx:pt>
          <cx:pt idx="1185">-1</cx:pt>
          <cx:pt idx="1186">-1</cx:pt>
          <cx:pt idx="1187">-1</cx:pt>
          <cx:pt idx="1188">-1</cx:pt>
          <cx:pt idx="1189">-1</cx:pt>
          <cx:pt idx="1190">-1</cx:pt>
          <cx:pt idx="1191">-1</cx:pt>
          <cx:pt idx="1192">-1</cx:pt>
          <cx:pt idx="1193">-1</cx:pt>
          <cx:pt idx="1194">-1</cx:pt>
          <cx:pt idx="1195">-1</cx:pt>
          <cx:pt idx="1196">-1</cx:pt>
          <cx:pt idx="1197">-1</cx:pt>
          <cx:pt idx="1198">-1</cx:pt>
          <cx:pt idx="1199">-1</cx:pt>
          <cx:pt idx="1200">-1</cx:pt>
          <cx:pt idx="1201">-1</cx:pt>
          <cx:pt idx="1202">-1</cx:pt>
          <cx:pt idx="1203">-1</cx:pt>
          <cx:pt idx="1204">-1</cx:pt>
          <cx:pt idx="1205">-1</cx:pt>
          <cx:pt idx="1206">-1</cx:pt>
          <cx:pt idx="1207">-1</cx:pt>
          <cx:pt idx="1208">-1</cx:pt>
          <cx:pt idx="1209">-1</cx:pt>
          <cx:pt idx="1210">-1</cx:pt>
          <cx:pt idx="1211">-1</cx:pt>
          <cx:pt idx="1212">-1</cx:pt>
          <cx:pt idx="1213">-1</cx:pt>
          <cx:pt idx="1214">-1</cx:pt>
          <cx:pt idx="1215">-1</cx:pt>
          <cx:pt idx="1216">-1</cx:pt>
          <cx:pt idx="1217">-1</cx:pt>
          <cx:pt idx="1218">-1</cx:pt>
          <cx:pt idx="1219">-1</cx:pt>
          <cx:pt idx="1220">-1</cx:pt>
          <cx:pt idx="1221">-1</cx:pt>
          <cx:pt idx="1222">-1</cx:pt>
          <cx:pt idx="1223">-1</cx:pt>
          <cx:pt idx="1224">-1</cx:pt>
          <cx:pt idx="1225">-1</cx:pt>
          <cx:pt idx="1226">-1</cx:pt>
          <cx:pt idx="1227">-1</cx:pt>
          <cx:pt idx="1228">-1</cx:pt>
          <cx:pt idx="1229">-1</cx:pt>
          <cx:pt idx="1230">-1</cx:pt>
          <cx:pt idx="1231">-1</cx:pt>
          <cx:pt idx="1232">-1</cx:pt>
          <cx:pt idx="1233">-1</cx:pt>
          <cx:pt idx="1234">-1</cx:pt>
          <cx:pt idx="1235">-1</cx:pt>
          <cx:pt idx="1236">-1</cx:pt>
          <cx:pt idx="1237">-1</cx:pt>
          <cx:pt idx="1238">-1</cx:pt>
          <cx:pt idx="1239">-1</cx:pt>
          <cx:pt idx="1240">-1</cx:pt>
          <cx:pt idx="1241">-1</cx:pt>
          <cx:pt idx="1242">-1</cx:pt>
          <cx:pt idx="1243">-1</cx:pt>
          <cx:pt idx="1244">-1</cx:pt>
          <cx:pt idx="1245">-1</cx:pt>
          <cx:pt idx="1246">-1</cx:pt>
          <cx:pt idx="1247">-1</cx:pt>
          <cx:pt idx="1248">-1</cx:pt>
          <cx:pt idx="1249">-1</cx:pt>
          <cx:pt idx="1250">-1</cx:pt>
          <cx:pt idx="1251">-1</cx:pt>
          <cx:pt idx="1252">-1</cx:pt>
          <cx:pt idx="1253">-1</cx:pt>
          <cx:pt idx="1254">-1</cx:pt>
          <cx:pt idx="1255">-1</cx:pt>
          <cx:pt idx="1256">-1</cx:pt>
          <cx:pt idx="1257">-1</cx:pt>
          <cx:pt idx="1258">-1</cx:pt>
          <cx:pt idx="1259">-1</cx:pt>
          <cx:pt idx="1260">-1</cx:pt>
          <cx:pt idx="1261">-1</cx:pt>
          <cx:pt idx="1262">-1</cx:pt>
          <cx:pt idx="1263">-1</cx:pt>
          <cx:pt idx="1264">-1</cx:pt>
          <cx:pt idx="1265">-1</cx:pt>
          <cx:pt idx="1266">-1</cx:pt>
          <cx:pt idx="1267">-1</cx:pt>
          <cx:pt idx="1268">-1</cx:pt>
          <cx:pt idx="1269">-1</cx:pt>
          <cx:pt idx="1270">-1</cx:pt>
          <cx:pt idx="1271">-1</cx:pt>
          <cx:pt idx="1272">-1</cx:pt>
          <cx:pt idx="1273">-1</cx:pt>
          <cx:pt idx="1274">-1</cx:pt>
          <cx:pt idx="1275">-1</cx:pt>
          <cx:pt idx="1276">-1</cx:pt>
          <cx:pt idx="1277">-1</cx:pt>
          <cx:pt idx="1278">-1</cx:pt>
          <cx:pt idx="1279">-1</cx:pt>
          <cx:pt idx="1280">-1</cx:pt>
          <cx:pt idx="1281">-1</cx:pt>
          <cx:pt idx="1282">-1</cx:pt>
          <cx:pt idx="1283">-1</cx:pt>
          <cx:pt idx="1284">-1</cx:pt>
          <cx:pt idx="1285">-1</cx:pt>
          <cx:pt idx="1286">-1</cx:pt>
          <cx:pt idx="1287">-1</cx:pt>
          <cx:pt idx="1288">-1</cx:pt>
          <cx:pt idx="1289">-1</cx:pt>
          <cx:pt idx="1290">-1</cx:pt>
          <cx:pt idx="1291">-1</cx:pt>
          <cx:pt idx="1292">-1</cx:pt>
          <cx:pt idx="1293">-1</cx:pt>
          <cx:pt idx="1294">-1</cx:pt>
          <cx:pt idx="1295">-1</cx:pt>
          <cx:pt idx="1296">-1</cx:pt>
          <cx:pt idx="1297">-1</cx:pt>
          <cx:pt idx="1298">-1</cx:pt>
          <cx:pt idx="1299">-1</cx:pt>
          <cx:pt idx="1300">-1</cx:pt>
          <cx:pt idx="1301">-1</cx:pt>
          <cx:pt idx="1302">-1</cx:pt>
          <cx:pt idx="1303">-1</cx:pt>
          <cx:pt idx="1304">-1</cx:pt>
          <cx:pt idx="1305">-1</cx:pt>
          <cx:pt idx="1306">-1</cx:pt>
          <cx:pt idx="1307">-1</cx:pt>
          <cx:pt idx="1308">-1</cx:pt>
          <cx:pt idx="1309">-1</cx:pt>
          <cx:pt idx="1310">-1</cx:pt>
          <cx:pt idx="1311">-1</cx:pt>
          <cx:pt idx="1312">-1</cx:pt>
          <cx:pt idx="1313">-1</cx:pt>
          <cx:pt idx="1314">-1</cx:pt>
          <cx:pt idx="1315">-1</cx:pt>
          <cx:pt idx="1316">-1</cx:pt>
          <cx:pt idx="1317">-1</cx:pt>
          <cx:pt idx="1318">-1</cx:pt>
          <cx:pt idx="1319">-1</cx:pt>
          <cx:pt idx="1320">-1</cx:pt>
          <cx:pt idx="1321">-1</cx:pt>
          <cx:pt idx="1322">-1</cx:pt>
          <cx:pt idx="1323">-1</cx:pt>
          <cx:pt idx="1324">-1</cx:pt>
          <cx:pt idx="1325">-1</cx:pt>
          <cx:pt idx="1326">-1</cx:pt>
          <cx:pt idx="1327">-1</cx:pt>
          <cx:pt idx="1328">-1</cx:pt>
          <cx:pt idx="1329">-1</cx:pt>
          <cx:pt idx="1330">-1</cx:pt>
          <cx:pt idx="1331">-1</cx:pt>
          <cx:pt idx="1332">-1</cx:pt>
          <cx:pt idx="1333">-1</cx:pt>
          <cx:pt idx="1334">-1</cx:pt>
          <cx:pt idx="1335">-1</cx:pt>
          <cx:pt idx="1336">-1</cx:pt>
          <cx:pt idx="1337">-1</cx:pt>
          <cx:pt idx="1338">-1</cx:pt>
          <cx:pt idx="1339">-1</cx:pt>
          <cx:pt idx="1340">-1</cx:pt>
          <cx:pt idx="1341">-1</cx:pt>
          <cx:pt idx="1342">-1</cx:pt>
          <cx:pt idx="1343">-1</cx:pt>
          <cx:pt idx="1344">-1</cx:pt>
          <cx:pt idx="1345">-1</cx:pt>
          <cx:pt idx="1346">-1</cx:pt>
          <cx:pt idx="1347">-1</cx:pt>
          <cx:pt idx="1348">-1</cx:pt>
          <cx:pt idx="1349">-1</cx:pt>
          <cx:pt idx="1350">-1</cx:pt>
          <cx:pt idx="1351">-1</cx:pt>
          <cx:pt idx="1352">-1</cx:pt>
          <cx:pt idx="1353">-1</cx:pt>
          <cx:pt idx="1354">-1</cx:pt>
          <cx:pt idx="1355">-1</cx:pt>
          <cx:pt idx="1356">-1</cx:pt>
          <cx:pt idx="1357">-1</cx:pt>
          <cx:pt idx="1358">-1</cx:pt>
          <cx:pt idx="1359">-1</cx:pt>
          <cx:pt idx="1360">-1</cx:pt>
          <cx:pt idx="1361">-1</cx:pt>
          <cx:pt idx="1362">-1</cx:pt>
          <cx:pt idx="1363">-1</cx:pt>
          <cx:pt idx="1364">-1</cx:pt>
          <cx:pt idx="1365">-1</cx:pt>
          <cx:pt idx="1366">-1</cx:pt>
          <cx:pt idx="1367">-1</cx:pt>
          <cx:pt idx="1368">-1</cx:pt>
          <cx:pt idx="1369">-1</cx:pt>
          <cx:pt idx="1370">-1</cx:pt>
          <cx:pt idx="1371">-1</cx:pt>
          <cx:pt idx="1372">-1</cx:pt>
          <cx:pt idx="1373">-1</cx:pt>
          <cx:pt idx="1374">-1</cx:pt>
          <cx:pt idx="1375">-1</cx:pt>
          <cx:pt idx="1376">-1</cx:pt>
          <cx:pt idx="1377">-1</cx:pt>
          <cx:pt idx="1378">-1</cx:pt>
          <cx:pt idx="1379">-1</cx:pt>
          <cx:pt idx="1380">-1</cx:pt>
          <cx:pt idx="1381">-1</cx:pt>
          <cx:pt idx="1382">-1</cx:pt>
          <cx:pt idx="1383">-1</cx:pt>
          <cx:pt idx="1384">-1</cx:pt>
          <cx:pt idx="1385">-1</cx:pt>
          <cx:pt idx="1386">-1</cx:pt>
          <cx:pt idx="1387">-1</cx:pt>
          <cx:pt idx="1388">-1</cx:pt>
          <cx:pt idx="1389">-1</cx:pt>
          <cx:pt idx="1390">-1</cx:pt>
          <cx:pt idx="1391">-1</cx:pt>
          <cx:pt idx="1392">-1</cx:pt>
          <cx:pt idx="1393">-1</cx:pt>
          <cx:pt idx="1394">-1</cx:pt>
          <cx:pt idx="1395">-1</cx:pt>
          <cx:pt idx="1396">-1</cx:pt>
          <cx:pt idx="1397">-1</cx:pt>
          <cx:pt idx="1398">-1</cx:pt>
          <cx:pt idx="1399">-1</cx:pt>
          <cx:pt idx="1400">-1</cx:pt>
          <cx:pt idx="1401">-1</cx:pt>
          <cx:pt idx="1402">-1</cx:pt>
          <cx:pt idx="1403">-1</cx:pt>
          <cx:pt idx="1404">-1</cx:pt>
          <cx:pt idx="1405">-1</cx:pt>
          <cx:pt idx="1406">-1</cx:pt>
          <cx:pt idx="1407">-1</cx:pt>
          <cx:pt idx="1408">-1</cx:pt>
          <cx:pt idx="1409">-1</cx:pt>
          <cx:pt idx="1410">-1</cx:pt>
          <cx:pt idx="1411">-1</cx:pt>
          <cx:pt idx="1412">-1</cx:pt>
          <cx:pt idx="1413">-1</cx:pt>
          <cx:pt idx="1414">-1</cx:pt>
          <cx:pt idx="1415">-1</cx:pt>
          <cx:pt idx="1416">-1</cx:pt>
          <cx:pt idx="1417">-1</cx:pt>
          <cx:pt idx="1418">-1</cx:pt>
          <cx:pt idx="1419">-1</cx:pt>
          <cx:pt idx="1420">-1</cx:pt>
          <cx:pt idx="1421">-1</cx:pt>
          <cx:pt idx="1422">-1</cx:pt>
          <cx:pt idx="1423">-1</cx:pt>
          <cx:pt idx="1424">-1</cx:pt>
          <cx:pt idx="1425">-1</cx:pt>
          <cx:pt idx="1426">-1</cx:pt>
          <cx:pt idx="1427">-1</cx:pt>
          <cx:pt idx="1428">-1</cx:pt>
          <cx:pt idx="1429">-1</cx:pt>
          <cx:pt idx="1430">-1</cx:pt>
          <cx:pt idx="1431">-1</cx:pt>
          <cx:pt idx="1432">-1</cx:pt>
          <cx:pt idx="1433">-1</cx:pt>
          <cx:pt idx="1434">-1</cx:pt>
          <cx:pt idx="1435">-1</cx:pt>
          <cx:pt idx="1436">-1</cx:pt>
          <cx:pt idx="1437">-1</cx:pt>
          <cx:pt idx="1438">-1</cx:pt>
          <cx:pt idx="1439">-1</cx:pt>
          <cx:pt idx="1440">-1</cx:pt>
          <cx:pt idx="1441">-1</cx:pt>
          <cx:pt idx="1442">-1</cx:pt>
          <cx:pt idx="1443">-1</cx:pt>
          <cx:pt idx="1444">-1</cx:pt>
          <cx:pt idx="1445">-1</cx:pt>
          <cx:pt idx="1446">-1</cx:pt>
          <cx:pt idx="1447">-1</cx:pt>
          <cx:pt idx="1448">-1</cx:pt>
          <cx:pt idx="1449">-1</cx:pt>
          <cx:pt idx="1450">-1</cx:pt>
          <cx:pt idx="1451">-1</cx:pt>
          <cx:pt idx="1452">-1</cx:pt>
          <cx:pt idx="1453">-1</cx:pt>
          <cx:pt idx="1454">-1</cx:pt>
          <cx:pt idx="1455">-1</cx:pt>
          <cx:pt idx="1456">-1</cx:pt>
          <cx:pt idx="1457">-1</cx:pt>
          <cx:pt idx="1458">-1</cx:pt>
          <cx:pt idx="1459">-1</cx:pt>
          <cx:pt idx="1460">-1</cx:pt>
          <cx:pt idx="1461">-1</cx:pt>
          <cx:pt idx="1462">-1</cx:pt>
          <cx:pt idx="1463">-1</cx:pt>
          <cx:pt idx="1464">-1</cx:pt>
          <cx:pt idx="1465">-1</cx:pt>
          <cx:pt idx="1466">-1</cx:pt>
          <cx:pt idx="1467">-1</cx:pt>
          <cx:pt idx="1468">-1</cx:pt>
          <cx:pt idx="1469">-1</cx:pt>
          <cx:pt idx="1470">-1</cx:pt>
          <cx:pt idx="1471">-1</cx:pt>
          <cx:pt idx="1472">-1</cx:pt>
          <cx:pt idx="1473">-1</cx:pt>
          <cx:pt idx="1474">-1</cx:pt>
          <cx:pt idx="1475">-1</cx:pt>
          <cx:pt idx="1476">-1</cx:pt>
          <cx:pt idx="1477">-1</cx:pt>
          <cx:pt idx="1478">-1</cx:pt>
          <cx:pt idx="1479">-1</cx:pt>
          <cx:pt idx="1480">-1</cx:pt>
          <cx:pt idx="1481">-1</cx:pt>
          <cx:pt idx="1482">-1</cx:pt>
          <cx:pt idx="1483">-1</cx:pt>
          <cx:pt idx="1484">-1</cx:pt>
          <cx:pt idx="1485">-1</cx:pt>
          <cx:pt idx="1486">-1</cx:pt>
          <cx:pt idx="1487">-1</cx:pt>
          <cx:pt idx="1488">-1</cx:pt>
          <cx:pt idx="1489">-1</cx:pt>
          <cx:pt idx="1490">-1</cx:pt>
          <cx:pt idx="1491">-1</cx:pt>
          <cx:pt idx="1492">-1</cx:pt>
          <cx:pt idx="1493">-1</cx:pt>
          <cx:pt idx="1494">-1</cx:pt>
          <cx:pt idx="1495">-1</cx:pt>
          <cx:pt idx="1496">-1</cx:pt>
          <cx:pt idx="1497">-1</cx:pt>
          <cx:pt idx="1498">-1</cx:pt>
          <cx:pt idx="1499">-1</cx:pt>
          <cx:pt idx="1500">-1</cx:pt>
          <cx:pt idx="1501">-1</cx:pt>
          <cx:pt idx="1502">-1</cx:pt>
          <cx:pt idx="1503">-1</cx:pt>
          <cx:pt idx="1504">-1</cx:pt>
          <cx:pt idx="1505">-1</cx:pt>
          <cx:pt idx="1506">-1</cx:pt>
          <cx:pt idx="1507">-1</cx:pt>
          <cx:pt idx="1508">-1</cx:pt>
          <cx:pt idx="1509">-1</cx:pt>
          <cx:pt idx="1510">-1</cx:pt>
          <cx:pt idx="1511">-1</cx:pt>
          <cx:pt idx="1512">-1</cx:pt>
          <cx:pt idx="1513">-1</cx:pt>
          <cx:pt idx="1514">-1</cx:pt>
          <cx:pt idx="1515">-1</cx:pt>
          <cx:pt idx="1516">-1</cx:pt>
          <cx:pt idx="1517">-1</cx:pt>
          <cx:pt idx="1518">-1</cx:pt>
          <cx:pt idx="1519">-1</cx:pt>
          <cx:pt idx="1520">-1</cx:pt>
          <cx:pt idx="1521">-1</cx:pt>
          <cx:pt idx="1522">-1</cx:pt>
          <cx:pt idx="1523">-1</cx:pt>
          <cx:pt idx="1524">-1</cx:pt>
          <cx:pt idx="1525">-1</cx:pt>
          <cx:pt idx="1526">-1</cx:pt>
          <cx:pt idx="1527">-1</cx:pt>
          <cx:pt idx="1528">-1</cx:pt>
          <cx:pt idx="1529">-1</cx:pt>
          <cx:pt idx="1530">-1</cx:pt>
          <cx:pt idx="1531">-1</cx:pt>
          <cx:pt idx="1532">-1</cx:pt>
          <cx:pt idx="1533">-1</cx:pt>
          <cx:pt idx="1534">-1</cx:pt>
          <cx:pt idx="1535">-1</cx:pt>
          <cx:pt idx="1536">-1</cx:pt>
          <cx:pt idx="1537">-1</cx:pt>
          <cx:pt idx="1538">-1</cx:pt>
          <cx:pt idx="1539">-1</cx:pt>
          <cx:pt idx="1540">-1</cx:pt>
          <cx:pt idx="1541">-1</cx:pt>
          <cx:pt idx="1542">-1</cx:pt>
          <cx:pt idx="1543">-1</cx:pt>
          <cx:pt idx="1544">-1</cx:pt>
          <cx:pt idx="1545">-1</cx:pt>
          <cx:pt idx="1546">-1</cx:pt>
          <cx:pt idx="1547">-1</cx:pt>
          <cx:pt idx="1548">-1</cx:pt>
          <cx:pt idx="1549">-1</cx:pt>
          <cx:pt idx="1550">-1</cx:pt>
          <cx:pt idx="1551">-1</cx:pt>
          <cx:pt idx="1552">-1</cx:pt>
          <cx:pt idx="1553">-1</cx:pt>
          <cx:pt idx="1554">-1</cx:pt>
          <cx:pt idx="1555">-1</cx:pt>
          <cx:pt idx="1556">-1</cx:pt>
          <cx:pt idx="1557">-1</cx:pt>
          <cx:pt idx="1558">-1</cx:pt>
          <cx:pt idx="1559">-1</cx:pt>
          <cx:pt idx="1560">-1</cx:pt>
          <cx:pt idx="1561">-1</cx:pt>
          <cx:pt idx="1562">-1</cx:pt>
          <cx:pt idx="1563">-1</cx:pt>
          <cx:pt idx="1564">-1</cx:pt>
          <cx:pt idx="1565">-1</cx:pt>
          <cx:pt idx="1566">-1</cx:pt>
          <cx:pt idx="1567">-1</cx:pt>
          <cx:pt idx="1568">-1</cx:pt>
          <cx:pt idx="1569">-1</cx:pt>
          <cx:pt idx="1570">-1</cx:pt>
          <cx:pt idx="1571">-1</cx:pt>
          <cx:pt idx="1572">-1</cx:pt>
          <cx:pt idx="1573">-1</cx:pt>
          <cx:pt idx="1574">-1</cx:pt>
          <cx:pt idx="1575">-1</cx:pt>
          <cx:pt idx="1576">-1</cx:pt>
          <cx:pt idx="1577">-1</cx:pt>
          <cx:pt idx="1578">-1</cx:pt>
          <cx:pt idx="1579">-1</cx:pt>
          <cx:pt idx="1580">-1</cx:pt>
          <cx:pt idx="1581">-1</cx:pt>
          <cx:pt idx="1582">-1</cx:pt>
          <cx:pt idx="1583">-1</cx:pt>
          <cx:pt idx="1584">-1</cx:pt>
          <cx:pt idx="1585">-1</cx:pt>
          <cx:pt idx="1586">-1</cx:pt>
          <cx:pt idx="1587">-1</cx:pt>
          <cx:pt idx="1588">-1</cx:pt>
          <cx:pt idx="1589">-1</cx:pt>
          <cx:pt idx="1590">-1</cx:pt>
          <cx:pt idx="1591">-1</cx:pt>
          <cx:pt idx="1592">-1</cx:pt>
          <cx:pt idx="1593">-1</cx:pt>
          <cx:pt idx="1594">-1</cx:pt>
          <cx:pt idx="1595">-1</cx:pt>
          <cx:pt idx="1596">-1</cx:pt>
          <cx:pt idx="1597">-1</cx:pt>
          <cx:pt idx="1598">-1</cx:pt>
          <cx:pt idx="1599">-1</cx:pt>
          <cx:pt idx="1600">-1</cx:pt>
          <cx:pt idx="1601">-1</cx:pt>
          <cx:pt idx="1602">-1</cx:pt>
          <cx:pt idx="1603">-1</cx:pt>
          <cx:pt idx="1604">-1</cx:pt>
          <cx:pt idx="1605">-1</cx:pt>
          <cx:pt idx="1606">-1</cx:pt>
          <cx:pt idx="1607">-1</cx:pt>
          <cx:pt idx="1608">-1</cx:pt>
          <cx:pt idx="1609">-1</cx:pt>
          <cx:pt idx="1610">-1</cx:pt>
          <cx:pt idx="1611">-1</cx:pt>
          <cx:pt idx="1612">-1</cx:pt>
          <cx:pt idx="1613">-1</cx:pt>
          <cx:pt idx="1614">-1</cx:pt>
          <cx:pt idx="1615">-1</cx:pt>
          <cx:pt idx="1616">-1</cx:pt>
          <cx:pt idx="1617">-1</cx:pt>
          <cx:pt idx="1618">-1</cx:pt>
          <cx:pt idx="1619">-1</cx:pt>
          <cx:pt idx="1620">-1</cx:pt>
          <cx:pt idx="1621">-1</cx:pt>
          <cx:pt idx="1622">-1</cx:pt>
          <cx:pt idx="1623">-1</cx:pt>
          <cx:pt idx="1624">-1</cx:pt>
          <cx:pt idx="1625">-1</cx:pt>
          <cx:pt idx="1626">-1</cx:pt>
          <cx:pt idx="1627">-1</cx:pt>
          <cx:pt idx="1628">-1</cx:pt>
          <cx:pt idx="1629">-1</cx:pt>
          <cx:pt idx="1630">-1</cx:pt>
          <cx:pt idx="1631">-1</cx:pt>
          <cx:pt idx="1632">-1</cx:pt>
          <cx:pt idx="1633">-1</cx:pt>
          <cx:pt idx="1634">-1</cx:pt>
          <cx:pt idx="1635">-1</cx:pt>
          <cx:pt idx="1636">-1</cx:pt>
          <cx:pt idx="1637">-1</cx:pt>
          <cx:pt idx="1638">-1</cx:pt>
          <cx:pt idx="1639">-1</cx:pt>
          <cx:pt idx="1640">-1</cx:pt>
          <cx:pt idx="1641">-1</cx:pt>
          <cx:pt idx="1642">-1</cx:pt>
          <cx:pt idx="1643">-1</cx:pt>
          <cx:pt idx="1644">-1</cx:pt>
          <cx:pt idx="1645">-1</cx:pt>
          <cx:pt idx="1646">-1</cx:pt>
          <cx:pt idx="1647">-1</cx:pt>
          <cx:pt idx="1648">-1</cx:pt>
          <cx:pt idx="1649">-1</cx:pt>
          <cx:pt idx="1650">-1</cx:pt>
          <cx:pt idx="1651">-1</cx:pt>
          <cx:pt idx="1652">-1</cx:pt>
          <cx:pt idx="1653">1.5328156319999999</cx:pt>
          <cx:pt idx="1654">3.0378256170000002</cx:pt>
          <cx:pt idx="1655">3.510771509</cx:pt>
          <cx:pt idx="1656">5</cx:pt>
          <cx:pt idx="1657">33</cx:pt>
          <cx:pt idx="1658">33.496151220000002</cx:pt>
          <cx:pt idx="1659">33.99605734</cx:pt>
          <cx:pt idx="1660">34.69522499</cx:pt>
          <cx:pt idx="1661">35.539082559999997</cx:pt>
          <cx:pt idx="1662">37</cx:pt>
          <cx:pt idx="1663">49</cx:pt>
          <cx:pt idx="1664">49.399500150000001</cx:pt>
          <cx:pt idx="1665">50.210697340000003</cx:pt>
          <cx:pt idx="1666">50.600599870000003</cx:pt>
          <cx:pt idx="1667">51.39620094</cx:pt>
          <cx:pt idx="1668">51.798700320000002</cx:pt>
          <cx:pt idx="1669">52.213796539999997</cx:pt>
          <cx:pt idx="1670">52.603699079999998</cx:pt>
          <cx:pt idx="1671">53.000000020000002</cx:pt>
          <cx:pt idx="1672">53.399300189999998</cx:pt>
          <cx:pt idx="1673">53.80179957</cx:pt>
          <cx:pt idx="1674">54.19510125</cx:pt>
          <cx:pt idx="1675">54.999900019999998</cx:pt>
          <cx:pt idx="1676">55.39940017</cx:pt>
          <cx:pt idx="1677">56.195001240000003</cx:pt>
          <cx:pt idx="1678">56.597500619999998</cx:pt>
          <cx:pt idx="1679">56.600499890000002</cx:pt>
          <cx:pt idx="1680">57</cx:pt>
          <cx:pt idx="1681">66</cx:pt>
          <cx:pt idx="1682">66</cx:pt>
          <cx:pt idx="1683">66</cx:pt>
          <cx:pt idx="1684">66</cx:pt>
          <cx:pt idx="1685">66</cx:pt>
          <cx:pt idx="1686">66</cx:pt>
          <cx:pt idx="1687">66</cx:pt>
          <cx:pt idx="1688">66</cx:pt>
          <cx:pt idx="1689">66</cx:pt>
          <cx:pt idx="1690">66</cx:pt>
          <cx:pt idx="1691">66</cx:pt>
          <cx:pt idx="1692">66</cx:pt>
          <cx:pt idx="1693">66</cx:pt>
          <cx:pt idx="1694">66</cx:pt>
          <cx:pt idx="1695">66</cx:pt>
          <cx:pt idx="1696">66</cx:pt>
          <cx:pt idx="1697">66</cx:pt>
          <cx:pt idx="1698">66</cx:pt>
          <cx:pt idx="1699">66</cx:pt>
          <cx:pt idx="1700">66</cx:pt>
          <cx:pt idx="1701">66</cx:pt>
          <cx:pt idx="1702">66</cx:pt>
          <cx:pt idx="1703">66</cx:pt>
          <cx:pt idx="1704">66</cx:pt>
          <cx:pt idx="1705">66</cx:pt>
          <cx:pt idx="1706">66</cx:pt>
          <cx:pt idx="1707">66</cx:pt>
          <cx:pt idx="1708">66</cx:pt>
          <cx:pt idx="1709">66</cx:pt>
          <cx:pt idx="1710">66</cx:pt>
          <cx:pt idx="1711">66</cx:pt>
          <cx:pt idx="1712">66</cx:pt>
          <cx:pt idx="1713">66</cx:pt>
          <cx:pt idx="1714">66</cx:pt>
          <cx:pt idx="1715">66</cx:pt>
          <cx:pt idx="1716">66</cx:pt>
          <cx:pt idx="1717">64.328905849999998</cx:pt>
          <cx:pt idx="1718">61</cx:pt>
          <cx:pt idx="1719">56.60299157</cx:pt>
          <cx:pt idx="1720">46.192535059999997</cx:pt>
          <cx:pt idx="1721">16.57760519</cx:pt>
          <cx:pt idx="1722">2</cx:pt>
          <cx:pt idx="1723">0</cx:pt>
          <cx:pt idx="1724">0</cx:pt>
          <cx:pt idx="1725">0</cx:pt>
          <cx:pt idx="1726">4.0015998670000004</cx:pt>
          <cx:pt idx="1727">5</cx:pt>
          <cx:pt idx="1728">14.235430920000001</cx:pt>
          <cx:pt idx="1729">23.545454070000002</cx:pt>
          <cx:pt idx="1730">33</cx:pt>
          <cx:pt idx="1731">33</cx:pt>
          <cx:pt idx="1732">33</cx:pt>
          <cx:pt idx="1733">33</cx:pt>
          <cx:pt idx="1734">33</cx:pt>
          <cx:pt idx="1735">33</cx:pt>
          <cx:pt idx="1736">33</cx:pt>
          <cx:pt idx="1737">33</cx:pt>
          <cx:pt idx="1738">33</cx:pt>
          <cx:pt idx="1739">33</cx:pt>
          <cx:pt idx="1740">33</cx:pt>
          <cx:pt idx="1741">33</cx:pt>
          <cx:pt idx="1742">33</cx:pt>
          <cx:pt idx="1743">33</cx:pt>
          <cx:pt idx="1744">33</cx:pt>
          <cx:pt idx="1745">33</cx:pt>
          <cx:pt idx="1746">33</cx:pt>
          <cx:pt idx="1747">33</cx:pt>
          <cx:pt idx="1748">33</cx:pt>
          <cx:pt idx="1749">33</cx:pt>
          <cx:pt idx="1750">33</cx:pt>
          <cx:pt idx="1751">33</cx:pt>
          <cx:pt idx="1752">33</cx:pt>
          <cx:pt idx="1753">33</cx:pt>
          <cx:pt idx="1754">33</cx:pt>
          <cx:pt idx="1755">33</cx:pt>
          <cx:pt idx="1756">33</cx:pt>
          <cx:pt idx="1757">33</cx:pt>
          <cx:pt idx="1758">33</cx:pt>
          <cx:pt idx="1759">33</cx:pt>
          <cx:pt idx="1760">33</cx:pt>
          <cx:pt idx="1761">33</cx:pt>
          <cx:pt idx="1762">33</cx:pt>
          <cx:pt idx="1763">33</cx:pt>
          <cx:pt idx="1764">33</cx:pt>
          <cx:pt idx="1765">33</cx:pt>
          <cx:pt idx="1766">33</cx:pt>
          <cx:pt idx="1767">33</cx:pt>
          <cx:pt idx="1768">33</cx:pt>
          <cx:pt idx="1769">33</cx:pt>
          <cx:pt idx="1770">33</cx:pt>
          <cx:pt idx="1771">33</cx:pt>
          <cx:pt idx="1772">33</cx:pt>
          <cx:pt idx="1773">33</cx:pt>
          <cx:pt idx="1774">33</cx:pt>
          <cx:pt idx="1775">33</cx:pt>
          <cx:pt idx="1776">33</cx:pt>
          <cx:pt idx="1777">33</cx:pt>
          <cx:pt idx="1778">33</cx:pt>
          <cx:pt idx="1779">33</cx:pt>
          <cx:pt idx="1780">33</cx:pt>
          <cx:pt idx="1781">33</cx:pt>
          <cx:pt idx="1782">33</cx:pt>
          <cx:pt idx="1783">33</cx:pt>
          <cx:pt idx="1784">33</cx:pt>
          <cx:pt idx="1785">33</cx:pt>
          <cx:pt idx="1786">33</cx:pt>
          <cx:pt idx="1787">33</cx:pt>
          <cx:pt idx="1788">33</cx:pt>
          <cx:pt idx="1789">33</cx:pt>
          <cx:pt idx="1790">33</cx:pt>
          <cx:pt idx="1791">33</cx:pt>
          <cx:pt idx="1792">33</cx:pt>
          <cx:pt idx="1793">33</cx:pt>
          <cx:pt idx="1794">33</cx:pt>
          <cx:pt idx="1795">33</cx:pt>
          <cx:pt idx="1796">33</cx:pt>
          <cx:pt idx="1797">33</cx:pt>
          <cx:pt idx="1798">33</cx:pt>
          <cx:pt idx="1799">33</cx:pt>
          <cx:pt idx="1800">33</cx:pt>
          <cx:pt idx="1801">33</cx:pt>
          <cx:pt idx="1802">33</cx:pt>
          <cx:pt idx="1803">33</cx:pt>
          <cx:pt idx="1804">33</cx:pt>
          <cx:pt idx="1805">33</cx:pt>
          <cx:pt idx="1806">33</cx:pt>
          <cx:pt idx="1807">33</cx:pt>
          <cx:pt idx="1808">33</cx:pt>
          <cx:pt idx="1809">33</cx:pt>
          <cx:pt idx="1810">33</cx:pt>
          <cx:pt idx="1811">33</cx:pt>
          <cx:pt idx="1812">33</cx:pt>
          <cx:pt idx="1813">33</cx:pt>
          <cx:pt idx="1814">33</cx:pt>
          <cx:pt idx="1815">33</cx:pt>
          <cx:pt idx="1816">33</cx:pt>
          <cx:pt idx="1817">33</cx:pt>
          <cx:pt idx="1818">33</cx:pt>
          <cx:pt idx="1819">33</cx:pt>
          <cx:pt idx="1820">33</cx:pt>
          <cx:pt idx="1821">33</cx:pt>
          <cx:pt idx="1822">33</cx:pt>
          <cx:pt idx="1823">33</cx:pt>
          <cx:pt idx="1824">33</cx:pt>
          <cx:pt idx="1825">33</cx:pt>
          <cx:pt idx="1826">33</cx:pt>
          <cx:pt idx="1827">33</cx:pt>
          <cx:pt idx="1828">33</cx:pt>
          <cx:pt idx="1829">33</cx:pt>
          <cx:pt idx="1830">33</cx:pt>
          <cx:pt idx="1831">33</cx:pt>
          <cx:pt idx="1832">33</cx:pt>
          <cx:pt idx="1833">33</cx:pt>
          <cx:pt idx="1834">33</cx:pt>
          <cx:pt idx="1835">33</cx:pt>
          <cx:pt idx="1836">33</cx:pt>
          <cx:pt idx="1837">33</cx:pt>
          <cx:pt idx="1838">33</cx:pt>
          <cx:pt idx="1839">33</cx:pt>
          <cx:pt idx="1840">33</cx:pt>
          <cx:pt idx="1841">33</cx:pt>
          <cx:pt idx="1842">33</cx:pt>
          <cx:pt idx="1843">33</cx:pt>
          <cx:pt idx="1844">33</cx:pt>
          <cx:pt idx="1845">33</cx:pt>
          <cx:pt idx="1846">33</cx:pt>
          <cx:pt idx="1847">33</cx:pt>
          <cx:pt idx="1848">33</cx:pt>
          <cx:pt idx="1849">33</cx:pt>
          <cx:pt idx="1850">33</cx:pt>
          <cx:pt idx="1851">33</cx:pt>
          <cx:pt idx="1852">33</cx:pt>
          <cx:pt idx="1853">33</cx:pt>
          <cx:pt idx="1854">33</cx:pt>
          <cx:pt idx="1855">33</cx:pt>
          <cx:pt idx="1856">33</cx:pt>
          <cx:pt idx="1857">33</cx:pt>
          <cx:pt idx="1858">33</cx:pt>
          <cx:pt idx="1859">33</cx:pt>
          <cx:pt idx="1860">33</cx:pt>
          <cx:pt idx="1861">33</cx:pt>
          <cx:pt idx="1862">33</cx:pt>
          <cx:pt idx="1863">33</cx:pt>
          <cx:pt idx="1864">33</cx:pt>
          <cx:pt idx="1865">33</cx:pt>
          <cx:pt idx="1866">33</cx:pt>
          <cx:pt idx="1867">33</cx:pt>
          <cx:pt idx="1868">33</cx:pt>
          <cx:pt idx="1869">33</cx:pt>
          <cx:pt idx="1870">33</cx:pt>
          <cx:pt idx="1871">33</cx:pt>
          <cx:pt idx="1872">33</cx:pt>
          <cx:pt idx="1873">33</cx:pt>
          <cx:pt idx="1874">33</cx:pt>
          <cx:pt idx="1875">33</cx:pt>
          <cx:pt idx="1876">33</cx:pt>
          <cx:pt idx="1877">33</cx:pt>
          <cx:pt idx="1878">33</cx:pt>
          <cx:pt idx="1879">33</cx:pt>
          <cx:pt idx="1880">33</cx:pt>
          <cx:pt idx="1881">33</cx:pt>
          <cx:pt idx="1882">33</cx:pt>
          <cx:pt idx="1883">33</cx:pt>
          <cx:pt idx="1884">33</cx:pt>
          <cx:pt idx="1885">33</cx:pt>
          <cx:pt idx="1886">33</cx:pt>
          <cx:pt idx="1887">33</cx:pt>
          <cx:pt idx="1888">33</cx:pt>
          <cx:pt idx="1889">33</cx:pt>
          <cx:pt idx="1890">33</cx:pt>
          <cx:pt idx="1891">33</cx:pt>
          <cx:pt idx="1892">33</cx:pt>
          <cx:pt idx="1893">33</cx:pt>
          <cx:pt idx="1894">33</cx:pt>
          <cx:pt idx="1895">33</cx:pt>
          <cx:pt idx="1896">33</cx:pt>
          <cx:pt idx="1897">33</cx:pt>
          <cx:pt idx="1898">33</cx:pt>
          <cx:pt idx="1899">33</cx:pt>
          <cx:pt idx="1900">33</cx:pt>
          <cx:pt idx="1901">33</cx:pt>
          <cx:pt idx="1902">33</cx:pt>
          <cx:pt idx="1903">33</cx:pt>
          <cx:pt idx="1904">33</cx:pt>
          <cx:pt idx="1905">33</cx:pt>
          <cx:pt idx="1906">33</cx:pt>
          <cx:pt idx="1907">33</cx:pt>
          <cx:pt idx="1908">33</cx:pt>
          <cx:pt idx="1909">33</cx:pt>
          <cx:pt idx="1910">33</cx:pt>
          <cx:pt idx="1911">33</cx:pt>
          <cx:pt idx="1912">33</cx:pt>
          <cx:pt idx="1913">33</cx:pt>
          <cx:pt idx="1914">33</cx:pt>
          <cx:pt idx="1915">33</cx:pt>
          <cx:pt idx="1916">33</cx:pt>
          <cx:pt idx="1917">33</cx:pt>
          <cx:pt idx="1918">33</cx:pt>
          <cx:pt idx="1919">33</cx:pt>
          <cx:pt idx="1920">33</cx:pt>
          <cx:pt idx="1921">33</cx:pt>
          <cx:pt idx="1922">33</cx:pt>
          <cx:pt idx="1923">33</cx:pt>
          <cx:pt idx="1924">33</cx:pt>
          <cx:pt idx="1925">33</cx:pt>
          <cx:pt idx="1926">33</cx:pt>
          <cx:pt idx="1927">33</cx:pt>
          <cx:pt idx="1928">33</cx:pt>
          <cx:pt idx="1929">33</cx:pt>
          <cx:pt idx="1930">33</cx:pt>
          <cx:pt idx="1931">33</cx:pt>
          <cx:pt idx="1932">33</cx:pt>
          <cx:pt idx="1933">33</cx:pt>
          <cx:pt idx="1934">33</cx:pt>
          <cx:pt idx="1935">33</cx:pt>
          <cx:pt idx="1936">33</cx:pt>
          <cx:pt idx="1937">33</cx:pt>
          <cx:pt idx="1938">33</cx:pt>
          <cx:pt idx="1939">33</cx:pt>
          <cx:pt idx="1940">33</cx:pt>
          <cx:pt idx="1941">33</cx:pt>
          <cx:pt idx="1942">33</cx:pt>
          <cx:pt idx="1943">33</cx:pt>
          <cx:pt idx="1944">33</cx:pt>
          <cx:pt idx="1945">33</cx:pt>
          <cx:pt idx="1946">33</cx:pt>
          <cx:pt idx="1947">33</cx:pt>
          <cx:pt idx="1948">33</cx:pt>
          <cx:pt idx="1949">33</cx:pt>
          <cx:pt idx="1950">33</cx:pt>
          <cx:pt idx="1951">33</cx:pt>
          <cx:pt idx="1952">33</cx:pt>
          <cx:pt idx="1953">33</cx:pt>
          <cx:pt idx="1954">33</cx:pt>
          <cx:pt idx="1955">33</cx:pt>
          <cx:pt idx="1956">33</cx:pt>
          <cx:pt idx="1957">33</cx:pt>
          <cx:pt idx="1958">33</cx:pt>
          <cx:pt idx="1959">33</cx:pt>
          <cx:pt idx="1960">33</cx:pt>
          <cx:pt idx="1961">33</cx:pt>
          <cx:pt idx="1962">33</cx:pt>
          <cx:pt idx="1963">33</cx:pt>
          <cx:pt idx="1964">33</cx:pt>
          <cx:pt idx="1965">33</cx:pt>
          <cx:pt idx="1966">33</cx:pt>
          <cx:pt idx="1967">33</cx:pt>
          <cx:pt idx="1968">33</cx:pt>
          <cx:pt idx="1969">33</cx:pt>
          <cx:pt idx="1970">33</cx:pt>
          <cx:pt idx="1971">33</cx:pt>
          <cx:pt idx="1972">33</cx:pt>
          <cx:pt idx="1973">33</cx:pt>
          <cx:pt idx="1974">33</cx:pt>
          <cx:pt idx="1975">33</cx:pt>
          <cx:pt idx="1976">33</cx:pt>
          <cx:pt idx="1977">33</cx:pt>
          <cx:pt idx="1978">33</cx:pt>
          <cx:pt idx="1979">33</cx:pt>
          <cx:pt idx="1980">33</cx:pt>
          <cx:pt idx="1981">33</cx:pt>
          <cx:pt idx="1982">33</cx:pt>
          <cx:pt idx="1983">33</cx:pt>
          <cx:pt idx="1984">33</cx:pt>
          <cx:pt idx="1985">33</cx:pt>
          <cx:pt idx="1986">33</cx:pt>
          <cx:pt idx="1987">33</cx:pt>
          <cx:pt idx="1988">33</cx:pt>
          <cx:pt idx="1989">33</cx:pt>
          <cx:pt idx="1990">33</cx:pt>
          <cx:pt idx="1991">33</cx:pt>
          <cx:pt idx="1992">33</cx:pt>
          <cx:pt idx="1993">33</cx:pt>
          <cx:pt idx="1994">33</cx:pt>
          <cx:pt idx="1995">33</cx:pt>
          <cx:pt idx="1996">33</cx:pt>
          <cx:pt idx="1997">33</cx:pt>
          <cx:pt idx="1998">33</cx:pt>
          <cx:pt idx="1999">33</cx:pt>
          <cx:pt idx="2000">33</cx:pt>
          <cx:pt idx="2001">33</cx:pt>
          <cx:pt idx="2002">33</cx:pt>
          <cx:pt idx="2003">33</cx:pt>
          <cx:pt idx="2004">33</cx:pt>
          <cx:pt idx="2005">33</cx:pt>
          <cx:pt idx="2006">33</cx:pt>
          <cx:pt idx="2007">33</cx:pt>
          <cx:pt idx="2008">33</cx:pt>
          <cx:pt idx="2009">33</cx:pt>
          <cx:pt idx="2010">33</cx:pt>
          <cx:pt idx="2011">33</cx:pt>
          <cx:pt idx="2012">33</cx:pt>
          <cx:pt idx="2013">33</cx:pt>
          <cx:pt idx="2014">33</cx:pt>
          <cx:pt idx="2015">33</cx:pt>
          <cx:pt idx="2016">33</cx:pt>
          <cx:pt idx="2017">33</cx:pt>
          <cx:pt idx="2018">33</cx:pt>
          <cx:pt idx="2019">33</cx:pt>
          <cx:pt idx="2020">33</cx:pt>
          <cx:pt idx="2021">33</cx:pt>
          <cx:pt idx="2022">33</cx:pt>
          <cx:pt idx="2023">33</cx:pt>
          <cx:pt idx="2024">33</cx:pt>
          <cx:pt idx="2025">33</cx:pt>
          <cx:pt idx="2026">33</cx:pt>
          <cx:pt idx="2027">33</cx:pt>
          <cx:pt idx="2028">33</cx:pt>
          <cx:pt idx="2029">33</cx:pt>
          <cx:pt idx="2030">33</cx:pt>
          <cx:pt idx="2031">33</cx:pt>
          <cx:pt idx="2032">33</cx:pt>
          <cx:pt idx="2033">33</cx:pt>
          <cx:pt idx="2034">33</cx:pt>
          <cx:pt idx="2035">33</cx:pt>
          <cx:pt idx="2036">33</cx:pt>
          <cx:pt idx="2037">33</cx:pt>
          <cx:pt idx="2038">33</cx:pt>
          <cx:pt idx="2039">33</cx:pt>
          <cx:pt idx="2040">33</cx:pt>
          <cx:pt idx="2041">33</cx:pt>
          <cx:pt idx="2042">33</cx:pt>
          <cx:pt idx="2043">33</cx:pt>
          <cx:pt idx="2044">33</cx:pt>
          <cx:pt idx="2045">33</cx:pt>
          <cx:pt idx="2046">33</cx:pt>
          <cx:pt idx="2047">33</cx:pt>
          <cx:pt idx="2048">33</cx:pt>
          <cx:pt idx="2049">33</cx:pt>
          <cx:pt idx="2050">33</cx:pt>
          <cx:pt idx="2051">33</cx:pt>
          <cx:pt idx="2052">33</cx:pt>
          <cx:pt idx="2053">33</cx:pt>
          <cx:pt idx="2054">33</cx:pt>
          <cx:pt idx="2055">33</cx:pt>
          <cx:pt idx="2056">33</cx:pt>
          <cx:pt idx="2057">33</cx:pt>
          <cx:pt idx="2058">33</cx:pt>
          <cx:pt idx="2059">33</cx:pt>
          <cx:pt idx="2060">33</cx:pt>
          <cx:pt idx="2061">33</cx:pt>
          <cx:pt idx="2062">33</cx:pt>
          <cx:pt idx="2063">33</cx:pt>
          <cx:pt idx="2064">33</cx:pt>
          <cx:pt idx="2065">33</cx:pt>
          <cx:pt idx="2066">33</cx:pt>
          <cx:pt idx="2067">33</cx:pt>
          <cx:pt idx="2068">33</cx:pt>
          <cx:pt idx="2069">33</cx:pt>
          <cx:pt idx="2070">33</cx:pt>
          <cx:pt idx="2071">33</cx:pt>
          <cx:pt idx="2072">33</cx:pt>
          <cx:pt idx="2073">33</cx:pt>
          <cx:pt idx="2074">33</cx:pt>
          <cx:pt idx="2075">33</cx:pt>
          <cx:pt idx="2076">33</cx:pt>
          <cx:pt idx="2077">33</cx:pt>
          <cx:pt idx="2078">33</cx:pt>
          <cx:pt idx="2079">33</cx:pt>
          <cx:pt idx="2080">33</cx:pt>
          <cx:pt idx="2081">33</cx:pt>
          <cx:pt idx="2082">33</cx:pt>
          <cx:pt idx="2083">33</cx:pt>
          <cx:pt idx="2084">33</cx:pt>
          <cx:pt idx="2085">33</cx:pt>
          <cx:pt idx="2086">33</cx:pt>
          <cx:pt idx="2087">33</cx:pt>
          <cx:pt idx="2088">33</cx:pt>
          <cx:pt idx="2089">33</cx:pt>
          <cx:pt idx="2090">33</cx:pt>
          <cx:pt idx="2091">33</cx:pt>
          <cx:pt idx="2092">33</cx:pt>
          <cx:pt idx="2093">33</cx:pt>
          <cx:pt idx="2094">33</cx:pt>
          <cx:pt idx="2095">33</cx:pt>
          <cx:pt idx="2096">33</cx:pt>
          <cx:pt idx="2097">33</cx:pt>
          <cx:pt idx="2098">33</cx:pt>
          <cx:pt idx="2099">33</cx:pt>
          <cx:pt idx="2100">33</cx:pt>
          <cx:pt idx="2101">33</cx:pt>
          <cx:pt idx="2102">33</cx:pt>
          <cx:pt idx="2103">33</cx:pt>
          <cx:pt idx="2104">33</cx:pt>
          <cx:pt idx="2105">33</cx:pt>
          <cx:pt idx="2106">33</cx:pt>
          <cx:pt idx="2107">33</cx:pt>
          <cx:pt idx="2108">33</cx:pt>
          <cx:pt idx="2109">33</cx:pt>
          <cx:pt idx="2110">33</cx:pt>
          <cx:pt idx="2111">33</cx:pt>
          <cx:pt idx="2112">33</cx:pt>
          <cx:pt idx="2113">33</cx:pt>
          <cx:pt idx="2114">33</cx:pt>
          <cx:pt idx="2115">33</cx:pt>
          <cx:pt idx="2116">33</cx:pt>
          <cx:pt idx="2117">33</cx:pt>
          <cx:pt idx="2118">33</cx:pt>
          <cx:pt idx="2119">33</cx:pt>
          <cx:pt idx="2120">33</cx:pt>
          <cx:pt idx="2121">33</cx:pt>
          <cx:pt idx="2122">33</cx:pt>
          <cx:pt idx="2123">33</cx:pt>
          <cx:pt idx="2124">33</cx:pt>
          <cx:pt idx="2125">33</cx:pt>
          <cx:pt idx="2126">33</cx:pt>
          <cx:pt idx="2127">33</cx:pt>
          <cx:pt idx="2128">33</cx:pt>
          <cx:pt idx="2129">33</cx:pt>
          <cx:pt idx="2130">33</cx:pt>
          <cx:pt idx="2131">33</cx:pt>
          <cx:pt idx="2132">33</cx:pt>
          <cx:pt idx="2133">33</cx:pt>
          <cx:pt idx="2134">33</cx:pt>
          <cx:pt idx="2135">33</cx:pt>
          <cx:pt idx="2136">33</cx:pt>
          <cx:pt idx="2137">33</cx:pt>
          <cx:pt idx="2138">33</cx:pt>
          <cx:pt idx="2139">33</cx:pt>
          <cx:pt idx="2140">33</cx:pt>
          <cx:pt idx="2141">33</cx:pt>
          <cx:pt idx="2142">33</cx:pt>
          <cx:pt idx="2143">33</cx:pt>
          <cx:pt idx="2144">33</cx:pt>
          <cx:pt idx="2145">33</cx:pt>
          <cx:pt idx="2146">33</cx:pt>
          <cx:pt idx="2147">33</cx:pt>
          <cx:pt idx="2148">33</cx:pt>
          <cx:pt idx="2149">33</cx:pt>
          <cx:pt idx="2150">33</cx:pt>
          <cx:pt idx="2151">33</cx:pt>
          <cx:pt idx="2152">33</cx:pt>
          <cx:pt idx="2153">33</cx:pt>
          <cx:pt idx="2154">33</cx:pt>
          <cx:pt idx="2155">33</cx:pt>
          <cx:pt idx="2156">33</cx:pt>
          <cx:pt idx="2157">33</cx:pt>
          <cx:pt idx="2158">33</cx:pt>
          <cx:pt idx="2159">33</cx:pt>
          <cx:pt idx="2160">33</cx:pt>
          <cx:pt idx="2161">33</cx:pt>
          <cx:pt idx="2162">33</cx:pt>
          <cx:pt idx="2163">33</cx:pt>
          <cx:pt idx="2164">33</cx:pt>
          <cx:pt idx="2165">33</cx:pt>
          <cx:pt idx="2166">33</cx:pt>
          <cx:pt idx="2167">33</cx:pt>
          <cx:pt idx="2168">33</cx:pt>
          <cx:pt idx="2169">33</cx:pt>
          <cx:pt idx="2170">33</cx:pt>
          <cx:pt idx="2171">33</cx:pt>
          <cx:pt idx="2172">33</cx:pt>
          <cx:pt idx="2173">33</cx:pt>
          <cx:pt idx="2174">33</cx:pt>
          <cx:pt idx="2175">33</cx:pt>
          <cx:pt idx="2176">33</cx:pt>
          <cx:pt idx="2177">33</cx:pt>
          <cx:pt idx="2178">33</cx:pt>
          <cx:pt idx="2179">33</cx:pt>
          <cx:pt idx="2180">33</cx:pt>
          <cx:pt idx="2181">33</cx:pt>
          <cx:pt idx="2182">33</cx:pt>
          <cx:pt idx="2183">33</cx:pt>
          <cx:pt idx="2184">33</cx:pt>
          <cx:pt idx="2185">33</cx:pt>
          <cx:pt idx="2186">33</cx:pt>
          <cx:pt idx="2187">33</cx:pt>
          <cx:pt idx="2188">33</cx:pt>
          <cx:pt idx="2189">33</cx:pt>
          <cx:pt idx="2190">33</cx:pt>
          <cx:pt idx="2191">33</cx:pt>
          <cx:pt idx="2192">33</cx:pt>
          <cx:pt idx="2193">33</cx:pt>
          <cx:pt idx="2194">33</cx:pt>
          <cx:pt idx="2195">33</cx:pt>
          <cx:pt idx="2196">33</cx:pt>
          <cx:pt idx="2197">33</cx:pt>
          <cx:pt idx="2198">33</cx:pt>
          <cx:pt idx="2199">33</cx:pt>
          <cx:pt idx="2200">33</cx:pt>
          <cx:pt idx="2201">33</cx:pt>
          <cx:pt idx="2202">33</cx:pt>
          <cx:pt idx="2203">33</cx:pt>
          <cx:pt idx="2204">33</cx:pt>
          <cx:pt idx="2205">33</cx:pt>
          <cx:pt idx="2206">33</cx:pt>
          <cx:pt idx="2207">33</cx:pt>
          <cx:pt idx="2208">33</cx:pt>
          <cx:pt idx="2209">33</cx:pt>
          <cx:pt idx="2210">33</cx:pt>
          <cx:pt idx="2211">33</cx:pt>
          <cx:pt idx="2212">33</cx:pt>
          <cx:pt idx="2213">33</cx:pt>
          <cx:pt idx="2214">33</cx:pt>
          <cx:pt idx="2215">33</cx:pt>
          <cx:pt idx="2216">33</cx:pt>
          <cx:pt idx="2217">33</cx:pt>
          <cx:pt idx="2218">33</cx:pt>
          <cx:pt idx="2219">33</cx:pt>
          <cx:pt idx="2220">33</cx:pt>
          <cx:pt idx="2221">33</cx:pt>
          <cx:pt idx="2222">33</cx:pt>
          <cx:pt idx="2223">33</cx:pt>
          <cx:pt idx="2224">33</cx:pt>
          <cx:pt idx="2225">33</cx:pt>
          <cx:pt idx="2226">33</cx:pt>
          <cx:pt idx="2227">33</cx:pt>
          <cx:pt idx="2228">33</cx:pt>
          <cx:pt idx="2229">33</cx:pt>
          <cx:pt idx="2230">33</cx:pt>
          <cx:pt idx="2231">33</cx:pt>
          <cx:pt idx="2232">33</cx:pt>
          <cx:pt idx="2233">33</cx:pt>
          <cx:pt idx="2234">33</cx:pt>
          <cx:pt idx="2235">33</cx:pt>
          <cx:pt idx="2236">33</cx:pt>
          <cx:pt idx="2237">33</cx:pt>
          <cx:pt idx="2238">33</cx:pt>
          <cx:pt idx="2239">33</cx:pt>
          <cx:pt idx="2240">33</cx:pt>
          <cx:pt idx="2241">33</cx:pt>
          <cx:pt idx="2242">33</cx:pt>
          <cx:pt idx="2243">33</cx:pt>
          <cx:pt idx="2244">33</cx:pt>
          <cx:pt idx="2245">33</cx:pt>
          <cx:pt idx="2246">33</cx:pt>
          <cx:pt idx="2247">33</cx:pt>
          <cx:pt idx="2248">33</cx:pt>
          <cx:pt idx="2249">33</cx:pt>
          <cx:pt idx="2250">33</cx:pt>
          <cx:pt idx="2251">33</cx:pt>
          <cx:pt idx="2252">33</cx:pt>
          <cx:pt idx="2253">33</cx:pt>
          <cx:pt idx="2254">33</cx:pt>
          <cx:pt idx="2255">33</cx:pt>
          <cx:pt idx="2256">31.41439991</cx:pt>
          <cx:pt idx="2257">25</cx:pt>
          <cx:pt idx="2258">5</cx:pt>
          <cx:pt idx="2259">0</cx:pt>
          <cx:pt idx="2260">0</cx:pt>
          <cx:pt idx="2261">0</cx:pt>
          <cx:pt idx="2262">0</cx:pt>
          <cx:pt idx="2263">0</cx:pt>
          <cx:pt idx="2264">0</cx:pt>
          <cx:pt idx="2265">0</cx:pt>
          <cx:pt idx="2266">0</cx:pt>
          <cx:pt idx="2267">0</cx:pt>
          <cx:pt idx="2268">0</cx:pt>
          <cx:pt idx="2269">0</cx:pt>
          <cx:pt idx="2270">0</cx:pt>
          <cx:pt idx="2271">0</cx:pt>
          <cx:pt idx="2272">0</cx:pt>
          <cx:pt idx="2273">0</cx:pt>
          <cx:pt idx="2274">0</cx:pt>
          <cx:pt idx="2275">0</cx:pt>
          <cx:pt idx="2276">0</cx:pt>
          <cx:pt idx="2277">0</cx:pt>
          <cx:pt idx="2278">0</cx:pt>
          <cx:pt idx="2279">0</cx:pt>
          <cx:pt idx="2280">0</cx:pt>
          <cx:pt idx="2281">0</cx:pt>
          <cx:pt idx="2282">0</cx:pt>
          <cx:pt idx="2283">0</cx:pt>
          <cx:pt idx="2284">0</cx:pt>
          <cx:pt idx="2285">0</cx:pt>
          <cx:pt idx="2286">0</cx:pt>
          <cx:pt idx="2287">0</cx:pt>
          <cx:pt idx="2288">0</cx:pt>
          <cx:pt idx="2289">0</cx:pt>
          <cx:pt idx="2290">0</cx:pt>
          <cx:pt idx="2291">0</cx:pt>
          <cx:pt idx="2292">0</cx:pt>
          <cx:pt idx="2293">0</cx:pt>
          <cx:pt idx="2294">0</cx:pt>
          <cx:pt idx="2295">0</cx:pt>
          <cx:pt idx="2296">0</cx:pt>
          <cx:pt idx="2297">0</cx:pt>
          <cx:pt idx="2298">0</cx:pt>
          <cx:pt idx="2299">0</cx:pt>
          <cx:pt idx="2300">0</cx:pt>
          <cx:pt idx="2301">0</cx:pt>
          <cx:pt idx="2302">0</cx:pt>
          <cx:pt idx="2303">0</cx:pt>
          <cx:pt idx="2304">0</cx:pt>
          <cx:pt idx="2305">0</cx:pt>
          <cx:pt idx="2306">0</cx:pt>
          <cx:pt idx="2307">0</cx:pt>
          <cx:pt idx="2308">0</cx:pt>
          <cx:pt idx="2309">0</cx:pt>
          <cx:pt idx="2310">0</cx:pt>
          <cx:pt idx="2311">0</cx:pt>
          <cx:pt idx="2312">0</cx:pt>
          <cx:pt idx="2313">0</cx:pt>
          <cx:pt idx="2314">1.6567990180000001</cx:pt>
          <cx:pt idx="2315">3.172703914</cx:pt>
          <cx:pt idx="2316">4</cx:pt>
          <cx:pt idx="2317">21</cx:pt>
          <cx:pt idx="2318">33</cx:pt>
          <cx:pt idx="2319">31.935430650000001</cx:pt>
          <cx:pt idx="2320">29.26934164</cx:pt>
          <cx:pt idx="2321">28.204505690000001</cx:pt>
          <cx:pt idx="2322">27.659823710000001</cx:pt>
          <cx:pt idx="2323">27.13567059</cx:pt>
          <cx:pt idx="2324">26.603252619999999</cx:pt>
          <cx:pt idx="2325">26.071101240000001</cx:pt>
          <cx:pt idx="2326">25.53041842</cx:pt>
          <cx:pt idx="2327">24.998000449999999</cx:pt>
          <cx:pt idx="2328">24.465582479999998</cx:pt>
          <cx:pt idx="2329">23.93316445</cx:pt>
          <cx:pt idx="2330">22.86432941</cx:pt>
          <cx:pt idx="2331">20.73065836</cx:pt>
          <cx:pt idx="2332">20.206505239999998</cx:pt>
          <cx:pt idx="2333">19.661823259999998</cx:pt>
          <cx:pt idx="2334">18.068835100000001</cx:pt>
          <cx:pt idx="2335">17</cx:pt>
          <cx:pt idx="2336">3</cx:pt>
          <cx:pt idx="2337">0.022189502999999999</cx:pt>
          <cx:pt idx="2338">0</cx:pt>
          <cx:pt idx="2339">0</cx:pt>
          <cx:pt idx="2340">0</cx:pt>
          <cx:pt idx="2341">0</cx:pt>
          <cx:pt idx="2342">0</cx:pt>
          <cx:pt idx="2343">0</cx:pt>
          <cx:pt idx="2344">0</cx:pt>
          <cx:pt idx="2345">0</cx:pt>
          <cx:pt idx="2346">0</cx:pt>
          <cx:pt idx="2347">0</cx:pt>
          <cx:pt idx="2348">0</cx:pt>
          <cx:pt idx="2349">0</cx:pt>
          <cx:pt idx="2350">0</cx:pt>
          <cx:pt idx="2351">0</cx:pt>
          <cx:pt idx="2352">0</cx:pt>
          <cx:pt idx="2353">0</cx:pt>
          <cx:pt idx="2354">0</cx:pt>
          <cx:pt idx="2355">0</cx:pt>
          <cx:pt idx="2356">0</cx:pt>
          <cx:pt idx="2357">0</cx:pt>
          <cx:pt idx="2358">0</cx:pt>
          <cx:pt idx="2359">0</cx:pt>
          <cx:pt idx="2360">0</cx:pt>
          <cx:pt idx="2361">0</cx:pt>
          <cx:pt idx="2362">0</cx:pt>
          <cx:pt idx="2363">0</cx:pt>
          <cx:pt idx="2364">0</cx:pt>
          <cx:pt idx="2365">0</cx:pt>
          <cx:pt idx="2366">0</cx:pt>
          <cx:pt idx="2367">0</cx:pt>
          <cx:pt idx="2368">0</cx:pt>
          <cx:pt idx="2369">0</cx:pt>
          <cx:pt idx="2370">0</cx:pt>
          <cx:pt idx="2371">0</cx:pt>
          <cx:pt idx="2372">0</cx:pt>
          <cx:pt idx="2373">0</cx:pt>
          <cx:pt idx="2374">0</cx:pt>
          <cx:pt idx="2375">0</cx:pt>
          <cx:pt idx="2376">0</cx:pt>
          <cx:pt idx="2377">0</cx:pt>
          <cx:pt idx="2378">0</cx:pt>
          <cx:pt idx="2379">0</cx:pt>
          <cx:pt idx="2380">0</cx:pt>
          <cx:pt idx="2381">0</cx:pt>
          <cx:pt idx="2382">0</cx:pt>
          <cx:pt idx="2383">0</cx:pt>
          <cx:pt idx="2384">0</cx:pt>
          <cx:pt idx="2385">0</cx:pt>
          <cx:pt idx="2386">0</cx:pt>
          <cx:pt idx="2387">0</cx:pt>
          <cx:pt idx="2388">0</cx:pt>
          <cx:pt idx="2389">0</cx:pt>
          <cx:pt idx="2390">0</cx:pt>
          <cx:pt idx="2391">0</cx:pt>
          <cx:pt idx="2392">0</cx:pt>
          <cx:pt idx="2393">0</cx:pt>
          <cx:pt idx="2394">0</cx:pt>
          <cx:pt idx="2395">0</cx:pt>
          <cx:pt idx="2396">0</cx:pt>
          <cx:pt idx="2397">0</cx:pt>
          <cx:pt idx="2398">0</cx:pt>
          <cx:pt idx="2399">0</cx:pt>
          <cx:pt idx="2400">0</cx:pt>
          <cx:pt idx="2401">0</cx:pt>
          <cx:pt idx="2402">0</cx:pt>
          <cx:pt idx="2403">0</cx:pt>
          <cx:pt idx="2404">0</cx:pt>
          <cx:pt idx="2405">0</cx:pt>
          <cx:pt idx="2406">0</cx:pt>
          <cx:pt idx="2407">0</cx:pt>
          <cx:pt idx="2408">0</cx:pt>
          <cx:pt idx="2409">0</cx:pt>
          <cx:pt idx="2410">0</cx:pt>
          <cx:pt idx="2411">0</cx:pt>
          <cx:pt idx="2412">0</cx:pt>
          <cx:pt idx="2413">0</cx:pt>
          <cx:pt idx="2414">0</cx:pt>
          <cx:pt idx="2415">0</cx:pt>
          <cx:pt idx="2416">0</cx:pt>
          <cx:pt idx="2417">0</cx:pt>
          <cx:pt idx="2418">0</cx:pt>
          <cx:pt idx="2419">0</cx:pt>
          <cx:pt idx="2420">0</cx:pt>
          <cx:pt idx="2421">0</cx:pt>
          <cx:pt idx="2422">0</cx:pt>
          <cx:pt idx="2423">0</cx:pt>
          <cx:pt idx="2424">0</cx:pt>
          <cx:pt idx="2425">0</cx:pt>
          <cx:pt idx="2426">0</cx:pt>
          <cx:pt idx="2427">0</cx:pt>
          <cx:pt idx="2428">0</cx:pt>
          <cx:pt idx="2429">0</cx:pt>
          <cx:pt idx="2430">0</cx:pt>
          <cx:pt idx="2431">0</cx:pt>
          <cx:pt idx="2432">0</cx:pt>
          <cx:pt idx="2433">0</cx:pt>
          <cx:pt idx="2434">0</cx:pt>
          <cx:pt idx="2435">0</cx:pt>
          <cx:pt idx="2436">0</cx:pt>
          <cx:pt idx="2437">0</cx:pt>
          <cx:pt idx="2438">0</cx:pt>
          <cx:pt idx="2439">0</cx:pt>
          <cx:pt idx="2440">0</cx:pt>
          <cx:pt idx="2441">0</cx:pt>
          <cx:pt idx="2442">0</cx:pt>
          <cx:pt idx="2443">0</cx:pt>
          <cx:pt idx="2444">0</cx:pt>
          <cx:pt idx="2445">0</cx:pt>
          <cx:pt idx="2446">0</cx:pt>
          <cx:pt idx="2447">0</cx:pt>
          <cx:pt idx="2448">0</cx:pt>
          <cx:pt idx="2449">0</cx:pt>
          <cx:pt idx="2450">0</cx:pt>
          <cx:pt idx="2451">0</cx:pt>
          <cx:pt idx="2452">0</cx:pt>
          <cx:pt idx="2453">0</cx:pt>
          <cx:pt idx="2454">0</cx:pt>
          <cx:pt idx="2455">0</cx:pt>
          <cx:pt idx="2456">0</cx:pt>
          <cx:pt idx="2457">0</cx:pt>
          <cx:pt idx="2458">0</cx:pt>
          <cx:pt idx="2459">0</cx:pt>
          <cx:pt idx="2460">0</cx:pt>
          <cx:pt idx="2461">0</cx:pt>
          <cx:pt idx="2462">0</cx:pt>
          <cx:pt idx="2463">0</cx:pt>
          <cx:pt idx="2464">0</cx:pt>
          <cx:pt idx="2465">0</cx:pt>
          <cx:pt idx="2466">0</cx:pt>
          <cx:pt idx="2467">0</cx:pt>
          <cx:pt idx="2468">0</cx:pt>
          <cx:pt idx="2469">0</cx:pt>
          <cx:pt idx="2470">0</cx:pt>
          <cx:pt idx="2471">0</cx:pt>
          <cx:pt idx="2472">0</cx:pt>
          <cx:pt idx="2473">0</cx:pt>
          <cx:pt idx="2474">0</cx:pt>
          <cx:pt idx="2475">0</cx:pt>
          <cx:pt idx="2476">0</cx:pt>
          <cx:pt idx="2477">0</cx:pt>
          <cx:pt idx="2478">0</cx:pt>
          <cx:pt idx="2479">0</cx:pt>
          <cx:pt idx="2480">0</cx:pt>
          <cx:pt idx="2481">0</cx:pt>
          <cx:pt idx="2482">0</cx:pt>
          <cx:pt idx="2483">0</cx:pt>
          <cx:pt idx="2484">0</cx:pt>
          <cx:pt idx="2485">0</cx:pt>
          <cx:pt idx="2486">0</cx:pt>
          <cx:pt idx="2487">0</cx:pt>
          <cx:pt idx="2488">0</cx:pt>
          <cx:pt idx="2489">0</cx:pt>
          <cx:pt idx="2490">0</cx:pt>
          <cx:pt idx="2491">0</cx:pt>
          <cx:pt idx="2492">0</cx:pt>
          <cx:pt idx="2493">0</cx:pt>
          <cx:pt idx="2494">0</cx:pt>
          <cx:pt idx="2495">0</cx:pt>
          <cx:pt idx="2496">0</cx:pt>
          <cx:pt idx="2497">0</cx:pt>
          <cx:pt idx="2498">0</cx:pt>
          <cx:pt idx="2499">0</cx:pt>
          <cx:pt idx="2500">0</cx:pt>
          <cx:pt idx="2501">0</cx:pt>
          <cx:pt idx="2502">0</cx:pt>
          <cx:pt idx="2503">0</cx:pt>
          <cx:pt idx="2504">0</cx:pt>
          <cx:pt idx="2505">0</cx:pt>
          <cx:pt idx="2506">0</cx:pt>
          <cx:pt idx="2507">0</cx:pt>
          <cx:pt idx="2508">0</cx:pt>
          <cx:pt idx="2509">0</cx:pt>
          <cx:pt idx="2510">0</cx:pt>
          <cx:pt idx="2511">0</cx:pt>
          <cx:pt idx="2512">0</cx:pt>
          <cx:pt idx="2513">0</cx:pt>
          <cx:pt idx="2514">0</cx:pt>
          <cx:pt idx="2515">0</cx:pt>
          <cx:pt idx="2516">0</cx:pt>
          <cx:pt idx="2517">0</cx:pt>
          <cx:pt idx="2518">0</cx:pt>
          <cx:pt idx="2519">0</cx:pt>
          <cx:pt idx="2520">0</cx:pt>
          <cx:pt idx="2521">0</cx:pt>
          <cx:pt idx="2522">0</cx:pt>
          <cx:pt idx="2523">0</cx:pt>
          <cx:pt idx="2524">0</cx:pt>
          <cx:pt idx="2525">0</cx:pt>
          <cx:pt idx="2526">0</cx:pt>
          <cx:pt idx="2527">0</cx:pt>
          <cx:pt idx="2528">0</cx:pt>
          <cx:pt idx="2529">0</cx:pt>
          <cx:pt idx="2530">0</cx:pt>
          <cx:pt idx="2531">0</cx:pt>
          <cx:pt idx="2532">0</cx:pt>
          <cx:pt idx="2533">0</cx:pt>
          <cx:pt idx="2534">0</cx:pt>
          <cx:pt idx="2535">0</cx:pt>
          <cx:pt idx="2536">0</cx:pt>
          <cx:pt idx="2537">0</cx:pt>
          <cx:pt idx="2538">0</cx:pt>
          <cx:pt idx="2539">0</cx:pt>
          <cx:pt idx="2540">0</cx:pt>
          <cx:pt idx="2541">0</cx:pt>
          <cx:pt idx="2542">0</cx:pt>
          <cx:pt idx="2543">0</cx:pt>
          <cx:pt idx="2544">0</cx:pt>
          <cx:pt idx="2545">0</cx:pt>
          <cx:pt idx="2546">0</cx:pt>
          <cx:pt idx="2547">0</cx:pt>
          <cx:pt idx="2548">0</cx:pt>
          <cx:pt idx="2549">0</cx:pt>
          <cx:pt idx="2550">0</cx:pt>
          <cx:pt idx="2551">0</cx:pt>
          <cx:pt idx="2552">0</cx:pt>
          <cx:pt idx="2553">0</cx:pt>
          <cx:pt idx="2554">0</cx:pt>
          <cx:pt idx="2555">0</cx:pt>
          <cx:pt idx="2556">0</cx:pt>
          <cx:pt idx="2557">0</cx:pt>
          <cx:pt idx="2558">0</cx:pt>
          <cx:pt idx="2559">0</cx:pt>
          <cx:pt idx="2560">0</cx:pt>
          <cx:pt idx="2561">0</cx:pt>
          <cx:pt idx="2562">0</cx:pt>
          <cx:pt idx="2563">0</cx:pt>
          <cx:pt idx="2564">0</cx:pt>
          <cx:pt idx="2565">0</cx:pt>
          <cx:pt idx="2566">0</cx:pt>
          <cx:pt idx="2567">0</cx:pt>
          <cx:pt idx="2568">0</cx:pt>
          <cx:pt idx="2569">0</cx:pt>
          <cx:pt idx="2570">0</cx:pt>
          <cx:pt idx="2571">0</cx:pt>
          <cx:pt idx="2572">0</cx:pt>
          <cx:pt idx="2573">0</cx:pt>
          <cx:pt idx="2574">0</cx:pt>
          <cx:pt idx="2575">0</cx:pt>
          <cx:pt idx="2576">0</cx:pt>
          <cx:pt idx="2577">0</cx:pt>
          <cx:pt idx="2578">0</cx:pt>
          <cx:pt idx="2579">0</cx:pt>
          <cx:pt idx="2580">0</cx:pt>
          <cx:pt idx="2581">0</cx:pt>
          <cx:pt idx="2582">0</cx:pt>
          <cx:pt idx="2583">0</cx:pt>
          <cx:pt idx="2584">0</cx:pt>
          <cx:pt idx="2585">0</cx:pt>
          <cx:pt idx="2586">0</cx:pt>
          <cx:pt idx="2587">0</cx:pt>
          <cx:pt idx="2588">0</cx:pt>
          <cx:pt idx="2589">0</cx:pt>
          <cx:pt idx="2590">0</cx:pt>
          <cx:pt idx="2591">0</cx:pt>
          <cx:pt idx="2592">0</cx:pt>
          <cx:pt idx="2593">0</cx:pt>
          <cx:pt idx="2594">0</cx:pt>
          <cx:pt idx="2595">0</cx:pt>
          <cx:pt idx="2596">0</cx:pt>
          <cx:pt idx="2597">0</cx:pt>
          <cx:pt idx="2598">0</cx:pt>
          <cx:pt idx="2599">0</cx:pt>
          <cx:pt idx="2600">0</cx:pt>
          <cx:pt idx="2601">0</cx:pt>
          <cx:pt idx="2602">0</cx:pt>
          <cx:pt idx="2603">0</cx:pt>
          <cx:pt idx="2604">0</cx:pt>
          <cx:pt idx="2605">0</cx:pt>
          <cx:pt idx="2606">0</cx:pt>
          <cx:pt idx="2607">0</cx:pt>
          <cx:pt idx="2608">0</cx:pt>
          <cx:pt idx="2609">0</cx:pt>
          <cx:pt idx="2610">0</cx:pt>
          <cx:pt idx="2611">0</cx:pt>
          <cx:pt idx="2612">0</cx:pt>
          <cx:pt idx="2613">0</cx:pt>
          <cx:pt idx="2614">0</cx:pt>
          <cx:pt idx="2615">0</cx:pt>
          <cx:pt idx="2616">0</cx:pt>
          <cx:pt idx="2617">0</cx:pt>
          <cx:pt idx="2618">0</cx:pt>
          <cx:pt idx="2619">0</cx:pt>
          <cx:pt idx="2620">0</cx:pt>
          <cx:pt idx="2621">0</cx:pt>
          <cx:pt idx="2622">0</cx:pt>
          <cx:pt idx="2623">0</cx:pt>
          <cx:pt idx="2624">0</cx:pt>
          <cx:pt idx="2625">0</cx:pt>
          <cx:pt idx="2626">0</cx:pt>
          <cx:pt idx="2627">0</cx:pt>
          <cx:pt idx="2628">0</cx:pt>
          <cx:pt idx="2629">0</cx:pt>
          <cx:pt idx="2630">0</cx:pt>
          <cx:pt idx="2631">0</cx:pt>
          <cx:pt idx="2632">0</cx:pt>
          <cx:pt idx="2633">0</cx:pt>
          <cx:pt idx="2634">0</cx:pt>
          <cx:pt idx="2635">0</cx:pt>
          <cx:pt idx="2636">0</cx:pt>
          <cx:pt idx="2637">0</cx:pt>
          <cx:pt idx="2638">0</cx:pt>
          <cx:pt idx="2639">0</cx:pt>
          <cx:pt idx="2640">0</cx:pt>
          <cx:pt idx="2641">0</cx:pt>
          <cx:pt idx="2642">0</cx:pt>
          <cx:pt idx="2643">0</cx:pt>
          <cx:pt idx="2644">0</cx:pt>
          <cx:pt idx="2645">0</cx:pt>
          <cx:pt idx="2646">0</cx:pt>
          <cx:pt idx="2647">0</cx:pt>
          <cx:pt idx="2648">0</cx:pt>
          <cx:pt idx="2649">0</cx:pt>
          <cx:pt idx="2650">0</cx:pt>
          <cx:pt idx="2651">0</cx:pt>
          <cx:pt idx="2652">0</cx:pt>
          <cx:pt idx="2653">0</cx:pt>
          <cx:pt idx="2654">0</cx:pt>
          <cx:pt idx="2655">0</cx:pt>
          <cx:pt idx="2656">0</cx:pt>
          <cx:pt idx="2657">0</cx:pt>
          <cx:pt idx="2658">0</cx:pt>
          <cx:pt idx="2659">0</cx:pt>
          <cx:pt idx="2660">0</cx:pt>
          <cx:pt idx="2661">0</cx:pt>
          <cx:pt idx="2662">0</cx:pt>
          <cx:pt idx="2663">0</cx:pt>
          <cx:pt idx="2664">0</cx:pt>
          <cx:pt idx="2665">0</cx:pt>
          <cx:pt idx="2666">0</cx:pt>
          <cx:pt idx="2667">0</cx:pt>
          <cx:pt idx="2668">0</cx:pt>
          <cx:pt idx="2669">0</cx:pt>
          <cx:pt idx="2670">0</cx:pt>
          <cx:pt idx="2671">0</cx:pt>
          <cx:pt idx="2672">0</cx:pt>
          <cx:pt idx="2673">0</cx:pt>
          <cx:pt idx="2674">0</cx:pt>
          <cx:pt idx="2675">0</cx:pt>
          <cx:pt idx="2676">0</cx:pt>
          <cx:pt idx="2677">0</cx:pt>
          <cx:pt idx="2678">0</cx:pt>
          <cx:pt idx="2679">0</cx:pt>
          <cx:pt idx="2680">0</cx:pt>
          <cx:pt idx="2681">0</cx:pt>
          <cx:pt idx="2682">0</cx:pt>
          <cx:pt idx="2683">0</cx:pt>
          <cx:pt idx="2684">0</cx:pt>
          <cx:pt idx="2685">0</cx:pt>
          <cx:pt idx="2686">0</cx:pt>
          <cx:pt idx="2687">0</cx:pt>
          <cx:pt idx="2688">0</cx:pt>
          <cx:pt idx="2689">0</cx:pt>
          <cx:pt idx="2690">0</cx:pt>
          <cx:pt idx="2691">0</cx:pt>
          <cx:pt idx="2692">0</cx:pt>
          <cx:pt idx="2693">0</cx:pt>
          <cx:pt idx="2694">0</cx:pt>
          <cx:pt idx="2695">0</cx:pt>
          <cx:pt idx="2696">0</cx:pt>
          <cx:pt idx="2697">0</cx:pt>
          <cx:pt idx="2698">0</cx:pt>
          <cx:pt idx="2699">0</cx:pt>
          <cx:pt idx="2700">0</cx:pt>
          <cx:pt idx="2701">0</cx:pt>
          <cx:pt idx="2702">0</cx:pt>
          <cx:pt idx="2703">0</cx:pt>
          <cx:pt idx="2704">0</cx:pt>
          <cx:pt idx="2705">0</cx:pt>
          <cx:pt idx="2706">0</cx:pt>
          <cx:pt idx="2707">0</cx:pt>
          <cx:pt idx="2708">0</cx:pt>
          <cx:pt idx="2709">0</cx:pt>
          <cx:pt idx="2710">0</cx:pt>
          <cx:pt idx="2711">0</cx:pt>
          <cx:pt idx="2712">0</cx:pt>
          <cx:pt idx="2713">0</cx:pt>
          <cx:pt idx="2714">0</cx:pt>
          <cx:pt idx="2715">0</cx:pt>
          <cx:pt idx="2716">0</cx:pt>
          <cx:pt idx="2717">0</cx:pt>
          <cx:pt idx="2718">0</cx:pt>
          <cx:pt idx="2719">0</cx:pt>
          <cx:pt idx="2720">0</cx:pt>
          <cx:pt idx="2721">0</cx:pt>
          <cx:pt idx="2722">0</cx:pt>
          <cx:pt idx="2723">0</cx:pt>
          <cx:pt idx="2724">0</cx:pt>
          <cx:pt idx="2725">0</cx:pt>
          <cx:pt idx="2726">0</cx:pt>
          <cx:pt idx="2727">0</cx:pt>
          <cx:pt idx="2728">0</cx:pt>
          <cx:pt idx="2729">0</cx:pt>
          <cx:pt idx="2730">0</cx:pt>
          <cx:pt idx="2731">0</cx:pt>
          <cx:pt idx="2732">0</cx:pt>
          <cx:pt idx="2733">0</cx:pt>
          <cx:pt idx="2734">0</cx:pt>
          <cx:pt idx="2735">0</cx:pt>
          <cx:pt idx="2736">0</cx:pt>
          <cx:pt idx="2737">0</cx:pt>
          <cx:pt idx="2738">0</cx:pt>
          <cx:pt idx="2739">0</cx:pt>
          <cx:pt idx="2740">0</cx:pt>
          <cx:pt idx="2741">0</cx:pt>
          <cx:pt idx="2742">0</cx:pt>
          <cx:pt idx="2743">0</cx:pt>
          <cx:pt idx="2744">0</cx:pt>
          <cx:pt idx="2745">0</cx:pt>
          <cx:pt idx="2746">0</cx:pt>
          <cx:pt idx="2747">0</cx:pt>
          <cx:pt idx="2748">0</cx:pt>
          <cx:pt idx="2749">0</cx:pt>
          <cx:pt idx="2750">0</cx:pt>
          <cx:pt idx="2751">0</cx:pt>
          <cx:pt idx="2752">0</cx:pt>
          <cx:pt idx="2753">0</cx:pt>
          <cx:pt idx="2754">0</cx:pt>
          <cx:pt idx="2755">0</cx:pt>
          <cx:pt idx="2756">0</cx:pt>
          <cx:pt idx="2757">0</cx:pt>
          <cx:pt idx="2758">0</cx:pt>
          <cx:pt idx="2759">0</cx:pt>
          <cx:pt idx="2760">0</cx:pt>
          <cx:pt idx="2761">0</cx:pt>
          <cx:pt idx="2762">0</cx:pt>
          <cx:pt idx="2763">0</cx:pt>
          <cx:pt idx="2764">0</cx:pt>
          <cx:pt idx="2765">0</cx:pt>
          <cx:pt idx="2766">0</cx:pt>
          <cx:pt idx="2767">0</cx:pt>
          <cx:pt idx="2768">0</cx:pt>
          <cx:pt idx="2769">0</cx:pt>
          <cx:pt idx="2770">0</cx:pt>
          <cx:pt idx="2771">0</cx:pt>
          <cx:pt idx="2772">0</cx:pt>
          <cx:pt idx="2773">0</cx:pt>
          <cx:pt idx="2774">0</cx:pt>
          <cx:pt idx="2775">0</cx:pt>
          <cx:pt idx="2776">0</cx:pt>
          <cx:pt idx="2777">0</cx:pt>
          <cx:pt idx="2778">0</cx:pt>
          <cx:pt idx="2779">0</cx:pt>
          <cx:pt idx="2780">0</cx:pt>
          <cx:pt idx="2781">0</cx:pt>
          <cx:pt idx="2782">0</cx:pt>
          <cx:pt idx="2783">0</cx:pt>
          <cx:pt idx="2784">0</cx:pt>
          <cx:pt idx="2785">0</cx:pt>
          <cx:pt idx="2786">0</cx:pt>
          <cx:pt idx="2787">0</cx:pt>
          <cx:pt idx="2788">0</cx:pt>
          <cx:pt idx="2789">0</cx:pt>
          <cx:pt idx="2790">0</cx:pt>
          <cx:pt idx="2791">0</cx:pt>
          <cx:pt idx="2792">0</cx:pt>
          <cx:pt idx="2793">0</cx:pt>
          <cx:pt idx="2794">0</cx:pt>
          <cx:pt idx="2795">0</cx:pt>
          <cx:pt idx="2796">0</cx:pt>
          <cx:pt idx="2797">0</cx:pt>
          <cx:pt idx="2798">0</cx:pt>
          <cx:pt idx="2799">0</cx:pt>
          <cx:pt idx="2800">0</cx:pt>
          <cx:pt idx="2801">0</cx:pt>
          <cx:pt idx="2802">0</cx:pt>
          <cx:pt idx="2803">0</cx:pt>
          <cx:pt idx="2804">0</cx:pt>
          <cx:pt idx="2805">0</cx:pt>
          <cx:pt idx="2806">0</cx:pt>
          <cx:pt idx="2807">0</cx:pt>
          <cx:pt idx="2808">0</cx:pt>
          <cx:pt idx="2809">0</cx:pt>
          <cx:pt idx="2810">0</cx:pt>
          <cx:pt idx="2811">0</cx:pt>
          <cx:pt idx="2812">0</cx:pt>
          <cx:pt idx="2813">0</cx:pt>
          <cx:pt idx="2814">0</cx:pt>
          <cx:pt idx="2815">0</cx:pt>
          <cx:pt idx="2816">0</cx:pt>
          <cx:pt idx="2817">0</cx:pt>
          <cx:pt idx="2818">0</cx:pt>
          <cx:pt idx="2819">0</cx:pt>
          <cx:pt idx="2820">0</cx:pt>
          <cx:pt idx="2821">0</cx:pt>
          <cx:pt idx="2822">0</cx:pt>
          <cx:pt idx="2823">0</cx:pt>
          <cx:pt idx="2824">0</cx:pt>
          <cx:pt idx="2825">0</cx:pt>
          <cx:pt idx="2826">0</cx:pt>
          <cx:pt idx="2827">0</cx:pt>
          <cx:pt idx="2828">0</cx:pt>
          <cx:pt idx="2829">0</cx:pt>
          <cx:pt idx="2830">0</cx:pt>
          <cx:pt idx="2831">0</cx:pt>
          <cx:pt idx="2832">0</cx:pt>
          <cx:pt idx="2833">0</cx:pt>
          <cx:pt idx="2834">0</cx:pt>
          <cx:pt idx="2835">0</cx:pt>
          <cx:pt idx="2836">0</cx:pt>
          <cx:pt idx="2837">0</cx:pt>
          <cx:pt idx="2838">0</cx:pt>
          <cx:pt idx="2839">0</cx:pt>
          <cx:pt idx="2840">0</cx:pt>
          <cx:pt idx="2841">0</cx:pt>
          <cx:pt idx="2842">0</cx:pt>
          <cx:pt idx="2843">0</cx:pt>
          <cx:pt idx="2844">0</cx:pt>
          <cx:pt idx="2845">0</cx:pt>
          <cx:pt idx="2846">0</cx:pt>
          <cx:pt idx="2847">0</cx:pt>
          <cx:pt idx="2848">0</cx:pt>
          <cx:pt idx="2849">0</cx:pt>
          <cx:pt idx="2850">0</cx:pt>
          <cx:pt idx="2851">0</cx:pt>
          <cx:pt idx="2852">0</cx:pt>
          <cx:pt idx="2853">0</cx:pt>
          <cx:pt idx="2854">0</cx:pt>
          <cx:pt idx="2855">0</cx:pt>
          <cx:pt idx="2856">0</cx:pt>
          <cx:pt idx="2857">0</cx:pt>
          <cx:pt idx="2858">0</cx:pt>
          <cx:pt idx="2859">0</cx:pt>
          <cx:pt idx="2860">0</cx:pt>
          <cx:pt idx="2861">0</cx:pt>
          <cx:pt idx="2862">0</cx:pt>
          <cx:pt idx="2863">0</cx:pt>
          <cx:pt idx="2864">0</cx:pt>
          <cx:pt idx="2865">0</cx:pt>
          <cx:pt idx="2866">0</cx:pt>
          <cx:pt idx="2867">0</cx:pt>
          <cx:pt idx="2868">0</cx:pt>
          <cx:pt idx="2869">0</cx:pt>
          <cx:pt idx="2870">0</cx:pt>
          <cx:pt idx="2871">0</cx:pt>
          <cx:pt idx="2872">0</cx:pt>
          <cx:pt idx="2873">0</cx:pt>
          <cx:pt idx="2874">0</cx:pt>
          <cx:pt idx="2875">0</cx:pt>
          <cx:pt idx="2876">0</cx:pt>
          <cx:pt idx="2877">0</cx:pt>
          <cx:pt idx="2878">0</cx:pt>
          <cx:pt idx="2879">0</cx:pt>
          <cx:pt idx="2880">0</cx:pt>
          <cx:pt idx="2881">0</cx:pt>
          <cx:pt idx="2882">0</cx:pt>
          <cx:pt idx="2883">0</cx:pt>
          <cx:pt idx="2884">0</cx:pt>
          <cx:pt idx="2885">0</cx:pt>
          <cx:pt idx="2886">0</cx:pt>
          <cx:pt idx="2887">0</cx:pt>
          <cx:pt idx="2888">0</cx:pt>
          <cx:pt idx="2889">0</cx:pt>
          <cx:pt idx="2890">0</cx:pt>
          <cx:pt idx="2891">0</cx:pt>
          <cx:pt idx="2892">0</cx:pt>
          <cx:pt idx="2893">0</cx:pt>
          <cx:pt idx="2894">0</cx:pt>
          <cx:pt idx="2895">0</cx:pt>
          <cx:pt idx="2896">0</cx:pt>
          <cx:pt idx="2897">0</cx:pt>
          <cx:pt idx="2898">0</cx:pt>
          <cx:pt idx="2899">0</cx:pt>
          <cx:pt idx="2900">0</cx:pt>
          <cx:pt idx="2901">0</cx:pt>
          <cx:pt idx="2902">0</cx:pt>
          <cx:pt idx="2903">0</cx:pt>
          <cx:pt idx="2904">0</cx:pt>
          <cx:pt idx="2905">0</cx:pt>
          <cx:pt idx="2906">0</cx:pt>
          <cx:pt idx="2907">0</cx:pt>
          <cx:pt idx="2908">0</cx:pt>
          <cx:pt idx="2909">0</cx:pt>
          <cx:pt idx="2910">0</cx:pt>
          <cx:pt idx="2911">0</cx:pt>
          <cx:pt idx="2912">0</cx:pt>
          <cx:pt idx="2913">0</cx:pt>
          <cx:pt idx="2914">0</cx:pt>
          <cx:pt idx="2915">0</cx:pt>
          <cx:pt idx="2916">0</cx:pt>
          <cx:pt idx="2917">0</cx:pt>
          <cx:pt idx="2918">0</cx:pt>
          <cx:pt idx="2919">0</cx:pt>
          <cx:pt idx="2920">0</cx:pt>
          <cx:pt idx="2921">0</cx:pt>
          <cx:pt idx="2922">0</cx:pt>
          <cx:pt idx="2923">0</cx:pt>
          <cx:pt idx="2924">0</cx:pt>
          <cx:pt idx="2925">0</cx:pt>
          <cx:pt idx="2926">0</cx:pt>
          <cx:pt idx="2927">0</cx:pt>
          <cx:pt idx="2928">0</cx:pt>
          <cx:pt idx="2929">0</cx:pt>
          <cx:pt idx="2930">0</cx:pt>
          <cx:pt idx="2931">0</cx:pt>
          <cx:pt idx="2932">0</cx:pt>
          <cx:pt idx="2933">0</cx:pt>
          <cx:pt idx="2934">0</cx:pt>
          <cx:pt idx="2935">0</cx:pt>
          <cx:pt idx="2936">0</cx:pt>
          <cx:pt idx="2937">0</cx:pt>
          <cx:pt idx="2938">0</cx:pt>
          <cx:pt idx="2939">0</cx:pt>
          <cx:pt idx="2940">0</cx:pt>
          <cx:pt idx="2941">0</cx:pt>
          <cx:pt idx="2942">0</cx:pt>
          <cx:pt idx="2943">0</cx:pt>
          <cx:pt idx="2944">0</cx:pt>
          <cx:pt idx="2945">0</cx:pt>
          <cx:pt idx="2946">0</cx:pt>
          <cx:pt idx="2947">0</cx:pt>
          <cx:pt idx="2948">0</cx:pt>
          <cx:pt idx="2949">0</cx:pt>
          <cx:pt idx="2950">0</cx:pt>
          <cx:pt idx="2951">0</cx:pt>
          <cx:pt idx="2952">0</cx:pt>
          <cx:pt idx="2953">0</cx:pt>
          <cx:pt idx="2954">0</cx:pt>
          <cx:pt idx="2955">0</cx:pt>
          <cx:pt idx="2956">0</cx:pt>
          <cx:pt idx="2957">0</cx:pt>
          <cx:pt idx="2958">0</cx:pt>
          <cx:pt idx="2959">0</cx:pt>
          <cx:pt idx="2960">0</cx:pt>
          <cx:pt idx="2961">0</cx:pt>
          <cx:pt idx="2962">0</cx:pt>
          <cx:pt idx="2963">0</cx:pt>
          <cx:pt idx="2964">0</cx:pt>
          <cx:pt idx="2965">0</cx:pt>
          <cx:pt idx="2966">0</cx:pt>
          <cx:pt idx="2967">0</cx:pt>
          <cx:pt idx="2968">0</cx:pt>
          <cx:pt idx="2969">0</cx:pt>
          <cx:pt idx="2970">0</cx:pt>
          <cx:pt idx="2971">0</cx:pt>
          <cx:pt idx="2972">0</cx:pt>
          <cx:pt idx="2973">0</cx:pt>
          <cx:pt idx="2974">0</cx:pt>
          <cx:pt idx="2975">0</cx:pt>
          <cx:pt idx="2976">0</cx:pt>
          <cx:pt idx="2977">0</cx:pt>
          <cx:pt idx="2978">0</cx:pt>
          <cx:pt idx="2979">0</cx:pt>
          <cx:pt idx="2980">0</cx:pt>
          <cx:pt idx="2981">0</cx:pt>
          <cx:pt idx="2982">0</cx:pt>
          <cx:pt idx="2983">0</cx:pt>
          <cx:pt idx="2984">0</cx:pt>
          <cx:pt idx="2985">0</cx:pt>
          <cx:pt idx="2986">0</cx:pt>
          <cx:pt idx="2987">0</cx:pt>
          <cx:pt idx="2988">0</cx:pt>
          <cx:pt idx="2989">0</cx:pt>
          <cx:pt idx="2990">0</cx:pt>
          <cx:pt idx="2991">0</cx:pt>
          <cx:pt idx="2992">0</cx:pt>
          <cx:pt idx="2993">0</cx:pt>
          <cx:pt idx="2994">0</cx:pt>
          <cx:pt idx="2995">0</cx:pt>
          <cx:pt idx="2996">0</cx:pt>
          <cx:pt idx="2997">0</cx:pt>
          <cx:pt idx="2998">0</cx:pt>
          <cx:pt idx="2999">0</cx:pt>
          <cx:pt idx="3000">0</cx:pt>
          <cx:pt idx="3001">0</cx:pt>
          <cx:pt idx="3002">0</cx:pt>
          <cx:pt idx="3003">0</cx:pt>
          <cx:pt idx="3004">0</cx:pt>
          <cx:pt idx="3005">0</cx:pt>
          <cx:pt idx="3006">0</cx:pt>
          <cx:pt idx="3007">0</cx:pt>
          <cx:pt idx="3008">0</cx:pt>
          <cx:pt idx="3009">0</cx:pt>
          <cx:pt idx="3010">0</cx:pt>
          <cx:pt idx="3011">0</cx:pt>
          <cx:pt idx="3012">0</cx:pt>
          <cx:pt idx="3013">0</cx:pt>
          <cx:pt idx="3014">0</cx:pt>
          <cx:pt idx="3015">0</cx:pt>
          <cx:pt idx="3016">0</cx:pt>
          <cx:pt idx="3017">0</cx:pt>
          <cx:pt idx="3018">0</cx:pt>
          <cx:pt idx="3019">0</cx:pt>
          <cx:pt idx="3020">0</cx:pt>
          <cx:pt idx="3021">0</cx:pt>
          <cx:pt idx="3022">0</cx:pt>
          <cx:pt idx="3023">0</cx:pt>
          <cx:pt idx="3024">0</cx:pt>
          <cx:pt idx="3025">0</cx:pt>
          <cx:pt idx="3026">0</cx:pt>
          <cx:pt idx="3027">0</cx:pt>
          <cx:pt idx="3028">0</cx:pt>
          <cx:pt idx="3029">0</cx:pt>
          <cx:pt idx="3030">0</cx:pt>
          <cx:pt idx="3031">0</cx:pt>
          <cx:pt idx="3032">0</cx:pt>
          <cx:pt idx="3033">0</cx:pt>
          <cx:pt idx="3034">0</cx:pt>
          <cx:pt idx="3035">0</cx:pt>
          <cx:pt idx="3036">0</cx:pt>
          <cx:pt idx="3037">0</cx:pt>
          <cx:pt idx="3038">0</cx:pt>
          <cx:pt idx="3039">0</cx:pt>
          <cx:pt idx="3040">0</cx:pt>
          <cx:pt idx="3041">0</cx:pt>
          <cx:pt idx="3042">0</cx:pt>
          <cx:pt idx="3043">0</cx:pt>
          <cx:pt idx="3044">0</cx:pt>
          <cx:pt idx="3045">0</cx:pt>
          <cx:pt idx="3046">0</cx:pt>
          <cx:pt idx="3047">0</cx:pt>
          <cx:pt idx="3048">0</cx:pt>
          <cx:pt idx="3049">0</cx:pt>
          <cx:pt idx="3050">0</cx:pt>
          <cx:pt idx="3051">0</cx:pt>
          <cx:pt idx="3052">0</cx:pt>
          <cx:pt idx="3053">0</cx:pt>
          <cx:pt idx="3054">0</cx:pt>
          <cx:pt idx="3055">0</cx:pt>
          <cx:pt idx="3056">0</cx:pt>
          <cx:pt idx="3057">0</cx:pt>
          <cx:pt idx="3058">0</cx:pt>
          <cx:pt idx="3059">0</cx:pt>
          <cx:pt idx="3060">0</cx:pt>
          <cx:pt idx="3061">0</cx:pt>
          <cx:pt idx="3062">0</cx:pt>
          <cx:pt idx="3063">0</cx:pt>
          <cx:pt idx="3064">0</cx:pt>
          <cx:pt idx="3065">0</cx:pt>
          <cx:pt idx="3066">0</cx:pt>
          <cx:pt idx="3067">0</cx:pt>
          <cx:pt idx="3068">0</cx:pt>
          <cx:pt idx="3069">0</cx:pt>
          <cx:pt idx="3070">0</cx:pt>
          <cx:pt idx="3071">0</cx:pt>
          <cx:pt idx="3072">0</cx:pt>
          <cx:pt idx="3073">0</cx:pt>
          <cx:pt idx="3074">0</cx:pt>
          <cx:pt idx="3075">0</cx:pt>
          <cx:pt idx="3076">0</cx:pt>
          <cx:pt idx="3077">0</cx:pt>
          <cx:pt idx="3078">0</cx:pt>
          <cx:pt idx="3079">0</cx:pt>
          <cx:pt idx="3080">0</cx:pt>
          <cx:pt idx="3081">0</cx:pt>
          <cx:pt idx="3082">0</cx:pt>
          <cx:pt idx="3083">0</cx:pt>
          <cx:pt idx="3084">0</cx:pt>
          <cx:pt idx="3085">0</cx:pt>
          <cx:pt idx="3086">0</cx:pt>
          <cx:pt idx="3087">0</cx:pt>
          <cx:pt idx="3088">0</cx:pt>
          <cx:pt idx="3089">0</cx:pt>
          <cx:pt idx="3090">0</cx:pt>
          <cx:pt idx="3091">0</cx:pt>
          <cx:pt idx="3092">0</cx:pt>
          <cx:pt idx="3093">0</cx:pt>
          <cx:pt idx="3094">0</cx:pt>
          <cx:pt idx="3095">0</cx:pt>
          <cx:pt idx="3096">0</cx:pt>
          <cx:pt idx="3097">0</cx:pt>
          <cx:pt idx="3098">0</cx:pt>
          <cx:pt idx="3099">0</cx:pt>
          <cx:pt idx="3100">0</cx:pt>
          <cx:pt idx="3101">0</cx:pt>
          <cx:pt idx="3102">0</cx:pt>
          <cx:pt idx="3103">0</cx:pt>
          <cx:pt idx="3104">0</cx:pt>
          <cx:pt idx="3105">0</cx:pt>
          <cx:pt idx="3106">0</cx:pt>
          <cx:pt idx="3107">0</cx:pt>
          <cx:pt idx="3108">0</cx:pt>
          <cx:pt idx="3109">0</cx:pt>
          <cx:pt idx="3110">0</cx:pt>
          <cx:pt idx="3111">0</cx:pt>
          <cx:pt idx="3112">0</cx:pt>
          <cx:pt idx="3113">0</cx:pt>
          <cx:pt idx="3114">0</cx:pt>
          <cx:pt idx="3115">0</cx:pt>
          <cx:pt idx="3116">0</cx:pt>
          <cx:pt idx="3117">0</cx:pt>
          <cx:pt idx="3118">0</cx:pt>
          <cx:pt idx="3119">0</cx:pt>
          <cx:pt idx="3120">0</cx:pt>
          <cx:pt idx="3121">0</cx:pt>
          <cx:pt idx="3122">0</cx:pt>
          <cx:pt idx="3123">0</cx:pt>
          <cx:pt idx="3124">0</cx:pt>
          <cx:pt idx="3125">0</cx:pt>
          <cx:pt idx="3126">0</cx:pt>
          <cx:pt idx="3127">0</cx:pt>
          <cx:pt idx="3128">0</cx:pt>
          <cx:pt idx="3129">0</cx:pt>
          <cx:pt idx="3130">0</cx:pt>
          <cx:pt idx="3131">0</cx:pt>
          <cx:pt idx="3132">0</cx:pt>
          <cx:pt idx="3133">0</cx:pt>
          <cx:pt idx="3134">0</cx:pt>
          <cx:pt idx="3135">0</cx:pt>
          <cx:pt idx="3136">0</cx:pt>
          <cx:pt idx="3137">0</cx:pt>
          <cx:pt idx="3138">0</cx:pt>
          <cx:pt idx="3139">0</cx:pt>
          <cx:pt idx="3140">0</cx:pt>
          <cx:pt idx="3141">0</cx:pt>
          <cx:pt idx="3142">0</cx:pt>
          <cx:pt idx="3143">0</cx:pt>
          <cx:pt idx="3144">0</cx:pt>
          <cx:pt idx="3145">0</cx:pt>
          <cx:pt idx="3146">0</cx:pt>
          <cx:pt idx="3147">0</cx:pt>
          <cx:pt idx="3148">0</cx:pt>
          <cx:pt idx="3149">0</cx:pt>
          <cx:pt idx="3150">0</cx:pt>
          <cx:pt idx="3151">0</cx:pt>
          <cx:pt idx="3152">0</cx:pt>
          <cx:pt idx="3153">0</cx:pt>
          <cx:pt idx="3154">0</cx:pt>
          <cx:pt idx="3155">0</cx:pt>
          <cx:pt idx="3156">0</cx:pt>
          <cx:pt idx="3157">0</cx:pt>
          <cx:pt idx="3158">0</cx:pt>
          <cx:pt idx="3159">0</cx:pt>
          <cx:pt idx="3160">0</cx:pt>
          <cx:pt idx="3161">0</cx:pt>
          <cx:pt idx="3162">0</cx:pt>
          <cx:pt idx="3163">0</cx:pt>
          <cx:pt idx="3164">0</cx:pt>
          <cx:pt idx="3165">0</cx:pt>
          <cx:pt idx="3166">0</cx:pt>
          <cx:pt idx="3167">0</cx:pt>
          <cx:pt idx="3168">0</cx:pt>
          <cx:pt idx="3169">0</cx:pt>
          <cx:pt idx="3170">0</cx:pt>
          <cx:pt idx="3171">0</cx:pt>
          <cx:pt idx="3172">0</cx:pt>
          <cx:pt idx="3173">0</cx:pt>
          <cx:pt idx="3174">0</cx:pt>
          <cx:pt idx="3175">0</cx:pt>
          <cx:pt idx="3176">0</cx:pt>
          <cx:pt idx="3177">0</cx:pt>
          <cx:pt idx="3178">0</cx:pt>
          <cx:pt idx="3179">0</cx:pt>
          <cx:pt idx="3180">0</cx:pt>
          <cx:pt idx="3181">0</cx:pt>
          <cx:pt idx="3182">0</cx:pt>
          <cx:pt idx="3183">0</cx:pt>
          <cx:pt idx="3184">0</cx:pt>
          <cx:pt idx="3185">0</cx:pt>
          <cx:pt idx="3186">0</cx:pt>
          <cx:pt idx="3187">0</cx:pt>
          <cx:pt idx="3188">0</cx:pt>
          <cx:pt idx="3189">0</cx:pt>
          <cx:pt idx="3190">0</cx:pt>
          <cx:pt idx="3191">0</cx:pt>
          <cx:pt idx="3192">0</cx:pt>
          <cx:pt idx="3193">0</cx:pt>
          <cx:pt idx="3194">0</cx:pt>
          <cx:pt idx="3195">0</cx:pt>
          <cx:pt idx="3196">0</cx:pt>
          <cx:pt idx="3197">0</cx:pt>
          <cx:pt idx="3198">0</cx:pt>
          <cx:pt idx="3199">0</cx:pt>
          <cx:pt idx="3200">0</cx:pt>
          <cx:pt idx="3201">0</cx:pt>
          <cx:pt idx="3202">0</cx:pt>
          <cx:pt idx="3203">0</cx:pt>
          <cx:pt idx="3204">0</cx:pt>
          <cx:pt idx="3205">0</cx:pt>
          <cx:pt idx="3206">0</cx:pt>
          <cx:pt idx="3207">0</cx:pt>
          <cx:pt idx="3208">0</cx:pt>
          <cx:pt idx="3209">0</cx:pt>
          <cx:pt idx="3210">0</cx:pt>
          <cx:pt idx="3211">0</cx:pt>
          <cx:pt idx="3212">0</cx:pt>
          <cx:pt idx="3213">0</cx:pt>
          <cx:pt idx="3214">0</cx:pt>
          <cx:pt idx="3215">0</cx:pt>
          <cx:pt idx="3216">0</cx:pt>
          <cx:pt idx="3217">0</cx:pt>
          <cx:pt idx="3218">0</cx:pt>
          <cx:pt idx="3219">0</cx:pt>
          <cx:pt idx="3220">0</cx:pt>
          <cx:pt idx="3221">0</cx:pt>
          <cx:pt idx="3222">0</cx:pt>
          <cx:pt idx="3223">0</cx:pt>
          <cx:pt idx="3224">0</cx:pt>
          <cx:pt idx="3225">0</cx:pt>
          <cx:pt idx="3226">0</cx:pt>
          <cx:pt idx="3227">0</cx:pt>
          <cx:pt idx="3228">0</cx:pt>
          <cx:pt idx="3229">0</cx:pt>
          <cx:pt idx="3230">0</cx:pt>
          <cx:pt idx="3231">0</cx:pt>
          <cx:pt idx="3232">0</cx:pt>
          <cx:pt idx="3233">0</cx:pt>
          <cx:pt idx="3234">0</cx:pt>
          <cx:pt idx="3235">0</cx:pt>
          <cx:pt idx="3236">0</cx:pt>
          <cx:pt idx="3237">0</cx:pt>
          <cx:pt idx="3238">0</cx:pt>
          <cx:pt idx="3239">0</cx:pt>
          <cx:pt idx="3240">0</cx:pt>
          <cx:pt idx="3241">0</cx:pt>
          <cx:pt idx="3242">0</cx:pt>
          <cx:pt idx="3243">0</cx:pt>
          <cx:pt idx="3244">0</cx:pt>
          <cx:pt idx="3245">0</cx:pt>
          <cx:pt idx="3246">0</cx:pt>
          <cx:pt idx="3247">0</cx:pt>
          <cx:pt idx="3248">0</cx:pt>
          <cx:pt idx="3249">0</cx:pt>
          <cx:pt idx="3250">0</cx:pt>
          <cx:pt idx="3251">0</cx:pt>
          <cx:pt idx="3252">0</cx:pt>
          <cx:pt idx="3253">0</cx:pt>
          <cx:pt idx="3254">0</cx:pt>
          <cx:pt idx="3255">0</cx:pt>
          <cx:pt idx="3256">0</cx:pt>
          <cx:pt idx="3257">0</cx:pt>
          <cx:pt idx="3258">0</cx:pt>
          <cx:pt idx="3259">0</cx:pt>
          <cx:pt idx="3260">0</cx:pt>
          <cx:pt idx="3261">0</cx:pt>
          <cx:pt idx="3262">0</cx:pt>
          <cx:pt idx="3263">0</cx:pt>
          <cx:pt idx="3264">0</cx:pt>
          <cx:pt idx="3265">0</cx:pt>
          <cx:pt idx="3266">0</cx:pt>
          <cx:pt idx="3267">0</cx:pt>
          <cx:pt idx="3268">0</cx:pt>
          <cx:pt idx="3269">0</cx:pt>
          <cx:pt idx="3270">0</cx:pt>
          <cx:pt idx="3271">0</cx:pt>
          <cx:pt idx="3272">0</cx:pt>
          <cx:pt idx="3273">0</cx:pt>
          <cx:pt idx="3274">0</cx:pt>
          <cx:pt idx="3275">0</cx:pt>
          <cx:pt idx="3276">0</cx:pt>
          <cx:pt idx="3277">0</cx:pt>
          <cx:pt idx="3278">0</cx:pt>
          <cx:pt idx="3279">0</cx:pt>
          <cx:pt idx="3280">0</cx:pt>
          <cx:pt idx="3281">0</cx:pt>
          <cx:pt idx="3282">0</cx:pt>
          <cx:pt idx="3283">0</cx:pt>
          <cx:pt idx="3284">0</cx:pt>
          <cx:pt idx="3285">0</cx:pt>
          <cx:pt idx="3286">0</cx:pt>
          <cx:pt idx="3287">0</cx:pt>
          <cx:pt idx="3288">0</cx:pt>
          <cx:pt idx="3289">0</cx:pt>
          <cx:pt idx="3290">0</cx:pt>
          <cx:pt idx="3291">0</cx:pt>
          <cx:pt idx="3292">0</cx:pt>
          <cx:pt idx="3293">0</cx:pt>
          <cx:pt idx="3294">0</cx:pt>
          <cx:pt idx="3295">0</cx:pt>
          <cx:pt idx="3296">0</cx:pt>
          <cx:pt idx="3297">0</cx:pt>
          <cx:pt idx="3298">0</cx:pt>
          <cx:pt idx="3299">0</cx:pt>
          <cx:pt idx="3300">0</cx:pt>
          <cx:pt idx="3301">0</cx:pt>
          <cx:pt idx="3302">0</cx:pt>
          <cx:pt idx="3303">0</cx:pt>
          <cx:pt idx="3304">0</cx:pt>
          <cx:pt idx="3305">0</cx:pt>
          <cx:pt idx="3306">0</cx:pt>
          <cx:pt idx="3307">0</cx:pt>
          <cx:pt idx="3308">0</cx:pt>
          <cx:pt idx="3309">0</cx:pt>
          <cx:pt idx="3310">0</cx:pt>
          <cx:pt idx="3311">0</cx:pt>
          <cx:pt idx="3312">0</cx:pt>
          <cx:pt idx="3313">0</cx:pt>
          <cx:pt idx="3314">0</cx:pt>
          <cx:pt idx="3315">0</cx:pt>
          <cx:pt idx="3316">0</cx:pt>
          <cx:pt idx="3317">0</cx:pt>
          <cx:pt idx="3318">0</cx:pt>
          <cx:pt idx="3319">0</cx:pt>
          <cx:pt idx="3320">0</cx:pt>
          <cx:pt idx="3321">0</cx:pt>
          <cx:pt idx="3322">0</cx:pt>
          <cx:pt idx="3323">0</cx:pt>
          <cx:pt idx="3324">0</cx:pt>
          <cx:pt idx="3325">0</cx:pt>
          <cx:pt idx="3326">0</cx:pt>
          <cx:pt idx="3327">0</cx:pt>
          <cx:pt idx="3328">0</cx:pt>
          <cx:pt idx="3329">0</cx:pt>
          <cx:pt idx="3330">0</cx:pt>
          <cx:pt idx="3331">0</cx:pt>
          <cx:pt idx="3332">0</cx:pt>
          <cx:pt idx="3333">0</cx:pt>
          <cx:pt idx="3334">0</cx:pt>
          <cx:pt idx="3335">0</cx:pt>
          <cx:pt idx="3336">0</cx:pt>
          <cx:pt idx="3337">0</cx:pt>
          <cx:pt idx="3338">0</cx:pt>
          <cx:pt idx="3339">0</cx:pt>
          <cx:pt idx="3340">0</cx:pt>
          <cx:pt idx="3341">0</cx:pt>
          <cx:pt idx="3342">0</cx:pt>
          <cx:pt idx="3343">0</cx:pt>
          <cx:pt idx="3344">0</cx:pt>
          <cx:pt idx="3345">0</cx:pt>
          <cx:pt idx="3346">0</cx:pt>
          <cx:pt idx="3347">0</cx:pt>
          <cx:pt idx="3348">0</cx:pt>
          <cx:pt idx="3349">0</cx:pt>
          <cx:pt idx="3350">0</cx:pt>
          <cx:pt idx="3351">0</cx:pt>
          <cx:pt idx="3352">0</cx:pt>
          <cx:pt idx="3353">0</cx:pt>
          <cx:pt idx="3354">0</cx:pt>
          <cx:pt idx="3355">0</cx:pt>
          <cx:pt idx="3356">0</cx:pt>
          <cx:pt idx="3357">0</cx:pt>
          <cx:pt idx="3358">0</cx:pt>
          <cx:pt idx="3359">0</cx:pt>
          <cx:pt idx="3360">0</cx:pt>
          <cx:pt idx="3361">0</cx:pt>
          <cx:pt idx="3362">0</cx:pt>
          <cx:pt idx="3363">0</cx:pt>
          <cx:pt idx="3364">0</cx:pt>
          <cx:pt idx="3365">0</cx:pt>
          <cx:pt idx="3366">0</cx:pt>
          <cx:pt idx="3367">0</cx:pt>
          <cx:pt idx="3368">0</cx:pt>
          <cx:pt idx="3369">0</cx:pt>
          <cx:pt idx="3370">0</cx:pt>
          <cx:pt idx="3371">0</cx:pt>
          <cx:pt idx="3372">0</cx:pt>
          <cx:pt idx="3373">0</cx:pt>
          <cx:pt idx="3374">0</cx:pt>
          <cx:pt idx="3375">0</cx:pt>
          <cx:pt idx="3376">0</cx:pt>
          <cx:pt idx="3377">0</cx:pt>
          <cx:pt idx="3378">0</cx:pt>
          <cx:pt idx="3379">0</cx:pt>
          <cx:pt idx="3380">0</cx:pt>
          <cx:pt idx="3381">0</cx:pt>
          <cx:pt idx="3382">0</cx:pt>
          <cx:pt idx="3383">0</cx:pt>
          <cx:pt idx="3384">0</cx:pt>
          <cx:pt idx="3385">0</cx:pt>
          <cx:pt idx="3386">0</cx:pt>
          <cx:pt idx="3387">0</cx:pt>
          <cx:pt idx="3388">0</cx:pt>
          <cx:pt idx="3389">0</cx:pt>
          <cx:pt idx="3390">0</cx:pt>
          <cx:pt idx="3391">0</cx:pt>
          <cx:pt idx="3392">0</cx:pt>
          <cx:pt idx="3393">0</cx:pt>
          <cx:pt idx="3394">0</cx:pt>
          <cx:pt idx="3395">0</cx:pt>
          <cx:pt idx="3396">0</cx:pt>
          <cx:pt idx="3397">0</cx:pt>
          <cx:pt idx="3398">0</cx:pt>
          <cx:pt idx="3399">0</cx:pt>
          <cx:pt idx="3400">0</cx:pt>
          <cx:pt idx="3401">0</cx:pt>
          <cx:pt idx="3402">0</cx:pt>
          <cx:pt idx="3403">0</cx:pt>
          <cx:pt idx="3404">0</cx:pt>
          <cx:pt idx="3405">0</cx:pt>
          <cx:pt idx="3406">0</cx:pt>
          <cx:pt idx="3407">0</cx:pt>
          <cx:pt idx="3408">0</cx:pt>
          <cx:pt idx="3409">0</cx:pt>
          <cx:pt idx="3410">0</cx:pt>
          <cx:pt idx="3411">0</cx:pt>
          <cx:pt idx="3412">0</cx:pt>
          <cx:pt idx="3413">0</cx:pt>
          <cx:pt idx="3414">0</cx:pt>
          <cx:pt idx="3415">0</cx:pt>
          <cx:pt idx="3416">0</cx:pt>
          <cx:pt idx="3417">0</cx:pt>
          <cx:pt idx="3418">0</cx:pt>
          <cx:pt idx="3419">0</cx:pt>
          <cx:pt idx="3420">0</cx:pt>
          <cx:pt idx="3421">0</cx:pt>
          <cx:pt idx="3422">0</cx:pt>
          <cx:pt idx="3423">0</cx:pt>
          <cx:pt idx="3424">0</cx:pt>
          <cx:pt idx="3425">0</cx:pt>
          <cx:pt idx="3426">0</cx:pt>
          <cx:pt idx="3427">0</cx:pt>
          <cx:pt idx="3428">0</cx:pt>
          <cx:pt idx="3429">0</cx:pt>
          <cx:pt idx="3430">0</cx:pt>
          <cx:pt idx="3431">0</cx:pt>
          <cx:pt idx="3432">0</cx:pt>
          <cx:pt idx="3433">0</cx:pt>
          <cx:pt idx="3434">0</cx:pt>
          <cx:pt idx="3435">0</cx:pt>
          <cx:pt idx="3436">0</cx:pt>
          <cx:pt idx="3437">0</cx:pt>
          <cx:pt idx="3438">0</cx:pt>
          <cx:pt idx="3439">0</cx:pt>
          <cx:pt idx="3440">0</cx:pt>
          <cx:pt idx="3441">0</cx:pt>
          <cx:pt idx="3442">0</cx:pt>
          <cx:pt idx="3443">0</cx:pt>
          <cx:pt idx="3444">0</cx:pt>
          <cx:pt idx="3445">0</cx:pt>
          <cx:pt idx="3446">0</cx:pt>
          <cx:pt idx="3447">0</cx:pt>
          <cx:pt idx="3448">0</cx:pt>
          <cx:pt idx="3449">0</cx:pt>
          <cx:pt idx="3450">0</cx:pt>
          <cx:pt idx="3451">0</cx:pt>
          <cx:pt idx="3452">0</cx:pt>
          <cx:pt idx="3453">0</cx:pt>
          <cx:pt idx="3454">0</cx:pt>
          <cx:pt idx="3455">0</cx:pt>
          <cx:pt idx="3456">0</cx:pt>
          <cx:pt idx="3457">0</cx:pt>
          <cx:pt idx="3458">0</cx:pt>
          <cx:pt idx="3459">0</cx:pt>
          <cx:pt idx="3460">0</cx:pt>
          <cx:pt idx="3461">0</cx:pt>
          <cx:pt idx="3462">0</cx:pt>
          <cx:pt idx="3463">0</cx:pt>
          <cx:pt idx="3464">0</cx:pt>
          <cx:pt idx="3465">0</cx:pt>
          <cx:pt idx="3466">0</cx:pt>
          <cx:pt idx="3467">0</cx:pt>
          <cx:pt idx="3468">0</cx:pt>
          <cx:pt idx="3469">0</cx:pt>
          <cx:pt idx="3470">0</cx:pt>
          <cx:pt idx="3471">0</cx:pt>
          <cx:pt idx="3472">0</cx:pt>
          <cx:pt idx="3473">0</cx:pt>
          <cx:pt idx="3474">0</cx:pt>
          <cx:pt idx="3475">0</cx:pt>
          <cx:pt idx="3476">0</cx:pt>
          <cx:pt idx="3477">0</cx:pt>
          <cx:pt idx="3478">0</cx:pt>
          <cx:pt idx="3479">0</cx:pt>
          <cx:pt idx="3480">0</cx:pt>
          <cx:pt idx="3481">0</cx:pt>
          <cx:pt idx="3482">0</cx:pt>
          <cx:pt idx="3483">0</cx:pt>
          <cx:pt idx="3484">0</cx:pt>
          <cx:pt idx="3485">0</cx:pt>
          <cx:pt idx="3486">0</cx:pt>
          <cx:pt idx="3487">0</cx:pt>
          <cx:pt idx="3488">0</cx:pt>
          <cx:pt idx="3489">0</cx:pt>
          <cx:pt idx="3490">0</cx:pt>
          <cx:pt idx="3491">0</cx:pt>
          <cx:pt idx="3492">0</cx:pt>
          <cx:pt idx="3493">0</cx:pt>
          <cx:pt idx="3494">0</cx:pt>
          <cx:pt idx="3495">0</cx:pt>
          <cx:pt idx="3496">0</cx:pt>
          <cx:pt idx="3497">0</cx:pt>
          <cx:pt idx="3498">0</cx:pt>
          <cx:pt idx="3499">0</cx:pt>
          <cx:pt idx="3500">0</cx:pt>
          <cx:pt idx="3501">0</cx:pt>
          <cx:pt idx="3502">0</cx:pt>
          <cx:pt idx="3503">0</cx:pt>
          <cx:pt idx="3504">0</cx:pt>
          <cx:pt idx="3505">0</cx:pt>
          <cx:pt idx="3506">0</cx:pt>
          <cx:pt idx="3507">0</cx:pt>
          <cx:pt idx="3508">0</cx:pt>
          <cx:pt idx="3509">0</cx:pt>
          <cx:pt idx="3510">0</cx:pt>
          <cx:pt idx="3511">0</cx:pt>
          <cx:pt idx="3512">0</cx:pt>
          <cx:pt idx="3513">0</cx:pt>
          <cx:pt idx="3514">0</cx:pt>
          <cx:pt idx="3515">0</cx:pt>
          <cx:pt idx="3516">0</cx:pt>
          <cx:pt idx="3517">0</cx:pt>
          <cx:pt idx="3518">0</cx:pt>
          <cx:pt idx="3519">0</cx:pt>
          <cx:pt idx="3520">0</cx:pt>
          <cx:pt idx="3521">0</cx:pt>
          <cx:pt idx="3522">0</cx:pt>
          <cx:pt idx="3523">0</cx:pt>
          <cx:pt idx="3524">0</cx:pt>
          <cx:pt idx="3525">0</cx:pt>
          <cx:pt idx="3526">0</cx:pt>
          <cx:pt idx="3527">0</cx:pt>
          <cx:pt idx="3528">0</cx:pt>
          <cx:pt idx="3529">0</cx:pt>
          <cx:pt idx="3530">0</cx:pt>
          <cx:pt idx="3531">0</cx:pt>
          <cx:pt idx="3532">0</cx:pt>
          <cx:pt idx="3533">0</cx:pt>
          <cx:pt idx="3534">0</cx:pt>
          <cx:pt idx="3535">0</cx:pt>
          <cx:pt idx="3536">0</cx:pt>
          <cx:pt idx="3537">0</cx:pt>
          <cx:pt idx="3538">0</cx:pt>
          <cx:pt idx="3539">0</cx:pt>
          <cx:pt idx="3540">0</cx:pt>
          <cx:pt idx="3541">0</cx:pt>
          <cx:pt idx="3542">0</cx:pt>
          <cx:pt idx="3543">0</cx:pt>
          <cx:pt idx="3544">0</cx:pt>
          <cx:pt idx="3545">0</cx:pt>
          <cx:pt idx="3546">0</cx:pt>
          <cx:pt idx="3547">0</cx:pt>
          <cx:pt idx="3548">0</cx:pt>
          <cx:pt idx="3549">0</cx:pt>
          <cx:pt idx="3550">0</cx:pt>
          <cx:pt idx="3551">0</cx:pt>
          <cx:pt idx="3552">0</cx:pt>
          <cx:pt idx="3553">0</cx:pt>
          <cx:pt idx="3554">0</cx:pt>
          <cx:pt idx="3555">0</cx:pt>
          <cx:pt idx="3556">0</cx:pt>
          <cx:pt idx="3557">0</cx:pt>
          <cx:pt idx="3558">0</cx:pt>
          <cx:pt idx="3559">0</cx:pt>
          <cx:pt idx="3560">0</cx:pt>
          <cx:pt idx="3561">0</cx:pt>
          <cx:pt idx="3562">0</cx:pt>
          <cx:pt idx="3563">0</cx:pt>
          <cx:pt idx="3564">0</cx:pt>
          <cx:pt idx="3565">0</cx:pt>
          <cx:pt idx="3566">0</cx:pt>
          <cx:pt idx="3567">0</cx:pt>
          <cx:pt idx="3568">0</cx:pt>
          <cx:pt idx="3569">0</cx:pt>
          <cx:pt idx="3570">0</cx:pt>
          <cx:pt idx="3571">0</cx:pt>
          <cx:pt idx="3572">0</cx:pt>
          <cx:pt idx="3573">0</cx:pt>
          <cx:pt idx="3574">0</cx:pt>
          <cx:pt idx="3575">0</cx:pt>
          <cx:pt idx="3576">0</cx:pt>
          <cx:pt idx="3577">0</cx:pt>
          <cx:pt idx="3578">0</cx:pt>
          <cx:pt idx="3579">0</cx:pt>
          <cx:pt idx="3580">0</cx:pt>
          <cx:pt idx="3581">0</cx:pt>
          <cx:pt idx="3582">0</cx:pt>
          <cx:pt idx="3583">0</cx:pt>
          <cx:pt idx="3584">0</cx:pt>
          <cx:pt idx="3585">0</cx:pt>
          <cx:pt idx="3586">0</cx:pt>
          <cx:pt idx="3587">0</cx:pt>
          <cx:pt idx="3588">0</cx:pt>
          <cx:pt idx="3589">0</cx:pt>
          <cx:pt idx="3590">0</cx:pt>
          <cx:pt idx="3591">0</cx:pt>
          <cx:pt idx="3592">0</cx:pt>
          <cx:pt idx="3593">0</cx:pt>
          <cx:pt idx="3594">0</cx:pt>
          <cx:pt idx="3595">0</cx:pt>
          <cx:pt idx="3596">0</cx:pt>
          <cx:pt idx="3597">0</cx:pt>
          <cx:pt idx="3598">0</cx:pt>
          <cx:pt idx="3599">0</cx:pt>
          <cx:pt idx="3600">0</cx:pt>
          <cx:pt idx="3601">0</cx:pt>
          <cx:pt idx="3602">0</cx:pt>
          <cx:pt idx="3603">0</cx:pt>
          <cx:pt idx="3604">0</cx:pt>
          <cx:pt idx="3605">0</cx:pt>
          <cx:pt idx="3606">0</cx:pt>
          <cx:pt idx="3607">0</cx:pt>
          <cx:pt idx="3608">0</cx:pt>
          <cx:pt idx="3609">0</cx:pt>
          <cx:pt idx="3610">0</cx:pt>
          <cx:pt idx="3611">0</cx:pt>
          <cx:pt idx="3612">0</cx:pt>
          <cx:pt idx="3613">0</cx:pt>
          <cx:pt idx="3614">0</cx:pt>
          <cx:pt idx="3615">0</cx:pt>
          <cx:pt idx="3616">0</cx:pt>
          <cx:pt idx="3617">0</cx:pt>
          <cx:pt idx="3618">0</cx:pt>
          <cx:pt idx="3619">0</cx:pt>
          <cx:pt idx="3620">0</cx:pt>
          <cx:pt idx="3621">0</cx:pt>
          <cx:pt idx="3622">0</cx:pt>
          <cx:pt idx="3623">0</cx:pt>
          <cx:pt idx="3624">0</cx:pt>
          <cx:pt idx="3625">0</cx:pt>
          <cx:pt idx="3626">0</cx:pt>
          <cx:pt idx="3627">0</cx:pt>
          <cx:pt idx="3628">0</cx:pt>
          <cx:pt idx="3629">0</cx:pt>
          <cx:pt idx="3630">0</cx:pt>
          <cx:pt idx="3631">0</cx:pt>
          <cx:pt idx="3632">0</cx:pt>
          <cx:pt idx="3633">0</cx:pt>
          <cx:pt idx="3634">0</cx:pt>
          <cx:pt idx="3635">0</cx:pt>
          <cx:pt idx="3636">0</cx:pt>
          <cx:pt idx="3637">0</cx:pt>
          <cx:pt idx="3638">0</cx:pt>
          <cx:pt idx="3639">0</cx:pt>
          <cx:pt idx="3640">0</cx:pt>
          <cx:pt idx="3641">0</cx:pt>
          <cx:pt idx="3642">0</cx:pt>
          <cx:pt idx="3643">0</cx:pt>
          <cx:pt idx="3644">0</cx:pt>
          <cx:pt idx="3645">0</cx:pt>
          <cx:pt idx="3646">0</cx:pt>
          <cx:pt idx="3647">0</cx:pt>
          <cx:pt idx="3648">0</cx:pt>
          <cx:pt idx="3649">0</cx:pt>
          <cx:pt idx="3650">0</cx:pt>
          <cx:pt idx="3651">0</cx:pt>
          <cx:pt idx="3652">0</cx:pt>
          <cx:pt idx="3653">0</cx:pt>
          <cx:pt idx="3654">0</cx:pt>
          <cx:pt idx="3655">0</cx:pt>
          <cx:pt idx="3656">0</cx:pt>
          <cx:pt idx="3657">0</cx:pt>
          <cx:pt idx="3658">0</cx:pt>
          <cx:pt idx="3659">0</cx:pt>
          <cx:pt idx="3660">0</cx:pt>
          <cx:pt idx="3661">0</cx:pt>
          <cx:pt idx="3662">0</cx:pt>
          <cx:pt idx="3663">0</cx:pt>
          <cx:pt idx="3664">0</cx:pt>
          <cx:pt idx="3665">0</cx:pt>
          <cx:pt idx="3666">0</cx:pt>
          <cx:pt idx="3667">0</cx:pt>
          <cx:pt idx="3668">0</cx:pt>
          <cx:pt idx="3669">0</cx:pt>
          <cx:pt idx="3670">0</cx:pt>
          <cx:pt idx="3671">0</cx:pt>
          <cx:pt idx="3672">0</cx:pt>
          <cx:pt idx="3673">0</cx:pt>
          <cx:pt idx="3674">0</cx:pt>
          <cx:pt idx="3675">0</cx:pt>
          <cx:pt idx="3676">0</cx:pt>
          <cx:pt idx="3677">0</cx:pt>
          <cx:pt idx="3678">0</cx:pt>
          <cx:pt idx="3679">0</cx:pt>
          <cx:pt idx="3680">0</cx:pt>
          <cx:pt idx="3681">0</cx:pt>
          <cx:pt idx="3682">0</cx:pt>
          <cx:pt idx="3683">0</cx:pt>
          <cx:pt idx="3684">0</cx:pt>
          <cx:pt idx="3685">0</cx:pt>
          <cx:pt idx="3686">0</cx:pt>
          <cx:pt idx="3687">0</cx:pt>
          <cx:pt idx="3688">0</cx:pt>
          <cx:pt idx="3689">0</cx:pt>
          <cx:pt idx="3690">0</cx:pt>
          <cx:pt idx="3691">0</cx:pt>
          <cx:pt idx="3692">0</cx:pt>
          <cx:pt idx="3693">0</cx:pt>
          <cx:pt idx="3694">0</cx:pt>
          <cx:pt idx="3695">0</cx:pt>
          <cx:pt idx="3696">0</cx:pt>
          <cx:pt idx="3697">0</cx:pt>
          <cx:pt idx="3698">0</cx:pt>
          <cx:pt idx="3699">0</cx:pt>
          <cx:pt idx="3700">0</cx:pt>
          <cx:pt idx="3701">0</cx:pt>
          <cx:pt idx="3702">0</cx:pt>
          <cx:pt idx="3703">0</cx:pt>
          <cx:pt idx="3704">0</cx:pt>
          <cx:pt idx="3705">0</cx:pt>
          <cx:pt idx="3706">0</cx:pt>
          <cx:pt idx="3707">0</cx:pt>
          <cx:pt idx="3708">0</cx:pt>
          <cx:pt idx="3709">0</cx:pt>
          <cx:pt idx="3710">0</cx:pt>
          <cx:pt idx="3711">0</cx:pt>
          <cx:pt idx="3712">0</cx:pt>
          <cx:pt idx="3713">0</cx:pt>
          <cx:pt idx="3714">0</cx:pt>
          <cx:pt idx="3715">0</cx:pt>
          <cx:pt idx="3716">0</cx:pt>
          <cx:pt idx="3717">0</cx:pt>
          <cx:pt idx="3718">0</cx:pt>
          <cx:pt idx="3719">0</cx:pt>
          <cx:pt idx="3720">0</cx:pt>
          <cx:pt idx="3721">0</cx:pt>
          <cx:pt idx="3722">0</cx:pt>
          <cx:pt idx="3723">0</cx:pt>
          <cx:pt idx="3724">0</cx:pt>
          <cx:pt idx="3725">0</cx:pt>
          <cx:pt idx="3726">0</cx:pt>
          <cx:pt idx="3727">0</cx:pt>
          <cx:pt idx="3728">0</cx:pt>
          <cx:pt idx="3729">0</cx:pt>
          <cx:pt idx="3730">0</cx:pt>
          <cx:pt idx="3731">0</cx:pt>
          <cx:pt idx="3732">0</cx:pt>
          <cx:pt idx="3733">0</cx:pt>
          <cx:pt idx="3734">0</cx:pt>
          <cx:pt idx="3735">0</cx:pt>
          <cx:pt idx="3736">0</cx:pt>
          <cx:pt idx="3737">0</cx:pt>
          <cx:pt idx="3738">0</cx:pt>
          <cx:pt idx="3739">0</cx:pt>
          <cx:pt idx="3740">0</cx:pt>
          <cx:pt idx="3741">0</cx:pt>
          <cx:pt idx="3742">0</cx:pt>
          <cx:pt idx="3743">0</cx:pt>
          <cx:pt idx="3744">0</cx:pt>
          <cx:pt idx="3745">0</cx:pt>
          <cx:pt idx="3746">0</cx:pt>
          <cx:pt idx="3747">0</cx:pt>
          <cx:pt idx="3748">0</cx:pt>
          <cx:pt idx="3749">0</cx:pt>
          <cx:pt idx="3750">0</cx:pt>
          <cx:pt idx="3751">0</cx:pt>
          <cx:pt idx="3752">0</cx:pt>
          <cx:pt idx="3753">0</cx:pt>
          <cx:pt idx="3754">0</cx:pt>
          <cx:pt idx="3755">0</cx:pt>
          <cx:pt idx="3756">0</cx:pt>
          <cx:pt idx="3757">0</cx:pt>
          <cx:pt idx="3758">0</cx:pt>
          <cx:pt idx="3759">0</cx:pt>
          <cx:pt idx="3760">0</cx:pt>
          <cx:pt idx="3761">0</cx:pt>
          <cx:pt idx="3762">0</cx:pt>
          <cx:pt idx="3763">0</cx:pt>
          <cx:pt idx="3764">0</cx:pt>
          <cx:pt idx="3765">0</cx:pt>
          <cx:pt idx="3766">0</cx:pt>
          <cx:pt idx="3767">0</cx:pt>
          <cx:pt idx="3768">0</cx:pt>
          <cx:pt idx="3769">0</cx:pt>
          <cx:pt idx="3770">0</cx:pt>
          <cx:pt idx="3771">0</cx:pt>
          <cx:pt idx="3772">0</cx:pt>
          <cx:pt idx="3773">0</cx:pt>
          <cx:pt idx="3774">0</cx:pt>
          <cx:pt idx="3775">0</cx:pt>
          <cx:pt idx="3776">0</cx:pt>
          <cx:pt idx="3777">0</cx:pt>
          <cx:pt idx="3778">0</cx:pt>
          <cx:pt idx="3779">0</cx:pt>
          <cx:pt idx="3780">0</cx:pt>
          <cx:pt idx="3781">0</cx:pt>
          <cx:pt idx="3782">0</cx:pt>
          <cx:pt idx="3783">0</cx:pt>
          <cx:pt idx="3784">0</cx:pt>
          <cx:pt idx="3785">0</cx:pt>
          <cx:pt idx="3786">0</cx:pt>
          <cx:pt idx="3787">0</cx:pt>
          <cx:pt idx="3788">0</cx:pt>
          <cx:pt idx="3789">0</cx:pt>
          <cx:pt idx="3790">0</cx:pt>
          <cx:pt idx="3791">0</cx:pt>
          <cx:pt idx="3792">0</cx:pt>
          <cx:pt idx="3793">0</cx:pt>
          <cx:pt idx="3794">0</cx:pt>
          <cx:pt idx="3795">0</cx:pt>
          <cx:pt idx="3796">0</cx:pt>
          <cx:pt idx="3797">0</cx:pt>
          <cx:pt idx="3798">0</cx:pt>
          <cx:pt idx="3799">0</cx:pt>
          <cx:pt idx="3800">0</cx:pt>
          <cx:pt idx="3801">0</cx:pt>
          <cx:pt idx="3802">0</cx:pt>
          <cx:pt idx="3803">0</cx:pt>
          <cx:pt idx="3804">0</cx:pt>
          <cx:pt idx="3805">0</cx:pt>
          <cx:pt idx="3806">0</cx:pt>
          <cx:pt idx="3807">0</cx:pt>
          <cx:pt idx="3808">0</cx:pt>
          <cx:pt idx="3809">0</cx:pt>
          <cx:pt idx="3810">0</cx:pt>
          <cx:pt idx="3811">0</cx:pt>
          <cx:pt idx="3812">0</cx:pt>
          <cx:pt idx="3813">0</cx:pt>
          <cx:pt idx="3814">0</cx:pt>
          <cx:pt idx="3815">0</cx:pt>
          <cx:pt idx="3816">0</cx:pt>
          <cx:pt idx="3817">0</cx:pt>
          <cx:pt idx="3818">0</cx:pt>
          <cx:pt idx="3819">0</cx:pt>
          <cx:pt idx="3820">0</cx:pt>
          <cx:pt idx="3821">0</cx:pt>
          <cx:pt idx="3822">0</cx:pt>
          <cx:pt idx="3823">0</cx:pt>
          <cx:pt idx="3824">0</cx:pt>
          <cx:pt idx="3825">0</cx:pt>
          <cx:pt idx="3826">0</cx:pt>
          <cx:pt idx="3827">0</cx:pt>
          <cx:pt idx="3828">0</cx:pt>
          <cx:pt idx="3829">0</cx:pt>
          <cx:pt idx="3830">0</cx:pt>
          <cx:pt idx="3831">0</cx:pt>
          <cx:pt idx="3832">0</cx:pt>
          <cx:pt idx="3833">0</cx:pt>
          <cx:pt idx="3834">0</cx:pt>
          <cx:pt idx="3835">0</cx:pt>
          <cx:pt idx="3836">0</cx:pt>
          <cx:pt idx="3837">0</cx:pt>
          <cx:pt idx="3838">0</cx:pt>
          <cx:pt idx="3839">0</cx:pt>
          <cx:pt idx="3840">0</cx:pt>
          <cx:pt idx="3841">0</cx:pt>
          <cx:pt idx="3842">0</cx:pt>
          <cx:pt idx="3843">0</cx:pt>
          <cx:pt idx="3844">0</cx:pt>
          <cx:pt idx="3845">0</cx:pt>
          <cx:pt idx="3846">0</cx:pt>
          <cx:pt idx="3847">0</cx:pt>
          <cx:pt idx="3848">0</cx:pt>
          <cx:pt idx="3849">0</cx:pt>
          <cx:pt idx="3850">0</cx:pt>
          <cx:pt idx="3851">0</cx:pt>
          <cx:pt idx="3852">0</cx:pt>
          <cx:pt idx="3853">0</cx:pt>
          <cx:pt idx="3854">0</cx:pt>
          <cx:pt idx="3855">0</cx:pt>
          <cx:pt idx="3856">0</cx:pt>
          <cx:pt idx="3857">0</cx:pt>
          <cx:pt idx="3858">0</cx:pt>
          <cx:pt idx="3859">0</cx:pt>
          <cx:pt idx="3860">0</cx:pt>
          <cx:pt idx="3861">0</cx:pt>
          <cx:pt idx="3862">0</cx:pt>
          <cx:pt idx="3863">0</cx:pt>
          <cx:pt idx="3864">0</cx:pt>
          <cx:pt idx="3865">0</cx:pt>
          <cx:pt idx="3866">0</cx:pt>
          <cx:pt idx="3867">0</cx:pt>
          <cx:pt idx="3868">0</cx:pt>
          <cx:pt idx="3869">0</cx:pt>
          <cx:pt idx="3870">0</cx:pt>
          <cx:pt idx="3871">0</cx:pt>
          <cx:pt idx="3872">0</cx:pt>
          <cx:pt idx="3873">0</cx:pt>
          <cx:pt idx="3874">0</cx:pt>
          <cx:pt idx="3875">0</cx:pt>
          <cx:pt idx="3876">0</cx:pt>
          <cx:pt idx="3877">0</cx:pt>
          <cx:pt idx="3878">0</cx:pt>
          <cx:pt idx="3879">0</cx:pt>
          <cx:pt idx="3880">0</cx:pt>
          <cx:pt idx="3881">0</cx:pt>
          <cx:pt idx="3882">0</cx:pt>
          <cx:pt idx="3883">0</cx:pt>
          <cx:pt idx="3884">0</cx:pt>
          <cx:pt idx="3885">0</cx:pt>
          <cx:pt idx="3886">0</cx:pt>
          <cx:pt idx="3887">0</cx:pt>
          <cx:pt idx="3888">0</cx:pt>
          <cx:pt idx="3889">0</cx:pt>
          <cx:pt idx="3890">0</cx:pt>
          <cx:pt idx="3891">0</cx:pt>
          <cx:pt idx="3892">0</cx:pt>
          <cx:pt idx="3893">0</cx:pt>
          <cx:pt idx="3894">0</cx:pt>
          <cx:pt idx="3895">0</cx:pt>
          <cx:pt idx="3896">0</cx:pt>
          <cx:pt idx="3897">0</cx:pt>
          <cx:pt idx="3898">0</cx:pt>
          <cx:pt idx="3899">0</cx:pt>
          <cx:pt idx="3900">0</cx:pt>
          <cx:pt idx="3901">0</cx:pt>
          <cx:pt idx="3902">0</cx:pt>
          <cx:pt idx="3903">0</cx:pt>
          <cx:pt idx="3904">0</cx:pt>
          <cx:pt idx="3905">0</cx:pt>
          <cx:pt idx="3906">0</cx:pt>
          <cx:pt idx="3907">0</cx:pt>
          <cx:pt idx="3908">0</cx:pt>
          <cx:pt idx="3909">0</cx:pt>
          <cx:pt idx="3910">0</cx:pt>
          <cx:pt idx="3911">0</cx:pt>
          <cx:pt idx="3912">0</cx:pt>
          <cx:pt idx="3913">0</cx:pt>
          <cx:pt idx="3914">0</cx:pt>
          <cx:pt idx="3915">0</cx:pt>
          <cx:pt idx="3916">0</cx:pt>
          <cx:pt idx="3917">0</cx:pt>
          <cx:pt idx="3918">0</cx:pt>
          <cx:pt idx="3919">0</cx:pt>
          <cx:pt idx="3920">0</cx:pt>
          <cx:pt idx="3921">0</cx:pt>
          <cx:pt idx="3922">0</cx:pt>
          <cx:pt idx="3923">0</cx:pt>
          <cx:pt idx="3924">0</cx:pt>
          <cx:pt idx="3925">0</cx:pt>
          <cx:pt idx="3926">0</cx:pt>
          <cx:pt idx="3927">0</cx:pt>
          <cx:pt idx="3928">0</cx:pt>
          <cx:pt idx="3929">0</cx:pt>
          <cx:pt idx="3930">0</cx:pt>
          <cx:pt idx="3931">0</cx:pt>
          <cx:pt idx="3932">0</cx:pt>
          <cx:pt idx="3933">0</cx:pt>
          <cx:pt idx="3934">0</cx:pt>
          <cx:pt idx="3935">0</cx:pt>
          <cx:pt idx="3936">0</cx:pt>
          <cx:pt idx="3937">0</cx:pt>
          <cx:pt idx="3938">0</cx:pt>
          <cx:pt idx="3939">0</cx:pt>
          <cx:pt idx="3940">0</cx:pt>
          <cx:pt idx="3941">0</cx:pt>
          <cx:pt idx="3942">0</cx:pt>
          <cx:pt idx="3943">0</cx:pt>
          <cx:pt idx="3944">0</cx:pt>
          <cx:pt idx="3945">0</cx:pt>
          <cx:pt idx="3946">0</cx:pt>
          <cx:pt idx="3947">0</cx:pt>
          <cx:pt idx="3948">0</cx:pt>
          <cx:pt idx="3949">0</cx:pt>
          <cx:pt idx="3950">0</cx:pt>
          <cx:pt idx="3951">0</cx:pt>
          <cx:pt idx="3952">0</cx:pt>
          <cx:pt idx="3953">0</cx:pt>
          <cx:pt idx="3954">0</cx:pt>
          <cx:pt idx="3955">0</cx:pt>
          <cx:pt idx="3956">0</cx:pt>
          <cx:pt idx="3957">0</cx:pt>
          <cx:pt idx="3958">0</cx:pt>
          <cx:pt idx="3959">0</cx:pt>
          <cx:pt idx="3960">0</cx:pt>
          <cx:pt idx="3961">0</cx:pt>
          <cx:pt idx="3962">0</cx:pt>
          <cx:pt idx="3963">0</cx:pt>
          <cx:pt idx="3964">0</cx:pt>
          <cx:pt idx="3965">0</cx:pt>
          <cx:pt idx="3966">0</cx:pt>
          <cx:pt idx="3967">0</cx:pt>
          <cx:pt idx="3968">0</cx:pt>
          <cx:pt idx="3969">0</cx:pt>
          <cx:pt idx="3970">0</cx:pt>
          <cx:pt idx="3971">0</cx:pt>
          <cx:pt idx="3972">0</cx:pt>
          <cx:pt idx="3973">0</cx:pt>
          <cx:pt idx="3974">0</cx:pt>
          <cx:pt idx="3975">0</cx:pt>
          <cx:pt idx="3976">0</cx:pt>
          <cx:pt idx="3977">0</cx:pt>
          <cx:pt idx="3978">0</cx:pt>
          <cx:pt idx="3979">0</cx:pt>
          <cx:pt idx="3980">0</cx:pt>
          <cx:pt idx="3981">0</cx:pt>
          <cx:pt idx="3982">0</cx:pt>
          <cx:pt idx="3983">0</cx:pt>
          <cx:pt idx="3984">0</cx:pt>
          <cx:pt idx="3985">0</cx:pt>
          <cx:pt idx="3986">0</cx:pt>
          <cx:pt idx="3987">0</cx:pt>
          <cx:pt idx="3988">0</cx:pt>
          <cx:pt idx="3989">0</cx:pt>
          <cx:pt idx="3990">0</cx:pt>
          <cx:pt idx="3991">0</cx:pt>
          <cx:pt idx="3992">0</cx:pt>
          <cx:pt idx="3993">0</cx:pt>
          <cx:pt idx="3994">0</cx:pt>
          <cx:pt idx="3995">0</cx:pt>
          <cx:pt idx="3996">0</cx:pt>
          <cx:pt idx="3997">0</cx:pt>
          <cx:pt idx="3998">0</cx:pt>
          <cx:pt idx="3999">0</cx:pt>
          <cx:pt idx="4000">0</cx:pt>
          <cx:pt idx="4001">0</cx:pt>
          <cx:pt idx="4002">0</cx:pt>
          <cx:pt idx="4003">0</cx:pt>
          <cx:pt idx="4004">0</cx:pt>
          <cx:pt idx="4005">0</cx:pt>
          <cx:pt idx="4006">0</cx:pt>
          <cx:pt idx="4007">0</cx:pt>
          <cx:pt idx="4008">0</cx:pt>
          <cx:pt idx="4009">0</cx:pt>
          <cx:pt idx="4010">0</cx:pt>
          <cx:pt idx="4011">0</cx:pt>
          <cx:pt idx="4012">0</cx:pt>
          <cx:pt idx="4013">0</cx:pt>
          <cx:pt idx="4014">0</cx:pt>
          <cx:pt idx="4015">0</cx:pt>
          <cx:pt idx="4016">0</cx:pt>
          <cx:pt idx="4017">0</cx:pt>
          <cx:pt idx="4018">0</cx:pt>
          <cx:pt idx="4019">0</cx:pt>
          <cx:pt idx="4020">0</cx:pt>
          <cx:pt idx="4021">0</cx:pt>
          <cx:pt idx="4022">0</cx:pt>
          <cx:pt idx="4023">0</cx:pt>
          <cx:pt idx="4024">0</cx:pt>
          <cx:pt idx="4025">0</cx:pt>
          <cx:pt idx="4026">0</cx:pt>
          <cx:pt idx="4027">0</cx:pt>
          <cx:pt idx="4028">0</cx:pt>
          <cx:pt idx="4029">0</cx:pt>
          <cx:pt idx="4030">0</cx:pt>
          <cx:pt idx="4031">0</cx:pt>
          <cx:pt idx="4032">0</cx:pt>
          <cx:pt idx="4033">0</cx:pt>
          <cx:pt idx="4034">0</cx:pt>
          <cx:pt idx="4035">0</cx:pt>
          <cx:pt idx="4036">0</cx:pt>
          <cx:pt idx="4037">0</cx:pt>
          <cx:pt idx="4038">0</cx:pt>
          <cx:pt idx="4039">0</cx:pt>
          <cx:pt idx="4040">0</cx:pt>
          <cx:pt idx="4041">0</cx:pt>
          <cx:pt idx="4042">0</cx:pt>
          <cx:pt idx="4043">0</cx:pt>
          <cx:pt idx="4044">0</cx:pt>
          <cx:pt idx="4045">0</cx:pt>
          <cx:pt idx="4046">0</cx:pt>
          <cx:pt idx="4047">0</cx:pt>
          <cx:pt idx="4048">0</cx:pt>
          <cx:pt idx="4049">0</cx:pt>
          <cx:pt idx="4050">0</cx:pt>
          <cx:pt idx="4051">0</cx:pt>
          <cx:pt idx="4052">0</cx:pt>
          <cx:pt idx="4053">0</cx:pt>
          <cx:pt idx="4054">0</cx:pt>
          <cx:pt idx="4055">0</cx:pt>
          <cx:pt idx="4056">0</cx:pt>
          <cx:pt idx="4057">0</cx:pt>
          <cx:pt idx="4058">0</cx:pt>
          <cx:pt idx="4059">0</cx:pt>
          <cx:pt idx="4060">0</cx:pt>
          <cx:pt idx="4061">0</cx:pt>
          <cx:pt idx="4062">0</cx:pt>
          <cx:pt idx="4063">0</cx:pt>
          <cx:pt idx="4064">0</cx:pt>
          <cx:pt idx="4065">0</cx:pt>
          <cx:pt idx="4066">0</cx:pt>
          <cx:pt idx="4067">0</cx:pt>
          <cx:pt idx="4068">0</cx:pt>
          <cx:pt idx="4069">0</cx:pt>
          <cx:pt idx="4070">0</cx:pt>
          <cx:pt idx="4071">0</cx:pt>
          <cx:pt idx="4072">0</cx:pt>
          <cx:pt idx="4073">0</cx:pt>
          <cx:pt idx="4074">0</cx:pt>
          <cx:pt idx="4075">0</cx:pt>
          <cx:pt idx="4076">0</cx:pt>
          <cx:pt idx="4077">0</cx:pt>
          <cx:pt idx="4078">0</cx:pt>
          <cx:pt idx="4079">0</cx:pt>
          <cx:pt idx="4080">0</cx:pt>
          <cx:pt idx="4081">0</cx:pt>
          <cx:pt idx="4082">0</cx:pt>
          <cx:pt idx="4083">0</cx:pt>
          <cx:pt idx="4084">0</cx:pt>
          <cx:pt idx="4085">0</cx:pt>
          <cx:pt idx="4086">0</cx:pt>
          <cx:pt idx="4087">0</cx:pt>
          <cx:pt idx="4088">0</cx:pt>
          <cx:pt idx="4089">0</cx:pt>
          <cx:pt idx="4090">0</cx:pt>
          <cx:pt idx="4091">0</cx:pt>
          <cx:pt idx="4092">0</cx:pt>
          <cx:pt idx="4093">0</cx:pt>
          <cx:pt idx="4094">0</cx:pt>
          <cx:pt idx="4095">0</cx:pt>
          <cx:pt idx="4096">0</cx:pt>
          <cx:pt idx="4097">0</cx:pt>
          <cx:pt idx="4098">0</cx:pt>
          <cx:pt idx="4099">0</cx:pt>
          <cx:pt idx="4100">0</cx:pt>
          <cx:pt idx="4101">0</cx:pt>
          <cx:pt idx="4102">0</cx:pt>
          <cx:pt idx="4103">0</cx:pt>
          <cx:pt idx="4104">0</cx:pt>
          <cx:pt idx="4105">0</cx:pt>
          <cx:pt idx="4106">0</cx:pt>
          <cx:pt idx="4107">0</cx:pt>
          <cx:pt idx="4108">0</cx:pt>
          <cx:pt idx="4109">0</cx:pt>
          <cx:pt idx="4110">0</cx:pt>
          <cx:pt idx="4111">0</cx:pt>
          <cx:pt idx="4112">0</cx:pt>
          <cx:pt idx="4113">0</cx:pt>
          <cx:pt idx="4114">0</cx:pt>
          <cx:pt idx="4115">0</cx:pt>
          <cx:pt idx="4116">0</cx:pt>
          <cx:pt idx="4117">0</cx:pt>
          <cx:pt idx="4118">0</cx:pt>
          <cx:pt idx="4119">0</cx:pt>
          <cx:pt idx="4120">0</cx:pt>
          <cx:pt idx="4121">0</cx:pt>
          <cx:pt idx="4122">0</cx:pt>
          <cx:pt idx="4123">0</cx:pt>
          <cx:pt idx="4124">0</cx:pt>
          <cx:pt idx="4125">0</cx:pt>
          <cx:pt idx="4126">0</cx:pt>
          <cx:pt idx="4127">0</cx:pt>
          <cx:pt idx="4128">0</cx:pt>
          <cx:pt idx="4129">0</cx:pt>
          <cx:pt idx="4130">0</cx:pt>
          <cx:pt idx="4131">0</cx:pt>
          <cx:pt idx="4132">0</cx:pt>
          <cx:pt idx="4133">0</cx:pt>
          <cx:pt idx="4134">0</cx:pt>
          <cx:pt idx="4135">0</cx:pt>
          <cx:pt idx="4136">0</cx:pt>
          <cx:pt idx="4137">0</cx:pt>
          <cx:pt idx="4138">0</cx:pt>
          <cx:pt idx="4139">0</cx:pt>
          <cx:pt idx="4140">0</cx:pt>
          <cx:pt idx="4141">0</cx:pt>
          <cx:pt idx="4142">0</cx:pt>
          <cx:pt idx="4143">0</cx:pt>
          <cx:pt idx="4144">0</cx:pt>
          <cx:pt idx="4145">0</cx:pt>
          <cx:pt idx="4146">0</cx:pt>
          <cx:pt idx="4147">0</cx:pt>
          <cx:pt idx="4148">0</cx:pt>
          <cx:pt idx="4149">0</cx:pt>
          <cx:pt idx="4150">0</cx:pt>
          <cx:pt idx="4151">0</cx:pt>
          <cx:pt idx="4152">0</cx:pt>
          <cx:pt idx="4153">0</cx:pt>
          <cx:pt idx="4154">0</cx:pt>
          <cx:pt idx="4155">0</cx:pt>
          <cx:pt idx="4156">0</cx:pt>
          <cx:pt idx="4157">0</cx:pt>
          <cx:pt idx="4158">0</cx:pt>
          <cx:pt idx="4159">0</cx:pt>
          <cx:pt idx="4160">0</cx:pt>
          <cx:pt idx="4161">0</cx:pt>
          <cx:pt idx="4162">0</cx:pt>
          <cx:pt idx="4163">0</cx:pt>
          <cx:pt idx="4164">0</cx:pt>
          <cx:pt idx="4165">0</cx:pt>
          <cx:pt idx="4166">0</cx:pt>
          <cx:pt idx="4167">0</cx:pt>
          <cx:pt idx="4168">0</cx:pt>
          <cx:pt idx="4169">0</cx:pt>
          <cx:pt idx="4170">0</cx:pt>
          <cx:pt idx="4171">0</cx:pt>
          <cx:pt idx="4172">0</cx:pt>
          <cx:pt idx="4173">0</cx:pt>
          <cx:pt idx="4174">0</cx:pt>
          <cx:pt idx="4175">0</cx:pt>
          <cx:pt idx="4176">0</cx:pt>
          <cx:pt idx="4177">0</cx:pt>
          <cx:pt idx="4178">0</cx:pt>
          <cx:pt idx="4179">0</cx:pt>
          <cx:pt idx="4180">0</cx:pt>
          <cx:pt idx="4181">0</cx:pt>
          <cx:pt idx="4182">0</cx:pt>
          <cx:pt idx="4183">0</cx:pt>
          <cx:pt idx="4184">0</cx:pt>
          <cx:pt idx="4185">0</cx:pt>
          <cx:pt idx="4186">0</cx:pt>
          <cx:pt idx="4187">0</cx:pt>
          <cx:pt idx="4188">0</cx:pt>
          <cx:pt idx="4189">0</cx:pt>
          <cx:pt idx="4190">0</cx:pt>
          <cx:pt idx="4191">0</cx:pt>
          <cx:pt idx="4192">0</cx:pt>
          <cx:pt idx="4193">0</cx:pt>
          <cx:pt idx="4194">0</cx:pt>
          <cx:pt idx="4195">0</cx:pt>
          <cx:pt idx="4196">0</cx:pt>
          <cx:pt idx="4197">0</cx:pt>
          <cx:pt idx="4198">0</cx:pt>
          <cx:pt idx="4199">0</cx:pt>
          <cx:pt idx="4200">0</cx:pt>
          <cx:pt idx="4201">0</cx:pt>
          <cx:pt idx="4202">0</cx:pt>
          <cx:pt idx="4203">0</cx:pt>
          <cx:pt idx="4204">0</cx:pt>
          <cx:pt idx="4205">0</cx:pt>
          <cx:pt idx="4206">0</cx:pt>
          <cx:pt idx="4207">0</cx:pt>
          <cx:pt idx="4208">0</cx:pt>
          <cx:pt idx="4209">0</cx:pt>
          <cx:pt idx="4210">0</cx:pt>
          <cx:pt idx="4211">0</cx:pt>
          <cx:pt idx="4212">0</cx:pt>
          <cx:pt idx="4213">0</cx:pt>
          <cx:pt idx="4214">0</cx:pt>
          <cx:pt idx="4215">0</cx:pt>
          <cx:pt idx="4216">0</cx:pt>
          <cx:pt idx="4217">0</cx:pt>
          <cx:pt idx="4218">0</cx:pt>
          <cx:pt idx="4219">0</cx:pt>
          <cx:pt idx="4220">0</cx:pt>
          <cx:pt idx="4221">0</cx:pt>
          <cx:pt idx="4222">0</cx:pt>
          <cx:pt idx="4223">0</cx:pt>
          <cx:pt idx="4224">0</cx:pt>
          <cx:pt idx="4225">0</cx:pt>
          <cx:pt idx="4226">0</cx:pt>
          <cx:pt idx="4227">0</cx:pt>
          <cx:pt idx="4228">0</cx:pt>
          <cx:pt idx="4229">0</cx:pt>
          <cx:pt idx="4230">0</cx:pt>
          <cx:pt idx="4231">0</cx:pt>
          <cx:pt idx="4232">0</cx:pt>
          <cx:pt idx="4233">0</cx:pt>
          <cx:pt idx="4234">0</cx:pt>
          <cx:pt idx="4235">0</cx:pt>
          <cx:pt idx="4236">0</cx:pt>
          <cx:pt idx="4237">0</cx:pt>
          <cx:pt idx="4238">0</cx:pt>
          <cx:pt idx="4239">0</cx:pt>
          <cx:pt idx="4240">0</cx:pt>
          <cx:pt idx="4241">0</cx:pt>
          <cx:pt idx="4242">0</cx:pt>
          <cx:pt idx="4243">0</cx:pt>
          <cx:pt idx="4244">0</cx:pt>
          <cx:pt idx="4245">0</cx:pt>
          <cx:pt idx="4246">0</cx:pt>
          <cx:pt idx="4247">0</cx:pt>
          <cx:pt idx="4248">0</cx:pt>
          <cx:pt idx="4249">0</cx:pt>
          <cx:pt idx="4250">0</cx:pt>
          <cx:pt idx="4251">0</cx:pt>
          <cx:pt idx="4252">0</cx:pt>
          <cx:pt idx="4253">0</cx:pt>
          <cx:pt idx="4254">0</cx:pt>
          <cx:pt idx="4255">0</cx:pt>
          <cx:pt idx="4256">0</cx:pt>
          <cx:pt idx="4257">0</cx:pt>
          <cx:pt idx="4258">0</cx:pt>
          <cx:pt idx="4259">0</cx:pt>
          <cx:pt idx="4260">0</cx:pt>
          <cx:pt idx="4261">0</cx:pt>
          <cx:pt idx="4262">0</cx:pt>
          <cx:pt idx="4263">0</cx:pt>
          <cx:pt idx="4264">0</cx:pt>
          <cx:pt idx="4265">0</cx:pt>
          <cx:pt idx="4266">0</cx:pt>
          <cx:pt idx="4267">0</cx:pt>
          <cx:pt idx="4268">0</cx:pt>
          <cx:pt idx="4269">0</cx:pt>
          <cx:pt idx="4270">0</cx:pt>
          <cx:pt idx="4271">0</cx:pt>
          <cx:pt idx="4272">0</cx:pt>
          <cx:pt idx="4273">0</cx:pt>
          <cx:pt idx="4274">0</cx:pt>
          <cx:pt idx="4275">0</cx:pt>
          <cx:pt idx="4276">0</cx:pt>
          <cx:pt idx="4277">0</cx:pt>
          <cx:pt idx="4278">0</cx:pt>
          <cx:pt idx="4279">0</cx:pt>
          <cx:pt idx="4280">0</cx:pt>
          <cx:pt idx="4281">0</cx:pt>
          <cx:pt idx="4282">0</cx:pt>
          <cx:pt idx="4283">0</cx:pt>
          <cx:pt idx="4284">0</cx:pt>
          <cx:pt idx="4285">0</cx:pt>
          <cx:pt idx="4286">0</cx:pt>
          <cx:pt idx="4287">0</cx:pt>
          <cx:pt idx="4288">0</cx:pt>
          <cx:pt idx="4289">0</cx:pt>
          <cx:pt idx="4290">0</cx:pt>
          <cx:pt idx="4291">0</cx:pt>
          <cx:pt idx="4292">0</cx:pt>
          <cx:pt idx="4293">0</cx:pt>
          <cx:pt idx="4294">0</cx:pt>
          <cx:pt idx="4295">0</cx:pt>
          <cx:pt idx="4296">0</cx:pt>
          <cx:pt idx="4297">0</cx:pt>
          <cx:pt idx="4298">0</cx:pt>
          <cx:pt idx="4299">0</cx:pt>
          <cx:pt idx="4300">0</cx:pt>
          <cx:pt idx="4301">0</cx:pt>
          <cx:pt idx="4302">0</cx:pt>
          <cx:pt idx="4303">0</cx:pt>
          <cx:pt idx="4304">0</cx:pt>
          <cx:pt idx="4305">0</cx:pt>
          <cx:pt idx="4306">0</cx:pt>
          <cx:pt idx="4307">0</cx:pt>
          <cx:pt idx="4308">0</cx:pt>
          <cx:pt idx="4309">0</cx:pt>
          <cx:pt idx="4310">0</cx:pt>
          <cx:pt idx="4311">0</cx:pt>
          <cx:pt idx="4312">0</cx:pt>
          <cx:pt idx="4313">0</cx:pt>
          <cx:pt idx="4314">0</cx:pt>
          <cx:pt idx="4315">0</cx:pt>
          <cx:pt idx="4316">0</cx:pt>
          <cx:pt idx="4317">0</cx:pt>
          <cx:pt idx="4318">0</cx:pt>
          <cx:pt idx="4319">0</cx:pt>
          <cx:pt idx="4320">0</cx:pt>
          <cx:pt idx="4321">0</cx:pt>
          <cx:pt idx="4322">0</cx:pt>
          <cx:pt idx="4323">0</cx:pt>
          <cx:pt idx="4324">0</cx:pt>
          <cx:pt idx="4325">0</cx:pt>
          <cx:pt idx="4326">0</cx:pt>
          <cx:pt idx="4327">0</cx:pt>
          <cx:pt idx="4328">0</cx:pt>
          <cx:pt idx="4329">0</cx:pt>
          <cx:pt idx="4330">0</cx:pt>
          <cx:pt idx="4331">0</cx:pt>
          <cx:pt idx="4332">0</cx:pt>
          <cx:pt idx="4333">0</cx:pt>
          <cx:pt idx="4334">0</cx:pt>
          <cx:pt idx="4335">0</cx:pt>
          <cx:pt idx="4336">0</cx:pt>
          <cx:pt idx="4337">0</cx:pt>
          <cx:pt idx="4338">0</cx:pt>
          <cx:pt idx="4339">0</cx:pt>
          <cx:pt idx="4340">0</cx:pt>
          <cx:pt idx="4341">0</cx:pt>
          <cx:pt idx="4342">0</cx:pt>
          <cx:pt idx="4343">0</cx:pt>
          <cx:pt idx="4344">0</cx:pt>
          <cx:pt idx="4345">0</cx:pt>
          <cx:pt idx="4346">0</cx:pt>
          <cx:pt idx="4347">0</cx:pt>
          <cx:pt idx="4348">0</cx:pt>
          <cx:pt idx="4349">0</cx:pt>
          <cx:pt idx="4350">0</cx:pt>
          <cx:pt idx="4351">0</cx:pt>
          <cx:pt idx="4352">0</cx:pt>
          <cx:pt idx="4353">0</cx:pt>
          <cx:pt idx="4354">0</cx:pt>
          <cx:pt idx="4355">0</cx:pt>
          <cx:pt idx="4356">0</cx:pt>
          <cx:pt idx="4357">0</cx:pt>
          <cx:pt idx="4358">0</cx:pt>
          <cx:pt idx="4359">0</cx:pt>
          <cx:pt idx="4360">0</cx:pt>
          <cx:pt idx="4361">0</cx:pt>
          <cx:pt idx="4362">0</cx:pt>
          <cx:pt idx="4363">0</cx:pt>
          <cx:pt idx="4364">0</cx:pt>
          <cx:pt idx="4365">0</cx:pt>
          <cx:pt idx="4366">0</cx:pt>
          <cx:pt idx="4367">0</cx:pt>
          <cx:pt idx="4368">0</cx:pt>
          <cx:pt idx="4369">0</cx:pt>
          <cx:pt idx="4370">0</cx:pt>
          <cx:pt idx="4371">0</cx:pt>
          <cx:pt idx="4372">0</cx:pt>
          <cx:pt idx="4373">0</cx:pt>
          <cx:pt idx="4374">0</cx:pt>
          <cx:pt idx="4375">0</cx:pt>
          <cx:pt idx="4376">0</cx:pt>
          <cx:pt idx="4377">0</cx:pt>
          <cx:pt idx="4378">0</cx:pt>
          <cx:pt idx="4379">0</cx:pt>
          <cx:pt idx="4380">0</cx:pt>
          <cx:pt idx="4381">0</cx:pt>
          <cx:pt idx="4382">0</cx:pt>
          <cx:pt idx="4383">0</cx:pt>
          <cx:pt idx="4384">0</cx:pt>
          <cx:pt idx="4385">0</cx:pt>
          <cx:pt idx="4386">0</cx:pt>
          <cx:pt idx="4387">0</cx:pt>
          <cx:pt idx="4388">0</cx:pt>
          <cx:pt idx="4389">0</cx:pt>
          <cx:pt idx="4390">0</cx:pt>
          <cx:pt idx="4391">0</cx:pt>
          <cx:pt idx="4392">0</cx:pt>
          <cx:pt idx="4393">0</cx:pt>
          <cx:pt idx="4394">0</cx:pt>
          <cx:pt idx="4395">0</cx:pt>
          <cx:pt idx="4396">0</cx:pt>
          <cx:pt idx="4397">0</cx:pt>
          <cx:pt idx="4398">0</cx:pt>
          <cx:pt idx="4399">0</cx:pt>
          <cx:pt idx="4400">0</cx:pt>
          <cx:pt idx="4401">0</cx:pt>
          <cx:pt idx="4402">0</cx:pt>
          <cx:pt idx="4403">0</cx:pt>
          <cx:pt idx="4404">0</cx:pt>
          <cx:pt idx="4405">0</cx:pt>
          <cx:pt idx="4406">0</cx:pt>
          <cx:pt idx="4407">0</cx:pt>
          <cx:pt idx="4408">0</cx:pt>
          <cx:pt idx="4409">0</cx:pt>
          <cx:pt idx="4410">0</cx:pt>
          <cx:pt idx="4411">0</cx:pt>
          <cx:pt idx="4412">0</cx:pt>
          <cx:pt idx="4413">0</cx:pt>
          <cx:pt idx="4414">0</cx:pt>
          <cx:pt idx="4415">0</cx:pt>
          <cx:pt idx="4416">0</cx:pt>
          <cx:pt idx="4417">0</cx:pt>
          <cx:pt idx="4418">0</cx:pt>
          <cx:pt idx="4419">0</cx:pt>
          <cx:pt idx="4420">0</cx:pt>
          <cx:pt idx="4421">0</cx:pt>
          <cx:pt idx="4422">0</cx:pt>
          <cx:pt idx="4423">-0.000417954</cx:pt>
          <cx:pt idx="4424">-0.0067502760000000004</cx:pt>
          <cx:pt idx="4425">-0.0093253269999999996</cx:pt>
          <cx:pt idx="4426">-0.013499472</cx:pt>
          <cx:pt idx="4427">-0.013848498000000001</cx:pt>
          <cx:pt idx="4428">-0.01962821</cx:pt>
          <cx:pt idx="4429">-0.021084577</cx:pt>
          <cx:pt idx="4430">-0.026234123000000002</cx:pt>
          <cx:pt idx="4431">-0.027835374999999999</cx:pt>
          <cx:pt idx="4432">-0.031524239000000003</cx:pt>
          <cx:pt idx="4433">-0.037439685</cx:pt>
          <cx:pt idx="4434">-0.037582447999999997</cx:pt>
          <cx:pt idx="4435">-0.037717067999999999</cx:pt>
          <cx:pt idx="4436">-0.046485993000000003</cx:pt>
          <cx:pt idx="4437">-0.046837210999999997</cx:pt>
          <cx:pt idx="4438">-0.047811531999999997</cx:pt>
          <cx:pt idx="4439">-0.048020509000000003</cx:pt>
          <cx:pt idx="4440">-0.050525517999999998</cx:pt>
          <cx:pt idx="4441">-0.050595003</cx:pt>
          <cx:pt idx="4442">-0.054422281000000003</cx:pt>
          <cx:pt idx="4443">-0.055396636999999999</cx:pt>
          <cx:pt idx="4444">-0.057480420999999997</cx:pt>
          <cx:pt idx="4445">-0.057623740999999999</cx:pt>
          <cx:pt idx="4446">-0.061168207000000002</cx:pt>
          <cx:pt idx="4447">-0.063121232999999999</cx:pt>
          <cx:pt idx="4448">-0.066531079000000007</cx:pt>
          <cx:pt idx="4449">-0.066809541</cx:pt>
          <cx:pt idx="4450">-0.066879025999999994</cx:pt>
          <cx:pt idx="4451">-0.079191928999999994</cx:pt>
          <cx:pt idx="4452">-0.079335214000000001</cx:pt>
          <cx:pt idx="4453">-0.082257654999999999</cx:pt>
          <cx:pt idx="4454">-0.087337751000000005</cx:pt>
          <cx:pt idx="4455">-0.088656747999999994</cx:pt>
          <cx:pt idx="4456">-0.088864646000000005</cx:pt>
          <cx:pt idx="4457">-0.089007930999999998</cx:pt>
          <cx:pt idx="4458">-0.092208834000000003</cx:pt>
          <cx:pt idx="4459">-0.093948499000000005</cx:pt>
          <cx:pt idx="4460">-0.094018540999999997</cx:pt>
          <cx:pt idx="4461">-0.094435937999999997</cx:pt>
          <cx:pt idx="4462">-0.094644358999999997</cx:pt>
          <cx:pt idx="4463">-0.097497871999999999</cx:pt>
          <cx:pt idx="4464">-0.103548495</cx:pt>
          <cx:pt idx="4465">-0.107240074</cx:pt>
          <cx:pt idx="4466">-0.117887112</cx:pt>
          <cx:pt idx="4467">-0.119623506</cx:pt>
          <cx:pt idx="4468">-0.12832517299999999</cx:pt>
          <cx:pt idx="4469">-0.13423679199999999</cx:pt>
          <cx:pt idx="4470">-0.14008546699999999</cx:pt>
          <cx:pt idx="4471">-0.151219944</cx:pt>
          <cx:pt idx="4472">-0.15226375</cx:pt>
          <cx:pt idx="4473">-0.15240271999999999</cx:pt>
          <cx:pt idx="4474">-0.15379447299999999</cx:pt>
          <cx:pt idx="4475">-0.157552265</cx:pt>
          <cx:pt idx="4476">-0.15810918900000001</cx:pt>
          <cx:pt idx="4477">-0.158735564</cx:pt>
          <cx:pt idx="4478">-0.1667381</cx:pt>
          <cx:pt idx="4479">-0.17195713100000001</cx:pt>
          <cx:pt idx="4480">-0.17460163200000001</cx:pt>
          <cx:pt idx="4481">-0.174810087</cx:pt>
          <cx:pt idx="4482">-0.17606287000000001</cx:pt>
          <cx:pt idx="4483">-0.181629813</cx:pt>
          <cx:pt idx="4484">-0.18552713200000001</cx:pt>
          <cx:pt idx="4485">-0.187614744</cx:pt>
          <cx:pt idx="4486">-0.190537186</cx:pt>
          <cx:pt idx="4487">-0.198052805</cx:pt>
          <cx:pt idx="4488">-0.20041887899999999</cx:pt>
          <cx:pt idx="4489">-0.20222803</cx:pt>
          <cx:pt idx="4490">-0.20313342200000001</cx:pt>
          <cx:pt idx="4491">-0.21113648099999999</cx:pt>
          <cx:pt idx="4492">-0.21677183</cx:pt>
          <cx:pt idx="4493">-0.22505387299999999</cx:pt>
          <cx:pt idx="4494">-0.227001436</cx:pt>
          <cx:pt idx="4495">-0.22922909699999999</cx:pt>
          <cx:pt idx="4496">-0.23166410000000001</cx:pt>
          <cx:pt idx="4497">-0.23228995199999999</cx:pt>
          <cx:pt idx="4498">-0.234517056</cx:pt>
          <cx:pt idx="4499">-0.235352442</cx:pt>
          <cx:pt idx="4500">-0.23723107700000001</cx:pt>
          <cx:pt idx="4501">-0.237439497</cx:pt>
          <cx:pt idx="4502">-0.23938817400000001</cx:pt>
          <cx:pt idx="4503">-0.24293698999999999</cx:pt>
          <cx:pt idx="4504">-0.24363396200000001</cx:pt>
          <cx:pt idx="4505">-0.24906196999999999</cx:pt>
          <cx:pt idx="4506">-0.250524252</cx:pt>
          <cx:pt idx="4507">-0.25073107100000003</cx:pt>
          <cx:pt idx="4508">-0.25511635100000002</cx:pt>
          <cx:pt idx="4509">-0.25574220399999997</cx:pt>
          <cx:pt idx="4510">-0.25650702600000003</cx:pt>
          <cx:pt idx="4511">-0.26026481800000001</cx:pt>
          <cx:pt idx="4512">-0.260335382</cx:pt>
          <cx:pt idx="4513">-0.26506916600000002</cx:pt>
          <cx:pt idx="4514">-0.26715677799999998</cx:pt>
          <cx:pt idx="4515">-0.27007650500000002</cx:pt>
          <cx:pt idx="4516">-0.27014706900000002</cx:pt>
          <cx:pt idx="4517">-0.27529605800000001</cx:pt>
          <cx:pt idx="4518">-0.27662048299999997</cx:pt>
          <cx:pt idx="4519">-0.28072625699999998</cx:pt>
          <cx:pt idx="4520">-0.28190684100000002</cx:pt>
          <cx:pt idx="4521">-0.28225530999999998</cx:pt>
          <cx:pt idx="4522">-0.282396437</cx:pt>
          <cx:pt idx="4523">-0.28420558800000001</cx:pt>
          <cx:pt idx="4524">-0.28448297099999997</cx:pt>
          <cx:pt idx="4525">-0.28629048600000001</cx:pt>
          <cx:pt idx="4526">-0.29728547100000002</cx:pt>
          <cx:pt idx="4527">-0.29742604099999997</cx:pt>
          <cx:pt idx="4528">-0.30132172499999998</cx:pt>
          <cx:pt idx="4529">-0.30139392399999998</cx:pt>
          <cx:pt idx="4530">-0.309605403</cx:pt>
          <cx:pt idx="4531">-0.31127290400000002</cx:pt>
          <cx:pt idx="4532">-0.31871903899999998</cx:pt>
          <cx:pt idx="4533">-0.32352175100000002</cx:pt>
          <cx:pt idx="4534">-0.32686051100000002</cx:pt>
          <cx:pt idx="4535">-0.33055045300000002</cx:pt>
          <cx:pt idx="4536">-0.33222011200000001</cx:pt>
          <cx:pt idx="4537">-0.33416878900000002</cx:pt>
          <cx:pt idx="4538">-0.33771816100000002</cx:pt>
          <cx:pt idx="4539">-0.33806447299999998</cx:pt>
          <cx:pt idx="4540">-0.34133646200000001</cx:pt>
          <cx:pt idx="4541">-0.34307668299999999</cx:pt>
          <cx:pt idx="4542">-0.36993662399999999</cx:pt>
          <cx:pt idx="4543">-0.375782585</cx:pt>
          <cx:pt idx="4544">-0.37592207700000002</cx:pt>
          <cx:pt idx="4545">-0.376062126</cx:pt>
          <cx:pt idx="4546">-0.37613053200000002</cx:pt>
          <cx:pt idx="4547">-0.37766177699999998</cx:pt>
          <cx:pt idx="4548">-0.37780182600000001</cx:pt>
          <cx:pt idx="4549">-0.37787183200000002</cx:pt>
          <cx:pt idx="4550">-0.387612921</cx:pt>
          <cx:pt idx="4551">-0.39004955899999999</cx:pt>
          <cx:pt idx="4552">-0.39032694200000001</cx:pt>
          <cx:pt idx="4553">-0.39485119200000002</cx:pt>
          <cx:pt idx="4554">-0.39645028700000001</cx:pt>
          <cx:pt idx="4555">-0.396660342</cx:pt>
          <cx:pt idx="4556">-0.39853842099999998</cx:pt>
          <cx:pt idx="4557">-0.402092699</cx:pt>
          <cx:pt idx="4558">-0.40236681200000002</cx:pt>
          <cx:pt idx="4559">-0.40424544699999998</cx:pt>
          <cx:pt idx="4560">-0.40438438199999999</cx:pt>
          <cx:pt idx="4561">-0.40584454199999997</cx:pt>
          <cx:pt idx="4562">-0.41016033699999999</cx:pt>
          <cx:pt idx="4563">-0.41510146199999998</cx:pt>
          <cx:pt idx="4564">-0.41558726600000001</cx:pt>
          <cx:pt idx="4565">-0.41739749399999998</cx:pt>
          <cx:pt idx="4566">-0.41892873899999999</cx:pt>
          <cx:pt idx="4567">-0.42038994299999999</cx:pt>
          <cx:pt idx="4568">-0.42066840500000002</cx:pt>
          <cx:pt idx="4569">-0.42073789</cx:pt>
          <cx:pt idx="4570">-0.42219912799999998</cx:pt>
          <cx:pt idx="4571">-0.42261652500000002</cx:pt>
          <cx:pt idx="4572">-0.42602532700000001</cx:pt>
          <cx:pt idx="4573">-0.42992803899999998</cx:pt>
          <cx:pt idx="4574">-0.43347254000000002</cx:pt>
          <cx:pt idx="4575">-0.43479480799999998</cx:pt>
          <cx:pt idx="4576">-0.44168294000000002</cx:pt>
          <cx:pt idx="4577">-0.44933860799999997</cx:pt>
          <cx:pt idx="4578">-0.450521907</cx:pt>
          <cx:pt idx="4579">-0.45066087700000002</cx:pt>
          <cx:pt idx="4580">-0.45191365999999999</cx:pt>
          <cx:pt idx="4581">-0.45574093700000001</cx:pt>
          <cx:pt idx="4582">-0.45817649599999999</cx:pt>
          <cx:pt idx="4583">-0.461515813</cx:pt>
          <cx:pt idx="4584">-0.46646180900000001</cx:pt>
          <cx:pt idx="4585">-0.46951939300000001</cx:pt>
          <cx:pt idx="4586">-0.46979785499999999</cx:pt>
          <cx:pt idx="4587">-0.47884416299999999</cx:pt>
          <cx:pt idx="4588">-0.48344113399999999</cx:pt>
          <cx:pt idx="4589">-0.48733793199999997</cx:pt>
          <cx:pt idx="4590">-0.49311385099999999</cx:pt>
          <cx:pt idx="4591">-0.49429714899999999</cx:pt>
          <cx:pt idx="4592">-0.50042049399999999</cx:pt>
          <cx:pt idx="4593">-0.501042553</cx:pt>
          <cx:pt idx="4594">-0.50341297699999998</cx:pt>
          <cx:pt idx="4595">-0.50536161899999998</cx:pt>
          <cx:pt idx="4596">-0.50542675500000001</cx:pt>
          <cx:pt idx="4597">-0.51051116500000004</cx:pt>
          <cx:pt idx="4598">-0.51057629999999998</cx:pt>
          <cx:pt idx="4599">-0.51447741199999997</cx:pt>
          <cx:pt idx="4600">-0.523663247</cx:pt>
          <cx:pt idx="4601">-0.527142577</cx:pt>
          <cx:pt idx="4602">-0.52936536700000003</cx:pt>
          <cx:pt idx="4603">-0.53500614400000002</cx:pt>
          <cx:pt idx="4604">-0.53973825799999997</cx:pt>
          <cx:pt idx="4605">-0.54836716799999996</cx:pt>
          <cx:pt idx="4606">-0.54843721000000001</cx:pt>
          <cx:pt idx="4607">-0.550454781</cx:pt>
          <cx:pt idx="4608">-0.55101114799999995</cx:pt>
          <cx:pt idx="4609">-0.55128960999999999</cx:pt>
          <cx:pt idx="4610">-0.55636970500000005</cx:pt>
          <cx:pt idx="4611">-0.55664813199999996</cx:pt>
          <cx:pt idx="4612">-0.56117130400000004</cx:pt>
          <cx:pt idx="4613">-0.56632084900000002</cx:pt>
          <cx:pt idx="4614">-0.57049607400000002</cx:pt>
          <cx:pt idx="4615">-0.57675891000000001</cx:pt>
          <cx:pt idx="4616">-0.59116377499999995</cx:pt>
          <cx:pt idx="4617">-0.59499105299999999</cx:pt>
          <cx:pt idx="4618">-0.59840093299999997</cx:pt>
          <cx:pt idx="4619">-0.59853986800000003</cx:pt>
          <cx:pt idx="4620">-0.60034957499999997</cx:pt>
          <cx:pt idx="4621">-0.60731070700000001</cx:pt>
          <cx:pt idx="4622">-0.60772876499999995</cx:pt>
          <cx:pt idx="4623">-0.61378095499999996</cx:pt>
          <cx:pt idx="4624">-0.61391794099999997</cx:pt>
          <cx:pt idx="4625">-0.61405819900000003</cx:pt>
          <cx:pt idx="4626">-0.61559014000000001</cx:pt>
          <cx:pt idx="4627">-0.617331301</cx:pt>
          <cx:pt idx="4628">-0.617466548</cx:pt>
          <cx:pt idx="4629">-0.61754041699999995</cx:pt>
          <cx:pt idx="4630">-0.62449692099999998</cx:pt>
          <cx:pt idx="4631">-0.62853362800000001</cx:pt>
          <cx:pt idx="4632">-0.62895112900000005</cx:pt>
          <cx:pt idx="4633">-0.62902061399999998</cx:pt>
          <cx:pt idx="4634">-0.63138717499999997</cx:pt>
          <cx:pt idx="4635">-0.63145721700000002</cx:pt>
          <cx:pt idx="4636">-0.63883076999999999</cx:pt>
          <cx:pt idx="4637">-0.64523191599999996</cx:pt>
          <cx:pt idx="4638">-0.66221280599999999</cx:pt>
          <cx:pt idx="4639">-0.66346558899999997</cx:pt>
          <cx:pt idx="4640">-0.66450939499999995</cx:pt>
          <cx:pt idx="4641">-0.66457887999999998</cx:pt>
          <cx:pt idx="4642">-0.66624909600000004</cx:pt>
          <cx:pt idx="4643">-0.666388066</cx:pt>
          <cx:pt idx="4644">-0.67480859100000001</cx:pt>
          <cx:pt idx="4645">-0.675225988</cx:pt>
          <cx:pt idx="4646">-0.67766154700000003</cx:pt>
          <cx:pt idx="4647">-0.67780051699999999</cx:pt>
          <cx:pt idx="4648">-0.67794000899999995</cx:pt>
          <cx:pt idx="4649">-0.67967859600000002</cx:pt>
          <cx:pt idx="4650">-0.68037449000000005</cx:pt>
          <cx:pt idx="4651">-0.68378544900000005</cx:pt>
          <cx:pt idx="4652">-0.68636050000000004</cx:pt>
          <cx:pt idx="4653">-0.68712584399999999</cx:pt>
          <cx:pt idx="4654">-0.68727834899999996</cx:pt>
          <cx:pt idx="4655">-0.68803447299999998</cx:pt>
          <cx:pt idx="4656">-0.68810395800000002</cx:pt>
          <cx:pt idx="4657">-0.68921289900000005</cx:pt>
          <cx:pt idx="4658">-0.69214021199999998</cx:pt>
          <cx:pt idx="4659">-0.692205348</cx:pt>
          <cx:pt idx="4660">-0.69290559100000004</cx:pt>
          <cx:pt idx="4661">-0.69944253999999995</cx:pt>
          <cx:pt idx="4662">-0.70723658700000003</cx:pt>
          <cx:pt idx="4663">-0.70939368400000002</cx:pt>
          <cx:pt idx="4664">-0.71036800499999997</cx:pt>
          <cx:pt idx="4665">-0.71050697500000004</cx:pt>
          <cx:pt idx="4666">-0.71308689800000002</cx:pt>
          <cx:pt idx="4667">-0.71343484499999998</cx:pt>
          <cx:pt idx="4668">-0.717605198</cx:pt>
          <cx:pt idx="4669">-0.71774413299999995</cx:pt>
          <cx:pt idx="4670">-0.71941869800000002</cx:pt>
          <cx:pt idx="4671">-0.72115836300000002</cx:pt>
          <cx:pt idx="4672">-0.72742119900000002</cx:pt>
          <cx:pt idx="4673">-0.73027415600000001</cx:pt>
          <cx:pt idx="4674">-0.73549370800000002</cx:pt>
          <cx:pt idx="4675">-0.736745969</cx:pt>
          <cx:pt idx="4676">-0.74753249899999996</cx:pt>
          <cx:pt idx="4677">-0.748919903</cx:pt>
          <cx:pt idx="4678">-0.74906318800000005</cx:pt>
          <cx:pt idx="4679">-0.75087237299999998</cx:pt>
          <cx:pt idx="4680">-0.75156443900000003</cx:pt>
          <cx:pt idx="4681">-0.75386482099999996</cx:pt>
          <cx:pt idx="4682">-0.75399996400000002</cx:pt>
          <cx:pt idx="4683">-0.75783159</cx:pt>
          <cx:pt idx="4684">-0.76054505500000003</cx:pt>
          <cx:pt idx="4685">-0.76207630000000004</cx:pt>
          <cx:pt idx="4686">-0.76291112900000002</cx:pt>
          <cx:pt idx="4687">-0.76715639499999999</cx:pt>
          <cx:pt idx="4688">-0.76785225400000001</cx:pt>
          <cx:pt idx="4689">-0.76792173900000005</cx:pt>
          <cx:pt idx="4690">-0.76924397200000005</cx:pt>
          <cx:pt idx="4691">-0.77474146499999996</cx:pt>
          <cx:pt idx="4692">-0.77627218799999997</cx:pt>
          <cx:pt idx="4693">-0.77662010000000004</cx:pt>
          <cx:pt idx="4694">-0.77822082999999997</cx:pt>
          <cx:pt idx="4695">-0.78127897099999999</cx:pt>
          <cx:pt idx="4696">-0.78316139900000004</cx:pt>
          <cx:pt idx="4697">-0.78469264400000005</cx:pt>
          <cx:pt idx="4698">-0.78587214900000002</cx:pt>
          <cx:pt idx="4699">-0.79081598900000005</cx:pt>
          <cx:pt idx="4700">-0.79165134000000004</cx:pt>
          <cx:pt idx="4701">-0.79297360800000005</cx:pt>
          <cx:pt idx="4702">-0.79492172800000005</cx:pt>
          <cx:pt idx="4703">-0.79540916699999997</cx:pt>
          <cx:pt idx="4704">-0.79624399599999995</cx:pt>
          <cx:pt idx="4705">-0.79645297299999995</cx:pt>
          <cx:pt idx="4706">-0.805916678</cx:pt>
          <cx:pt idx="4707">-0.81092728800000002</cx:pt>
          <cx:pt idx="4708">-0.81120574999999995</cx:pt>
          <cx:pt idx="4709">-0.81238849199999996</cx:pt>
          <cx:pt idx="4710">-0.81496302099999995</cx:pt>
          <cx:pt idx="4711">-0.82032154300000004</cx:pt>
          <cx:pt idx="4712">-0.82143483399999995</cx:pt>
          <cx:pt idx="4713">-0.82616694800000001</cx:pt>
          <cx:pt idx="4714">-0.83799676199999995</cx:pt>
          <cx:pt idx="4715">-0.83931902999999997</cx:pt>
          <cx:pt idx="4716">-0.84015438099999995</cx:pt>
          <cx:pt idx="4717">-0.84043232099999998</cx:pt>
          <cx:pt idx="4718">-0.849409144</cx:pt>
          <cx:pt idx="4719">-0.850453507</cx:pt>
          <cx:pt idx="4720">-0.85351544000000001</cx:pt>
          <cx:pt idx="4721">-0.860474136</cx:pt>
          <cx:pt idx="4722">-0.86151794199999998</cx:pt>
          <cx:pt idx="4723">-0.87042639399999999</cx:pt>
          <cx:pt idx="4724">-0.87348669199999995</cx:pt>
          <cx:pt idx="4725">-0.87620071300000002</cx:pt>
          <cx:pt idx="4726">-0.87661866700000002</cx:pt>
          <cx:pt idx="4727">-0.87682708700000001</cx:pt>
          <cx:pt idx="4728">-0.88232457900000005</cx:pt>
          <cx:pt idx="4729">-0.88545599799999997</cx:pt>
          <cx:pt idx="4730">-0.89088400499999998</cx:pt>
          <cx:pt idx="4731">-0.89241469299999998</cx:pt>
          <cx:pt idx="4732">-0.89464183200000003</cx:pt>
          <cx:pt idx="4733">-0.90132206599999998</cx:pt>
          <cx:pt idx="4734">-0.90556729800000002</cx:pt>
          <cx:pt idx="4735">-0.90619315</cx:pt>
          <cx:pt idx="4736">-0.90925671799999996</cx:pt>
          <cx:pt idx="4737">-0.91301290999999996</cx:pt>
          <cx:pt idx="4738">-0.91913677699999996</cx:pt>
          <cx:pt idx="4739">-0.92122438900000003</cx:pt>
          <cx:pt idx="4740">-0.92226819500000001</cx:pt>
          <cx:pt idx="4741">-0.925539106</cx:pt>
          <cx:pt idx="4742">-0.92957810900000004</cx:pt>
          <cx:pt idx="4743">-0.92992386400000004</cx:pt>
          <cx:pt idx="4744">-0.93479658300000001</cx:pt>
          <cx:pt idx="4745">-0.93584038899999999</cx:pt>
          <cx:pt idx="4746">-0.94189316999999995</cx:pt>
          <cx:pt idx="4747">-0.94196157599999997</cx:pt>
          <cx:pt idx="4748">-0.94593105899999996</cx:pt>
          <cx:pt idx="4749">-0.95033641599999996</cx:pt>
          <cx:pt idx="4750">-0.956575383</cx:pt>
          <cx:pt idx="4751">-0.95699549500000003</cx:pt>
          <cx:pt idx="4752">-0.96172492899999995</cx:pt>
          <cx:pt idx="4753">-0.962979904</cx:pt>
          <cx:pt idx="4754">-0.96325833100000002</cx:pt>
          <cx:pt idx="4755">-0.96346730800000002</cx:pt>
          <cx:pt idx="4756">-0.964511114</cx:pt>
          <cx:pt idx="4757">-0.96534594299999998</cx:pt>
          <cx:pt idx="4758">-0.97181775699999995</cx:pt>
          <cx:pt idx="4759">-0.97230196000000002</cx:pt>
          <cx:pt idx="4760">-0.97675672499999999</cx:pt>
          <cx:pt idx="4761">-0.97835742000000003</cx:pt>
          <cx:pt idx="4762">-0.98253264500000004</cx:pt>
          <cx:pt idx="4763">-0.98267325000000005</cx:pt>
          <cx:pt idx="4764">-0.98824130600000004</cx:pt>
          <cx:pt idx="4765">-0.99060626699999998</cx:pt>
          <cx:pt idx="4766">-0.99519836699999997</cx:pt>
          <cx:pt idx="4767">-0.99638222099999996</cx:pt>
          <cx:pt idx="4768">-1</cx:pt>
          <cx:pt idx="4769">-1</cx:pt>
          <cx:pt idx="4770">-1</cx:pt>
          <cx:pt idx="4771">-1</cx:pt>
          <cx:pt idx="4772">-1</cx:pt>
          <cx:pt idx="4773">-1</cx:pt>
          <cx:pt idx="4774">-1</cx:pt>
          <cx:pt idx="4775">-1</cx:pt>
          <cx:pt idx="4776">-1</cx:pt>
          <cx:pt idx="4777">-1</cx:pt>
          <cx:pt idx="4778">-1</cx:pt>
          <cx:pt idx="4779">-1</cx:pt>
          <cx:pt idx="4780">-1</cx:pt>
          <cx:pt idx="4781">-1</cx:pt>
          <cx:pt idx="4782">-1</cx:pt>
          <cx:pt idx="4783">-1</cx:pt>
          <cx:pt idx="4784">-1</cx:pt>
          <cx:pt idx="4785">-1</cx:pt>
          <cx:pt idx="4786">-1</cx:pt>
          <cx:pt idx="4787">-1</cx:pt>
          <cx:pt idx="4788">-1</cx:pt>
          <cx:pt idx="4789">-1</cx:pt>
          <cx:pt idx="4790">-1</cx:pt>
          <cx:pt idx="4791">-1</cx:pt>
          <cx:pt idx="4792">-1</cx:pt>
          <cx:pt idx="4793">-1</cx:pt>
          <cx:pt idx="4794">-1</cx:pt>
          <cx:pt idx="4795">-1</cx:pt>
          <cx:pt idx="4796">-1</cx:pt>
          <cx:pt idx="4797">-1</cx:pt>
          <cx:pt idx="4798">-1</cx:pt>
          <cx:pt idx="4799">-1</cx:pt>
          <cx:pt idx="4800">-1</cx:pt>
          <cx:pt idx="4801">-1</cx:pt>
          <cx:pt idx="4802">-1</cx:pt>
          <cx:pt idx="4803">-1</cx:pt>
          <cx:pt idx="4804">-1</cx:pt>
          <cx:pt idx="4805">-1</cx:pt>
          <cx:pt idx="4806">-1</cx:pt>
          <cx:pt idx="4807">-1</cx:pt>
          <cx:pt idx="4808">-1</cx:pt>
          <cx:pt idx="4809">-1</cx:pt>
          <cx:pt idx="4810">-1</cx:pt>
          <cx:pt idx="4811">-1</cx:pt>
          <cx:pt idx="4812">-1</cx:pt>
          <cx:pt idx="4813">-1</cx:pt>
          <cx:pt idx="4814">-1</cx:pt>
          <cx:pt idx="4815">-1</cx:pt>
          <cx:pt idx="4816">-1</cx:pt>
          <cx:pt idx="4817">-1</cx:pt>
          <cx:pt idx="4818">-1</cx:pt>
          <cx:pt idx="4819">-1</cx:pt>
          <cx:pt idx="4820">-1</cx:pt>
          <cx:pt idx="4821">-1</cx:pt>
          <cx:pt idx="4822">-1</cx:pt>
          <cx:pt idx="4823">-1</cx:pt>
          <cx:pt idx="4824">-1</cx:pt>
          <cx:pt idx="4825">-1</cx:pt>
          <cx:pt idx="4826">-1</cx:pt>
          <cx:pt idx="4827">-1</cx:pt>
          <cx:pt idx="4828">-1</cx:pt>
          <cx:pt idx="4829">-1</cx:pt>
          <cx:pt idx="4830">-1</cx:pt>
          <cx:pt idx="4831">-1</cx:pt>
          <cx:pt idx="4832">-1</cx:pt>
          <cx:pt idx="4833">-1</cx:pt>
          <cx:pt idx="4834">-1</cx:pt>
          <cx:pt idx="4835">-1</cx:pt>
          <cx:pt idx="4836">-1</cx:pt>
          <cx:pt idx="4837">-1</cx:pt>
          <cx:pt idx="4838">-1</cx:pt>
          <cx:pt idx="4839">-1</cx:pt>
          <cx:pt idx="4840">-1</cx:pt>
          <cx:pt idx="4841">-1</cx:pt>
          <cx:pt idx="4842">-1</cx:pt>
          <cx:pt idx="4843">-1</cx:pt>
          <cx:pt idx="4844">-1</cx:pt>
          <cx:pt idx="4845">-1</cx:pt>
          <cx:pt idx="4846">-1</cx:pt>
          <cx:pt idx="4847">-1</cx:pt>
          <cx:pt idx="4848">-1</cx:pt>
          <cx:pt idx="4849">-1</cx:pt>
          <cx:pt idx="4850">-1</cx:pt>
          <cx:pt idx="4851">-1</cx:pt>
          <cx:pt idx="4852">-1</cx:pt>
          <cx:pt idx="4853">-1</cx:pt>
          <cx:pt idx="4854">-1</cx:pt>
          <cx:pt idx="4855">-1</cx:pt>
          <cx:pt idx="4856">-1</cx:pt>
          <cx:pt idx="4857">-1</cx:pt>
          <cx:pt idx="4858">-1</cx:pt>
          <cx:pt idx="4859">-1</cx:pt>
          <cx:pt idx="4860">-1</cx:pt>
          <cx:pt idx="4861">-1</cx:pt>
          <cx:pt idx="4862">-1</cx:pt>
          <cx:pt idx="4863">-1</cx:pt>
          <cx:pt idx="4864">-1</cx:pt>
          <cx:pt idx="4865">-1</cx:pt>
          <cx:pt idx="4866">-1</cx:pt>
          <cx:pt idx="4867">-1</cx:pt>
          <cx:pt idx="4868">-1</cx:pt>
          <cx:pt idx="4869">-1</cx:pt>
          <cx:pt idx="4870">-1</cx:pt>
          <cx:pt idx="4871">-1</cx:pt>
          <cx:pt idx="4872">-1</cx:pt>
          <cx:pt idx="4873">-1</cx:pt>
          <cx:pt idx="4874">-1</cx:pt>
          <cx:pt idx="4875">-1</cx:pt>
          <cx:pt idx="4876">-1</cx:pt>
          <cx:pt idx="4877">-1</cx:pt>
          <cx:pt idx="4878">-1</cx:pt>
          <cx:pt idx="4879">-1</cx:pt>
          <cx:pt idx="4880">-1</cx:pt>
          <cx:pt idx="4881">-1</cx:pt>
          <cx:pt idx="4882">-1</cx:pt>
          <cx:pt idx="4883">-1</cx:pt>
          <cx:pt idx="4884">-1</cx:pt>
          <cx:pt idx="4885">-1</cx:pt>
          <cx:pt idx="4886">-1</cx:pt>
          <cx:pt idx="4887">-1</cx:pt>
          <cx:pt idx="4888">-1</cx:pt>
          <cx:pt idx="4889">-1</cx:pt>
          <cx:pt idx="4890">-1</cx:pt>
          <cx:pt idx="4891">-1</cx:pt>
          <cx:pt idx="4892">-1</cx:pt>
          <cx:pt idx="4893">-1</cx:pt>
          <cx:pt idx="4894">-1</cx:pt>
          <cx:pt idx="4895">-1</cx:pt>
          <cx:pt idx="4896">-1</cx:pt>
          <cx:pt idx="4897">-1</cx:pt>
          <cx:pt idx="4898">-1</cx:pt>
          <cx:pt idx="4899">-1</cx:pt>
          <cx:pt idx="4900">-1</cx:pt>
          <cx:pt idx="4901">-1</cx:pt>
          <cx:pt idx="4902">-1</cx:pt>
          <cx:pt idx="4903">-1</cx:pt>
          <cx:pt idx="4904">-1</cx:pt>
          <cx:pt idx="4905">-1</cx:pt>
          <cx:pt idx="4906">-1</cx:pt>
          <cx:pt idx="4907">-1</cx:pt>
          <cx:pt idx="4908">-1</cx:pt>
          <cx:pt idx="4909">-1</cx:pt>
          <cx:pt idx="4910">-1</cx:pt>
          <cx:pt idx="4911">-1</cx:pt>
          <cx:pt idx="4912">-1</cx:pt>
          <cx:pt idx="4913">-1</cx:pt>
          <cx:pt idx="4914">-1</cx:pt>
          <cx:pt idx="4915">-1</cx:pt>
          <cx:pt idx="4916">-1</cx:pt>
          <cx:pt idx="4917">-1</cx:pt>
          <cx:pt idx="4918">-1</cx:pt>
          <cx:pt idx="4919">-1</cx:pt>
          <cx:pt idx="4920">-1</cx:pt>
          <cx:pt idx="4921">-1</cx:pt>
          <cx:pt idx="4922">-1</cx:pt>
          <cx:pt idx="4923">-1</cx:pt>
          <cx:pt idx="4924">-1</cx:pt>
          <cx:pt idx="4925">-1</cx:pt>
          <cx:pt idx="4926">-1</cx:pt>
          <cx:pt idx="4927">-1</cx:pt>
          <cx:pt idx="4928">-1</cx:pt>
          <cx:pt idx="4929">-1</cx:pt>
          <cx:pt idx="4930">-1</cx:pt>
          <cx:pt idx="4931">-1</cx:pt>
          <cx:pt idx="4932">-1</cx:pt>
          <cx:pt idx="4933">-1</cx:pt>
          <cx:pt idx="4934">-1</cx:pt>
          <cx:pt idx="4935">-1</cx:pt>
          <cx:pt idx="4936">-1</cx:pt>
          <cx:pt idx="4937">-1</cx:pt>
          <cx:pt idx="4938">-1</cx:pt>
          <cx:pt idx="4939">-1</cx:pt>
          <cx:pt idx="4940">-1</cx:pt>
          <cx:pt idx="4941">-1</cx:pt>
          <cx:pt idx="4942">-1</cx:pt>
          <cx:pt idx="4943">-1</cx:pt>
          <cx:pt idx="4944">-1</cx:pt>
          <cx:pt idx="4945">-1</cx:pt>
          <cx:pt idx="4946">-1</cx:pt>
          <cx:pt idx="4947">-1</cx:pt>
          <cx:pt idx="4948">-1</cx:pt>
          <cx:pt idx="4949">-1</cx:pt>
          <cx:pt idx="4950">-1</cx:pt>
          <cx:pt idx="4951">-1</cx:pt>
          <cx:pt idx="4952">-1</cx:pt>
          <cx:pt idx="4953">-1</cx:pt>
          <cx:pt idx="4954">-1</cx:pt>
          <cx:pt idx="4955">-1</cx:pt>
          <cx:pt idx="4956">-1</cx:pt>
          <cx:pt idx="4957">-1</cx:pt>
          <cx:pt idx="4958">-1</cx:pt>
          <cx:pt idx="4959">-1</cx:pt>
          <cx:pt idx="4960">-1</cx:pt>
          <cx:pt idx="4961">-1</cx:pt>
          <cx:pt idx="4962">-1</cx:pt>
          <cx:pt idx="4963">-1</cx:pt>
          <cx:pt idx="4964">-1</cx:pt>
          <cx:pt idx="4965">-1</cx:pt>
          <cx:pt idx="4966">-1</cx:pt>
          <cx:pt idx="4967">-1</cx:pt>
          <cx:pt idx="4968">-1</cx:pt>
          <cx:pt idx="4969">-1</cx:pt>
          <cx:pt idx="4970">-1</cx:pt>
          <cx:pt idx="4971">-1</cx:pt>
          <cx:pt idx="4972">-1</cx:pt>
          <cx:pt idx="4973">-1</cx:pt>
          <cx:pt idx="4974">-1</cx:pt>
          <cx:pt idx="4975">-1</cx:pt>
          <cx:pt idx="4976">-1</cx:pt>
          <cx:pt idx="4977">-1</cx:pt>
          <cx:pt idx="4978">-1</cx:pt>
          <cx:pt idx="4979">-1</cx:pt>
          <cx:pt idx="4980">-1</cx:pt>
          <cx:pt idx="4981">-1</cx:pt>
          <cx:pt idx="4982">-1</cx:pt>
          <cx:pt idx="4983">-1</cx:pt>
          <cx:pt idx="4984">-1</cx:pt>
          <cx:pt idx="4985">-1</cx:pt>
          <cx:pt idx="4986">-1</cx:pt>
          <cx:pt idx="4987">-1</cx:pt>
          <cx:pt idx="4988">-1</cx:pt>
          <cx:pt idx="4989">-1</cx:pt>
          <cx:pt idx="4990">-1</cx:pt>
          <cx:pt idx="4991">-1</cx:pt>
          <cx:pt idx="4992">-1</cx:pt>
          <cx:pt idx="4993">-1</cx:pt>
          <cx:pt idx="4994">-1</cx:pt>
          <cx:pt idx="4995">-1</cx:pt>
          <cx:pt idx="4996">-1</cx:pt>
          <cx:pt idx="4997">-1</cx:pt>
          <cx:pt idx="4998">-1</cx:pt>
          <cx:pt idx="4999">-1</cx:pt>
          <cx:pt idx="5000">-1</cx:pt>
          <cx:pt idx="5001">-1</cx:pt>
          <cx:pt idx="5002">-1</cx:pt>
          <cx:pt idx="5003">-1</cx:pt>
          <cx:pt idx="5004">-1</cx:pt>
          <cx:pt idx="5005">-1</cx:pt>
          <cx:pt idx="5006">-1</cx:pt>
          <cx:pt idx="5007">-1</cx:pt>
          <cx:pt idx="5008">-1</cx:pt>
          <cx:pt idx="5009">-1</cx:pt>
          <cx:pt idx="5010">-1</cx:pt>
          <cx:pt idx="5011">-1</cx:pt>
          <cx:pt idx="5012">-1</cx:pt>
          <cx:pt idx="5013">-1</cx:pt>
          <cx:pt idx="5014">-1</cx:pt>
          <cx:pt idx="5015">-1</cx:pt>
          <cx:pt idx="5016">-1</cx:pt>
          <cx:pt idx="5017">-1</cx:pt>
          <cx:pt idx="5018">-1</cx:pt>
          <cx:pt idx="5019">-1</cx:pt>
          <cx:pt idx="5020">-1</cx:pt>
          <cx:pt idx="5021">-1</cx:pt>
          <cx:pt idx="5022">-1</cx:pt>
          <cx:pt idx="5023">-1</cx:pt>
          <cx:pt idx="5024">-1</cx:pt>
          <cx:pt idx="5025">-1</cx:pt>
          <cx:pt idx="5026">-1</cx:pt>
          <cx:pt idx="5027">-1</cx:pt>
          <cx:pt idx="5028">-1</cx:pt>
          <cx:pt idx="5029">-1</cx:pt>
          <cx:pt idx="5030">-1</cx:pt>
          <cx:pt idx="5031">-1</cx:pt>
          <cx:pt idx="5032">-1</cx:pt>
          <cx:pt idx="5033">-1</cx:pt>
          <cx:pt idx="5034">-1</cx:pt>
          <cx:pt idx="5035">-1</cx:pt>
          <cx:pt idx="5036">-1</cx:pt>
          <cx:pt idx="5037">-1</cx:pt>
          <cx:pt idx="5038">-1</cx:pt>
          <cx:pt idx="5039">-1</cx:pt>
          <cx:pt idx="5040">-1</cx:pt>
          <cx:pt idx="5041">-1</cx:pt>
          <cx:pt idx="5042">-1</cx:pt>
          <cx:pt idx="5043">-1</cx:pt>
          <cx:pt idx="5044">-1</cx:pt>
          <cx:pt idx="5045">-1</cx:pt>
          <cx:pt idx="5046">-1</cx:pt>
          <cx:pt idx="5047">-1</cx:pt>
          <cx:pt idx="5048">-1</cx:pt>
          <cx:pt idx="5049">-1</cx:pt>
          <cx:pt idx="5050">-1</cx:pt>
          <cx:pt idx="5051">-1</cx:pt>
          <cx:pt idx="5052">-1</cx:pt>
          <cx:pt idx="5053">-1</cx:pt>
          <cx:pt idx="5054">-1</cx:pt>
          <cx:pt idx="5055">-1</cx:pt>
          <cx:pt idx="5056">-1</cx:pt>
          <cx:pt idx="5057">-1</cx:pt>
          <cx:pt idx="5058">-1</cx:pt>
          <cx:pt idx="5059">-1</cx:pt>
          <cx:pt idx="5060">-1</cx:pt>
          <cx:pt idx="5061">-1</cx:pt>
          <cx:pt idx="5062">-1</cx:pt>
          <cx:pt idx="5063">-1</cx:pt>
          <cx:pt idx="5064">-1</cx:pt>
          <cx:pt idx="5065">-1</cx:pt>
          <cx:pt idx="5066">-1</cx:pt>
          <cx:pt idx="5067">-1</cx:pt>
          <cx:pt idx="5068">-1</cx:pt>
          <cx:pt idx="5069">-1</cx:pt>
          <cx:pt idx="5070">-1</cx:pt>
          <cx:pt idx="5071">-1</cx:pt>
          <cx:pt idx="5072">-1</cx:pt>
          <cx:pt idx="5073">-1</cx:pt>
          <cx:pt idx="5074">-1</cx:pt>
          <cx:pt idx="5075">-1</cx:pt>
          <cx:pt idx="5076">-0.98739495300000002</cx:pt>
          <cx:pt idx="5077">-0.98589325299999997</cx:pt>
          <cx:pt idx="5078">-0.96431166000000001</cx:pt>
          <cx:pt idx="5079">-0.95919000499999996</cx:pt>
          <cx:pt idx="5080">-0.95661833399999996</cx:pt>
          <cx:pt idx="5081">-0.93546494400000002</cx:pt>
          <cx:pt idx="5082">-0.93525329999999995</cx:pt>
          <cx:pt idx="5083">-0.93012331100000001</cx:pt>
          <cx:pt idx="5084">-0.91645160400000003</cx:pt>
          <cx:pt idx="5085">-0.91538334200000004</cx:pt>
          <cx:pt idx="5086">-0.91494167800000004</cx:pt>
          <cx:pt idx="5087">-0.90512667700000005</cx:pt>
          <cx:pt idx="5088">-0.87030328899999998</cx:pt>
          <cx:pt idx="5089">-0.86107332599999997</cx:pt>
          <cx:pt idx="5090">-0.85726159899999999</cx:pt>
          <cx:pt idx="5091">-0.82756328499999998</cx:pt>
          <cx:pt idx="5092">-0.82455999199999996</cx:pt>
          <cx:pt idx="5093">-0.824148349</cx:pt>
          <cx:pt idx="5094">-0.81666666700000001</cx:pt>
          <cx:pt idx="5095">-0.80106826200000003</cx:pt>
          <cx:pt idx="5096">-0.80084166099999998</cx:pt>
          <cx:pt idx="5097">-0.789303274</cx:pt>
          <cx:pt idx="5098">-0.76131328200000004</cx:pt>
          <cx:pt idx="5099">-0.70276664899999997</cx:pt>
          <cx:pt idx="5100">-0.68931662800000004</cx:pt>
          <cx:pt idx="5101">-0.68547167399999998</cx:pt>
          <cx:pt idx="5102">-0.66876996499999997</cx:pt>
          <cx:pt idx="5103">-0.66560160899999998</cx:pt>
          <cx:pt idx="5104">-0.66154159300000004</cx:pt>
          <cx:pt idx="5105">-0.639106587</cx:pt>
          <cx:pt idx="5106">-0.61752499400000005</cx:pt>
          <cx:pt idx="5107">-0.61666997899999998</cx:pt>
          <cx:pt idx="5108">-0.60998658100000003</cx:pt>
          <cx:pt idx="5109">-0.59593165000000003</cx:pt>
          <cx:pt idx="5110">-0.58332499999999998</cx:pt>
          <cx:pt idx="5111">-0.58118826199999996</cx:pt>
          <cx:pt idx="5112">-0.55705497599999998</cx:pt>
          <cx:pt idx="5113">-0.556629979</cx:pt>
          <cx:pt idx="5114">-0.54230165200000002</cx:pt>
          <cx:pt idx="5115">-0.52222827599999999</cx:pt>
          <cx:pt idx="5116">-0.51261167100000005</cx:pt>
          <cx:pt idx="5117">-0.49678826799999998</cx:pt>
          <cx:pt idx="5118">-0.48461997000000001</cx:pt>
          <cx:pt idx="5119">-0.48332831199999998</cx:pt>
          <cx:pt idx="5120">-0.472216631</cx:pt>
          <cx:pt idx="5121">-0.44936496100000001</cx:pt>
          <cx:pt idx="5122">-0.44380997599999999</cx:pt>
          <cx:pt idx="5123">-0.43995327000000001</cx:pt>
          <cx:pt idx="5124">-0.42755495199999999</cx:pt>
          <cx:pt idx="5125">-0.40725668399999998</cx:pt>
          <cx:pt idx="5126">-0.39465494899999998</cx:pt>
          <cx:pt idx="5127">-0.39145999100000001</cx:pt>
          <cx:pt idx="5128">-0.38781663799999999</cx:pt>
          <cx:pt idx="5129">-0.38717497499999998</cx:pt>
          <cx:pt idx="5130">-0.37798828200000001</cx:pt>
          <cx:pt idx="5131">-0.37285658399999999</cx:pt>
          <cx:pt idx="5132">-0.37137497000000003</cx:pt>
          <cx:pt idx="5133">-0.36624658399999999</cx:pt>
          <cx:pt idx="5134">-0.354056598</cx:pt>
          <cx:pt idx="5135">-0.35064828599999998</cx:pt>
          <cx:pt idx="5136">-0.35042499700000002</cx:pt>
          <cx:pt idx="5137">-0.34251831700000002</cx:pt>
          <cx:pt idx="5138">-0.32926167099999998</cx:pt>
          <cx:pt idx="5139">-0.31644166800000001</cx:pt>
          <cx:pt idx="5140">-0.31345995599999998</cx:pt>
          <cx:pt idx="5141">-0.31196327800000001</cx:pt>
          <cx:pt idx="5142">-0.276491604</cx:pt>
          <cx:pt idx="5143">-0.26965660499999999</cx:pt>
          <cx:pt idx="5144">-0.26751997300000002</cx:pt>
          <cx:pt idx="5145">-0.25790326099999999</cx:pt>
          <cx:pt idx="5146">-0.25747334999999999</cx:pt>
          <cx:pt idx="5147">-0.22970162599999999</cx:pt>
          <cx:pt idx="5148">-0.21815832399999999</cx:pt>
          <cx:pt idx="5149">-0.20448501399999999</cx:pt>
          <cx:pt idx="5150">-0.194018308</cx:pt>
          <cx:pt idx="5151">-0.17329162400000001</cx:pt>
          <cx:pt idx="5152">-0.168801589</cx:pt>
          <cx:pt idx="5153">-0.16046659999999999</cx:pt>
          <cx:pt idx="5154">-0.14892992099999999</cx:pt>
          <cx:pt idx="5155">-0.142523339</cx:pt>
          <cx:pt idx="5156">-0.14102334799999999</cx:pt>
          <cx:pt idx="5157">-0.11430995100000001</cx:pt>
          <cx:pt idx="5158">-0.105344944</cx:pt>
          <cx:pt idx="5159">-0.083763351999999999</cx:pt>
          <cx:pt idx="5160">-0.055554986000000001</cx:pt>
          <cx:pt idx="5161">-0.047004933999999998</cx:pt>
          <cx:pt idx="5162">-0.040388308999999997</cx:pt>
          <cx:pt idx="5163">-0.033978307999999999</cx:pt>
          <cx:pt idx="5164">-0.019663335000000001</cx:pt>
          <cx:pt idx="5165">-0.014748303000000001</cx:pt>
          <cx:pt idx="5166">-0.0023550060000000002</cx:pt>
          <cx:pt idx="5167">0</cx:pt>
          <cx:pt idx="5168">11</cx:pt>
          <cx:pt idx="5169">27.250434649999999</cx:pt>
          <cx:pt idx="5170">43</cx:pt>
          <cx:pt idx="5171">31</cx:pt>
          <cx:pt idx="5172">0</cx:pt>
          <cx:pt idx="5173">0</cx:pt>
          <cx:pt idx="5174">0</cx:pt>
          <cx:pt idx="5175">0</cx:pt>
          <cx:pt idx="5176">0</cx:pt>
          <cx:pt idx="5177">0</cx:pt>
          <cx:pt idx="5178">0</cx:pt>
          <cx:pt idx="5179">0</cx:pt>
          <cx:pt idx="5180">0</cx:pt>
          <cx:pt idx="5181">0</cx:pt>
          <cx:pt idx="5182">0</cx:pt>
          <cx:pt idx="5183">0</cx:pt>
          <cx:pt idx="5184">0</cx:pt>
          <cx:pt idx="5185">0</cx:pt>
          <cx:pt idx="5186">0</cx:pt>
          <cx:pt idx="5187">0</cx:pt>
          <cx:pt idx="5188">0</cx:pt>
          <cx:pt idx="5189">0</cx:pt>
          <cx:pt idx="5190">0</cx:pt>
          <cx:pt idx="5191">0</cx:pt>
          <cx:pt idx="5192">0</cx:pt>
          <cx:pt idx="5193">0</cx:pt>
          <cx:pt idx="5194">0</cx:pt>
          <cx:pt idx="5195">0</cx:pt>
          <cx:pt idx="5196">0</cx:pt>
          <cx:pt idx="5197">0</cx:pt>
          <cx:pt idx="5198">0</cx:pt>
          <cx:pt idx="5199">0</cx:pt>
          <cx:pt idx="5200">3.4128307680000001</cx:pt>
          <cx:pt idx="5201">9</cx:pt>
          <cx:pt idx="5202">23.530539839999999</cx:pt>
          <cx:pt idx="5203">39</cx:pt>
          <cx:pt idx="5204">49</cx:pt>
          <cx:pt idx="5205">49.585277929999997</cx:pt>
          <cx:pt idx="5206">50.144593739999998</cx:pt>
          <cx:pt idx="5207">50.694879210000003</cx:pt>
          <cx:pt idx="5208">51.834957789999997</cx:pt>
          <cx:pt idx="5209">52.389758360000002</cx:pt>
          <cx:pt idx="5210">53.5343521</cx:pt>
          <cx:pt idx="5211">54.084637569999998</cx:pt>
          <cx:pt idx="5212">54.643671140000002</cx:pt>
          <cx:pt idx="5213">55.229231319999997</cx:pt>
          <cx:pt idx="5214">56.338550349999998</cx:pt>
          <cx:pt idx="5215">57.465647830000002</cx:pt>
          <cx:pt idx="5216">58.050925829999997</cx:pt>
          <cx:pt idx="5217">60.305120789999997</cx:pt>
          <cx:pt idx="5218">61.409924650000001</cx:pt>
          <cx:pt idx="5219">62</cx:pt>
          <cx:pt idx="5220">74</cx:pt>
          <cx:pt idx="5221">78.147523519999993</cx:pt>
          <cx:pt idx="5222">78.732396600000001</cx:pt>
          <cx:pt idx="5223">79.307826770000005</cx:pt>
          <cx:pt idx="5224">79.910700509999998</cx:pt>
          <cx:pt idx="5225">80.016638670000006</cx:pt>
          <cx:pt idx="5226">80.504721489999994</cx:pt>
          <cx:pt idx="5227">81.080151659999999</cx:pt>
          <cx:pt idx="5228">81.660008169999998</cx:pt>
          <cx:pt idx="5229">82.277046380000002</cx:pt>
          <cx:pt idx="5230">82.852476550000006</cx:pt>
          <cx:pt idx="5231">83.437054549999999</cx:pt>
          <cx:pt idx="5232">84.049371269999995</cx:pt>
          <cx:pt idx="5233">84.633949270000002</cx:pt>
          <cx:pt idx="5234">85.214100930000001</cx:pt>
          <cx:pt idx="5235">87</cx:pt>
          <cx:pt idx="5236">99</cx:pt>
          <cx:pt idx="5237">99</cx:pt>
          <cx:pt idx="5238">99</cx:pt>
          <cx:pt idx="5239">99</cx:pt>
          <cx:pt idx="5240">99</cx:pt>
          <cx:pt idx="5241">99</cx:pt>
          <cx:pt idx="5242">99</cx:pt>
          <cx:pt idx="5243">99</cx:pt>
          <cx:pt idx="5244">99</cx:pt>
          <cx:pt idx="5245">99</cx:pt>
          <cx:pt idx="5246">99</cx:pt>
          <cx:pt idx="5247">99</cx:pt>
          <cx:pt idx="5248">99</cx:pt>
          <cx:pt idx="5249">99</cx:pt>
          <cx:pt idx="5250">99</cx:pt>
          <cx:pt idx="5251">99</cx:pt>
          <cx:pt idx="5252">99</cx:pt>
          <cx:pt idx="5253">99</cx:pt>
          <cx:pt idx="5254">99</cx:pt>
          <cx:pt idx="5255">99</cx:pt>
          <cx:pt idx="5256">99</cx:pt>
          <cx:pt idx="5257">99</cx:pt>
          <cx:pt idx="5258">99</cx:pt>
          <cx:pt idx="5259">99</cx:pt>
          <cx:pt idx="5260">99</cx:pt>
          <cx:pt idx="5261">99</cx:pt>
          <cx:pt idx="5262">99</cx:pt>
          <cx:pt idx="5263">99</cx:pt>
          <cx:pt idx="5264">99</cx:pt>
          <cx:pt idx="5265">99</cx:pt>
          <cx:pt idx="5266">99</cx:pt>
          <cx:pt idx="5267">99</cx:pt>
          <cx:pt idx="5268">99</cx:pt>
          <cx:pt idx="5269">99</cx:pt>
          <cx:pt idx="5270">99</cx:pt>
          <cx:pt idx="5271">99</cx:pt>
          <cx:pt idx="5272">99</cx:pt>
          <cx:pt idx="5273">99</cx:pt>
          <cx:pt idx="5274">99</cx:pt>
          <cx:pt idx="5275">99</cx:pt>
          <cx:pt idx="5276">99</cx:pt>
          <cx:pt idx="5277">99</cx:pt>
          <cx:pt idx="5278">99</cx:pt>
          <cx:pt idx="5279">99</cx:pt>
          <cx:pt idx="5280">99</cx:pt>
          <cx:pt idx="5281">99</cx:pt>
          <cx:pt idx="5282">99</cx:pt>
          <cx:pt idx="5283">99</cx:pt>
          <cx:pt idx="5284">99</cx:pt>
          <cx:pt idx="5285">99</cx:pt>
          <cx:pt idx="5286">99</cx:pt>
          <cx:pt idx="5287">99</cx:pt>
          <cx:pt idx="5288">99</cx:pt>
          <cx:pt idx="5289">99</cx:pt>
          <cx:pt idx="5290">99</cx:pt>
          <cx:pt idx="5291">99</cx:pt>
          <cx:pt idx="5292">99</cx:pt>
          <cx:pt idx="5293">99</cx:pt>
          <cx:pt idx="5294">99</cx:pt>
          <cx:pt idx="5295">99</cx:pt>
          <cx:pt idx="5296">99</cx:pt>
          <cx:pt idx="5297">99</cx:pt>
          <cx:pt idx="5298">99</cx:pt>
          <cx:pt idx="5299">99</cx:pt>
          <cx:pt idx="5300">99</cx:pt>
          <cx:pt idx="5301">99</cx:pt>
          <cx:pt idx="5302">99</cx:pt>
          <cx:pt idx="5303">99</cx:pt>
          <cx:pt idx="5304">99</cx:pt>
          <cx:pt idx="5305">99</cx:pt>
          <cx:pt idx="5306">99</cx:pt>
          <cx:pt idx="5307">99</cx:pt>
          <cx:pt idx="5308">99</cx:pt>
          <cx:pt idx="5309">99</cx:pt>
          <cx:pt idx="5310">99</cx:pt>
          <cx:pt idx="5311">99</cx:pt>
          <cx:pt idx="5312">99</cx:pt>
          <cx:pt idx="5313">99</cx:pt>
          <cx:pt idx="5314">99</cx:pt>
          <cx:pt idx="5315">99</cx:pt>
          <cx:pt idx="5316">99</cx:pt>
          <cx:pt idx="5317">99</cx:pt>
          <cx:pt idx="5318">99</cx:pt>
          <cx:pt idx="5319">99</cx:pt>
          <cx:pt idx="5320">99</cx:pt>
          <cx:pt idx="5321">99</cx:pt>
          <cx:pt idx="5322">99</cx:pt>
          <cx:pt idx="5323">99</cx:pt>
          <cx:pt idx="5324">99</cx:pt>
          <cx:pt idx="5325">99</cx:pt>
          <cx:pt idx="5326">99</cx:pt>
          <cx:pt idx="5327">99</cx:pt>
          <cx:pt idx="5328">99</cx:pt>
          <cx:pt idx="5329">99</cx:pt>
          <cx:pt idx="5330">99</cx:pt>
          <cx:pt idx="5331">99</cx:pt>
          <cx:pt idx="5332">99</cx:pt>
          <cx:pt idx="5333">99</cx:pt>
          <cx:pt idx="5334">99</cx:pt>
          <cx:pt idx="5335">99</cx:pt>
          <cx:pt idx="5336">99</cx:pt>
          <cx:pt idx="5337">99</cx:pt>
          <cx:pt idx="5338">99</cx:pt>
          <cx:pt idx="5339">99</cx:pt>
          <cx:pt idx="5340">99</cx:pt>
          <cx:pt idx="5341">99</cx:pt>
          <cx:pt idx="5342">99</cx:pt>
          <cx:pt idx="5343">99</cx:pt>
          <cx:pt idx="5344">99</cx:pt>
          <cx:pt idx="5345">99</cx:pt>
          <cx:pt idx="5346">99</cx:pt>
          <cx:pt idx="5347">99</cx:pt>
          <cx:pt idx="5348">99</cx:pt>
          <cx:pt idx="5349">99</cx:pt>
          <cx:pt idx="5350">99</cx:pt>
          <cx:pt idx="5351">99</cx:pt>
          <cx:pt idx="5352">99</cx:pt>
          <cx:pt idx="5353">99</cx:pt>
          <cx:pt idx="5354">99</cx:pt>
          <cx:pt idx="5355">99</cx:pt>
          <cx:pt idx="5356">99</cx:pt>
          <cx:pt idx="5357">99</cx:pt>
          <cx:pt idx="5358">99</cx:pt>
          <cx:pt idx="5359">99</cx:pt>
          <cx:pt idx="5360">99</cx:pt>
          <cx:pt idx="5361">99</cx:pt>
          <cx:pt idx="5362">99</cx:pt>
          <cx:pt idx="5363">99</cx:pt>
          <cx:pt idx="5364">99</cx:pt>
          <cx:pt idx="5365">99</cx:pt>
          <cx:pt idx="5366">99</cx:pt>
          <cx:pt idx="5367">99</cx:pt>
          <cx:pt idx="5368">99</cx:pt>
          <cx:pt idx="5369">99</cx:pt>
          <cx:pt idx="5370">99</cx:pt>
          <cx:pt idx="5371">99</cx:pt>
          <cx:pt idx="5372">99</cx:pt>
          <cx:pt idx="5373">99</cx:pt>
          <cx:pt idx="5374">99</cx:pt>
          <cx:pt idx="5375">99</cx:pt>
          <cx:pt idx="5376">99</cx:pt>
          <cx:pt idx="5377">99</cx:pt>
          <cx:pt idx="5378">99</cx:pt>
          <cx:pt idx="5379">99</cx:pt>
          <cx:pt idx="5380">99</cx:pt>
          <cx:pt idx="5381">99</cx:pt>
          <cx:pt idx="5382">99</cx:pt>
          <cx:pt idx="5383">99</cx:pt>
          <cx:pt idx="5384">99</cx:pt>
          <cx:pt idx="5385">99</cx:pt>
          <cx:pt idx="5386">99</cx:pt>
          <cx:pt idx="5387">99</cx:pt>
          <cx:pt idx="5388">99</cx:pt>
          <cx:pt idx="5389">99</cx:pt>
          <cx:pt idx="5390">99</cx:pt>
          <cx:pt idx="5391">99</cx:pt>
          <cx:pt idx="5392">99</cx:pt>
          <cx:pt idx="5393">99</cx:pt>
          <cx:pt idx="5394">99</cx:pt>
          <cx:pt idx="5395">99</cx:pt>
          <cx:pt idx="5396">99</cx:pt>
          <cx:pt idx="5397">99</cx:pt>
          <cx:pt idx="5398">99</cx:pt>
          <cx:pt idx="5399">99</cx:pt>
          <cx:pt idx="5400">99</cx:pt>
          <cx:pt idx="5401">99</cx:pt>
          <cx:pt idx="5402">99</cx:pt>
          <cx:pt idx="5403">99</cx:pt>
          <cx:pt idx="5404">99</cx:pt>
          <cx:pt idx="5405">99</cx:pt>
          <cx:pt idx="5406">99</cx:pt>
          <cx:pt idx="5407">99</cx:pt>
          <cx:pt idx="5408">99</cx:pt>
          <cx:pt idx="5409">99</cx:pt>
          <cx:pt idx="5410">99</cx:pt>
          <cx:pt idx="5411">99</cx:pt>
          <cx:pt idx="5412">99</cx:pt>
          <cx:pt idx="5413">87.881303180000003</cx:pt>
          <cx:pt idx="5414">87.447656640000005</cx:pt>
          <cx:pt idx="5415">87</cx:pt>
          <cx:pt idx="5416">59</cx:pt>
          <cx:pt idx="5417">4</cx:pt>
          <cx:pt idx="5418">15.903079050000001</cx:pt>
          <cx:pt idx="5419">16</cx:pt>
          <cx:pt idx="5420">0</cx:pt>
          <cx:pt idx="5421">1.522929008</cx:pt>
          <cx:pt idx="5422">1.6272189720000001</cx:pt>
          <cx:pt idx="5423">3</cx:pt>
          <cx:pt idx="5424">2.2586726779999999</cx:pt>
          <cx:pt idx="5425">0.73529412699999996</cx:pt>
          <cx:pt idx="5426">0</cx:pt>
          <cx:pt idx="5427">-0.00027789699999999999</cx:pt>
          <cx:pt idx="5428">-0.00048905900000000002</cx:pt>
          <cx:pt idx="5429">-0.00055798600000000001</cx:pt>
          <cx:pt idx="5430">-0.00062583300000000001</cx:pt>
          <cx:pt idx="5431">-0.00083480399999999997</cx:pt>
          <cx:pt idx="5432">-0.00090700100000000005</cx:pt>
          <cx:pt idx="5433">-0.00097592700000000002</cx:pt>
          <cx:pt idx="5434">-0.001112701</cx:pt>
          <cx:pt idx="5435">-0.0011848970000000001</cx:pt>
          <cx:pt idx="5436">-0.0014606370000000001</cx:pt>
          <cx:pt idx="5437">-0.001601203</cx:pt>
          <cx:pt idx="5438">-0.00160176</cx:pt>
          <cx:pt idx="5439">-0.0016696079999999999</cx:pt>
          <cx:pt idx="5440">-0.0017412479999999999</cx:pt>
          <cx:pt idx="5441">-0.0019540109999999999</cx:pt>
          <cx:pt idx="5442">-0.0020875490000000002</cx:pt>
          <cx:pt idx="5443">-0.0026455350000000001</cx:pt>
          <cx:pt idx="5444">-0.0031313230000000001</cx:pt>
          <cx:pt idx="5445">-0.003273003</cx:pt>
          <cx:pt idx="5446">-0.004453551</cx:pt>
          <cx:pt idx="5447">-0.0074481010000000004</cx:pt>
          <cx:pt idx="5448">-0.0085602449999999993</cx:pt>
          <cx:pt idx="5449">-0.0086286490000000004</cx:pt>
          <cx:pt idx="5450">-0.0086981320000000008</cx:pt>
          <cx:pt idx="5451">-0.0087676149999999994</cx:pt>
          <cx:pt idx="5452">-0.0089765859999999999</cx:pt>
          <cx:pt idx="5453">-0.0090476689999999995</cx:pt>
          <cx:pt idx="5454">-0.0091171519999999999</cx:pt>
          <cx:pt idx="5455">-0.0092604320000000007</cx:pt>
          <cx:pt idx="5456">-0.0093261230000000004</cx:pt>
          <cx:pt idx="5457">-0.0094634530000000001</cx:pt>
          <cx:pt idx="5458">-0.0096724240000000006</cx:pt>
          <cx:pt idx="5459">-0.0097419069999999993</cx:pt>
          <cx:pt idx="5460">-0.010437745</cx:pt>
          <cx:pt idx="5461">-0.010507228</cx:pt>
          <cx:pt idx="5462">-0.010855129</cx:pt>
          <cx:pt idx="5463">-0.011064134999999999</cx:pt>
          <cx:pt idx="5464">-0.011344745</cx:pt>
          <cx:pt idx="5465">-0.012316323000000001</cx:pt>
          <cx:pt idx="5466">-0.01238852</cx:pt>
          <cx:pt idx="5467">-0.012456889000000001</cx:pt>
          <cx:pt idx="5468">-0.012594777</cx:pt>
          <cx:pt idx="5469">-0.012666973</cx:pt>
          <cx:pt idx="5470">-0.012873229999999999</cx:pt>
          <cx:pt idx="5471">-0.012942678000000001</cx:pt>
          <cx:pt idx="5472">-0.013014875</cx:pt>
          <cx:pt idx="5473">-0.013083279</cx:pt>
          <cx:pt idx="5474">-0.013151684</cx:pt>
          <cx:pt idx="5475">-0.013222767</cx:pt>
          <cx:pt idx="5476">-0.013291693</cx:pt>
          <cx:pt idx="5477">-0.013360098000000001</cx:pt>
          <cx:pt idx="5478">-0.013500664000000001</cx:pt>
          <cx:pt idx="5479">-0.013638551</cx:pt>
          <cx:pt idx="5480">-0.013779117</cx:pt>
          <cx:pt idx="5481">-0.013986452999999999</cx:pt>
          <cx:pt idx="5482">-0.014058648999999999</cx:pt>
          <cx:pt idx="5483">-0.014127054</cx:pt>
          <cx:pt idx="5484">-0.014195457999999999</cx:pt>
          <cx:pt idx="5485">-0.014266541000000001</cx:pt>
          <cx:pt idx="5486">-0.014336023999999999</cx:pt>
          <cx:pt idx="5487">-0.014404429</cx:pt>
          <cx:pt idx="5488">-0.014544995</cx:pt>
          <cx:pt idx="5489">-0.014612843</cx:pt>
          <cx:pt idx="5490">-0.014682326000000001</cx:pt>
          <cx:pt idx="5491">-0.014754522000000001</cx:pt>
          <cx:pt idx="5492">-0.014891296</cx:pt>
          <cx:pt idx="5493">-0.015030227</cx:pt>
          <cx:pt idx="5494">-0.015170828000000001</cx:pt>
          <cx:pt idx="5495">-0.015239233</cx:pt>
          <cx:pt idx="5496">-0.015310315999999999</cx:pt>
          <cx:pt idx="5497">-0.015379799</cx:pt>
          <cx:pt idx="5498">-0.015448203000000001</cx:pt>
          <cx:pt idx="5499">-0.015520365</cx:pt>
          <cx:pt idx="5500">-0.015588769000000001</cx:pt>
          <cx:pt idx="5501">-0.015656617000000001</cx:pt>
          <cx:pt idx="5502">-0.0157261</cx:pt>
          <cx:pt idx="5503">-0.016006154000000002</cx:pt>
          <cx:pt idx="5504">-0.016215680999999999</cx:pt>
          <cx:pt idx="5505">-0.016423017000000002</cx:pt>
          <cx:pt idx="5506">-0.016423573</cx:pt>
          <cx:pt idx="5507">-0.016491420999999999</cx:pt>
          <cx:pt idx="5508">-0.016631987000000001</cx:pt>
          <cx:pt idx="5509">-0.016769874000000001</cx:pt>
          <cx:pt idx="5510">-0.016910440999999998</cx:pt>
          <cx:pt idx="5511">-0.017117776000000001</cx:pt>
          <cx:pt idx="5512">-0.017189973000000001</cx:pt>
          <cx:pt idx="5513">-0.017258376999999998</cx:pt>
          <cx:pt idx="5514">-0.017326747</cx:pt>
          <cx:pt idx="5515">-0.017467348000000001</cx:pt>
          <cx:pt idx="5516">-0.017607913999999999</cx:pt>
          <cx:pt idx="5517">-0.017744165999999999</cx:pt>
          <cx:pt idx="5518">-0.017813649000000001</cx:pt>
          <cx:pt idx="5519">-0.017954214999999999</cx:pt>
          <cx:pt idx="5520">-0.018161551000000001</cx:pt>
          <cx:pt idx="5521">-0.018233747000000002</cx:pt>
          <cx:pt idx="5522">-0.018302151999999999</cx:pt>
          <cx:pt idx="5523">-0.018441638999999999</cx:pt>
          <cx:pt idx="5524">-0.019832272000000001</cx:pt>
          <cx:pt idx="5525">-0.019901197999999998</cx:pt>
          <cx:pt idx="5526">-0.020321295999999999</cx:pt>
          <cx:pt idx="5527">-0.020530267000000001</cx:pt>
          <cx:pt idx="5528">-0.020875489000000001</cx:pt>
          <cx:pt idx="5529">-0.020944971999999999</cx:pt>
          <cx:pt idx="5530">-0.021085539</cx:pt>
          <cx:pt idx="5531">-0.021229376000000001</cx:pt>
          <cx:pt idx="5532">-0.021362914</cx:pt>
          <cx:pt idx="5533">-0.02143511</cx:pt>
          <cx:pt idx="5534">-0.021503479999999998</cx:pt>
          <cx:pt idx="5535">-0.021572963000000001</cx:pt>
          <cx:pt idx="5536">-0.022963595</cx:pt>
          <cx:pt idx="5537">-0.023591028999999999</cx:pt>
          <cx:pt idx="5538">-0.023660512000000002</cx:pt>
          <cx:pt idx="5539">-0.023729995</cx:pt>
          <cx:pt idx="5540">-0.023798363999999999</cx:pt>
          <cx:pt idx="5541">-0.024705365</cx:pt>
          <cx:pt idx="5542">-0.024773769000000001</cx:pt>
          <cx:pt idx="5543">-0.024842138999999999</cx:pt>
          <cx:pt idx="5544">-0.024914334999999999</cx:pt>
          <cx:pt idx="5545">-0.02498274</cx:pt>
          <cx:pt idx="5546">-0.025051144000000001</cx:pt>
          <cx:pt idx="5547">-0.025120070000000001</cx:pt>
          <cx:pt idx="5548">-0.025260636999999999</cx:pt>
          <cx:pt idx="5549">-0.025401238</cx:pt>
          <cx:pt idx="5550">-0.025538010999999999</cx:pt>
          <cx:pt idx="5551">-0.026094919000000001</cx:pt>
          <cx:pt idx="5552">-0.026163845000000002</cx:pt>
          <cx:pt idx="5553">-0.026372815000000001</cx:pt>
          <cx:pt idx="5554">-0.026512303000000001</cx:pt>
          <cx:pt idx="5555">-0.0265845</cx:pt>
          <cx:pt idx="5556">-0.026652868999999999</cx:pt>
          <cx:pt idx="5557">-0.026721274</cx:pt>
          <cx:pt idx="5558">-0.026791835</cx:pt>
          <cx:pt idx="5559">-0.026861317999999999</cx:pt>
          <cx:pt idx="5560">-0.027001884</cx:pt>
          <cx:pt idx="5561">-0.027138658</cx:pt>
          <cx:pt idx="5562">-0.027207618999999999</cx:pt>
          <cx:pt idx="5563">-0.027348186</cx:pt>
          <cx:pt idx="5564">-0.027416590000000001</cx:pt>
          <cx:pt idx="5565">-0.027486594999999999</cx:pt>
          <cx:pt idx="5566">-0.027557155999999999</cx:pt>
          <cx:pt idx="5567">-0.027700993</cx:pt>
          <cx:pt idx="5568">-0.028392516999999999</cx:pt>
          <cx:pt idx="5569">-0.028530369</cx:pt>
          <cx:pt idx="5570">-0.028599851999999999</cx:pt>
          <cx:pt idx="5571">-0.028672049000000002</cx:pt>
          <cx:pt idx="5572">-0.028740418</cx:pt>
          <cx:pt idx="5573">-0.028879384000000001</cx:pt>
          <cx:pt idx="5574">-0.029017237000000001</cx:pt>
          <cx:pt idx="5575">-0.029089433000000001</cx:pt>
          <cx:pt idx="5576">-0.029644705</cx:pt>
          <cx:pt idx="5577">-0.029992641</cx:pt>
          <cx:pt idx="5578">-0.030480066</cx:pt>
          <cx:pt idx="5579">-0.030687401</cx:pt>
          <cx:pt idx="5580">-0.030966932999999999</cx:pt>
          <cx:pt idx="5581">-0.031941224999999997</cx:pt>
          <cx:pt idx="5582">-0.032011263999999998</cx:pt>
          <cx:pt idx="5583">-0.03214856</cx:pt>
          <cx:pt idx="5584">-0.032224027000000002</cx:pt>
          <cx:pt idx="5585">-0.033055039000000001</cx:pt>
          <cx:pt idx="5586">-0.033332936000000001</cx:pt>
          <cx:pt idx="5587">-0.033959291000000003</cx:pt>
          <cx:pt idx="5588">-0.034168260999999998</cx:pt>
          <cx:pt idx="5589">-0.034308305999999997</cx:pt>
          <cx:pt idx="5590">-0.034445080000000003</cx:pt>
          <cx:pt idx="5591">-0.034514561999999999</cx:pt>
          <cx:pt idx="5592">-0.034655164000000002</cx:pt>
          <cx:pt idx="5593">-0.034723533000000001</cx:pt>
          <cx:pt idx="5594">-0.034793016000000003</cx:pt>
          <cx:pt idx="5595">-0.034862498999999998</cx:pt>
          <cx:pt idx="5596">-0.034934696000000001</cx:pt>
          <cx:pt idx="5597">-0.035003065</cx:pt>
          <cx:pt idx="5598">-0.035071469000000001</cx:pt>
          <cx:pt idx="5599">-0.035142030999999997</cx:pt>
          <cx:pt idx="5600">-0.035279882999999998</cx:pt>
          <cx:pt idx="5601">-0.035352080000000001</cx:pt>
          <cx:pt idx="5602">-0.035420484000000002</cx:pt>
          <cx:pt idx="5603">-0.035488854</cx:pt>
          <cx:pt idx="5604">-0.035558337000000002</cx:pt>
          <cx:pt idx="5605">-0.035907909000000002</cx:pt>
          <cx:pt idx="5606">-0.036116878999999998</cx:pt>
          <cx:pt idx="5607">-0.036185805000000001</cx:pt>
          <cx:pt idx="5608">-0.036255287999999997</cx:pt>
          <cx:pt idx="5609">-0.036395854999999998</cx:pt>
          <cx:pt idx="5610">-0.036464258999999999</cx:pt>
          <cx:pt idx="5611">-0.036532627999999998</cx:pt>
          <cx:pt idx="5612">-0.036742711999999997</cx:pt>
          <cx:pt idx="5613">-0.036811082000000002</cx:pt>
          <cx:pt idx="5614">-0.036880564999999997</cx:pt>
          <cx:pt idx="5615">-0.036950047999999999</cx:pt>
          <cx:pt idx="5616">-0.037022245000000002</cx:pt>
          <cx:pt idx="5617">-0.037159018000000002</cx:pt>
          <cx:pt idx="5618">-0.037231214999999998</cx:pt>
          <cx:pt idx="5619">-0.037367988999999997</cx:pt>
          <cx:pt idx="5620">-0.037440186</cx:pt>
          <cx:pt idx="5621">-0.037645886000000003</cx:pt>
          <cx:pt idx="5622">-0.037718082999999999</cx:pt>
          <cx:pt idx="5623">-0.037854855999999999</cx:pt>
          <cx:pt idx="5624">-0.037927053000000002</cx:pt>
          <cx:pt idx="5625">-0.038411763000000002</cx:pt>
          <cx:pt idx="5626">-0.039178163000000002</cx:pt>
          <cx:pt idx="5627">-0.039387133999999997</cx:pt>
          <cx:pt idx="5628">-0.039663952000000002</cx:pt>
          <cx:pt idx="5629">-0.041125146000000001</cx:pt>
          <cx:pt idx="5630">-0.041265712000000003</cx:pt>
          <cx:pt idx="5631">-0.041409548999999997</cx:pt>
          <cx:pt idx="5632">-0.042102150999999997</cx:pt>
          <cx:pt idx="5633">-0.042105422000000003</cx:pt>
          <cx:pt idx="5634">-0.042864758000000003</cx:pt>
          <cx:pt idx="5635">-0.043005359</cx:pt>
          <cx:pt idx="5636">-0.043492783</cx:pt>
          <cx:pt idx="5637">-0.043562231999999999</cx:pt>
          <cx:pt idx="5638">-0.043630636</cx:pt>
          <cx:pt idx="5639">-0.043702833000000003</cx:pt>
          <cx:pt idx="5640">-0.043771202000000002</cx:pt>
          <cx:pt idx="5641">-0.043839049999999997</cx:pt>
          <cx:pt idx="5642">-0.043908533</cx:pt>
          <cx:pt idx="5643">-0.044117503000000002</cx:pt>
          <cx:pt idx="5644">-0.044189699999999998</cx:pt>
          <cx:pt idx="5645">-0.044258104</cx:pt>
          <cx:pt idx="5646">-0.044606005999999997</cx:pt>
          <cx:pt idx="5647">-0.044746607000000001</cx:pt>
          <cx:pt idx="5648">-0.046274534999999999</cx:pt>
          <cx:pt idx="5649">-0.046486220000000002</cx:pt>
          <cx:pt idx="5650">-0.046554624000000003</cx:pt>
          <cx:pt idx="5651">-0.046624072000000003</cx:pt>
          <cx:pt idx="5652">-0.046693554999999998</cx:pt>
          <cx:pt idx="5653">-0.046761958999999999</cx:pt>
          <cx:pt idx="5654">-0.046970373000000003</cx:pt>
          <cx:pt idx="5655">-0.047043649</cx:pt>
          <cx:pt idx="5656">-0.047112053000000001</cx:pt>
          <cx:pt idx="5657">-0.047318310000000002</cx:pt>
          <cx:pt idx="5658">-0.047597285000000003</cx:pt>
          <cx:pt idx="5659">-0.047667846999999999</cx:pt>
          <cx:pt idx="5660">-0.047805734000000003</cx:pt>
          <cx:pt idx="5661">-0.047877930999999999</cx:pt>
          <cx:pt idx="5662">-0.047946299999999997</cx:pt>
          <cx:pt idx="5663">-0.048014148</cx:pt>
          <cx:pt idx="5664">-0.048155826999999998</cx:pt>
          <cx:pt idx="5665">-0.048224231999999999</cx:pt>
          <cx:pt idx="5666">-0.048363163000000001</cx:pt>
          <cx:pt idx="5667">-0.048433202000000002</cx:pt>
          <cx:pt idx="5668">-0.048501572</cx:pt>
          <cx:pt idx="5669">-0.048573769000000003</cx:pt>
          <cx:pt idx="5670">-0.048576481999999997</cx:pt>
          <cx:pt idx="5671">-0.048642172999999997</cx:pt>
          <cx:pt idx="5672">-0.048711620999999997</cx:pt>
          <cx:pt idx="5673">-0.048781103999999999</cx:pt>
          <cx:pt idx="5674">-0.049058479000000002</cx:pt>
          <cx:pt idx="5675">-0.050386657000000001</cx:pt>
          <cx:pt idx="5676">-0.050450189999999999</cx:pt>
          <cx:pt idx="5677">-0.051012490000000001</cx:pt>
          <cx:pt idx="5678">-0.051704013</cx:pt>
          <cx:pt idx="5679">-0.052189802</cx:pt>
          <cx:pt idx="5680">-0.052886718999999999</cx:pt>
          <cx:pt idx="5681">-0.053024606000000002</cx:pt>
          <cx:pt idx="5682">-0.053096802999999998</cx:pt>
          <cx:pt idx="5683">-0.053165171999999997</cx:pt>
          <cx:pt idx="5684">-0.053233576999999997</cx:pt>
          <cx:pt idx="5685">-0.053303059999999999</cx:pt>
          <cx:pt idx="5686">-0.053512030000000002</cx:pt>
          <cx:pt idx="5687">-0.053650960999999997</cx:pt>
          <cx:pt idx="5688">-0.053723158</cx:pt>
          <cx:pt idx="5689">-0.053791562000000001</cx:pt>
          <cx:pt idx="5690">-0.053859931999999999</cx:pt>
          <cx:pt idx="5691">-0.054000533000000003</cx:pt>
          <cx:pt idx="5692">-0.054068902000000002</cx:pt>
          <cx:pt idx="5693">-0.054143812999999999</cx:pt>
          <cx:pt idx="5694">-0.054209503999999999</cx:pt>
          <cx:pt idx="5695">-0.054277351000000001</cx:pt>
          <cx:pt idx="5696">-0.05435007</cx:pt>
          <cx:pt idx="5697">-0.054486878000000002</cx:pt>
          <cx:pt idx="5698">-0.054625288000000001</cx:pt>
          <cx:pt idx="5699">-0.054695848999999998</cx:pt>
          <cx:pt idx="5700">-0.054764219000000003</cx:pt>
          <cx:pt idx="5701">-0.054836414999999999</cx:pt>
          <cx:pt idx="5702">-0.054839685999999999</cx:pt>
          <cx:pt idx="5703">-0.054974268</cx:pt>
          <cx:pt idx="5704">-0.055112155000000003</cx:pt>
          <cx:pt idx="5705">-0.055184351999999999</cx:pt>
          <cx:pt idx="5706">-0.055462248999999998</cx:pt>
          <cx:pt idx="5707">-0.055530652999999999</cx:pt>
          <cx:pt idx="5708">-0.055738509999999998</cx:pt>
          <cx:pt idx="5709">-0.055810707000000001</cx:pt>
          <cx:pt idx="5710">-0.055947481</cx:pt>
          <cx:pt idx="5711">-0.056019678000000003</cx:pt>
          <cx:pt idx="5712">-0.056297053</cx:pt>
          <cx:pt idx="5713">-0.056364900000000003</cx:pt>
          <cx:pt idx="5714">-0.056437619000000001</cx:pt>
          <cx:pt idx="5715">-0.056506023000000002</cx:pt>
          <cx:pt idx="5716">-0.056574426999999997</cx:pt>
          <cx:pt idx="5717">-0.056646588999999997</cx:pt>
          <cx:pt idx="5718">-0.056851767999999997</cx:pt>
          <cx:pt idx="5719">-0.056923964000000001</cx:pt>
          <cx:pt idx="5720">-0.057061817000000001</cx:pt>
          <cx:pt idx="5721">-0.057131300000000003</cx:pt>
          <cx:pt idx="5722">-0.057199703999999997</cx:pt>
          <cx:pt idx="5723">-0.057340269999999999</cx:pt>
          <cx:pt idx="5724">-0.057408674999999999</cx:pt>
          <cx:pt idx="5725">-0.057966660000000003</cx:pt>
          <cx:pt idx="5726">-0.058175630999999998</cx:pt>
          <cx:pt idx="5727">-0.058384601000000001</cx:pt>
          <cx:pt idx="5728">-0.058452448999999997</cx:pt>
          <cx:pt idx="5729">-0.059571133999999998</cx:pt>
          <cx:pt idx="5730">-0.059637347</cx:pt>
          <cx:pt idx="5731">-0.060123691999999999</cx:pt>
          <cx:pt idx="5732">-0.060262623000000001</cx:pt>
          <cx:pt idx="5733">-0.060681120999999998</cx:pt>
          <cx:pt idx="5734">-0.060821686999999999</cx:pt>
          <cx:pt idx="5735">-0.060887933999999998</cx:pt>
          <cx:pt idx="5736">-0.060958496000000001</cx:pt>
          <cx:pt idx="5737">-0.061030658000000002</cx:pt>
          <cx:pt idx="5738">-0.061099062000000003</cx:pt>
          <cx:pt idx="5739">-0.061167467000000003</cx:pt>
          <cx:pt idx="5740">-0.061236915000000003</cx:pt>
          <cx:pt idx="5741">-0.061380751999999997</cx:pt>
          <cx:pt idx="5742">-0.062837595999999996</cx:pt>
          <cx:pt idx="5743">-0.063255537000000001</cx:pt>
          <cx:pt idx="5744">-0.063324463999999997</cx:pt>
          <cx:pt idx="5745">-0.063393947000000006</cx:pt>
          <cx:pt idx="5746">-0.063534547999999996</cx:pt>
          <cx:pt idx="5747">-0.063671321000000003</cx:pt>
          <cx:pt idx="5748">-0.063744597</cx:pt>
          <cx:pt idx="5749">-0.063746232</cx:pt>
          <cx:pt idx="5750">-0.063881371000000006</cx:pt>
          <cx:pt idx="5751">-0.064019223</cx:pt>
          <cx:pt idx="5752">-0.064161459000000004</cx:pt>
          <cx:pt idx="5753">-0.064164173000000005</cx:pt>
          <cx:pt idx="5754">-0.064229829000000002</cx:pt>
          <cx:pt idx="5755">-0.064437721000000003</cx:pt>
          <cx:pt idx="5756">-0.064509917999999999</cx:pt>
          <cx:pt idx="5757">-0.064578321999999994</cx:pt>
          <cx:pt idx="5758">-0.064646692000000006</cx:pt>
          <cx:pt idx="5759">-0.064715096</cx:pt>
          <cx:pt idx="5760">-0.064856740999999996</cx:pt>
          <cx:pt idx="5761">-0.064860010999999995</cx:pt>
          <cx:pt idx="5762">-0.064925145000000004</cx:pt>
          <cx:pt idx="5763">-0.065277430999999997</cx:pt>
          <cx:pt idx="5764">-0.065622097000000004</cx:pt>
          <cx:pt idx="5765">-0.065834302999999997</cx:pt>
          <cx:pt idx="5766">-0.067012136999999999</cx:pt>
          <cx:pt idx="5767">-0.067500117999999998</cx:pt>
          <cx:pt idx="5768">-0.067569601000000007</cx:pt>
          <cx:pt idx="5769">-0.067637971000000005</cx:pt>
          <cx:pt idx="5770">-0.067710167000000002</cx:pt>
          <cx:pt idx="5771">-0.067846940999999994</cx:pt>
          <cx:pt idx="5772">-0.067987541999999998</cx:pt>
          <cx:pt idx="5773">-0.068055911999999996</cx:pt>
          <cx:pt idx="5774">-0.068128109000000006</cx:pt>
          <cx:pt idx="5775">-0.068264360999999996</cx:pt>
          <cx:pt idx="5776">-0.068404927000000004</cx:pt>
          <cx:pt idx="5777">-0.068473330999999998</cx:pt>
          <cx:pt idx="5778">-0.068682302000000001</cx:pt>
          <cx:pt idx="5779">-0.068754498999999997</cx:pt>
          <cx:pt idx="5780">-0.068822867999999995</cx:pt>
          <cx:pt idx="5781">-0.068963468999999999</cx:pt>
          <cx:pt idx="5782">-0.069100243000000006</cx:pt>
          <cx:pt idx="5783">-0.069518183999999997</cx:pt>
          <cx:pt idx="5784">-0.069587109999999994</cx:pt>
          <cx:pt idx="5785">-0.069656593000000003</cx:pt>
          <cx:pt idx="5786">-0.069728789999999999</cx:pt>
          <cx:pt idx="5787">-0.069797194000000007</cx:pt>
          <cx:pt idx="5788">-0.069934490000000002</cx:pt>
          <cx:pt idx="5789">-0.072303206999999994</cx:pt>
          <cx:pt idx="5790">-0.072371054000000004</cx:pt>
          <cx:pt idx="5791">-0.072439457999999998</cx:pt>
          <cx:pt idx="5792">-0.072511654999999994</cx:pt>
          <cx:pt idx="5793">-0.072514368999999995</cx:pt>
          <cx:pt idx="5794">-0.072718990999999997</cx:pt>
          <cx:pt idx="5795">-0.072788994999999995</cx:pt>
          <cx:pt idx="5796">-0.072857400000000003</cx:pt>
          <cx:pt idx="5797">-0.072929595999999999</cx:pt>
          <cx:pt idx="5798">-0.072997965999999997</cx:pt>
          <cx:pt idx="5799">-0.073066370000000005</cx:pt>
          <cx:pt idx="5800">-0.073138567000000002</cx:pt>
          <cx:pt idx="5801">-0.073140724000000004</cx:pt>
          <cx:pt idx="5802">-0.073206937</cx:pt>
          <cx:pt idx="5803">-0.073347538000000004</cx:pt>
          <cx:pt idx="5804">-0.073415907000000002</cx:pt>
          <cx:pt idx="5805">-0.073484311999999996</cx:pt>
          <cx:pt idx="5806">-0.073552716000000004</cx:pt>
          <cx:pt idx="5807">-0.073624878000000005</cx:pt>
          <cx:pt idx="5808">-0.073762764999999994</cx:pt>
          <cx:pt idx="5809">-0.073900617000000002</cx:pt>
          <cx:pt idx="5810">-0.074041219000000005</cx:pt>
          <cx:pt idx="5811">-0.074109588000000004</cx:pt>
          <cx:pt idx="5812">-0.074181785</cx:pt>
          <cx:pt idx="5813">-0.074250188999999994</cx:pt>
          <cx:pt idx="5814">-0.074318559000000006</cx:pt>
          <cx:pt idx="5815">-0.074390755000000003</cx:pt>
          <cx:pt idx="5816">-0.074458602999999998</cx:pt>
          <cx:pt idx="5817">-0.074529164999999994</cx:pt>
          <cx:pt idx="5818">-0.074669765999999999</cx:pt>
          <cx:pt idx="5819">-0.074806540000000005</cx:pt>
          <cx:pt idx="5820">-0.074876022</cx:pt>
          <cx:pt idx="5821">-0.074944391999999999</cx:pt>
          <cx:pt idx="5822">-0.075571860000000005</cx:pt>
          <cx:pt idx="5823">-0.075645693</cx:pt>
          <cx:pt idx="5824">-0.075850314000000002</cx:pt>
          <cx:pt idx="5825">-0.075919796999999997</cx:pt>
          <cx:pt idx="5826">-0.075991958999999998</cx:pt>
          <cx:pt idx="5827">-0.076128767999999999</cx:pt>
          <cx:pt idx="5828">-0.076197136999999998</cx:pt>
          <cx:pt idx="5829">-0.076269333999999994</cx:pt>
          <cx:pt idx="5830">-0.077588848000000002</cx:pt>
          <cx:pt idx="5831">-0.078356883000000002</cx:pt>
          <cx:pt idx="5832">-0.078568567000000006</cx:pt>
          <cx:pt idx="5833">-0.078703183999999995</cx:pt>
          <cx:pt idx="5834">-0.078777016000000005</cx:pt>
          <cx:pt idx="5835">-0.078911597999999999</cx:pt>
          <cx:pt idx="5836">-0.078981636999999993</cx:pt>
          <cx:pt idx="5837">-0.079051120000000002</cx:pt>
          <cx:pt idx="5838">-0.079123282000000003</cx:pt>
          <cx:pt idx="5839">-0.079124918000000002</cx:pt>
          <cx:pt idx="5840">-0.079260091000000005</cx:pt>
          <cx:pt idx="5841">-0.079328460000000003</cx:pt>
          <cx:pt idx="5842">-0.079400656999999999</cx:pt>
          <cx:pt idx="5843">-0.080025412000000004</cx:pt>
          <cx:pt idx="5844">-0.080094894999999999</cx:pt>
          <cx:pt idx="5845">-0.081281949000000006</cx:pt>
          <cx:pt idx="5846">-0.081488763000000006</cx:pt>
          <cx:pt idx="5847">-0.081490919999999994</cx:pt>
          <cx:pt idx="5848">-0.081697732999999995</cx:pt>
          <cx:pt idx="5849">-0.083785282000000003</cx:pt>
          <cx:pt idx="5850">-0.083994253000000005</cx:pt>
          <cx:pt idx="5851">-0.084062623000000003</cx:pt>
          <cx:pt idx="5852">-0.084131026999999997</cx:pt>
          <cx:pt idx="5853">-0.084200510000000006</cx:pt>
          <cx:pt idx="5854">-0.084269993000000001</cx:pt>
          <cx:pt idx="5855">-0.084342155000000002</cx:pt>
          <cx:pt idx="5856">-0.084343790000000002</cx:pt>
          <cx:pt idx="5857">-0.084410558999999996</cx:pt>
          <cx:pt idx="5858">-0.084478963000000004</cx:pt>
          <cx:pt idx="5859">-0.084547889000000001</cx:pt>
          <cx:pt idx="5860">-0.084548411000000004</cx:pt>
          <cx:pt idx="5861">-0.084620085999999997</cx:pt>
          <cx:pt idx="5862">-0.084688455999999995</cx:pt>
          <cx:pt idx="5863">-0.084756860000000003</cx:pt>
          <cx:pt idx="5864">-0.084829056999999999</cx:pt>
          <cx:pt idx="5865">-0.084896904999999995</cx:pt>
          <cx:pt idx="5866">-0.085037471000000003</cx:pt>
          <cx:pt idx="5867">-0.085801190999999999</cx:pt>
          <cx:pt idx="5868">-0.085944471999999994</cx:pt>
          <cx:pt idx="5869">-0.086010162000000001</cx:pt>
          <cx:pt idx="5870">-0.086078531</cx:pt>
          <cx:pt idx="5871">-0.086288059</cx:pt>
          <cx:pt idx="5872">-0.086357541999999995</cx:pt>
          <cx:pt idx="5873">-0.087545153000000001</cx:pt>
          <cx:pt idx="5874">-0.087962538000000007</cx:pt>
          <cx:pt idx="5875">-0.088240991000000005</cx:pt>
          <cx:pt idx="5876">-0.088375607999999994</cx:pt>
          <cx:pt idx="5877">-0.089215283000000006</cx:pt>
          <cx:pt idx="5878">-0.090810535999999997</cx:pt>
          <cx:pt idx="5879">-0.091437448000000004</cx:pt>
          <cx:pt idx="5880">-0.091854310999999994</cx:pt>
          <cx:pt idx="5881">-0.092063803</cx:pt>
          <cx:pt idx="5882">-0.092344448999999995</cx:pt>
          <cx:pt idx="5883">-0.092416089000000007</cx:pt>
          <cx:pt idx="5884">-0.093107577999999996</cx:pt>
          <cx:pt idx="5885">-0.093316026999999996</cx:pt>
          <cx:pt idx="5886">-0.093388223000000006</cx:pt>
          <cx:pt idx="5887">-0.093456593000000004</cx:pt>
          <cx:pt idx="5888">-0.093594479999999994</cx:pt>
          <cx:pt idx="5889">-0.093663963000000003</cx:pt>
          <cx:pt idx="5890">-0.093736125000000003</cx:pt>
          <cx:pt idx="5891">-0.093804528999999998</cx:pt>
          <cx:pt idx="5892">-0.093872934000000005</cx:pt>
          <cx:pt idx="5893">-0.093941860000000002</cx:pt>
          <cx:pt idx="5894">-0.094014056999999998</cx:pt>
          <cx:pt idx="5895">-0.094082425999999997</cx:pt>
          <cx:pt idx="5896">-0.094223027000000001</cx:pt>
          <cx:pt idx="5897">-0.094291396999999999</cx:pt>
          <cx:pt idx="5898">-0.094638775999999994</cx:pt>
          <cx:pt idx="5899">-0.095060544999999996</cx:pt>
          <cx:pt idx="5900">-0.095335170999999996</cx:pt>
          <cx:pt idx="5901">-0.095547411999999998</cx:pt>
          <cx:pt idx="5902">-0.095612546000000007</cx:pt>
          <cx:pt idx="5903">-0.095752034</cx:pt>
          <cx:pt idx="5904">-0.096519546999999997</cx:pt>
          <cx:pt idx="5905">-0.097217542000000004</cx:pt>
          <cx:pt idx="5906">-0.097491646000000001</cx:pt>
          <cx:pt idx="5907">-0.097839061000000005</cx:pt>
          <cx:pt idx="5908">-0.097839582999999994</cx:pt>
          <cx:pt idx="5909">-0.097911223000000006</cx:pt>
          <cx:pt idx="5910">-0.097979627</cx:pt>
          <cx:pt idx="5911">-0.098048030999999994</cx:pt>
          <cx:pt idx="5912">-0.098116958000000004</cx:pt>
          <cx:pt idx="5913">-0.098189154000000001</cx:pt>
          <cx:pt idx="5914">-0.099235642999999998</cx:pt>
          <cx:pt idx="5915">-0.099301297999999996</cx:pt>
          <cx:pt idx="5916">-0.099369703000000004</cx:pt>
          <cx:pt idx="5917">-0.0994419</cx:pt>
          <cx:pt idx="5918">-0.099510268999999998</cx:pt>
          <cx:pt idx="5919">-0.099578673000000006</cx:pt>
          <cx:pt idx="5920">-0.099650870000000003</cx:pt>
          <cx:pt idx="5921">-0.099857649000000007</cx:pt>
          <cx:pt idx="5922">-0.099927132000000002</cx:pt>
          <cx:pt idx="5923">-0.10006773300000001</cx:pt>
          <cx:pt idx="5924">-0.100136102</cx:pt>
          <cx:pt idx="5925">-0.100208299</cx:pt>
          <cx:pt idx="5926">-0.10027670299999999</cx:pt>
          <cx:pt idx="5927">-0.10034507300000001</cx:pt>
          <cx:pt idx="5928">-0.100413477</cx:pt>
          <cx:pt idx="5929">-0.100485674</cx:pt>
          <cx:pt idx="5930">-0.100554044</cx:pt>
          <cx:pt idx="5931">-0.10083141800000001</cx:pt>
          <cx:pt idx="5932">-0.10090198</cx:pt>
          <cx:pt idx="5933">-0.100971985</cx:pt>
          <cx:pt idx="5934">-0.10104038899999999</cx:pt>
          <cx:pt idx="5935">-0.101112586</cx:pt>
          <cx:pt idx="5936">-0.101180955</cx:pt>
          <cx:pt idx="5937">-0.10124936</cx:pt>
          <cx:pt idx="5938">-0.10139264000000001</cx:pt>
          <cx:pt idx="5939">-0.10159781800000001</cx:pt>
          <cx:pt idx="5940">-0.101666744</cx:pt>
          <cx:pt idx="5941">-0.10264538500000001</cx:pt>
          <cx:pt idx="5942">-0.102988972</cx:pt>
          <cx:pt idx="5943">-0.103267426</cx:pt>
          <cx:pt idx="5944">-0.103410741</cx:pt>
          <cx:pt idx="5945">-0.10431227899999999</cx:pt>
          <cx:pt idx="5946">-0.104380683</cx:pt>
          <cx:pt idx="5947">-0.10445288</cx:pt>
          <cx:pt idx="5948">-0.104521249</cx:pt>
          <cx:pt idx="5949">-0.104589654</cx:pt>
          <cx:pt idx="5950">-0.104867029</cx:pt>
          <cx:pt idx="5951">-0.105007595</cx:pt>
          <cx:pt idx="5952">-0.10507652100000001</cx:pt>
          <cx:pt idx="5953">-0.105146004</cx:pt>
          <cx:pt idx="5954">-0.106120296</cx:pt>
          <cx:pt idx="5955">-0.106190857</cx:pt>
          <cx:pt idx="5956">-0.10625926099999999</cx:pt>
          <cx:pt idx="5957">-0.106331458</cx:pt>
          <cx:pt idx="5958">-0.10633305899999999</cx:pt>
          <cx:pt idx="5959">-0.106399828</cx:pt>
          <cx:pt idx="5960">-0.106677203</cx:pt>
          <cx:pt idx="5961">-0.10674939899999999</cx:pt>
          <cx:pt idx="5962">-0.10681776900000001</cx:pt>
          <cx:pt idx="5963">-0.106886173</cx:pt>
          <cx:pt idx="5964">-0.10695457799999999</cx:pt>
          <cx:pt idx="5965">-0.106955099</cx:pt>
          <cx:pt idx="5966">-0.10702674</cx:pt>
          <cx:pt idx="5967">-0.107095144</cx:pt>
          <cx:pt idx="5968">-0.10716407</cx:pt>
          <cx:pt idx="5969">-0.10730738500000001</cx:pt>
          <cx:pt idx="5970">-0.108629613</cx:pt>
          <cx:pt idx="5971">-0.10953442200000001</cx:pt>
          <cx:pt idx="5972">-0.109742836</cx:pt>
          <cx:pt idx="5973">-0.110160255</cx:pt>
          <cx:pt idx="5974">-0.11029539300000001</cx:pt>
          <cx:pt idx="5975">-0.110995581</cx:pt>
          <cx:pt idx="5976">-0.11203935499999999</cx:pt>
          <cx:pt idx="5977">-0.112104489</cx:pt>
          <cx:pt idx="5978">-0.112248326</cx:pt>
          <cx:pt idx="5979">-0.11245242499999999</cx:pt>
          <cx:pt idx="5980">-0.113013682</cx:pt>
          <cx:pt idx="5981">-0.113848451</cx:pt>
          <cx:pt idx="5982">-0.11426587000000001</cx:pt>
          <cx:pt idx="5983">-0.114401008</cx:pt>
          <cx:pt idx="5984">-0.114613806</cx:pt>
          <cx:pt idx="5985">-0.114748945</cx:pt>
          <cx:pt idx="5986">-0.115379649</cx:pt>
          <cx:pt idx="5987">-0.115583749</cx:pt>
          <cx:pt idx="5988">-0.11572431499999999</cx:pt>
          <cx:pt idx="5989">-0.11572758599999999</cx:pt>
          <cx:pt idx="5990">-0.115865438</cx:pt>
          <cx:pt idx="5991">-0.115866551</cx:pt>
          <cx:pt idx="5992">-0.115933842</cx:pt>
          <cx:pt idx="5993">-0.116070616</cx:pt>
          <cx:pt idx="5994">-0.116142813</cx:pt>
          <cx:pt idx="5995">-0.116279587</cx:pt>
          <cx:pt idx="5996">-0.11648855700000001</cx:pt>
          <cx:pt idx="5997">-0.11655804</cx:pt>
          <cx:pt idx="5998">-0.116627523</cx:pt>
          <cx:pt idx="5999">-0.11669972000000001</cx:pt>
          <cx:pt idx="6000">-0.11676809</cx:pt>
          <cx:pt idx="6001">-0.116836494</cx:pt>
          <cx:pt idx="6002">-0.116908691</cx:pt>
          <cx:pt idx="6003">-0.117117661</cx:pt>
          <cx:pt idx="6004">-0.117188745</cx:pt>
          <cx:pt idx="6005">-0.117254435</cx:pt>
          <cx:pt idx="6006">-0.117326632</cx:pt>
          <cx:pt idx="6007">-0.11739503599999999</cx:pt>
          <cx:pt idx="6008">-0.11753181</cx:pt>
          <cx:pt idx="6009">-0.117601815</cx:pt>
          <cx:pt idx="6010">-0.11794975100000001</cx:pt>
          <cx:pt idx="6011">-0.118298766</cx:pt>
          <cx:pt idx="6012">-0.118367136</cx:pt>
          <cx:pt idx="6013">-0.11871942100000001</cx:pt>
          <cx:pt idx="6014">-0.11899404800000001</cx:pt>
          <cx:pt idx="6015">-0.119345777</cx:pt>
          <cx:pt idx="6016">-0.119549876</cx:pt>
          <cx:pt idx="6017">-0.11962099399999999</cx:pt>
          <cx:pt idx="6018">-0.11968936400000001</cx:pt>
          <cx:pt idx="6019">-0.119758847</cx:pt>
          <cx:pt idx="6020">-0.119833201</cx:pt>
          <cx:pt idx="6021">-0.119967817</cx:pt>
          <cx:pt idx="6022">-0.121015941</cx:pt>
          <cx:pt idx="6023">-0.121846396</cx:pt>
          <cx:pt idx="6024">-0.12184695199999999</cx:pt>
          <cx:pt idx="6025">-0.12212756299999999</cx:pt>
          <cx:pt idx="6026">-0.12219593300000001</cx:pt>
          <cx:pt idx="6027">-0.122264337</cx:pt>
          <cx:pt idx="6028">-0.122336534</cx:pt>
          <cx:pt idx="6029">-0.122404903</cx:pt>
          <cx:pt idx="6030">-0.122473864</cx:pt>
          <cx:pt idx="6031">-0.122616588</cx:pt>
          <cx:pt idx="6032">-0.122751204</cx:pt>
          <cx:pt idx="6033">-0.122821244</cx:pt>
          <cx:pt idx="6034">-0.12289180500000001</cx:pt>
          <cx:pt idx="6035">-0.122960175</cx:pt>
          <cx:pt idx="6036">-0.123032372</cx:pt>
          <cx:pt idx="6037">-0.12316914499999999</cx:pt>
          <cx:pt idx="6038">-0.123241342</cx:pt>
          <cx:pt idx="6039">-0.123309747</cx:pt>
          <cx:pt idx="6040">-0.123378116</cx:pt>
          <cx:pt idx="6041">-0.123520874</cx:pt>
          <cx:pt idx="6042">-0.123587087</cx:pt>
          <cx:pt idx="6043">-0.12365549100000001</cx:pt>
          <cx:pt idx="6044">-0.123727688</cx:pt>
          <cx:pt idx="6045">-0.123796092</cx:pt>
          <cx:pt idx="6046">-0.12386446199999999</cx:pt>
          <cx:pt idx="6047">-0.12386501799999999</cx:pt>
          <cx:pt idx="6048">-0.123933945</cx:pt>
          <cx:pt idx="6049">-0.12414291500000001</cx:pt>
          <cx:pt idx="6050">-0.124212398</cx:pt>
          <cx:pt idx="6051">-0.124495166</cx:pt>
          <cx:pt idx="6052">-0.124561935</cx:pt>
          <cx:pt idx="6053">-0.124702536</cx:pt>
          <cx:pt idx="6054">-0.12470413700000001</cx:pt>
          <cx:pt idx="6055">-0.12483931</cx:pt>
          <cx:pt idx="6056">-0.126439991</cx:pt>
          <cx:pt idx="6057">-0.12651326700000001</cx:pt>
          <cx:pt idx="6058">-0.126790085</cx:pt>
          <cx:pt idx="6059">-0.126861168</cx:pt>
          <cx:pt idx="6060">-0.12699634200000001</cx:pt>
          <cx:pt idx="6061">-0.12706582499999999</cx:pt>
          <cx:pt idx="6062">-0.12713962200000001</cx:pt>
          <cx:pt idx="6063">-0.127206391</cx:pt>
          <cx:pt idx="6064">-0.127274795</cx:pt>
          <cx:pt idx="6065">-0.12734695700000001</cx:pt>
          <cx:pt idx="6066">-0.12846184999999999</cx:pt>
          <cx:pt idx="6067">-0.12915333900000001</cx:pt>
          <cx:pt idx="6068">-0.129434506</cx:pt>
          <cx:pt idx="6069">-0.129436142</cx:pt>
          <cx:pt idx="6070">-0.13047556699999999</cx:pt>
          <cx:pt idx="6071">-0.13054776400000001</cx:pt>
          <cx:pt idx="6072">-0.13054939900000001</cx:pt>
          <cx:pt idx="6073">-0.13082458199999999</cx:pt>
          <cx:pt idx="6074">-0.13089298599999999</cx:pt>
          <cx:pt idx="6075">-0.13096518300000001</cx:pt>
          <cx:pt idx="6076">-0.130966783</cx:pt>
          <cx:pt idx="6077">-0.131033552</cx:pt>
          <cx:pt idx="6078">-0.13110195699999999</cx:pt>
          <cx:pt idx="6079">-0.131240888</cx:pt>
          <cx:pt idx="6080">-0.131313085</cx:pt>
          <cx:pt idx="6081">-0.13138148899999999</cx:pt>
          <cx:pt idx="6082">-0.131384203</cx:pt>
          <cx:pt idx="6083">-0.13144989300000001</cx:pt>
          <cx:pt idx="6084">-0.13159045899999999</cx:pt>
          <cx:pt idx="6085">-0.13165886399999999</cx:pt>
          <cx:pt idx="6086">-0.131731026</cx:pt>
          <cx:pt idx="6087">-0.132008401</cx:pt>
          <cx:pt idx="6088">-0.132145175</cx:pt>
          <cx:pt idx="6089">-0.132215214</cx:pt>
          <cx:pt idx="6090">-0.13235414500000001</cx:pt>
          <cx:pt idx="6091">-0.132426342</cx:pt>
          <cx:pt idx="6092">-0.132494746</cx:pt>
          <cx:pt idx="6093">-0.13249746000000001</cx:pt>
          <cx:pt idx="6094">-0.132635313</cx:pt>
          <cx:pt idx="6095">-0.13277208600000001</cx:pt>
          <cx:pt idx="6096">-0.13284428300000001</cx:pt>
          <cx:pt idx="6097">-0.13291540099999999</cx:pt>
          <cx:pt idx="6098">-0.13312110099999999</cx:pt>
          <cx:pt idx="6099">-0.13333278600000001</cx:pt>
          <cx:pt idx="6100">-0.13354123500000001</cx:pt>
          <cx:pt idx="6101">-0.13367964399999999</cx:pt>
          <cx:pt idx="6102">-0.133680722</cx:pt>
          <cx:pt idx="6103">-0.133748013</cx:pt>
          <cx:pt idx="6104">-0.13388482199999999</cx:pt>
          <cx:pt idx="6105">-0.133956984</cx:pt>
          <cx:pt idx="6106">-0.13395917600000001</cx:pt>
          <cx:pt idx="6107">-0.134025388</cx:pt>
          <cx:pt idx="6108">-0.13402865899999999</cx:pt>
          <cx:pt idx="6109">-0.13409379199999999</cx:pt>
          <cx:pt idx="6110">-0.134165954</cx:pt>
          <cx:pt idx="6111">-0.134234359</cx:pt>
          <cx:pt idx="6112">-0.13430276299999999</cx:pt>
          <cx:pt idx="6113">-0.13437221099999999</cx:pt>
          <cx:pt idx="6114">-0.13451281200000001</cx:pt>
          <cx:pt idx="6115">-0.13465337899999999</cx:pt>
          <cx:pt idx="6116">-0.13465501399999999</cx:pt>
          <cx:pt idx="6117">-0.13472178300000001</cx:pt>
          <cx:pt idx="6118">-0.13479018700000001</cx:pt>
          <cx:pt idx="6119">-0.13486234899999999</cx:pt>
          <cx:pt idx="6120">-0.13493075400000001</cx:pt>
          <cx:pt idx="6121">-0.135068084</cx:pt>
          <cx:pt idx="6122">-0.13520865000000001</cx:pt>
          <cx:pt idx="6123">-0.13527705500000001</cx:pt>
          <cx:pt idx="6124">-0.13534653799999999</cx:pt>
          <cx:pt idx="6125">-0.13541762099999999</cx:pt>
          <cx:pt idx="6126">-0.135420335</cx:pt>
          <cx:pt idx="6127">-0.13548602500000001</cx:pt>
          <cx:pt idx="6128">-0.13555822200000001</cx:pt>
          <cx:pt idx="6129">-0.13562659199999999</cx:pt>
          <cx:pt idx="6130">-0.135977242</cx:pt>
          <cx:pt idx="6131">-0.13618565599999999</cx:pt>
          <cx:pt idx="6132">-0.13625242500000001</cx:pt>
          <cx:pt idx="6133">-0.136320829</cx:pt>
          <cx:pt idx="6134">-0.13646139500000001</cx:pt>
          <cx:pt idx="6135">-0.136464109</cx:pt>
          <cx:pt idx="6136">-0.13652980000000001</cx:pt>
          <cx:pt idx="6137">-0.136946662</cx:pt>
          <cx:pt idx="6138">-0.13701885899999999</cx:pt>
          <cx:pt idx="6139">-0.137087229</cx:pt>
          <cx:pt idx="6140">-0.137155633</cx:pt>
          <cx:pt idx="6141">-0.13722783</cx:pt>
          <cx:pt idx="6142">-0.13729619900000001</cx:pt>
          <cx:pt idx="6143">-0.13743408600000001</cx:pt>
          <cx:pt idx="6144">-0.13750517000000001</cx:pt>
          <cx:pt idx="6145">-0.137507884</cx:pt>
          <cx:pt idx="6146">-0.137573574</cx:pt>
          <cx:pt idx="6147">-0.137645771</cx:pt>
          <cx:pt idx="6148">-0.13785581999999999</cx:pt>
          <cx:pt idx="6149">-0.13799151500000001</cx:pt>
          <cx:pt idx="6150">-0.13834105199999999</cx:pt>
          <cx:pt idx="6151">-0.13840945700000001</cx:pt>
          <cx:pt idx="6152">-0.13847786100000001</cx:pt>
          <cx:pt idx="6153">-0.13854730900000001</cx:pt>
          <cx:pt idx="6154">-0.13882847600000001</cx:pt>
          <cx:pt idx="6155">-0.138896881</cx:pt>
          <cx:pt idx="6156">-0.13889959499999999</cx:pt>
          <cx:pt idx="6157">-0.13896525000000001</cx:pt>
          <cx:pt idx="6158">-0.13903744700000001</cx:pt>
          <cx:pt idx="6159">-0.139105851</cx:pt>
          <cx:pt idx="6160">-0.139521635</cx:pt>
          <cx:pt idx="6161">-0.14001393100000001</cx:pt>
          <cx:pt idx="6162">-0.1411934</cx:pt>
          <cx:pt idx="6163">-0.14126559699999999</cx:pt>
          <cx:pt idx="6164">-0.14133125299999999</cx:pt>
          <cx:pt idx="6165">-0.14154022299999999</cx:pt>
          <cx:pt idx="6166">-0.141609184</cx:pt>
          <cx:pt idx="6167">-0.141678632</cx:pt>
          <cx:pt idx="6168">-0.14175082899999999</cx:pt>
          <cx:pt idx="6169">-0.14175246499999999</cx:pt>
          <cx:pt idx="6170">-0.14182246900000001</cx:pt>
          <cx:pt idx="6171">-0.14196251400000001</cx:pt>
          <cx:pt idx="6172">-0.14203091800000001</cx:pt>
          <cx:pt idx="6173">-0.142096574</cx:pt>
          <cx:pt idx="6174">-0.14223988900000001</cx:pt>
          <cx:pt idx="6175">-0.14230557899999999</cx:pt>
          <cx:pt idx="6176">-0.142378855</cx:pt>
          <cx:pt idx="6177">-0.142448303</cx:pt>
          <cx:pt idx="6178">-0.14251454999999999</cx:pt>
          <cx:pt idx="6179">-0.14259106099999999</cx:pt>
          <cx:pt idx="6180">-0.14293572700000001</cx:pt>
          <cx:pt idx="6181">-0.14300141699999999</cx:pt>
          <cx:pt idx="6182">-0.143074693</cx:pt>
          <cx:pt idx="6183">-0.14356211699999999</cx:pt>
          <cx:pt idx="6184">-0.14369673299999999</cx:pt>
          <cx:pt idx="6185">-0.14383837799999999</cx:pt>
          <cx:pt idx="6186">-0.14391057500000001</cx:pt>
          <cx:pt idx="6187">-0.14404898399999999</cx:pt>
          <cx:pt idx="6188">-0.144118467</cx:pt>
          <cx:pt idx="6189">-0.144393093</cx:pt>
          <cx:pt idx="6190">-0.14453369399999999</cx:pt>
          <cx:pt idx="6191">-0.14453585199999999</cx:pt>
          <cx:pt idx="6192">-0.14474753600000001</cx:pt>
          <cx:pt idx="6193">-0.14481322699999999</cx:pt>
          <cx:pt idx="6194">-0.144814305</cx:pt>
          <cx:pt idx="6195">-0.144884867</cx:pt>
          <cx:pt idx="6196">-0.14495</cx:pt>
          <cx:pt idx="6197">-0.14502598999999999</cx:pt>
          <cx:pt idx="6198">-0.14509439399999999</cx:pt>
          <cx:pt idx="6199">-0.145162242</cx:pt>
          <cx:pt idx="6200">-0.14557962599999999</cx:pt>
          <cx:pt idx="6201">-0.14564966600000001</cx:pt>
          <cx:pt idx="6202">-0.14571532100000001</cx:pt>
          <cx:pt idx="6203">-0.14578480399999999</cx:pt>
          <cx:pt idx="6204">-0.145928119</cx:pt>
          <cx:pt idx="6205">-0.14599756699999999</cx:pt>
          <cx:pt idx="6206">-0.146063258</cx:pt>
          <cx:pt idx="6207">-0.14613653300000001</cx:pt>
          <cx:pt idx="6208">-0.14620601599999999</cx:pt>
          <cx:pt idx="6209">-0.14634550399999999</cx:pt>
          <cx:pt idx="6210">-0.146414987</cx:pt>
          <cx:pt idx="6211">-0.14648119900000001</cx:pt>
          <cx:pt idx="6212">-0.14655391800000001</cx:pt>
          <cx:pt idx="6213">-0.146623957</cx:pt>
          <cx:pt idx="6214">-0.14669344000000001</cx:pt>
          <cx:pt idx="6215">-0.146758574</cx:pt>
          <cx:pt idx="6216">-0.14696754400000001</cx:pt>
          <cx:pt idx="6217">-0.14704134199999999</cx:pt>
          <cx:pt idx="6218">-0.147110825</cx:pt>
          <cx:pt idx="6219">-0.14717651500000001</cx:pt>
          <cx:pt idx="6220">-0.147319795</cx:pt>
          <cx:pt idx="6221">-0.14738548600000001</cx:pt>
          <cx:pt idx="6222">-0.14746147500000001</cx:pt>
          <cx:pt idx="6223">-0.147528244</cx:pt>
          <cx:pt idx="6224">-0.1475939</cx:pt>
          <cx:pt idx="6225">-0.147667732</cx:pt>
          <cx:pt idx="6226">-0.14773721500000001</cx:pt>
          <cx:pt idx="6227">-0.14780287</cx:pt>
          <cx:pt idx="6228">-0.14787235300000001</cx:pt>
          <cx:pt idx="6229">-0.147945629</cx:pt>
          <cx:pt idx="6230">-0.14801566799999999</cx:pt>
          <cx:pt idx="6231">-0.14808132399999999</cx:pt>
          <cx:pt idx="6232">-0.14815731300000001</cx:pt>
          <cx:pt idx="6233">-0.14822571700000001</cx:pt>
          <cx:pt idx="6234">-0.14829356499999999</cx:pt>
          <cx:pt idx="6235">-0.14835922100000001</cx:pt>
          <cx:pt idx="6236">-0.14843305300000001</cx:pt>
          <cx:pt idx="6237">-0.14850253599999999</cx:pt>
          <cx:pt idx="6238">-0.14856819099999999</cx:pt>
          <cx:pt idx="6239">-0.148641467</cx:pt>
          <cx:pt idx="6240">-0.14871150599999999</cx:pt>
          <cx:pt idx="6241">-0.148777197</cx:pt>
          <cx:pt idx="6242">-0.148853708</cx:pt>
          <cx:pt idx="6243">-0.14898940299999999</cx:pt>
          <cx:pt idx="6244">-0.14912509800000001</cx:pt>
          <cx:pt idx="6245">-0.14920108800000001</cx:pt>
          <cx:pt idx="6246">-0.149269492</cx:pt>
          <cx:pt idx="6247">-0.14933733900000001</cx:pt>
          <cx:pt idx="6248">-0.14940299500000001</cx:pt>
          <cx:pt idx="6249">-0.14947682700000001</cx:pt>
          <cx:pt idx="6250">-0.14954630999999999</cx:pt>
          <cx:pt idx="6251">-0.149615793</cx:pt>
          <cx:pt idx="6252">-0.14968200500000001</cx:pt>
          <cx:pt idx="6253">-0.14995990200000001</cx:pt>
          <cx:pt idx="6254">-0.15003317699999999</cx:pt>
          <cx:pt idx="6255">-0.15009939</cx:pt>
          <cx:pt idx="6256">-0.15017266500000001</cx:pt>
          <cx:pt idx="6257">-0.15024214799999999</cx:pt>
          <cx:pt idx="6258">-0.15030836</cx:pt>
          <cx:pt idx="6259">-0.15038111400000001</cx:pt>
          <cx:pt idx="6260">-0.15045111899999999</cx:pt>
          <cx:pt idx="6261">-0.15051625199999999</cx:pt>
          <cx:pt idx="6262">-0.15059008500000001</cx:pt>
          <cx:pt idx="6263">-0.15065956699999999</cx:pt>
          <cx:pt idx="6264">-0.15072522299999999</cx:pt>
          <cx:pt idx="6265">-0.15079905499999999</cx:pt>
          <cx:pt idx="6266">-0.150868538</cx:pt>
          <cx:pt idx="6267">-0.15093419399999999</cx:pt>
          <cx:pt idx="6268">-0.151003677</cx:pt>
          <cx:pt idx="6269">-0.15107695199999999</cx:pt>
          <cx:pt idx="6270">-0.151143164</cx:pt>
          <cx:pt idx="6271">-0.15121644000000001</cx:pt>
          <cx:pt idx="6272">-0.15128592299999999</cx:pt>
          <cx:pt idx="6273">-0.151352135</cx:pt>
          <cx:pt idx="6274">-0.15142488800000001</cx:pt>
          <cx:pt idx="6275">-0.15149489299999999</cx:pt>
          <cx:pt idx="6276">-0.15156002700000001</cx:pt>
          <cx:pt idx="6277">-0.15170442000000001</cx:pt>
          <cx:pt idx="6278">-0.15176899699999999</cx:pt>
          <cx:pt idx="6279">-0.15184283000000001</cx:pt>
          <cx:pt idx="6280">-0.15197796799999999</cx:pt>
          <cx:pt idx="6281">-0.152047451</cx:pt>
          <cx:pt idx="6282">-0.15232969699999999</cx:pt>
          <cx:pt idx="6283">-0.152468663</cx:pt>
          <cx:pt idx="6284">-0.15253866799999999</cx:pt>
          <cx:pt idx="6285">-0.15267763300000001</cx:pt>
          <cx:pt idx="6286">-0.152817121</cx:pt>
          <cx:pt idx="6287">-0.15288225499999999</cx:pt>
          <cx:pt idx="6288">-0.15295608699999999</cx:pt>
          <cx:pt idx="6289">-0.15337347200000001</cx:pt>
          <cx:pt idx="6290">-0.15344458999999999</cx:pt>
          <cx:pt idx="6291">-0.153578093</cx:pt>
          <cx:pt idx="6292">-0.153721408</cx:pt>
          <cx:pt idx="6293">-0.15385654600000001</cx:pt>
          <cx:pt idx="6294">-0.15448672899999999</cx:pt>
          <cx:pt idx="6295">-0.154556734</cx:pt>
          <cx:pt idx="6296">-0.15462242400000001</cx:pt>
          <cx:pt idx="6297">-0.15469569899999999</cx:pt>
          <cx:pt idx="6298">-0.154765182</cx:pt>
          <cx:pt idx="6299">-0.15490466999999999</cx:pt>
          <cx:pt idx="6300">-0.154974153</cx:pt>
          <cx:pt idx="6301">-0.155039809</cx:pt>
          <cx:pt idx="6302">-0.15511635500000001</cx:pt>
          <cx:pt idx="6303">-0.15517877399999999</cx:pt>
          <cx:pt idx="6304">-0.155391538</cx:pt>
          <cx:pt idx="6305">-0.15546373399999999</cx:pt>
          <cx:pt idx="6306">-0.15553050299999999</cx:pt>
          <cx:pt idx="6307">-0.155600508</cx:pt>
          <cx:pt idx="6308">-0.15566564199999999</cx:pt>
          <cx:pt idx="6309">-0.15573947399999999</cx:pt>
          <cx:pt idx="6310">-0.15587844000000001</cx:pt>
          <cx:pt idx="6311">-0.156017927</cx:pt>
          <cx:pt idx="6312">-0.15608741000000001</cx:pt>
          <cx:pt idx="6313">-0.15622254899999999</cx:pt>
          <cx:pt idx="6314">-0.15643531199999999</cx:pt>
          <cx:pt idx="6315">-0.156501002</cx:pt>
          <cx:pt idx="6316">-0.156575356</cx:pt>
          <cx:pt idx="6317">-0.156709973</cx:pt>
          <cx:pt idx="6318">-0.156918944</cx:pt>
          <cx:pt idx="6319">-0.157061702</cx:pt>
          <cx:pt idx="6320">-0.15712735799999999</cx:pt>
          <cx:pt idx="6321">-0.15720390400000001</cx:pt>
          <cx:pt idx="6322">-0.157336328</cx:pt>
          <cx:pt idx="6323">-0.15740960400000001</cx:pt>
          <cx:pt idx="6324">-0.15755128299999999</cx:pt>
          <cx:pt idx="6325">-0.158174959</cx:pt>
          <cx:pt idx="6326">-0.15831009800000001</cx:pt>
          <cx:pt idx="6327">-0.15837958099999999</cx:pt>
          <cx:pt idx="6328">-0.159006493</cx:pt>
          <cx:pt idx="6329">-0.15907976800000001</cx:pt>
          <cx:pt idx="6330">-0.159148172</cx:pt>
          <cx:pt idx="6331">-0.15914925099999999</cx:pt>
          <cx:pt idx="6332">-0.159215463</cx:pt>
          <cx:pt idx="6333">-0.159427704</cx:pt>
          <cx:pt idx="6334">-0.15991130100000001</cx:pt>
          <cx:pt idx="6335">-0.16039820299999999</cx:pt>
          <cx:pt idx="6336">-0.160472001</cx:pt>
          <cx:pt idx="6337">-0.16060769599999999</cx:pt>
          <cx:pt idx="6338">-0.16061041000000001</cx:pt>
          <cx:pt idx="6339">-0.16067609999999999</cx:pt>
          <cx:pt idx="6340">-0.16074829700000001</cx:pt>
          <cx:pt idx="6341">-0.16074993200000001</cx:pt>
          <cx:pt idx="6342">-0.16123680000000001</cx:pt>
          <cx:pt idx="6343">-0.161441421</cx:pt>
          <cx:pt idx="6344">-0.161515253</cx:pt>
          <cx:pt idx="6345">-0.16179370700000001</cx:pt>
          <cx:pt idx="6346">-0.16186315500000001</cx:pt>
          <cx:pt idx="6347">-0.162002121</cx:pt>
          <cx:pt idx="6348">-0.16214160899999999</cx:pt>
          <cx:pt idx="6349">-0.162697959</cx:pt>
          <cx:pt idx="6350">-0.16276744200000001</cx:pt>
          <cx:pt idx="6351">-0.16283365399999999</cx:pt>
          <cx:pt idx="6352">-0.16290692900000001</cx:pt>
          <cx:pt idx="6353">-0.16352952700000001</cx:pt>
          <cx:pt idx="6354">-0.16360280199999999</cx:pt>
          <cx:pt idx="6355">-0.163950704</cx:pt>
          <cx:pt idx="6356">-0.16401695099999999</cx:pt>
          <cx:pt idx="6357">-0.16408966999999999</cx:pt>
          <cx:pt idx="6358">-0.164437049</cx:pt>
          <cx:pt idx="6359">-0.16457330100000001</cx:pt>
          <cx:pt idx="6360">-0.164643863</cx:pt>
          <cx:pt idx="6361">-0.164712789</cx:pt>
          <cx:pt idx="6362">-0.16478498599999999</cx:pt>
          <cx:pt idx="6363">-0.16485443399999999</cx:pt>
          <cx:pt idx="6364">-0.16492120299999999</cx:pt>
          <cx:pt idx="6365">-0.16499124300000001</cx:pt>
          <cx:pt idx="6366">-0.165203449</cx:pt>
          <cx:pt idx="6367">-0.16534133600000001</cx:pt>
          <cx:pt idx="6368">-0.16541081899999999</cx:pt>
          <cx:pt idx="6369">-0.16547811000000001</cx:pt>
          <cx:pt idx="6370">-0.16555465599999999</cx:pt>
          <cx:pt idx="6371">-0.165619233</cx:pt>
          <cx:pt idx="6372">-0.165687637</cx:pt>
          <cx:pt idx="6373">-0.16569035100000001</cx:pt>
          <cx:pt idx="6374">-0.16582820400000001</cx:pt>
          <cx:pt idx="6375">-0.16582928199999999</cx:pt>
          <cx:pt idx="6376">-0.165896608</cx:pt>
          <cx:pt idx="6377">-0.16596497700000001</cx:pt>
          <cx:pt idx="6378">-0.16603717400000001</cx:pt>
          <cx:pt idx="6379">-0.16610665699999999</cx:pt>
          <cx:pt idx="6380">-0.166176662</cx:pt>
          <cx:pt idx="6381">-0.16617721899999999</cx:pt>
          <cx:pt idx="6382">-0.16631399299999999</cx:pt>
          <cx:pt idx="6383">-0.16645459400000001</cx:pt>
          <cx:pt idx="6384">-0.166524598</cx:pt>
          <cx:pt idx="6385">-0.166730298</cx:pt>
          <cx:pt idx="6386">-0.166802495</cx:pt>
          <cx:pt idx="6387">-0.16687089999999999</cx:pt>
          <cx:pt idx="6388">-0.166939269</cx:pt>
          <cx:pt idx="6389">-0.167011466</cx:pt>
          <cx:pt idx="6390">-0.16715095399999999</cx:pt>
          <cx:pt idx="6391">-0.16715151</cx:pt>
          <cx:pt idx="6392">-0.167220436</cx:pt>
          <cx:pt idx="6393">-0.16728720499999999</cx:pt>
          <cx:pt idx="6394">-0.16735724499999999</cx:pt>
          <cx:pt idx="6395">-0.167499447</cx:pt>
          <cx:pt idx="6396">-0.16791683099999999</cx:pt>
          <cx:pt idx="6397">-0.167983044</cx:pt>
          <cx:pt idx="6398">-0.16805631900000001</cx:pt>
          <cx:pt idx="6399">-0.168265846</cx:pt>
          <cx:pt idx="6400">-0.16846994600000001</cx:pt>
          <cx:pt idx="6401">-0.16861051199999999</cx:pt>
          <cx:pt idx="6402">-0.168612704</cx:pt>
          <cx:pt idx="6403">-0.16867891600000001</cx:pt>
          <cx:pt idx="6404">-0.168752192</cx:pt>
          <cx:pt idx="6405">-0.16881784699999999</cx:pt>
          <cx:pt idx="6406">-0.168891123</cx:pt>
          <cx:pt idx="6407">-0.16896060600000001</cx:pt>
          <cx:pt idx="6408">-0.169026818</cx:pt>
          <cx:pt idx="6409">-0.16910009300000001</cx:pt>
          <cx:pt idx="6410">-0.16916957599999999</cx:pt>
          <cx:pt idx="6411">-0.169865449</cx:pt>
          <cx:pt idx="6412">-0.169931105</cx:pt>
          <cx:pt idx="6413">-0.17000438000000001</cx:pt>
          <cx:pt idx="6414">-0.17007442</cx:pt>
          <cx:pt idx="6415">-0.170700775</cx:pt>
          <cx:pt idx="6416">-0.17076646500000001</cx:pt>
          <cx:pt idx="6417">-0.17111436699999999</cx:pt>
          <cx:pt idx="6418">-0.17118656400000001</cx:pt>
          <cx:pt idx="6419">-0.17125712500000001</cx:pt>
          <cx:pt idx="6420">-0.17160398299999999</cx:pt>
          <cx:pt idx="6421">-0.171672353</cx:pt>
          <cx:pt idx="6422">-0.17167454500000001</cx:pt>
          <cx:pt idx="6423">-0.17174075699999999</cx:pt>
          <cx:pt idx="6424">-0.17181076200000001</cx:pt>
          <cx:pt idx="6425">-0.17181403200000001</cx:pt>
          <cx:pt idx="6426">-0.171951885</cx:pt>
          <cx:pt idx="6427">-0.172022446</cx:pt>
          <cx:pt idx="6428">-0.17243878700000001</cx:pt>
          <cx:pt idx="6429">-0.17250715599999999</cx:pt>
          <cx:pt idx="6430">-0.17250987000000001</cx:pt>
          <cx:pt idx="6431">-0.17258043200000001</cx:pt>
          <cx:pt idx="6432">-0.17258098899999999</cx:pt>
          <cx:pt idx="6433">-0.17264612200000001</cx:pt>
          <cx:pt idx="6434">-0.17271452700000001</cx:pt>
          <cx:pt idx="6435">-0.17278668899999999</cx:pt>
          <cx:pt idx="6436">-0.172857807</cx:pt>
          <cx:pt idx="6437">-0.17292349700000001</cx:pt>
          <cx:pt idx="6438">-0.17299677299999999</cx:pt>
          <cx:pt idx="6439">-0.17306622099999999</cx:pt>
          <cx:pt idx="6440">-0.173205743</cx:pt>
          <cx:pt idx="6441">-0.173344674</cx:pt>
          <cx:pt idx="6442">-0.17362476299999999</cx:pt>
          <cx:pt idx="6443">-0.173901581</cx:pt>
          <cx:pt idx="6444">-0.17417624200000001</cx:pt>
          <cx:pt idx="6445">-0.174388449</cx:pt>
          <cx:pt idx="6446">-0.17445793200000001</cx:pt>
          <cx:pt idx="6447">-0.174945356</cx:pt>
          <cx:pt idx="6448">-0.175011046</cx:pt>
          <cx:pt idx="6449">-0.175080494</cx:pt>
          <cx:pt idx="6450">-0.17515376999999999</cx:pt>
          <cx:pt idx="6451">-0.17522380900000001</cx:pt>
          <cx:pt idx="6452">-0.17528946500000001</cx:pt>
          <cx:pt idx="6453">-0.17536273999999999</cx:pt>
          <cx:pt idx="6454">-0.175432223</cx:pt>
          <cx:pt idx="6455">-0.17549843500000001</cx:pt>
          <cx:pt idx="6456">-0.17557171099999999</cx:pt>
          <cx:pt idx="6457">-0.175637401</cx:pt>
          <cx:pt idx="6458">-0.17571067700000001</cx:pt>
          <cx:pt idx="6459">-0.175849642</cx:pt>
          <cx:pt idx="6460">-0.17591964700000001</cx:pt>
          <cx:pt idx="6461">-0.17598533799999999</cx:pt>
          <cx:pt idx="6462">-0.176054821</cx:pt>
          <cx:pt idx="6463">-0.17612809600000001</cx:pt>
          <cx:pt idx="6464">-0.176198101</cx:pt>
          <cx:pt idx="6465">-0.176267584</cx:pt>
          <cx:pt idx="6466">-0.17633706699999999</cx:pt>
          <cx:pt idx="6467">-0.17640272200000001</cx:pt>
          <cx:pt idx="6468">-0.176475998</cx:pt>
          <cx:pt idx="6469">-0.17654603699999999</cx:pt>
          <cx:pt idx="6470">-0.17661169299999999</cx:pt>
          <cx:pt idx="6471">-0.176684968</cx:pt>
          <cx:pt idx="6472">-0.17675608600000001</cx:pt>
          <cx:pt idx="6473">-0.17696178600000001</cx:pt>
          <cx:pt idx="6474">-0.17786770900000001</cx:pt>
          <cx:pt idx="6475">-0.17835405400000001</cx:pt>
          <cx:pt idx="6476">-0.17877523100000001</cx:pt>
          <cx:pt idx="6477">-0.179050971</cx:pt>
          <cx:pt idx="6478">-0.179398907</cx:pt>
          <cx:pt idx="6479">-0.17981629199999999</cx:pt>
          <cx:pt idx="6480">-0.179882504</cx:pt>
          <cx:pt idx="6481">-0.17995470099999999</cx:pt>
          <cx:pt idx="6482">-0.180024184</cx:pt>
          <cx:pt idx="6483">-0.180090953</cx:pt>
          <cx:pt idx="6484">-0.18023642500000001</cx:pt>
          <cx:pt idx="6485">-0.18030208</cx:pt>
          <cx:pt idx="6486">-0.180303194</cx:pt>
          <cx:pt idx="6487">-0.18043888899999999</cx:pt>
          <cx:pt idx="6488">-0.180583248</cx:pt>
          <cx:pt idx="6489">-0.180721135</cx:pt>
          <cx:pt idx="6490">-0.18085627400000001</cx:pt>
          <cx:pt idx="6491">-0.181343698</cx:pt>
          <cx:pt idx="6492">-0.181625387</cx:pt>
          <cx:pt idx="6493">-0.182042806</cx:pt>
          <cx:pt idx="6494">-0.18210901900000001</cx:pt>
          <cx:pt idx="6495">-0.18218229399999999</cx:pt>
          <cx:pt idx="6496">-0.18322606899999999</cx:pt>
          <cx:pt idx="6497">-0.183295551</cx:pt>
          <cx:pt idx="6498">-0.18384863100000001</cx:pt>
          <cx:pt idx="6499">-0.18399139</cx:pt>
          <cx:pt idx="6500">-0.18461777900000001</cx:pt>
          <cx:pt idx="6501">-0.18468726199999999</cx:pt>
          <cx:pt idx="6502">-0.185592071</cx:pt>
          <cx:pt idx="6503">-0.18580159800000001</cx:pt>
          <cx:pt idx="6504">-0.186284117</cx:pt>
          <cx:pt idx="6505">-0.186493087</cx:pt>
          <cx:pt idx="6506">-0.18656636300000001</cx:pt>
          <cx:pt idx="6507">-0.186705328</cx:pt>
          <cx:pt idx="6508">-0.18684425900000001</cx:pt>
          <cx:pt idx="6509">-0.18698378199999999</cx:pt>
          <cx:pt idx="6510">-0.188023729</cx:pt>
          <cx:pt idx="6511">-0.18809700500000001</cx:pt>
          <cx:pt idx="6512">-0.18816432999999999</cx:pt>
          <cx:pt idx="6513">-0.1882327</cx:pt>
          <cx:pt idx="6514">-0.18837166599999999</cx:pt>
          <cx:pt idx="6515">-0.18844386199999999</cx:pt>
          <cx:pt idx="6516">-0.188444941</cx:pt>
          <cx:pt idx="6517">-0.188513867</cx:pt>
          <cx:pt idx="6518">-0.18907133100000001</cx:pt>
          <cx:pt idx="6519">-0.19011510500000001</cx:pt>
          <cx:pt idx="6520">-0.19018131799999999</cx:pt>
          <cx:pt idx="6521">-0.19053141100000001</cx:pt>
          <cx:pt idx="6522">-0.190599781</cx:pt>
          <cx:pt idx="6523">-0.19066818499999999</cx:pt>
          <cx:pt idx="6524">-0.19073819</cx:pt>
          <cx:pt idx="6525">-0.19129781100000001</cx:pt>
          <cx:pt idx="6526">-0.192481073</cx:pt>
          <cx:pt idx="6527">-0.192829009</cx:pt>
          <cx:pt idx="6528">-0.19324639399999999</cx:pt>
          <cx:pt idx="6529">-0.193595409</cx:pt>
          <cx:pt idx="6530">-0.19429016800000001</cx:pt>
          <cx:pt idx="6531">-0.19484707600000001</cx:pt>
          <cx:pt idx="6532">-0.19491655799999999</cx:pt>
          <cx:pt idx="6533">-0.19512173699999999</cx:pt>
          <cx:pt idx="6534">-0.195195012</cx:pt>
          <cx:pt idx="6535">-0.19526122400000001</cx:pt>
          <cx:pt idx="6536">-0.195331229</cx:pt>
          <cx:pt idx="6537">-0.19533394300000001</cx:pt>
          <cx:pt idx="6538">-0.19554454900000001</cx:pt>
          <cx:pt idx="6539">-0.19561239599999999</cx:pt>
          <cx:pt idx="6540">-0.195681879</cx:pt>
          <cx:pt idx="6541">-0.19589085000000001</cx:pt>
          <cx:pt idx="6542">-0.19630826900000001</cx:pt>
          <cx:pt idx="6543">-0.19637771700000001</cx:pt>
          <cx:pt idx="6544">-0.19651724000000001</cx:pt>
          <cx:pt idx="6545">-0.19707358999999999</cx:pt>
          <cx:pt idx="6546">-0.197139803</cx:pt>
          <cx:pt idx="6547">-0.19721307799999999</cx:pt>
          <cx:pt idx="6548">-0.197282561</cx:pt>
          <cx:pt idx="6549">-0.197352044</cx:pt>
          <cx:pt idx="6550">-0.19742097</cx:pt>
          <cx:pt idx="6551">-0.197487739</cx:pt>
          <cx:pt idx="6552">-0.19763209800000001</cx:pt>
          <cx:pt idx="6553">-0.19804788200000001</cx:pt>
          <cx:pt idx="6554">-0.198116286</cx:pt>
          <cx:pt idx="6555">-0.19818465599999999</cx:pt>
          <cx:pt idx="6556">-0.19825306000000001</cx:pt>
          <cx:pt idx="6557">-0.198325257</cx:pt>
          <cx:pt idx="6558">-0.19832633499999999</cx:pt>
          <cx:pt idx="6559">-0.198464744</cx:pt>
          <cx:pt idx="6560">-0.19860750299999999</cx:pt>
          <cx:pt idx="6561">-0.199022173</cx:pt>
          <cx:pt idx="6562">-0.199230622</cx:pt>
          <cx:pt idx="6563">-0.19930062700000001</cx:pt>
          <cx:pt idx="6564">-0.20013216</cx:pt>
          <cx:pt idx="6565">-0.20054957900000001</cx:pt>
          <cx:pt idx="6566">-0.20082803299999999</cx:pt>
          <cx:pt idx="6567">-0.20090075199999999</cx:pt>
          <cx:pt idx="6568">-0.201179205</cx:pt>
          <cx:pt idx="6569">-0.20152714199999999</cx:pt>
          <cx:pt idx="6570">-0.201438269</cx:pt>
          <cx:pt idx="6571">-0.20180719599999999</cx:pt>
          <cx:pt idx="6572">-0.20187232899999999</cx:pt>
          <cx:pt idx="6573">-0.20194452600000001</cx:pt>
          <cx:pt idx="6574">-0.20201456600000001</cx:pt>
          <cx:pt idx="6575">-0.20382581799999999</cx:pt>
          <cx:pt idx="6576">-0.20389474499999999</cx:pt>
          <cx:pt idx="6577">-0.20395987800000001</cx:pt>
          <cx:pt idx="6578">-0.20403207500000001</cx:pt>
          <cx:pt idx="6579">-0.204178626</cx:pt>
          <cx:pt idx="6580">-0.204311085</cx:pt>
          <cx:pt idx="6581">-0.204380012</cx:pt>
          <cx:pt idx="6582">-0.20486743600000001</cx:pt>
          <cx:pt idx="6583">-0.20500636699999999</cx:pt>
          <cx:pt idx="6584">-0.20507585</cx:pt>
          <cx:pt idx="6585">-0.205215337</cx:pt>
          <cx:pt idx="6586">-0.20577224399999999</cx:pt>
          <cx:pt idx="6587">-0.20584064899999999</cx:pt>
          <cx:pt idx="6588">-0.205841727</cx:pt>
          <cx:pt idx="6589">-0.20591336700000001</cx:pt>
          <cx:pt idx="6590">-0.205913924</cx:pt>
          <cx:pt idx="6591">-0.20605014099999999</cx:pt>
          <cx:pt idx="6592">-0.20618962900000001</cx:pt>
          <cx:pt idx="6593">-0.20653756500000001</cx:pt>
          <cx:pt idx="6594">-0.206609762</cx:pt>
          <cx:pt idx="6595">-0.20743858100000001</cx:pt>
          <cx:pt idx="6596">-0.20772194099999999</cx:pt>
          <cx:pt idx="6597">-0.20799764600000001</cx:pt>
          <cx:pt idx="6598">-0.208069843</cx:pt>
          <cx:pt idx="6599">-0.20813768999999999</cx:pt>
          <cx:pt idx="6600">-0.208207173</cx:pt>
          <cx:pt idx="6601">-0.20827609899999999</cx:pt>
          <cx:pt idx="6602">-0.20848562700000001</cx:pt>
          <cx:pt idx="6603">-0.208625114</cx:pt>
          <cx:pt idx="6604">-0.20869459700000001</cx:pt>
          <cx:pt idx="6605">-0.208833563</cx:pt>
          <cx:pt idx="6606">-0.20890356800000001</cx:pt>
          <cx:pt idx="6607">-0.20918094300000001</cx:pt>
          <cx:pt idx="6608">-0.209182543</cx:pt>
          <cx:pt idx="6609">-0.20925039100000001</cx:pt>
          <cx:pt idx="6610">-0.209320952</cx:pt>
          <cx:pt idx="6611">-0.20939043500000001</cx:pt>
          <cx:pt idx="6612">-0.20974108599999999</cx:pt>
          <cx:pt idx="6613">-0.20980948999999999</cx:pt>
          <cx:pt idx="6614">-0.21064318000000001</cx:pt>
          <cx:pt idx="6615">-0.21071266299999999</cx:pt>
          <cx:pt idx="6616">-0.21078485999999999</cx:pt>
          <cx:pt idx="6617">-0.21085326400000001</cx:pt>
          <cx:pt idx="6618">-0.21092111199999999</cx:pt>
          <cx:pt idx="6619">-0.21106059999999999</cx:pt>
          <cx:pt idx="6620">-0.21113116100000001</cx:pt>
          <cx:pt idx="6621">-0.21119629500000001</cx:pt>
          <cx:pt idx="6622">-0.21126956999999999</cx:pt>
          <cx:pt idx="6623">-0.211339053</cx:pt>
          <cx:pt idx="6624">-0.211408501</cx:pt>
          <cx:pt idx="6625">-0.21147474799999999</cx:pt>
          <cx:pt idx="6626">-0.211617472</cx:pt>
          <cx:pt idx="6627">-0.21231334499999999</cx:pt>
          <cx:pt idx="6628">-0.21314814900000001</cx:pt>
          <cx:pt idx="6629">-0.21349497200000001</cx:pt>
          <cx:pt idx="6630">-0.21467607699999999</cx:pt>
          <cx:pt idx="6631">-0.21474879499999999</cx:pt>
          <cx:pt idx="6632">-0.21481720000000001</cx:pt>
          <cx:pt idx="6633">-0.214887204</cx:pt>
          <cx:pt idx="6634">-0.21495668700000001</cx:pt>
          <cx:pt idx="6635">-0.215026727</cx:pt>
          <cx:pt idx="6636">-0.215095653</cx:pt>
          <cx:pt idx="6637">-0.21516621499999999</cx:pt>
          <cx:pt idx="6638">-0.21593153600000001</cx:pt>
          <cx:pt idx="6639">-0.21607158000000001</cx:pt>
          <cx:pt idx="6640">-0.21635111200000001</cx:pt>
          <cx:pt idx="6641">-0.216351669</cx:pt>
          <cx:pt idx="6642">-0.21642003800000001</cx:pt>
          <cx:pt idx="6643">-0.216488443</cx:pt>
          <cx:pt idx="6644">-0.21655792600000001</cx:pt>
          <cx:pt idx="6645">-0.21662737400000001</cx:pt>
          <cx:pt idx="6646">-0.216700649</cx:pt>
          <cx:pt idx="6647">-0.216766339</cx:pt>
          <cx:pt idx="6648">-0.21683634399999999</cx:pt>
          <cx:pt idx="6649">-0.217114798</cx:pt>
          <cx:pt idx="6650">-0.21760170000000001</cx:pt>
          <cx:pt idx="6651">-0.21788011900000001</cx:pt>
          <cx:pt idx="6652">-0.217950158</cx:pt>
          <cx:pt idx="6653">-0.218158572</cx:pt>
          <cx:pt idx="6654">-0.218228055</cx:pt>
          <cx:pt idx="6655">-0.21843866100000001</cx:pt>
          <cx:pt idx="6656">-0.218857159</cx:pt>
          <cx:pt idx="6657">-0.21899337599999999</cx:pt>
          <cx:pt idx="6658">-0.219062859</cx:pt>
          <cx:pt idx="6659">-0.219480278</cx:pt>
          <cx:pt idx="6660">-0.220146116</cx:pt>
          <cx:pt idx="6661">-0.22038508700000001</cx:pt>
          <cx:pt idx="6662">-0.220454013</cx:pt>
          <cx:pt idx="6663">-0.22045456999999999</cx:pt>
          <cx:pt idx="6664">-0.22052676700000001</cx:pt>
          <cx:pt idx="6665">-0.220595136</cx:pt>
          <cx:pt idx="6666">-0.22066353999999999</cx:pt>
          <cx:pt idx="6667">-0.220733023</cx:pt>
          <cx:pt idx="6668">-0.22087901800000001</cx:pt>
          <cx:pt idx="6669">-0.22122312699999999</cx:pt>
          <cx:pt idx="6670">-0.22149834400000001</cx:pt>
          <cx:pt idx="6671">-0.22157054100000001</cx:pt>
          <cx:pt idx="6672">-0.22163891099999999</cx:pt>
          <cx:pt idx="6673">-0.22184735899999999</cx:pt>
          <cx:pt idx="6674">-0.22212470000000001</cx:pt>
          <cx:pt idx="6675">-0.22226637899999999</cx:pt>
          <cx:pt idx="6676">-0.22233530500000001</cx:pt>
          <cx:pt idx="6677">-0.22296329600000001</cx:pt>
          <cx:pt idx="6678">-0.22303225700000001</cx:pt>
          <cx:pt idx="6679">-0.223098991</cx:pt>
          <cx:pt idx="6680">-0.22316955299999999</cx:pt>
          <cx:pt idx="6681">-0.22323795699999999</cx:pt>
          <cx:pt idx="6682">-0.223307962</cx:pt>
          <cx:pt idx="6683">-0.22337744500000001</cx:pt>
          <cx:pt idx="6684">-0.22344692699999999</cx:pt>
          <cx:pt idx="6685">-0.22358589300000001</cx:pt>
          <cx:pt idx="6686">-0.224629668</cx:pt>
          <cx:pt idx="6687">-0.225054115</cx:pt>
          <cx:pt idx="6688">-0.22525710199999999</cx:pt>
          <cx:pt idx="6689">-0.225397703</cx:pt>
          <cx:pt idx="6690">-0.22560395899999999</cx:pt>
          <cx:pt idx="6691">-0.22567288599999999</cx:pt>
          <cx:pt idx="6692">-0.22574560399999999</cx:pt>
          <cx:pt idx="6693">-0.226021901</cx:pt>
          <cx:pt idx="6694">-0.22609030499999999</cx:pt>
          <cx:pt idx="6695">-0.22636872399999999</cx:pt>
          <cx:pt idx="6696">-0.226438207</cx:pt>
          <cx:pt idx="6697">-0.22664825599999999</cx:pt>
          <cx:pt idx="6698">-0.22671665999999999</cx:pt>
          <cx:pt idx="6699">-0.22692347299999999</cx:pt>
          <cx:pt idx="6700">-0.22706567499999999</cx:pt>
          <cx:pt idx="6701">-0.22706623200000001</cx:pt>
          <cx:pt idx="6702">-0.22713407899999999</cx:pt>
          <cx:pt idx="6703">-0.22727301</cx:pt>
          <cx:pt idx="6704">-0.22727408900000001</cx:pt>
          <cx:pt idx="6705">-0.227552542</cx:pt>
          <cx:pt idx="6706">-0.22831786300000001</cx:pt>
          <cx:pt idx="6707">-0.22838842500000001</cx:pt>
          <cx:pt idx="6708">-0.22873528300000001</cx:pt>
          <cx:pt idx="6709">-0.228805288</cx:pt>
          <cx:pt idx="6710">-0.22887369199999999</cx:pt>
          <cx:pt idx="6711">-0.22887477000000001</cx:pt>
          <cx:pt idx="6712">-0.229013736</cx:pt>
          <cx:pt idx="6713">-0.22908429799999999</cx:pt>
          <cx:pt idx="6714">-0.22915322399999999</cx:pt>
          <cx:pt idx="6715">-0.229432199</cx:pt>
          <cx:pt idx="6716">-0.23012695899999999</cx:pt>
          <cx:pt idx="6717">-0.23082283200000001</cx:pt>
          <cx:pt idx="6718">-0.23089283699999999</cx:pt>
          <cx:pt idx="6719">-0.23096124100000001</cx:pt>
          <cx:pt idx="6720">-0.23103343800000001</cx:pt>
          <cx:pt idx="6721">-0.23110128499999999</cx:pt>
          <cx:pt idx="6722">-0.23117073299999999</cx:pt>
          <cx:pt idx="6723">-0.23124077300000001</cx:pt>
          <cx:pt idx="6724">-0.23131025599999999</cx:pt>
          <cx:pt idx="6725">-0.23193661099999999</cx:pt>
          <cx:pt idx="6726">-0.232006094</cx:pt>
          <cx:pt idx="6727">-0.23207557700000001</cx:pt>
          <cx:pt idx="6728">-0.23242079900000001</cx:pt>
          <cx:pt idx="6729">-0.232632484</cx:pt>
          <cx:pt idx="6730">-0.23270085300000001</cx:pt>
          <cx:pt idx="6731">-0.233467288</cx:pt>
          <cx:pt idx="6732">-0.233745706</cx:pt>
          <cx:pt idx="6733">-0.233954155</cx:pt>
          <cx:pt idx="6734">-0.23430205700000001</cx:pt>
          <cx:pt idx="6735">-0.234372096</cx:pt>
          <cx:pt idx="6736">-0.23499900800000001</cx:pt>
          <cx:pt idx="6737">-0.23534583100000001</cx:pt>
          <cx:pt idx="6738">-0.23625175300000001</cx:pt>
          <cx:pt idx="6739">-0.23715440500000001</cx:pt>
          <cx:pt idx="6740">-0.23722712300000001</cx:pt>
          <cx:pt idx="6741">-0.23729608399999999</cx:pt>
          <cx:pt idx="6742">-0.23736121800000001</cx:pt>
          <cx:pt idx="6743">-0.23743338</cx:pt>
          <cx:pt idx="6744">-0.23750234100000001</cx:pt>
          <cx:pt idx="6745">-0.23764506499999999</cx:pt>
          <cx:pt idx="6746">-0.23771131200000001</cx:pt>
          <cx:pt idx="6747">-0.23799136600000001</cx:pt>
          <cx:pt idx="6748">-0.23805977</cx:pt>
          <cx:pt idx="6749">-0.23840878500000001</cx:pt>
          <cx:pt idx="6750">-0.238546116</cx:pt>
          <cx:pt idx="6751">-0.23861396300000001</cx:pt>
          <cx:pt idx="6752">-0.238687239</cx:pt>
          <cx:pt idx="6753">-0.238825648</cx:pt>
          <cx:pt idx="6754">-0.23889401699999999</cx:pt>
          <cx:pt idx="6755">-0.239034618</cx:pt>
          <cx:pt idx="6756">-0.23917354900000001</cx:pt>
          <cx:pt idx="6757">-0.23959096899999999</cx:pt>
          <cx:pt idx="6758">-0.239799383</cx:pt>
          <cx:pt idx="6759">-0.239869422</cx:pt>
          <cx:pt idx="6760">-0.23993890500000001</cx:pt>
          <cx:pt idx="6761">-0.24001054499999999</cx:pt>
          <cx:pt idx="6762">-0.24007947099999999</cx:pt>
          <cx:pt idx="6763">-0.240147319</cx:pt>
          <cx:pt idx="6764">-0.24021732400000001</cx:pt>
          <cx:pt idx="6765">-0.240285728</cx:pt>
          <cx:pt idx="6766">-0.24042740800000001</cx:pt>
          <cx:pt idx="6767">-0.24049577699999999</cx:pt>
          <cx:pt idx="6768">-0.24056526</cx:pt>
          <cx:pt idx="6769">-0.24071236800000001</cx:pt>
          <cx:pt idx="6770">-0.24077367399999999</cx:pt>
          <cx:pt idx="6771">-0.240982645</cx:pt>
          <cx:pt idx="6772">-0.24119165000000001</cx:pt>
          <cx:pt idx="6773">-0.24153955199999999</cx:pt>
          <cx:pt idx="6774">-0.241609035</cx:pt>
          <cx:pt idx="6775">-0.24167851800000001</cx:pt>
          <cx:pt idx="6776">-0.24175502900000001</cx:pt>
          <cx:pt idx="6777">-0.24195697099999999</cx:pt>
          <cx:pt idx="6778">-0.24216702000000001</cx:pt>
          <cx:pt idx="6779">-0.242373277</cx:pt>
          <cx:pt idx="6780">-0.24237435600000001</cx:pt>
          <cx:pt idx="6781">-0.242514957</cx:pt>
          <cx:pt idx="6782">-0.24258332599999999</cx:pt>
          <cx:pt idx="6783">-0.24293126300000001</cx:pt>
          <cx:pt idx="6784">-0.243210238</cx:pt>
          <cx:pt idx="6785">-0.244043963</cx:pt>
          <cx:pt idx="6786">-0.24411396799999999</cx:pt>
          <cx:pt idx="6787">-0.24418564300000001</cx:pt>
          <cx:pt idx="6788">-0.244254569</cx:pt>
          <cx:pt idx="6789">-0.244602506</cx:pt>
          <cx:pt idx="6790">-0.24488311600000001</cx:pt>
          <cx:pt idx="6791">-0.24495204300000001</cx:pt>
          <cx:pt idx="6792">-0.24529726499999999</cx:pt>
          <cx:pt idx="6793">-0.24536619100000001</cx:pt>
          <cx:pt idx="6794">-0.24550460099999999</cx:pt>
          <cx:pt idx="6795">-0.24571193599999999</cx:pt>
          <cx:pt idx="6796">-0.24578413299999999</cx:pt>
          <cx:pt idx="6797">-0.245853616</cx:pt>
          <cx:pt idx="6798">-0.24606150800000001</cx:pt>
          <cx:pt idx="6799">-0.24613206900000001</cx:pt>
          <cx:pt idx="6800">-0.24620151700000001</cx:pt>
          <cx:pt idx="6801">-0.24655053199999999</cx:pt>
          <cx:pt idx="6802">-0.247246405</cx:pt>
          <cx:pt idx="6803">-0.24794116499999999</cx:pt>
          <cx:pt idx="6804">-0.248080096</cx:pt>
          <cx:pt idx="6805">-0.248150657</cx:pt>
          <cx:pt idx="6806">-0.248219618</cx:pt>
          <cx:pt idx="6807">-0.24870704199999999</cx:pt>
          <cx:pt idx="6808">-0.24898493899999999</cx:pt>
          <cx:pt idx="6809">-0.24912442700000001</cx:pt>
          <cx:pt idx="6810">-0.25002871300000001</cx:pt>
          <cx:pt idx="6811">-0.25058558600000003</cx:pt>
          <cx:pt idx="6812">-0.25065235499999999</cx:pt>
          <cx:pt idx="6813">-0.25072510799999997</cx:pt>
          <cx:pt idx="6814">-0.25079347800000001</cx:pt>
          <cx:pt idx="6815">-0.25086403899999998</cx:pt>
          <cx:pt idx="6816">-0.25093352200000002</cx:pt>
          <cx:pt idx="6817">-0.25100408400000002</cx:pt>
          <cx:pt idx="6818">-0.251211976</cx:pt>
          <cx:pt idx="6819">-0.25218953799999999</cx:pt>
          <cx:pt idx="6820">-0.25225846400000002</cx:pt>
          <cx:pt idx="6821">-0.25253636099999999</cx:pt>
          <cx:pt idx="6822">-0.25267313499999999</cx:pt>
          <cx:pt idx="6823">-0.25336900699999998</cx:pt>
          <cx:pt idx="6824">-0.25350741700000001</cx:pt>
          <cx:pt idx="6825">-0.25364853999999998</cx:pt>
          <cx:pt idx="6826">-0.25378639200000003</cx:pt>
          <cx:pt idx="6827">-0.25385587500000001</cx:pt>
          <cx:pt idx="6828">-0.254062132</cx:pt>
          <cx:pt idx="6829">-0.25427110200000003</cx:pt>
          <cx:pt idx="6830">-0.25434114200000002</cx:pt>
          <cx:pt idx="6831">-0.25441006799999999</cx:pt>
          <cx:pt idx="6832">-0.254412782</cx:pt>
          <cx:pt idx="6833">-0.25455119100000001</cx:pt>
          <cx:pt idx="6834">-0.25462391000000001</cx:pt>
          <cx:pt idx="6835">-0.25469231399999998</cx:pt>
          <cx:pt idx="6836">-0.25475797</cx:pt>
          <cx:pt idx="6837">-0.25489909300000002</cx:pt>
          <cx:pt idx="6838">-0.25489964900000001</cx:pt>
          <cx:pt idx="6839">-0.254971846</cx:pt>
          <cx:pt idx="6840">-0.25504077200000003</cx:pt>
          <cx:pt idx="6841">-0.25510862000000001</cx:pt>
          <cx:pt idx="6842">-0.25517810299999999</cx:pt>
          <cx:pt idx="6843">-0.25532521000000002</cx:pt>
          <cx:pt idx="6844">-0.25538978699999998</cx:pt>
          <cx:pt idx="6845">-0.255456556</cx:pt>
          <cx:pt idx="6846">-0.25559548700000001</cx:pt>
          <cx:pt idx="6847">-0.25594398099999999</cx:pt>
          <cx:pt idx="6848">-0.256367872</cx:pt>
          <cx:pt idx="6849">-0.25650033100000003</cx:pt>
          <cx:pt idx="6850">-0.256780385</cx:pt>
          <cx:pt idx="6851">-0.25684934599999998</cx:pt>
          <cx:pt idx="6852">-0.25705939500000002</cx:pt>
          <cx:pt idx="6853">-0.25768251399999997</cx:pt>
          <cx:pt idx="6854">-0.25775199700000001</cx:pt>
          <cx:pt idx="6855">-0.25782255900000001</cx:pt>
          <cx:pt idx="6856">-0.25789200699999998</cx:pt>
          <cx:pt idx="6857">-0.25879956399999998</cx:pt>
          <cx:pt idx="6858">-0.25928427500000001</cx:pt>
          <cx:pt idx="6859">-0.25928479700000001</cx:pt>
          <cx:pt idx="6860">-0.25935264400000002</cx:pt>
          <cx:pt idx="6861">-0.25942320600000002</cx:pt>
          <cx:pt idx="6862">-0.25949160999999998</cx:pt>
          <cx:pt idx="6863">-0.25970113700000003</cx:pt>
          <cx:pt idx="6864">-0.25991118600000002</cx:pt>
          <cx:pt idx="6865">-0.259979556</cx:pt>
          <cx:pt idx="6866">-0.26005011700000003</cx:pt>
          <cx:pt idx="6867">-0.260119078</cx:pt>
          <cx:pt idx="6868">-0.26019123999999999</cx:pt>
          <cx:pt idx="6869">-0.26025964499999998</cx:pt>
          <cx:pt idx="6870">-0.26032857100000001</cx:pt>
          <cx:pt idx="6871">-0.26039697499999997</cx:pt>
          <cx:pt idx="6872">-0.260536463</cx:pt>
          <cx:pt idx="6873">-0.26060594599999998</cx:pt>
          <cx:pt idx="6874">-0.26067542900000001</cx:pt>
          <cx:pt idx="6875">-0.26074598999999998</cx:pt>
          <cx:pt idx="6876">-0.26081547300000002</cx:pt>
          <cx:pt idx="6877">-0.26095548299999999</cx:pt>
          <cx:pt idx="6878">-0.26102444400000002</cx:pt>
          <cx:pt idx="6879">-0.26109281299999998</cx:pt>
          <cx:pt idx="6880">-0.26137234500000001</cx:pt>
          <cx:pt idx="6881">-0.26144075</cx:pt>
          <cx:pt idx="6882">-0.26157752400000001</cx:pt>
          <cx:pt idx="6883">-0.26185869099999998</cx:pt>
          <cx:pt idx="6884">-0.26269457299999999</cx:pt>
          <cx:pt idx="6885">-0.262833539</cx:pt>
          <cx:pt idx="6886">-0.263040318</cx:pt>
          <cx:pt idx="6887">-0.26310872200000002</cx:pt>
          <cx:pt idx="6888">-0.26311087900000002</cx:pt>
          <cx:pt idx="6889">-0.26318091900000001</cx:pt>
          <cx:pt idx="6890">-0.26318144100000002</cx:pt>
          <cx:pt idx="6891">-0.26325040199999999</cx:pt>
          <cx:pt idx="6892">-0.263389333</cx:pt>
          <cx:pt idx="6893">-0.26457207300000002</cx:pt>
          <cx:pt idx="6894">-0.264712118</cx:pt>
          <cx:pt idx="6895">-0.26491945300000003</cx:pt>
          <cx:pt idx="6896">-0.26513058099999998</cx:pt>
          <cx:pt idx="6897">-0.26519954200000001</cx:pt>
          <cx:pt idx="6898">-0.26554744299999999</cx:pt>
          <cx:pt idx="6899">-0.26576239800000001</cx:pt>
          <cx:pt idx="6900">-0.26582481800000002</cx:pt>
          <cx:pt idx="6901">-0.26652229199999999</cx:pt>
          <cx:pt idx="6902">-0.26672962700000002</cx:pt>
          <cx:pt idx="6903">-0.26693915400000001</cx:pt>
          <cx:pt idx="6904">-0.26707756300000002</cx:pt>
          <cx:pt idx="6905">-0.26721652899999998</cx:pt>
          <cx:pt idx="6906">-0.26728437700000002</cx:pt>
          <cx:pt idx="6907">-0.26728597700000001</cx:pt>
          <cx:pt idx="6908">-0.26749494800000001</cx:pt>
          <cx:pt idx="6909">-0.26763447000000001</cx:pt>
          <cx:pt idx="6910">-0.267913446</cx:pt>
          <cx:pt idx="6911">-0.26839759899999999</cx:pt>
          <cx:pt idx="6912">-0.268399791</cx:pt>
          <cx:pt idx="6913">-0.26847035299999999</cx:pt>
          <cx:pt idx="6914">-0.26867553100000002</cx:pt>
          <cx:pt idx="6915">-0.26874769300000001</cx:pt>
          <cx:pt idx="6916">-0.26895395</cx:pt>
          <cx:pt idx="6917">-0.26895614200000001</cx:pt>
          <cx:pt idx="6918">-0.26902614600000002</cx:pt>
          <cx:pt idx="6919">-0.26902670299999998</cx:pt>
          <cx:pt idx="6920">-0.26909455100000002</cx:pt>
          <cx:pt idx="6921">-0.269095629</cx:pt>
          <cx:pt idx="6922">-0.26972146299999999</cx:pt>
          <cx:pt idx="6923">-0.26979146700000001</cx:pt>
          <cx:pt idx="6924">-0.27083579899999999</cx:pt>
          <cx:pt idx="6925">-0.27118317800000002</cx:pt>
          <cx:pt idx="6926">-0.27173952899999998</cx:pt>
          <cx:pt idx="6927">-0.27201498200000002</cx:pt>
          <cx:pt idx="6928">-0.27215747000000001</cx:pt>
          <cx:pt idx="6929">-0.27222695299999999</cx:pt>
          <cx:pt idx="6930">-0.27229643599999998</cx:pt>
          <cx:pt idx="6931">-0.27250540600000001</cx:pt>
          <cx:pt idx="6932">-0.27271382</cx:pt>
        </cx:lvl>
      </cx:numDim>
    </cx:data>
    <cx:data id="3">
      <cx:numDim type="val">
        <cx:f>'Desalination_Unit_Data (3)'!$D$3:$D$7000</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2.4360849999999998</cx:pt>
          <cx:pt idx="414">-2.4359830659999999</cx:pt>
          <cx:pt idx="415">-2.4358230170000001</cx:pt>
          <cx:pt idx="416">-2.4357496940000001</cx:pt>
          <cx:pt idx="417">-2.4357357309999998</cx:pt>
          <cx:pt idx="418">-2.4352991679999998</cx:pt>
          <cx:pt idx="419">-2.4349787279999999</cx:pt>
          <cx:pt idx="420">-2.4348721370000002</cx:pt>
          <cx:pt idx="421">-2.434629793</cx:pt>
          <cx:pt idx="422">-2.43461492</cx:pt>
          <cx:pt idx="423">-2.434556921</cx:pt>
          <cx:pt idx="424">-2.4344841580000001</cx:pt>
          <cx:pt idx="425">-2.4343095780000001</cx:pt>
          <cx:pt idx="426">-2.4342805240000001</cx:pt>
          <cx:pt idx="427">-2.4340912970000002</cx:pt>
          <cx:pt idx="428">-2.433945553</cx:pt>
          <cx:pt idx="429">-2.4338292049999999</cx:pt>
          <cx:pt idx="430">-2.4338002599999999</cx:pt>
          <cx:pt idx="431">-2.433290934</cx:pt>
          <cx:pt idx="432">-2.4331599389999998</cx:pt>
          <cx:pt idx="433">-2.4331017070000001</cx:pt>
          <cx:pt idx="434">-2.4330144210000002</cx:pt>
          <cx:pt idx="435">-2.4329851339999999</cx:pt>
          <cx:pt idx="436">-2.4329126040000002</cx:pt>
          <cx:pt idx="437">-2.4327523210000002</cx:pt>
          <cx:pt idx="438">-2.4326796750000002</cx:pt>
          <cx:pt idx="439">-2.4325050949999998</cx:pt>
          <cx:pt idx="440">-2.4324178089999999</cx:pt>
          <cx:pt idx="441">-2.4323738819999998</cx:pt>
          <cx:pt idx="442">-2.432272057</cx:pt>
          <cx:pt idx="443">-2.4322576429999998</cx:pt>
          <cx:pt idx="444">-2.432228356</cx:pt>
          <cx:pt idx="445">-2.4318210800000002</cx:pt>
          <cx:pt idx="446">-2.4317920260000001</cx:pt>
          <cx:pt idx="447">-2.4317629639999998</cx:pt>
          <cx:pt idx="448">-2.431690202</cx:pt>
          <cx:pt idx="449">-2.4316319690000001</cx:pt>
          <cx:pt idx="450">-2.4316174460000002</cx:pt>
          <cx:pt idx="451">-2.4316027990000002</cx:pt>
          <cx:pt idx="452">-2.43144275</cx:pt>
          <cx:pt idx="453">-2.4313991650000002</cx:pt>
          <cx:pt idx="454">-2.4311371820000001</cx:pt>
          <cx:pt idx="455">-2.4310644190000001</cx:pt>
          <cx:pt idx="456">-2.4309043699999999</cx:pt>
          <cx:pt idx="457">-2.4308898390000002</cx:pt>
          <cx:pt idx="458">-2.43029311</cx:pt>
          <cx:pt idx="459">-2.43027858</cx:pt>
          <cx:pt idx="460">-2.430264056</cx:pt>
          <cx:pt idx="461">-2.4301473659999999</cx:pt>
          <cx:pt idx="462">-2.4301185300000001</cx:pt>
          <cx:pt idx="463">-2.429972786</cx:pt>
          <cx:pt idx="464">-2.4299584809999999</cx:pt>
          <cx:pt idx="465">-2.4298710780000001</cx:pt>
          <cx:pt idx="466">-2.4297692610000001</cx:pt>
          <cx:pt idx="467">-2.4296819680000001</cx:pt>
          <cx:pt idx="468">-2.4296237359999999</cx:pt>
          <cx:pt idx="469">-2.4295946810000002</cx:pt>
          <cx:pt idx="470">-2.4295652780000001</cx:pt>
          <cx:pt idx="471">-2.4292454050000001</cx:pt>
          <cx:pt idx="472">-2.4292307649999998</cx:pt>
          <cx:pt idx="473">-2.4290416540000002</cx:pt>
          <cx:pt idx="474">-2.4289979530000001</cx:pt>
          <cx:pt idx="475">-2.428342883</cx:pt>
          <cx:pt idx="476">-2.4282848769999998</cx:pt>
          <cx:pt idx="477">-2.4282267609999999</cx:pt>
          <cx:pt idx="478">-2.4282117790000002</cx:pt>
          <cx:pt idx="479">-2.427775558</cx:pt>
          <cx:pt idx="480">-2.4276446800000002</cx:pt>
          <cx:pt idx="481">-2.42739722</cx:pt>
          <cx:pt idx="482">-2.4272368360000001</cx:pt>
          <cx:pt idx="483">-2.427207884</cx:pt>
          <cx:pt idx="484">-2.4271641829999999</cx:pt>
          <cx:pt idx="485">-2.4270910849999998</cx:pt>
          <cx:pt idx="486">-2.4270186640000002</cx:pt>
          <cx:pt idx="487">-2.426960657</cx:pt>
          <cx:pt idx="488">-2.4269455660000001</cx:pt>
          <cx:pt idx="489">-2.4269167299999999</cx:pt>
          <cx:pt idx="490">-2.426902433</cx:pt>
          <cx:pt idx="491">-2.4266839180000002</cx:pt>
          <cx:pt idx="492">-2.4266255769999998</cx:pt>
          <cx:pt idx="493">-2.4265530470000001</cx:pt>
          <cx:pt idx="494">-2.4254322369999999</cx:pt>
          <cx:pt idx="495">-2.424893966</cx:pt>
          <cx:pt idx="496">-2.4248651369999998</cx:pt>
          <cx:pt idx="497">-2.4248501550000001</cx:pt>
          <cx:pt idx="498">-2.42483585</cx:pt>
          <cx:pt idx="499">-2.424661161</cx:pt>
          <cx:pt idx="500">-2.4246323250000001</cx:pt>
          <cx:pt idx="501">-2.4245595689999999</cx:pt>
          <cx:pt idx="502">-2.4242970189999999</cx:pt>
          <cx:pt idx="503">-2.424195653</cx:pt>
          <cx:pt idx="504">-2.4240645490000001</cx:pt>
          <cx:pt idx="505">-2.4238753220000002</cx:pt>
          <cx:pt idx="506">-2.4237882609999999</cx:pt>
          <cx:pt idx="507">-2.4237732790000002</cx:pt>
          <cx:pt idx="508">-2.423715273</cx:pt>
          <cx:pt idx="509">-2.4236715709999999</cx:pt>
          <cx:pt idx="510">-2.4234389850000002</cx:pt>
          <cx:pt idx="511">-2.4233954</cx:pt>
          <cx:pt idx="512">-2.4232931240000002</cx:pt>
          <cx:pt idx="513">-2.4232207030000001</cx:pt>
          <cx:pt idx="514">-2.4228859649999999</cx:pt>
          <cx:pt idx="515">-2.4220565409999999</cx:pt>
          <cx:pt idx="516">-2.4220272540000001</cx:pt>
          <cx:pt idx="517">-2.4220128390000002</cx:pt>
          <cx:pt idx="518">-2.421939509</cx:pt>
          <cx:pt idx="519">-2.4218815020000002</cx:pt>
          <cx:pt idx="520">-2.421837692</cx:pt>
          <cx:pt idx="521">-2.421546647</cx:pt>
          <cx:pt idx="522">-2.4214884149999998</cx:pt>
          <cx:pt idx="523">-2.4214447140000002</cx:pt>
          <cx:pt idx="524">-2.4213867150000001</cx:pt>
          <cx:pt idx="525">-2.4213579950000002</cx:pt>
          <cx:pt idx="526">-2.4213427799999998</cx:pt>
          <cx:pt idx="527">-2.421226774</cx:pt>
          <cx:pt idx="528">-2.421197378</cx:pt>
          <cx:pt idx="529">-2.420979097</cx:pt>
          <cx:pt idx="530">-2.4209062179999998</cx:pt>
          <cx:pt idx="531">-2.4206736379999998</cx:pt>
          <cx:pt idx="532">-2.4205280029999998</cx:pt>
          <cx:pt idx="533">-2.4199022129999999</cx:pt>
          <cx:pt idx="534">-2.4198005130000002</cx:pt>
          <cx:pt idx="535">-2.419102418</cx:pt>
          <cx:pt idx="536">-2.4190004850000002</cx:pt>
          <cx:pt idx="537">-2.4189569</cx:pt>
          <cx:pt idx="538">-2.4188113740000001</cx:pt>
          <cx:pt idx="539">-2.4187238619999998</cx:pt>
          <cx:pt idx="540">-2.418709448</cx:pt>
          <cx:pt idx="541">-2.4178945469999999</cx:pt>
          <cx:pt idx="542">-2.4171812450000001</cx:pt>
          <cx:pt idx="543">-2.4170796540000001</cx:pt>
          <cx:pt idx="544">-2.416934135</cx:pt>
          <cx:pt idx="545">-2.4166721519999999</cx:pt>
          <cx:pt idx="546">-2.4165988220000001</cx:pt>
          <cx:pt idx="547">-2.4165846329999998</cx:pt>
          <cx:pt idx="548">-2.4165703349999998</cx:pt>
          <cx:pt idx="549">-2.4165552369999999</cx:pt>
          <cx:pt idx="550">-2.4164971209999999</cx:pt>
          <cx:pt idx="551">-2.4163811079999999</cx:pt>
          <cx:pt idx="552">-2.4161767900000002</cx:pt>
          <cx:pt idx="553">-2.4161626009999999</cx:pt>
          <cx:pt idx="554">-2.4160607839999999</cx:pt>
          <cx:pt idx="555">-2.4158714479999999</cx:pt>
          <cx:pt idx="556">-2.415857033</cx:pt>
          <cx:pt idx="557">-2.4158277460000002</cx:pt>
          <cx:pt idx="558">-2.4156680389999998</cx:pt>
          <cx:pt idx="559">-2.4156384100000001</cx:pt>
          <cx:pt idx="560">-2.4156096900000001</cx:pt>
          <cx:pt idx="561">-2.415551684</cx:pt>
          <cx:pt idx="562">-2.4154491899999999</cx:pt>
          <cx:pt idx="563">-2.415420245</cx:pt>
          <cx:pt idx="564">-2.4152454319999999</cx:pt>
          <cx:pt idx="565">-2.415230792</cx:pt>
          <cx:pt idx="566">-2.4149689259999998</cx:pt>
          <cx:pt idx="567">-2.414910919</cx:pt>
          <cx:pt idx="568">-2.4148966139999999</cx:pt>
          <cx:pt idx="569">-2.413746749</cx:pt>
          <cx:pt idx="570">-2.4136010049999999</cx:pt>
          <cx:pt idx="571">-2.4135867000000002</cx:pt>
          <cx:pt idx="572">-2.4133251690000002</cx:pt>
          <cx:pt idx="573">-2.4133099609999999</cx:pt>
          <cx:pt idx="574">-2.4132519549999998</cx:pt>
          <cx:pt idx="575">-2.4131357229999999</cx:pt>
          <cx:pt idx="576">-2.4131064360000001</cx:pt>
          <cx:pt idx="577">-2.4130047280000002</cx:pt>
          <cx:pt idx="578">-2.4125536420000002</cx:pt>
          <cx:pt idx="579">-2.4123931340000002</cx:pt>
          <cx:pt idx="580">-2.4123786030000001</cx:pt>
          <cx:pt idx="581">-2.4120445419999998</cx:pt>
          <cx:pt idx="582">-2.411986084</cx:pt>
          <cx:pt idx="583">-2.4119278519999998</cx:pt>
          <cx:pt idx="584">-2.4119128700000001</cx:pt>
          <cx:pt idx="585">-2.4117531630000002</cx:pt>
          <cx:pt idx="586">-2.4117382900000002</cx:pt>
          <cx:pt idx="587">-2.41166576</cx:pt>
          <cx:pt idx="588">-2.4116514549999999</cx:pt>
          <cx:pt idx="589">-2.411621942</cx:pt>
          <cx:pt idx="590">-2.411578124</cx:pt>
          <cx:pt idx="591">-2.4115200090000002</cx:pt>
          <cx:pt idx="592">-2.4112439530000001</cx:pt>
          <cx:pt idx="593">-2.4109238479999999</cx:pt>
          <cx:pt idx="594">-2.4108943350000001</cx:pt>
          <cx:pt idx="595">-2.410196022</cx:pt>
          <cx:pt idx="596">-2.4098901050000001</cx:pt>
          <cx:pt idx="597">-2.4098467459999999</cx:pt>
          <cx:pt idx="598">-2.409424714</cx:pt>
          <cx:pt idx="599">-2.4089733949999999</cx:pt>
          <cx:pt idx="600">-2.408944333</cx:pt>
          <cx:pt idx="601">-2.4089157299999999</cx:pt>
          <cx:pt idx="602">-2.4087553389999998</cx:pt>
          <cx:pt idx="603">-2.4087408080000001</cx:pt>
          <cx:pt idx="604">-2.4086822410000002</cx:pt>
          <cx:pt idx="605">-2.4085371740000001</cx:pt>
          <cx:pt idx="606">-2.408522869</cx:pt>
          <cx:pt idx="607">-2.408260319</cx:pt>
          <cx:pt idx="608">-2.4081732580000001</cx:pt>
          <cx:pt idx="609">-2.408158501</cx:pt>
          <cx:pt idx="610">-2.4079110419999998</cx:pt>
          <cx:pt idx="611">-2.4064123589999999</cx:pt>
          <cx:pt idx="612">-2.4059616080000001</cx:pt>
          <cx:pt idx="613">-2.4059465169999998</cx:pt>
          <cx:pt idx="614">-2.4051319580000001</cx:pt>
          <cx:pt idx="615">-2.405117202</cx:pt>
          <cx:pt idx="616">-2.4046368290000002</cx:pt>
          <cx:pt idx="617">-2.404592327</cx:pt>
          <cx:pt idx="618">-2.4045785959999999</cx:pt>
          <cx:pt idx="619">-2.404549877</cx:pt>
          <cx:pt idx="620">-2.4045061749999999</cx:pt>
          <cx:pt idx="621">-2.4044474920000001</cx:pt>
          <cx:pt idx="622">-2.4036617690000002</cx:pt>
          <cx:pt idx="623">-2.4036330499999998</cx:pt>
          <cx:pt idx="624">-2.4036180680000001</cx:pt>
          <cx:pt idx="625">-2.4035164760000001</cx:pt>
          <cx:pt idx="626">-2.4033709509999999</cx:pt>
          <cx:pt idx="627">-2.4033564200000002</cx:pt>
          <cx:pt idx="628">-2.4033270240000002</cx:pt>
          <cx:pt idx="629">-2.4032980789999998</cx:pt>
          <cx:pt idx="630">-2.4032837730000001</cx:pt>
          <cx:pt idx="631">-2.4032543770000001</cx:pt>
          <cx:pt idx="632">-2.4032252070000002</cx:pt>
          <cx:pt idx="633">-2.4029778639999999</cx:pt>
          <cx:pt idx="634">-2.4029479</cx:pt>
          <cx:pt idx="635">-2.4028904610000001</cx:pt>
          <cx:pt idx="636">-2.4028178140000001</cx:pt>
          <cx:pt idx="637">-2.4027886440000001</cx:pt>
          <cx:pt idx="638">-2.4027599240000002</cx:pt>
          <cx:pt idx="639">-2.4026568560000001</cx:pt>
          <cx:pt idx="640">-2.4025703620000001</cx:pt>
          <cx:pt idx="641">-2.4024676359999999</cx:pt>
          <cx:pt idx="642">-2.4023670629999998</cx:pt>
          <cx:pt idx="643">-2.4023375499999999</cx:pt>
          <cx:pt idx="644">-2.4023233620000002</cx:pt>
          <cx:pt idx="645">-2.4023082630000001</cx:pt>
          <cx:pt idx="646">-2.401653987</cx:pt>
          <cx:pt idx="647">-2.4014788390000001</cx:pt>
          <cx:pt idx="648">-2.4014496680000001</cx:pt>
          <cx:pt idx="649">-2.4013471669999999</cx:pt>
          <cx:pt idx="650">-2.4012023259999999</cx:pt>
          <cx:pt idx="651">-2.3999076260000001</cx:pt>
          <cx:pt idx="652">-2.399703868</cx:pt>
          <cx:pt idx="653">-2.3996882099999999</cx:pt>
          <cx:pt idx="654">-2.399528954</cx:pt>
          <cx:pt idx="655">-2.3994710640000001</cx:pt>
          <cx:pt idx="656">-2.399441886</cx:pt>
          <cx:pt idx="657">-2.3984228999999999</cx:pt>
          <cx:pt idx="658">-2.3981755640000002</cx:pt>
          <cx:pt idx="659">-2.398015515</cx:pt>
          <cx:pt idx="660">-2.3980013260000002</cx:pt>
          <cx:pt idx="661">-2.3977975680000001</cx:pt>
          <cx:pt idx="662">-2.3977680549999998</cx:pt>
          <cx:pt idx="663">-2.3975344500000002</cx:pt>
          <cx:pt idx="664">-2.3974325169999999</cx:pt>
          <cx:pt idx="665">-2.3973750850000002</cx:pt>
          <cx:pt idx="666">-2.3972444319999999</cx:pt>
          <cx:pt idx="667">-2.3971568040000002</cx:pt>
          <cx:pt idx="668">-2.3970978870000001</cx:pt>
          <cx:pt idx="669">-2.397069852</cx:pt>
          <cx:pt idx="670">-2.3967352229999999</cx:pt>
          <cx:pt idx="671">-2.3966478200000001</cx:pt>
          <cx:pt idx="672">-2.3965885689999999</cx:pt>
          <cx:pt idx="673">-2.3958183960000001</cx:pt>
          <cx:pt idx="674">-2.3958035230000001</cx:pt>
          <cx:pt idx="675">-2.3957889990000001</cx:pt>
          <cx:pt idx="676">-2.3956434739999999</cx:pt>
          <cx:pt idx="677">-2.3956141870000001</cx:pt>
          <cx:pt idx="678">-2.3955698089999999</cx:pt>
          <cx:pt idx="679">-2.3955127119999999</cx:pt>
          <cx:pt idx="680">-2.3952351790000002</cx:pt>
          <cx:pt idx="681">-2.3951485699999999</cx:pt>
          <cx:pt idx="682">-2.395119625</cx:pt>
          <cx:pt idx="683">-2.395089654</cx:pt>
          <cx:pt idx="684">-2.3950613920000001</cx:pt>
          <cx:pt idx="685">-2.394930397</cx:pt>
          <cx:pt idx="686">-2.3947403839999999</cx:pt>
          <cx:pt idx="687">-2.3945668229999999</cx:pt>
          <cx:pt idx="688">-2.394508707</cx:pt>
          <cx:pt idx="689">-2.3944784019999998</cx:pt>
          <cx:pt idx="690">-2.3942601200000002</cx:pt>
          <cx:pt idx="691">-2.3942319680000002</cx:pt>
          <cx:pt idx="692">-2.394173962</cx:pt>
          <cx:pt idx="693">-2.3941583030000002</cx:pt>
          <cx:pt idx="694">-2.3941007480000001</cx:pt>
          <cx:pt idx="695">-2.3940864500000001</cx:pt>
          <cx:pt idx="696">-2.394072145</cx:pt>
          <cx:pt idx="697">-2.3940418389999998</cx:pt>
          <cx:pt idx="698">-2.3939847420000002</cx:pt>
          <cx:pt idx="699">-2.3939545450000002</cx:pt>
          <cx:pt idx="700">-2.3939408150000001</cx:pt>
          <cx:pt idx="701">-2.39392651</cx:pt>
          <cx:pt idx="702">-2.393897113</cx:pt>
          <cx:pt idx="703">-2.3938235570000002</cx:pt>
          <cx:pt idx="704">-2.3937664600000002</cx:pt>
          <cx:pt idx="705">-2.3937082279999999</cx:pt>
          <cx:pt idx="706">-2.3936936969999998</cx:pt>
          <cx:pt idx="707">-2.3936059529999998</cx:pt>
          <cx:pt idx="708">-2.3935615750000001</cx:pt>
          <cx:pt idx="709">-2.3935481790000002</cx:pt>
          <cx:pt idx="710">-2.3933587260000002</cx:pt>
          <cx:pt idx="711">-2.3932426109999998</cx:pt>
          <cx:pt idx="712">-2.3932132080000001</cx:pt>
          <cx:pt idx="713">-2.3931258049999999</cx:pt>
          <cx:pt idx="714">-2.393067689</cx:pt>
          <cx:pt idx="715">-2.3929504320000001</cx:pt>
          <cx:pt idx="716">-2.392587534</cx:pt>
          <cx:pt idx="717">-2.3925001309999998</cx:pt>
          <cx:pt idx="718">-2.3924420159999999</cx:pt>
          <cx:pt idx="719">-2.3919472210000001</cx:pt>
          <cx:pt idx="720">-2.3919329230000002</cx:pt>
          <cx:pt idx="721">-2.3919172569999998</cx:pt>
          <cx:pt idx="722">-2.3917142999999998</cx:pt>
          <cx:pt idx="723">-2.3916999940000001</cx:pt>
          <cx:pt idx="724">-2.3916843280000002</cx:pt>
          <cx:pt idx="725">-2.3915388100000001</cx:pt>
          <cx:pt idx="726">-2.3915107739999999</cx:pt>
          <cx:pt idx="727">-2.391422462</cx:pt>
          <cx:pt idx="728">-2.3910885099999999</cx:pt>
          <cx:pt idx="729">-2.391001223</cx:pt>
          <cx:pt idx="730">-2.3909421979999999</cx:pt>
          <cx:pt idx="731">-2.3908984969999998</cx:pt>
          <cx:pt idx="732">-2.390884759</cx:pt>
          <cx:pt idx="733">-2.3908410579999999</cx:pt>
          <cx:pt idx="734">-2.390782942</cx:pt>
          <cx:pt idx="735">-2.3907538800000001</cx:pt>
          <cx:pt idx="736">-2.3907239169999999</cx:pt>
          <cx:pt idx="737">-2.3906958810000001</cx:pt>
          <cx:pt idx="738">-2.390258292</cx:pt>
          <cx:pt idx="739">-2.3900554509999998</cx:pt>
          <cx:pt idx="740">-2.390041037</cx:pt>
          <cx:pt idx="741">-2.3900253710000001</cx:pt>
          <cx:pt idx="742">-2.389953518</cx:pt>
          <cx:pt idx="743">-2.3898798530000001</cx:pt>
          <cx:pt idx="744">-2.389662473</cx:pt>
          <cx:pt idx="745">-2.389633194</cx:pt>
          <cx:pt idx="746">-2.3895888080000001</cx:pt>
          <cx:pt idx="747">-2.3895452229999998</cx:pt>
          <cx:pt idx="748">-2.3895171799999999</cx:pt>
          <cx:pt idx="749">-2.3894007230000001</cx:pt>
          <cx:pt idx="750">-2.3893859669999999</cx:pt>
          <cx:pt idx="751">-2.3893705270000001</cx:pt>
          <cx:pt idx="752">-2.3888612010000001</cx:pt>
          <cx:pt idx="753">-2.3888037689999999</cx:pt>
          <cx:pt idx="754">-2.3887739149999998</cx:pt>
          <cx:pt idx="755">-2.3886582440000002</cx:pt>
          <cx:pt idx="756">-2.3885846879999999</cx:pt>
          <cx:pt idx="757">-2.3885701639999999</cx:pt>
          <cx:pt idx="758">-2.3885411030000001</cx:pt>
          <cx:pt idx="759">-2.3885128419999999</cx:pt>
          <cx:pt idx="760">-2.3884828709999999</cx:pt>
          <cx:pt idx="761">-2.3884691400000002</cx:pt>
          <cx:pt idx="762">-2.3884548350000001</cx:pt>
          <cx:pt idx="763">-2.387872754</cx:pt>
          <cx:pt idx="764">-2.3878425569999999</cx:pt>
          <cx:pt idx="765">-2.3877552710000001</cx:pt>
          <cx:pt idx="766">-2.387741417</cx:pt>
          <cx:pt idx="767">-2.387638806</cx:pt>
          <cx:pt idx="768">-2.3873779590000002</cx:pt>
          <cx:pt idx="769">-2.3873622929999998</cx:pt>
          <cx:pt idx="770">-2.387043104</cx:pt>
          <cx:pt idx="771">-2.3866201619999998</cx:pt>
          <cx:pt idx="772">-2.386591101</cx:pt>
          <cx:pt idx="773">-2.3863737290000002</cx:pt>
          <cx:pt idx="774">-2.3862418239999998</cx:pt>
          <cx:pt idx="775">-2.3861989229999998</cx:pt>
          <cx:pt idx="776">-2.3861842759999998</cx:pt>
          <cx:pt idx="777">-2.386154538</cx:pt>
          <cx:pt idx="778">-2.3856742739999999</cx:pt>
          <cx:pt idx="779">-2.38539776</cx:pt>
          <cx:pt idx="780">-2.3853404380000001</cx:pt>
          <cx:pt idx="781">-2.3852968529999998</cx:pt>
          <cx:pt idx="782">-2.3851940100000002</cx:pt>
          <cx:pt idx="783">-2.3851656320000001</cx:pt>
          <cx:pt idx="784">-2.3851075169999998</cx:pt>
          <cx:pt idx="785">-2.3848602900000002</cx:pt>
          <cx:pt idx="786">-2.3847574470000001</cx:pt>
          <cx:pt idx="787">-2.3845101039999999</cx:pt>
          <cx:pt idx="788">-2.384393647</cx:pt>
          <cx:pt idx="789">-2.3843799090000002</cx:pt>
          <cx:pt idx="790">-2.3842343910000001</cx:pt>
          <cx:pt idx="791">-2.3842190670000001</cx:pt>
          <cx:pt idx="792">-2.3842045359999999</cx:pt>
          <cx:pt idx="793">-2.3840889820000002</cx:pt>
          <cx:pt idx="794">-2.383971608</cx:pt>
          <cx:pt idx="795">-2.383695211</cx:pt>
          <cx:pt idx="796">-2.3834049670000002</cx:pt>
          <cx:pt idx="797">-2.3833175639999999</cx:pt>
          <cx:pt idx="798">-2.3832440080000001</cx:pt>
          <cx:pt idx="799">-2.3832157399999998</cx:pt>
          <cx:pt idx="800">-2.3831712450000002</cx:pt>
          <cx:pt idx="801">-2.3830411599999999</cx:pt>
          <cx:pt idx="802">-2.3829384330000001</cx:pt>
          <cx:pt idx="803">-2.3828366160000001</cx:pt>
          <cx:pt idx="804">-2.3827929139999999</cx:pt>
          <cx:pt idx="805">-2.3827346820000002</cx:pt>
          <cx:pt idx="806">-2.3827210609999998</cx:pt>
          <cx:pt idx="807">-2.3825164010000002</cx:pt>
          <cx:pt idx="808">-2.3822407970000001</cx:pt>
          <cx:pt idx="809">-2.3822108329999998</cx:pt>
          <cx:pt idx="810">-2.3820798380000001</cx:pt>
          <cx:pt idx="811">-2.382065307</cx:pt>
          <cx:pt idx="812">-2.3820078759999999</cx:pt>
          <cx:pt idx="813">-2.3819204730000001</cx:pt>
          <cx:pt idx="814">-2.3818479360000002</cx:pt>
          <cx:pt idx="815">-2.3816294290000002</cx:pt>
          <cx:pt idx="816">-2.381614898</cx:pt>
          <cx:pt idx="817">-2.3812365670000002</cx:pt>
          <cx:pt idx="818">-2.3806828630000001</cx:pt>
          <cx:pt idx="819">-2.3805236070000002</cx:pt>
          <cx:pt idx="820">-2.3804499350000001</cx:pt>
          <cx:pt idx="821">-2.3804063499999999</cx:pt>
          <cx:pt idx="822">-2.3802316540000001</cx:pt>
          <cx:pt idx="823">-2.3802180320000002</cx:pt>
          <cx:pt idx="824">-2.3801159900000002</cx:pt>
          <cx:pt idx="825">-2.3800577569999999</cx:pt>
          <cx:pt idx="826">-2.3800280190000001</cx:pt>
          <cx:pt idx="827">-2.3800133720000001</cx:pt>
          <cx:pt idx="828">-2.3799997510000002</cx:pt>
          <cx:pt idx="829">-2.3799697869999998</cx:pt>
          <cx:pt idx="830">-2.3799260860000002</cx:pt>
          <cx:pt idx="831">-2.3797805670000001</cx:pt>
          <cx:pt idx="832">-2.3794759019999998</cx:pt>
          <cx:pt idx="833">-2.379256711</cx:pt>
          <cx:pt idx="834">-2.3790820140000002</cx:pt>
          <cx:pt idx="835">-2.3789656670000001</cx:pt>
          <cx:pt idx="836">-2.378951936</cx:pt>
          <cx:pt idx="837">-2.3786746299999999</cx:pt>
          <cx:pt idx="838">-2.3786607829999999</cx:pt>
          <cx:pt idx="839">-2.3786309280000002</cx:pt>
          <cx:pt idx="840">-2.377961553</cx:pt>
          <cx:pt idx="841">-2.377743272</cx:pt>
          <cx:pt idx="842">-2.3777294250000001</cx:pt>
          <cx:pt idx="843">-2.377714101</cx:pt>
          <cx:pt idx="844">-2.377641455</cx:pt>
          <cx:pt idx="845">-2.3775832229999998</cx:pt>
          <cx:pt idx="846">-2.3775685750000002</cx:pt>
          <cx:pt idx="847">-2.3773502940000002</cx:pt>
          <cx:pt idx="848">-2.3770738969999998</cx:pt>
          <cx:pt idx="849">-2.3770011339999999</cx:pt>
          <cx:pt idx="850">-2.376840976</cx:pt>
          <cx:pt idx="851">-2.3765208699999998</cx:pt>
          <cx:pt idx="852">-2.376419737</cx:pt>
          <cx:pt idx="853">-2.3763898819999998</cx:pt>
          <cx:pt idx="854">-2.3760697839999998</cx:pt>
          <cx:pt idx="855">-2.3760260820000001</cx:pt>
          <cx:pt idx="856">-2.3759977050000001</cx:pt>
          <cx:pt idx="857">-2.37569213</cx:pt>
          <cx:pt idx="858">-2.375255567</cx:pt>
          <cx:pt idx="859">-2.3752402429999999</cx:pt>
          <cx:pt idx="860">-2.3752118659999999</cx:pt>
          <cx:pt idx="861">-2.3751820110000001</cx:pt>
          <cx:pt idx="862">-2.3751092549999999</cx:pt>
          <cx:pt idx="863">-2.3750801940000001</cx:pt>
          <cx:pt idx="864">-2.375065663</cx:pt>
          <cx:pt idx="865">-2.3746872159999999</cx:pt>
          <cx:pt idx="866">-2.374498789</cx:pt>
          <cx:pt idx="867">-2.3744835819999999</cx:pt>
          <cx:pt idx="868">-2.3744689349999999</cx:pt>
          <cx:pt idx="869">-2.3739305549999998</cx:pt>
          <cx:pt idx="870">-2.3738577919999999</cx:pt>
          <cx:pt idx="871">-2.3738432679999999</cx:pt>
          <cx:pt idx="872">-2.3736832190000001</cx:pt>
          <cx:pt idx="873">-2.3736685720000001</cx:pt>
          <cx:pt idx="874">-2.3733484730000001</cx:pt>
          <cx:pt idx="875">-2.3732611800000001</cx:pt>
          <cx:pt idx="876">-2.3732465399999998</cx:pt>
          <cx:pt idx="877">-2.3731737769999999</cx:pt>
          <cx:pt idx="878">-2.3729701429999999</cx:pt>
          <cx:pt idx="879">-2.3729264410000002</cx:pt>
          <cx:pt idx="880">-2.372912704</cx:pt>
          <cx:pt idx="881">-2.3728099770000002</cx:pt>
          <cx:pt idx="882">-2.3727226830000001</cx:pt>
          <cx:pt idx="883">-2.372548111</cx:pt>
          <cx:pt idx="884">-2.3725044089999998</cx:pt>
          <cx:pt idx="885">-2.372475348</cx:pt>
          <cx:pt idx="886">-2.3724025850000001</cx:pt>
          <cx:pt idx="887">-2.3723443529999999</cx:pt>
          <cx:pt idx="888">-2.372140602</cx:pt>
          <cx:pt idx="889">-2.3721115479999999</cx:pt>
          <cx:pt idx="890">-2.3720970170000002</cx:pt>
          <cx:pt idx="891">-2.372024138</cx:pt>
          <cx:pt idx="892">-2.372009614</cx:pt>
          <cx:pt idx="893">-2.3718786189999999</cx:pt>
          <cx:pt idx="894">-2.3718640889999998</cx:pt>
          <cx:pt idx="895">-2.3713555629999998</cx:pt>
          <cx:pt idx="896">-2.3708599750000001</cx:pt>
          <cx:pt idx="897">-2.3707872120000002</cx:pt>
          <cx:pt idx="898">-2.3707144570000001</cx:pt>
          <cx:pt idx="899">-2.3706999259999999</cx:pt>
          <cx:pt idx="900">-2.3706416940000001</cx:pt>
          <cx:pt idx="901">-2.3704379430000002</cx:pt>
          <cx:pt idx="902">-2.3701905999999999</cx:pt>
          <cx:pt idx="903">-2.3701033140000001</cx:pt>
          <cx:pt idx="904">-2.3699868500000001</cx:pt>
          <cx:pt idx="905">-2.3699723189999999</cx:pt>
          <cx:pt idx="906">-2.3699577879999998</cx:pt>
          <cx:pt idx="907">-2.3694346159999999</cx:pt>
          <cx:pt idx="908">-2.3694192919999999</cx:pt>
          <cx:pt idx="909">-2.3693902379999998</cx:pt>
          <cx:pt idx="910">-2.369244712</cx:pt>
          <cx:pt idx="911">-2.369113724</cx:pt>
          <cx:pt idx="912">-2.3690700229999999</cx:pt>
          <cx:pt idx="913">-2.368778979</cx:pt>
          <cx:pt idx="914">-2.3687644479999999</cx:pt>
          <cx:pt idx="915">-2.3687506009999999</cx:pt>
          <cx:pt idx="916">-2.3687208630000001</cx:pt>
          <cx:pt idx="917">-2.3680223169999999</cx:pt>
          <cx:pt idx="918">-2.3677603340000002</cx:pt>
          <cx:pt idx="919">-2.3676730410000002</cx:pt>
          <cx:pt idx="920">-2.3676293390000001</cx:pt>
          <cx:pt idx="921">-2.3674837050000002</cx:pt>
          <cx:pt idx="922">-2.3672947099999999</cx:pt>
          <cx:pt idx="923">-2.3672800700000001</cx:pt>
          <cx:pt idx="924">-2.3672219550000002</cx:pt>
          <cx:pt idx="925">-2.3672074240000001</cx:pt>
          <cx:pt idx="926">-2.3670043500000002</cx:pt>
          <cx:pt idx="927">-2.3669599720000001</cx:pt>
          <cx:pt idx="928">-2.3669309100000002</cx:pt>
          <cx:pt idx="929">-2.366872678</cx:pt>
          <cx:pt idx="930">-2.3668144459999998</cx:pt>
          <cx:pt idx="931">-2.366770861</cx:pt>
          <cx:pt idx="932">-2.3667126289999998</cx:pt>
          <cx:pt idx="933">-2.3666106949999999</cx:pt>
          <cx:pt idx="934">-2.3665961649999998</cx:pt>
          <cx:pt idx="935">-2.3664943479999998</cx:pt>
          <cx:pt idx="936">-2.3663488290000001</cx:pt>
          <cx:pt idx="937">-2.3662905969999999</cx:pt>
          <cx:pt idx="938">-2.3662760660000002</cx:pt>
          <cx:pt idx="939">-2.366116017</cx:pt>
          <cx:pt idx="940">-2.3660723159999999</cx:pt>
          <cx:pt idx="941">-2.3660576679999998</cx:pt>
          <cx:pt idx="942">-2.3659558509999998</cx:pt>
          <cx:pt idx="943">-2.3657085160000002</cx:pt>
          <cx:pt idx="944">-2.3656939850000001</cx:pt>
          <cx:pt idx="945">-2.3656793380000001</cx:pt>
          <cx:pt idx="946">-2.3656212220000001</cx:pt>
          <cx:pt idx="947">-2.3655775210000001</cx:pt>
          <cx:pt idx="948">-2.3654029410000001</cx:pt>
          <cx:pt idx="949">-2.3653737700000002</cx:pt>
          <cx:pt idx="950">-2.3652864760000001</cx:pt>
          <cx:pt idx="951">-2.365257422</cx:pt>
          <cx:pt idx="952">-2.3648789749999999</cx:pt>
          <cx:pt idx="953">-2.3648208589999999</cx:pt>
          <cx:pt idx="954">-2.364791689</cx:pt>
          <cx:pt idx="955">-2.3647334569999998</cx:pt>
          <cx:pt idx="956">-2.364704395</cx:pt>
          <cx:pt idx="957">-2.3645151750000002</cx:pt>
          <cx:pt idx="958">-2.3643841800000001</cx:pt>
          <cx:pt idx="959">-2.3643696489999999</cx:pt>
          <cx:pt idx="960">-2.3640203799999999</cx:pt>
          <cx:pt idx="961">-2.363947617</cx:pt>
          <cx:pt idx="962">-2.3639185629999999</cx:pt>
          <cx:pt idx="963">-2.3638603310000001</cx:pt>
          <cx:pt idx="964">-2.3633364750000001</cx:pt>
          <cx:pt idx="965">-2.3630599609999998</cx:pt>
          <cx:pt idx="966">-2.3629144430000002</cx:pt>
          <cx:pt idx="967">-2.3620703779999999</cx:pt>
          <cx:pt idx="968">-2.3615028210000002</cx:pt>
          <cx:pt idx="969">-2.3613427709999999</cx:pt>
          <cx:pt idx="970">-2.3611827220000001</cx:pt>
          <cx:pt idx="971">-2.3611680819999998</cx:pt>
          <cx:pt idx="972">-2.3610079169999998</cx:pt>
          <cx:pt idx="973">-2.360818922</cx:pt>
          <cx:pt idx="974">-2.3606296950000001</cx:pt>
          <cx:pt idx="975">-2.360600641</cx:pt>
          <cx:pt idx="976">-2.3605715790000001</cx:pt>
          <cx:pt idx="977">-2.3605569389999999</cx:pt>
          <cx:pt idx="978">-2.3604696459999999</cx:pt>
          <cx:pt idx="979">-2.3600620280000002</cx:pt>
          <cx:pt idx="980">-2.360047614</cx:pt>
          <cx:pt idx="981">-2.360004022</cx:pt>
          <cx:pt idx="982">-2.3597275149999999</cx:pt>
          <cx:pt idx="983">-2.3594655329999998</cx:pt>
          <cx:pt idx="984">-2.3592472510000002</cx:pt>
          <cx:pt idx="985">-2.359189019</cx:pt>
          <cx:pt idx="986">-2.358112143</cx:pt>
          <cx:pt idx="987">-2.3579520860000001</cx:pt>
          <cx:pt idx="988">-2.3579375630000001</cx:pt>
          <cx:pt idx="989">-2.3578502690000001</cx:pt>
          <cx:pt idx="990">-2.3575010000000001</cx:pt>
          <cx:pt idx="991">-2.3564967979999998</cx:pt>
          <cx:pt idx="992">-2.356453208</cx:pt>
          <cx:pt idx="993">-2.3562785179999999</cx:pt>
          <cx:pt idx="994">-2.3561038270000001</cx:pt>
          <cx:pt idx="995">-2.3560602579999999</cx:pt>
          <cx:pt idx="996">-2.3551871559999999</cx:pt>
          <cx:pt idx="997">-2.3541833040000002</cx:pt>
          <cx:pt idx="998">-2.3540522049999999</cx:pt>
          <cx:pt idx="999">-2.3535713970000001</cx:pt>
          <cx:pt idx="1000">-2.353266284</cx:pt>
          <cx:pt idx="1001">-2.3532226930000002</cx:pt>
          <cx:pt idx="1002">-2.3528733129999999</cx:pt>
          <cx:pt idx="1003">-2.351171049</cx:pt>
          <cx:pt idx="1004">-2.3509956820000002</cx:pt>
          <cx:pt idx="1005">-2.35095279</cx:pt>
          <cx:pt idx="1006">-2.3488129600000001</cx:pt>
          <cx:pt idx="1007">-2.3484206649999999</cx:pt>
          <cx:pt idx="1008">-2.3483331559999998</cx:pt>
          <cx:pt idx="1009">-2.3478094349999998</cx:pt>
          <cx:pt idx="1010">-2.3469799230000001</cx:pt>
          <cx:pt idx="1011">-2.3466744830000001</cx:pt>
          <cx:pt idx="1012">-2.3465427069999998</cx:pt>
          <cx:pt idx="1013">-2.346280835</cx:pt>
          <cx:pt idx="1014">-2.3459760709999999</cx:pt>
          <cx:pt idx="1015">-2.3458007040000002</cx:pt>
          <cx:pt idx="1016">-2.3453641639999998</cx:pt>
          <cx:pt idx="1017">-2.34532125</cx:pt>
          <cx:pt idx="1018">-2.3452773320000002</cx:pt>
          <cx:pt idx="1019">-2.3443164150000002</cx:pt>
          <cx:pt idx="1020">-2.3442291900000001</cx:pt>
          <cx:pt idx="1021">-2.3441415939999999</cx:pt>
          <cx:pt idx="1022">-2.3440107569999999</cx:pt>
          <cx:pt idx="1023">-2.3436611140000001</cx:pt>
          <cx:pt idx="1024">-2.3434426799999999</cx:pt>
          <cx:pt idx="1025">-2.3431806119999998</cx:pt>
          <cx:pt idx="1026">-2.343136672</cx:pt>
          <cx:pt idx="1027">-2.3418287769999999</cx:pt>
          <cx:pt idx="1028">-2.341738801</cx:pt>
          <cx:pt idx="1029">-2.341523096</cx:pt>
          <cx:pt idx="1030">-2.3408258850000001</cx:pt>
          <cx:pt idx="1031">-2.3393404389999999</cx:pt>
          <cx:pt idx="1032">-2.3385975640000001</cx:pt>
          <cx:pt idx="1033">-2.3385539729999998</cx:pt>
          <cx:pt idx="1034">-2.3383356480000002</cx:pt>
          <cx:pt idx="1035">-2.3372875940000002</cx:pt>
          <cx:pt idx="1036">-2.3365453949999999</cx:pt>
          <cx:pt idx="1037">-2.3358028690000001</cx:pt>
          <cx:pt idx="1038">-2.335715666</cx:pt>
          <cx:pt idx="1039">-2.3351042820000001</cx:pt>
          <cx:pt idx="1040">-2.3345804079999999</cx:pt>
          <cx:pt idx="1041">-2.3342745530000002</cx:pt>
          <cx:pt idx="1042">-2.334099819</cx:pt>
          <cx:pt idx="1043">-2.333969025</cx:pt>
          <cx:pt idx="1044">-2.3337507</cx:pt>
          <cx:pt idx="1045">-2.3336222860000002</cx:pt>
          <cx:pt idx="1046">-2.3333603479999998</cx:pt>
          <cx:pt idx="1047">-2.332835819</cx:pt>
          <cx:pt idx="1048">-2.332222384</cx:pt>
          <cx:pt idx="1049">-2.3314397599999999</cx:pt>
          <cx:pt idx="1050">-2.3313515530000002</cx:pt>
          <cx:pt idx="1051">-2.3313086379999999</cx:pt>
          <cx:pt idx="1052">-2.33117719</cx:pt>
          <cx:pt idx="1053">-2.3309149690000002</cx:pt>
          <cx:pt idx="1054">-2.3306527479999999</cx:pt>
          <cx:pt idx="1055">-2.3303472639999998</cx:pt>
          <cx:pt idx="1056">-2.330257703</cx:pt>
          <cx:pt idx="1057">-2.3302161419999998</cx:pt>
          <cx:pt idx="1058">-2.3300421290000002</cx:pt>
          <cx:pt idx="1059">-2.3299954820000002</cx:pt>
          <cx:pt idx="1060">-2.3299110070000002</cx:pt>
          <cx:pt idx="1061">-2.3295152859999999</cx:pt>
          <cx:pt idx="1062">-2.3290378399999998</cx:pt>
          <cx:pt idx="1063">-2.3289939</cx:pt>
          <cx:pt idx="1064">-2.3286857090000002</cx:pt>
          <cx:pt idx="1065">-2.3286444980000001</cx:pt>
          <cx:pt idx="1066">-2.3264629100000001</cx:pt>
          <cx:pt idx="1067">-2.3261996639999998</cx:pt>
          <cx:pt idx="1068">-2.3259827359999998</cx:pt>
          <cx:pt idx="1069">-2.3253711130000001</cx:pt>
          <cx:pt idx="1070">-2.324103992</cx:pt>
          <cx:pt idx="1071">-2.3237549390000001</cx:pt>
          <cx:pt idx="1072">-2.3236650289999998</cx:pt>
          <cx:pt idx="1073">-2.3224013129999999</cx:pt>
          <cx:pt idx="1074">-2.3223155069999999</cx:pt>
          <cx:pt idx="1075">-2.3216589609999998</cx:pt>
          <cx:pt idx="1076">-2.3212673430000001</cx:pt>
          <cx:pt idx="1077">-2.3212203470000001</cx:pt>
          <cx:pt idx="1078">-2.321179136</cx:pt>
          <cx:pt idx="1079">-2.3210480360000001</cx:pt>
          <cx:pt idx="1080">-2.320873674</cx:pt>
          <cx:pt idx="1081">-2.3207858159999999</cx:pt>
          <cx:pt idx="1082">-2.3183857510000001</cx:pt>
          <cx:pt idx="1083">-2.3181664660000001</cx:pt>
          <cx:pt idx="1084">-2.3178177619999998</cx:pt>
          <cx:pt idx="1085">-2.317555563</cx:pt>
          <cx:pt idx="1086">-2.317338635</cx:pt>
          <cx:pt idx="1087">-2.3172933640000002</cx:pt>
          <cx:pt idx="1088">-2.3172065320000002</cx:pt>
          <cx:pt idx="1089">-2.3171622429999998</cx:pt>
          <cx:pt idx="1090">-2.3168571509999998</cx:pt>
          <cx:pt idx="1091">-2.3162891409999999</cx:pt>
          <cx:pt idx="1092">-2.3161560109999999</cx:pt>
          <cx:pt idx="1093">-2.3158968679999998</cx:pt>
          <cx:pt idx="1094">-2.315721828</cx:pt>
          <cx:pt idx="1095">-2.3156360220000001</cx:pt>
          <cx:pt idx="1096">-2.3154140089999999</cx:pt>
          <cx:pt idx="1097">-2.3151984560000001</cx:pt>
          <cx:pt idx="1098">-2.3150673350000002</cx:pt>
          <cx:pt idx="1099">-2.3145432860000001</cx:pt>
          <cx:pt idx="1100">-2.3139769779999999</cx:pt>
          <cx:pt idx="1101">-2.313932034</cx:pt>
          <cx:pt idx="1102">-2.3136698349999998</cx:pt>
          <cx:pt idx="1103">-2.3131478159999999</cx:pt>
          <cx:pt idx="1104">-2.3130166939999999</cx:pt>
          <cx:pt idx="1105">-2.3129281590000002</cx:pt>
          <cx:pt idx="1106">-2.3127946810000002</cx:pt>
          <cx:pt idx="1107">-2.3125365630000001</cx:pt>
          <cx:pt idx="1108">-2.311400935</cx:pt>
          <cx:pt idx="1109">-2.3111380370000001</cx:pt>
          <cx:pt idx="1110">-2.3108772129999999</cx:pt>
          <cx:pt idx="1111">-2.3107896829999999</cx:pt>
          <cx:pt idx="1112">-2.3105278330000001</cx:pt>
          <cx:pt idx="1113">-2.310308526</cx:pt>
          <cx:pt idx="1114">-2.3102652849999998</cx:pt>
          <cx:pt idx="1115">-2.3101791290000002</cx:pt>
          <cx:pt idx="1116">-2.3101338579999999</cx:pt>
          <cx:pt idx="1117">-2.3100905940000001</cx:pt>
          <cx:pt idx="1118">-2.309869607</cx:pt>
          <cx:pt idx="1119">-2.3098287449999999</cx:pt>
          <cx:pt idx="1120">-2.30978583</cx:pt>
          <cx:pt idx="1121">-2.3094364719999998</cx:pt>
          <cx:pt idx="1122">-2.3091739229999999</cx:pt>
          <cx:pt idx="1123">-2.3088242160000001</cx:pt>
          <cx:pt idx="1124">-2.308432947</cx:pt>
          <cx:pt idx="1125">-2.3076460000000001</cx:pt>
          <cx:pt idx="1126">-2.3069043470000001</cx:pt>
          <cx:pt idx="1127">-2.3068573510000001</cx:pt>
          <cx:pt idx="1128">-2.3064208110000002</cx:pt>
          <cx:pt idx="1129">-2.3063799490000001</cx:pt>
          <cx:pt idx="1130">-2.3062049309999999</cx:pt>
          <cx:pt idx="1131">-2.3050274150000001</cx:pt>
          <cx:pt idx="1132">-2.3049838239999998</cx:pt>
          <cx:pt idx="1133">-2.3048520259999998</cx:pt>
          <cx:pt idx="1134">-2.304285063</cx:pt>
          <cx:pt idx="1135">-2.3041968779999999</cx:pt>
          <cx:pt idx="1136">-2.304065778</cx:pt>
          <cx:pt idx="1137">-2.303674182</cx:pt>
          <cx:pt idx="1138">-2.3036268369999999</cx:pt>
          <cx:pt idx="1139">-2.3032805340000002</cx:pt>
          <cx:pt idx="1140">-2.3027128939999999</cx:pt>
          <cx:pt idx="1141">-2.3020138060000002</cx:pt>
          <cx:pt idx="1142">-2.3002676019999999</cx:pt>
          <cx:pt idx="1143">-2.3000037</cx:pt>
          <cx:pt idx="1144">-2.2994394659999999</cx:pt>
          <cx:pt idx="1145">-2.2993512589999998</cx:pt>
          <cx:pt idx="1146">-2.299308366</cx:pt>
          <cx:pt idx="1147">-2.2983920229999999</cx:pt>
          <cx:pt idx="1148">-2.2981727379999999</cx:pt>
          <cx:pt idx="1149">-2.2978206289999998</cx:pt>
          <cx:pt idx="1150">-2.2968198320000002</cx:pt>
          <cx:pt idx="1151">-2.2962518439999999</cx:pt>
          <cx:pt idx="1152">-2.2956416389999998</cx:pt>
          <cx:pt idx="1153">-2.2944593420000001</cx:pt>
          <cx:pt idx="1154">-2.294417803</cx:pt>
          <cx:pt idx="1155">-2.2935450510000002</cx:pt>
          <cx:pt idx="1156">-2.293455163</cx:pt>
          <cx:pt idx="1157">-2.29332439</cx:pt>
          <cx:pt idx="1158">-2.2931966959999999</cx:pt>
          <cx:pt idx="1159">-2.2927601559999999</cx:pt>
          <cx:pt idx="1160">-2.2927162380000001</cx:pt>
          <cx:pt idx="1161">-2.2925847890000002</cx:pt>
          <cx:pt idx="1162">-2.2911416679999999</cx:pt>
          <cx:pt idx="1163">-2.2906639169999998</cx:pt>
          <cx:pt idx="1164">-2.2895262359999999</cx:pt>
          <cx:pt idx="1165">-2.2882165940000001</cx:pt>
          <cx:pt idx="1166">-2.2824137699999998</cx:pt>
          <cx:pt idx="1167">-2.2823255840000001</cx:pt>
          <cx:pt idx="1168">-2.2822356959999999</cx:pt>
          <cx:pt idx="1169">-2.2804894920000001</cx:pt>
          <cx:pt idx="1170">-2.278918</cx:pt>
          <cx:pt idx="1171">-2.2788755969999999</cx:pt>
          <cx:pt idx="1172">-2.2781119580000002</cx:pt>
          <cx:pt idx="1173">-2.2780898239999998</cx:pt>
          <cx:pt idx="1174">-2.2780462309999998</cx:pt>
          <cx:pt idx="1175">-2.2779153019999998</cx:pt>
          <cx:pt idx="1176">-2.2778921410000001</cx:pt>
          <cx:pt idx="1177">-2.2777186450000002</cx:pt>
          <cx:pt idx="1178">-2.277149949</cx:pt>
          <cx:pt idx="1179">-2.2770638010000002</cx:pt>
          <cx:pt idx="1180">-2.2770423430000002</cx:pt>
          <cx:pt idx="1181">-2.2769110640000001</cx:pt>
          <cx:pt idx="1182">-2.2767801350000001</cx:pt>
          <cx:pt idx="1183">-2.2767363789999999</cx:pt>
          <cx:pt idx="1184">-2.2757747080000001</cx:pt>
          <cx:pt idx="1185">-2.2754037039999999</cx:pt>
          <cx:pt idx="1186">-2.2738990619999999</cx:pt>
          <cx:pt idx="1187">-2.2732862709999999</cx:pt>
          <cx:pt idx="1188">-2.2732001130000001</cx:pt>
          <cx:pt idx="1189">-2.2730897790000002</cx:pt>
          <cx:pt idx="1190">-2.2715631759999999</cx:pt>
          <cx:pt idx="1191">-2.271519246</cx:pt>
          <cx:pt idx="1192">-2.2714744640000002</cx:pt>
          <cx:pt idx="1193">-2.2713011320000001</cx:pt>
          <cx:pt idx="1194">-2.2712355799999999</cx:pt>
          <cx:pt idx="1195">-2.2712137939999999</cx:pt>
          <cx:pt idx="1196">-2.2710596930000002</cx:pt>
          <cx:pt idx="1197">-2.2709299540000001</cx:pt>
          <cx:pt idx="1198">-2.2707773919999998</cx:pt>
          <cx:pt idx="1199">-2.2699258910000002</cx:pt>
          <cx:pt idx="1200">-2.2697731650000001</cx:pt>
          <cx:pt idx="1201">-2.269576684</cx:pt>
          <cx:pt idx="1202">-2.2690515790000001</cx:pt>
          <cx:pt idx="1203">-2.2689436239999998</cx:pt>
          <cx:pt idx="1204">-2.2689218389999999</cx:pt>
          <cx:pt idx="1205">-2.26844168</cx:pt>
          <cx:pt idx="1206">-2.2683977500000001</cx:pt>
          <cx:pt idx="1207">-2.268310413</cx:pt>
          <cx:pt idx="1208">-2.267348916</cx:pt>
          <cx:pt idx="1209">-2.2664115950000001</cx:pt>
          <cx:pt idx="1210">-2.2663458799999998</cx:pt>
          <cx:pt idx="1211">-2.2661046050000002</cx:pt>
          <cx:pt idx="1212">-2.2658645310000001</cx:pt>
          <cx:pt idx="1213">-2.2655153129999999</cx:pt>
          <cx:pt idx="1214">-2.265209687</cx:pt>
          <cx:pt idx="1215">-2.265166105</cx:pt>
          <cx:pt idx="1216">-2.2649040610000002</cx:pt>
          <cx:pt idx="1217">-2.2648604680000002</cx:pt>
          <cx:pt idx="1218">-2.2648180770000002</cx:pt>
          <cx:pt idx="1219">-2.264511261</cx:pt>
          <cx:pt idx="1220">-2.2644892900000002</cx:pt>
          <cx:pt idx="1221">-2.2643597139999998</cx:pt>
          <cx:pt idx="1222">-2.2639449549999999</cx:pt>
          <cx:pt idx="1223">-2.2639217939999998</cx:pt>
          <cx:pt idx="1224">-2.2637472719999998</cx:pt>
          <cx:pt idx="1225">-2.2632669500000002</cx:pt>
          <cx:pt idx="1226">-2.2630280659999999</cx:pt>
          <cx:pt idx="1227">-2.2630049159999999</cx:pt>
          <cx:pt idx="1228">-2.2629189209999998</cx:pt>
          <cx:pt idx="1229">-2.2627212499999998</cx:pt>
          <cx:pt idx="1230">-2.2626556980000001</cx:pt>
          <cx:pt idx="1231">-2.26246057</cx:pt>
          <cx:pt idx="1232">-2.2616747959999999</cx:pt>
          <cx:pt idx="1233">-2.2614125760000001</cx:pt>
          <cx:pt idx="1234">-2.261302417</cx:pt>
          <cx:pt idx="1235">-2.2609749950000002</cx:pt>
          <cx:pt idx="1236">-2.2608888359999999</cx:pt>
          <cx:pt idx="1237">-2.2607361109999999</cx:pt>
          <cx:pt idx="1238">-2.2595791479999998</cx:pt>
          <cx:pt idx="1239">-2.259099</cx:pt>
          <cx:pt idx="1240">-2.2576800029999999</cx:pt>
          <cx:pt idx="1241">-2.2575916399999998</cx:pt>
          <cx:pt idx="1242">-2.2575041169999999</cx:pt>
          <cx:pt idx="1243">-2.2574824950000001</cx:pt>
          <cx:pt idx="1244">-2.2573963369999999</cx:pt>
          <cx:pt idx="1245">-2.257373351</cx:pt>
          <cx:pt idx="1246">-2.2573307850000002</cx:pt>
          <cx:pt idx="1247">-2.2571344670000002</cx:pt>
          <cx:pt idx="1248">-2.2567414920000002</cx:pt>
          <cx:pt idx="1249">-2.2555615549999999</cx:pt>
          <cx:pt idx="1250">-2.255255918</cx:pt>
          <cx:pt idx="1251">-2.2550812320000002</cx:pt>
          <cx:pt idx="1252">-2.254862943</cx:pt>
          <cx:pt idx="1253">-2.2548193620000001</cx:pt>
          <cx:pt idx="1254">-2.254776959</cx:pt>
          <cx:pt idx="1255">-2.2547114069999998</cx:pt>
          <cx:pt idx="1256">-2.2544919399999999</cx:pt>
          <cx:pt idx="1257">-2.2544481730000001</cx:pt>
          <cx:pt idx="1258">-2.2544263880000002</cx:pt>
          <cx:pt idx="1259">-2.2542298949999999</cx:pt>
          <cx:pt idx="1260">-2.2540989659999999</cx:pt>
          <cx:pt idx="1261">-2.2539462289999999</cx:pt>
          <cx:pt idx="1262">-2.2537945289999999</cx:pt>
          <cx:pt idx="1263">-2.253771543</cx:pt>
          <cx:pt idx="1264">-2.2537279510000001</cx:pt>
          <cx:pt idx="1265">-2.2536417929999999</cx:pt>
          <cx:pt idx="1266">-2.2535762410000002</cx:pt>
          <cx:pt idx="1267">-2.2534441209999998</cx:pt>
          <cx:pt idx="1268">-2.2528548289999999</cx:pt>
          <cx:pt idx="1269">-2.2527674809999998</cx:pt>
          <cx:pt idx="1270">-2.252637741</cx:pt>
          <cx:pt idx="1271">-2.252614581</cx:pt>
          <cx:pt idx="1272">-2.2523089540000001</cx:pt>
          <cx:pt idx="1273">-2.2515887220000002</cx:pt>
          <cx:pt idx="1274">-2.2514359960000001</cx:pt>
          <cx:pt idx="1275">-2.2514140359999999</cx:pt>
          <cx:pt idx="1276">-2.2512177179999999</cx:pt>
          <cx:pt idx="1277">-2.2511095999999999</cx:pt>
          <cx:pt idx="1278">-2.2510648180000001</cx:pt>
          <cx:pt idx="1279">-2.2509120920000001</cx:pt>
          <cx:pt idx="1280">-2.250802948</cx:pt>
          <cx:pt idx="1281">-2.2507809879999998</cx:pt>
          <cx:pt idx="1282">-2.2506064549999998</cx:pt>
          <cx:pt idx="1283">-2.250520308</cx:pt>
          <cx:pt idx="1284">-2.2503892030000001</cx:pt>
          <cx:pt idx="1285">-2.2500619450000001</cx:pt>
          <cx:pt idx="1286">-2.2499952030000001</cx:pt>
          <cx:pt idx="1287">-2.2498654629999999</cx:pt>
          <cx:pt idx="1288">-2.249733333</cx:pt>
          <cx:pt idx="1289">-2.2495804330000002</cx:pt>
          <cx:pt idx="1290">-2.2495150549999998</cx:pt>
          <cx:pt idx="1291">-2.249187633</cx:pt>
          <cx:pt idx="1292">-2.2491438769999998</cx:pt>
          <cx:pt idx="1293">-2.2490347329999998</cx:pt>
          <cx:pt idx="1294">-2.2489693439999998</cx:pt>
          <cx:pt idx="1295">-2.2488830219999998</cx:pt>
          <cx:pt idx="1296">-2.248816455</cx:pt>
          <cx:pt idx="1297">-2.2483362960000002</cx:pt>
          <cx:pt idx="1298">-2.2480742619999998</cx:pt>
          <cx:pt idx="1299">-2.2480306699999999</cx:pt>
          <cx:pt idx="1300">-2.246371763</cx:pt>
          <cx:pt idx="1301">-2.2462188630000002</cx:pt>
          <cx:pt idx="1302">-2.245476681</cx:pt>
          <cx:pt idx="1303">-2.245433089</cx:pt>
          <cx:pt idx="1304">-2.245345741</cx:pt>
          <cx:pt idx="1305">-2.245323945</cx:pt>
          <cx:pt idx="1306">-2.2452801889999998</cx:pt>
          <cx:pt idx="1307">-2.244778245</cx:pt>
          <cx:pt idx="1308">-2.244756449</cx:pt>
          <cx:pt idx="1309">-2.2446473149999999</cx:pt>
          <cx:pt idx="1310">-2.244232545</cx:pt>
          <cx:pt idx="1311">-2.2440796440000002</cx:pt>
          <cx:pt idx="1312">-2.2440360519999998</cx:pt>
          <cx:pt idx="1313">-2.24383957</cx:pt>
          <cx:pt idx="1314">-2.243817774</cx:pt>
          <cx:pt idx="1315">-2.242682608</cx:pt>
          <cx:pt idx="1316">-2.242639015</cx:pt>
          <cx:pt idx="1317">-2.24248629</cx:pt>
          <cx:pt idx="1318">-2.2424425339999998</cx:pt>
          <cx:pt idx="1319">-2.2422898080000002</cx:pt>
          <cx:pt idx="1320">-2.242246041</cx:pt>
          <cx:pt idx="1321">-2.2421806640000002</cx:pt>
          <cx:pt idx="1322">-2.241700341</cx:pt>
          <cx:pt idx="1323">-2.2416785450000001</cx:pt>
          <cx:pt idx="1324">-2.241591197</cx:pt>
          <cx:pt idx="1325">-2.241547615</cx:pt>
          <cx:pt idx="1326">-2.2408054229999999</cx:pt>
          <cx:pt idx="1327">-2.2407836269999999</cx:pt>
          <cx:pt idx="1328">-2.2405435530000002</cx:pt>
          <cx:pt idx="1329">-2.2404562050000001</cx:pt>
          <cx:pt idx="1330">-2.2403033040000002</cx:pt>
          <cx:pt idx="1331">-2.2399978530000002</cx:pt>
          <cx:pt idx="1332">-2.2396266640000002</cx:pt>
          <cx:pt idx="1333">-2.2394521420000002</cx:pt>
          <cx:pt idx="1334">-2.239430182</cx:pt>
          <cx:pt idx="1335">-2.2384043230000001</cx:pt>
          <cx:pt idx="1336">-2.238186045</cx:pt>
          <cx:pt idx="1337">-2.2381422899999999</cx:pt>
          <cx:pt idx="1338">-2.2380986969999999</cx:pt>
          <cx:pt idx="1339">-2.2379457970000001</cx:pt>
          <cx:pt idx="1340">-2.2378804190000001</cx:pt>
          <cx:pt idx="1341">-2.2378368270000002</cx:pt>
          <cx:pt idx="1342">-2.2377712750000001</cx:pt>
          <cx:pt idx="1343">-2.2377276830000001</cx:pt>
          <cx:pt idx="1344">-2.2375965789999999</cx:pt>
          <cx:pt idx="1345">-2.2373565050000002</cx:pt>
          <cx:pt idx="1346">-2.2368763569999999</cx:pt>
          <cx:pt idx="1347">-2.2367672120000002</cx:pt>
          <cx:pt idx="1348">-2.2366361079999999</cx:pt>
          <cx:pt idx="1349">-2.2362868900000001</cx:pt>
          <cx:pt idx="1350">-2.2362433089999998</cx:pt>
          <cx:pt idx="1351">-2.2361777570000001</cx:pt>
          <cx:pt idx="1352">-2.2360904079999999</cx:pt>
          <cx:pt idx="1353">-2.235937683</cx:pt>
          <cx:pt idx="1354">-2.2358721309999998</cx:pt>
          <cx:pt idx="1355">-2.235806578</cx:pt>
          <cx:pt idx="1356">-2.2357629860000001</cx:pt>
          <cx:pt idx="1357">-2.2357411900000002</cx:pt>
          <cx:pt idx="1358">-2.2350427530000001</cx:pt>
          <cx:pt idx="1359">-2.234977201</cx:pt>
          <cx:pt idx="1360">-2.2348025159999998</cx:pt>
          <cx:pt idx="1361">-2.2347589239999999</cx:pt>
          <cx:pt idx="1362">-2.234431501</cx:pt>
          <cx:pt idx="1363">-2.2341040790000002</cx:pt>
          <cx:pt idx="1364">-2.2334928270000001</cx:pt>
          <cx:pt idx="1365">-2.2329908829999998</cx:pt>
          <cx:pt idx="1366">-2.232968912</cx:pt>
          <cx:pt idx="1367">-2.2316811940000001</cx:pt>
          <cx:pt idx="1368">-2.2313100050000001</cx:pt>
          <cx:pt idx="1369">-2.2312664240000002</cx:pt>
          <cx:pt idx="1370">-2.231069931</cx:pt>
          <cx:pt idx="1371">-2.2310260120000001</cx:pt>
          <cx:pt idx="1372">-2.2308298579999999</cx:pt>
          <cx:pt idx="1373">-2.2307425090000002</cx:pt>
          <cx:pt idx="1374">-2.230676957</cx:pt>
          <cx:pt idx="1375">-2.2306551720000001</cx:pt>
          <cx:pt idx="1376">-2.2306333760000001</cx:pt>
          <cx:pt idx="1377">-2.2296946910000002</cx:pt>
          <cx:pt idx="1378">-2.2288433649999999</cx:pt>
          <cx:pt idx="1379">-2.2287124239999998</cx:pt>
          <cx:pt idx="1380">-2.2286688429999999</cx:pt>
          <cx:pt idx="1381">-2.2284502160000002</cx:pt>
          <cx:pt idx="1382">-2.2283194499999999</cx:pt>
          <cx:pt idx="1383">-2.2270317319999999</cx:pt>
          <cx:pt idx="1384">-2.2267261060000001</cx:pt>
          <cx:pt idx="1385">-2.2261803950000001</cx:pt>
          <cx:pt idx="1386">-2.2259401579999998</cx:pt>
          <cx:pt idx="1387">-2.2259183610000002</cx:pt>
          <cx:pt idx="1388">-2.2258747689999998</cx:pt>
          <cx:pt idx="1389">-2.2255909389999999</cx:pt>
          <cx:pt idx="1390">-2.225547347</cx:pt>
          <cx:pt idx="1391">-2.2254599989999999</cx:pt>
          <cx:pt idx="1392">-2.2253726509999998</cx:pt>
          <cx:pt idx="1393">-2.225365676</cx:pt>
          <cx:pt idx="1394">-2.2249142989999999</cx:pt>
          <cx:pt idx="1395">-2.2248269509999998</cx:pt>
          <cx:pt idx="1396">-2.2247109960000002</cx:pt>
          <cx:pt idx="1397">-2.2246960210000002</cx:pt>
          <cx:pt idx="1398">-2.2245650800000001</cx:pt>
          <cx:pt idx="1399">-2.224521325</cx:pt>
          <cx:pt idx="1400">-2.2242373199999999</cx:pt>
          <cx:pt idx="1401">-2.2237134049999998</cx:pt>
          <cx:pt idx="1402">-2.2236919579999999</cx:pt>
          <cx:pt idx="1403">-2.2232116359999998</cx:pt>
          <cx:pt idx="1404">-2.2226003840000002</cx:pt>
          <cx:pt idx="1405">-2.2223167180000001</cx:pt>
          <cx:pt idx="1406">-2.2222511659999999</cx:pt>
          <cx:pt idx="1407">-2.2222293689999999</cx:pt>
          <cx:pt idx="1408">-2.2219892950000002</cx:pt>
          <cx:pt idx="1409">-2.2219019470000001</cx:pt>
          <cx:pt idx="1410">-2.2213562470000001</cx:pt>
          <cx:pt idx="1411">-2.2213126550000002</cx:pt>
          <cx:pt idx="1412">-2.2211815509999999</cx:pt>
          <cx:pt idx="1413">-2.221137959</cx:pt>
          <cx:pt idx="1414">-2.2210070289999999</cx:pt>
          <cx:pt idx="1415">-2.2208101980000001</cx:pt>
          <cx:pt idx="1416">-2.2204175620000002</cx:pt>
          <cx:pt idx="1417">-2.218453029</cx:pt>
          <cx:pt idx="1418">-2.218431244</cx:pt>
          <cx:pt idx="1419">-2.2183874769999998</cx:pt>
          <cx:pt idx="1420">-2.2183003029999999</cx:pt>
          <cx:pt idx="1421">-2.2182565470000002</cx:pt>
          <cx:pt idx="1422">-2.2171869329999998</cx:pt>
          <cx:pt idx="1423">-2.2171215549999999</cx:pt>
          <cx:pt idx="1424">-2.2170995840000001</cx:pt>
          <cx:pt idx="1425">-2.2167721619999998</cx:pt>
          <cx:pt idx="1426">-2.2161828699999999</cx:pt>
          <cx:pt idx="1427">-2.2135852890000001</cx:pt>
          <cx:pt idx="1428">-2.2123191929999999</cx:pt>
          <cx:pt idx="1429">-2.2119044219999999</cx:pt>
          <cx:pt idx="1430">-2.2117734819999999</cx:pt>
          <cx:pt idx="1431">-2.2113587219999999</cx:pt>
          <cx:pt idx="1432">-2.2107474589999998</cx:pt>
          <cx:pt idx="1433">-2.2098959589999998</cx:pt>
          <cx:pt idx="1434">-2.2091973579999999</cx:pt>
          <cx:pt idx="1435">-2.209154104</cx:pt>
          <cx:pt idx="1436">-2.2088484780000002</cx:pt>
          <cx:pt idx="1437">-2.208651658</cx:pt>
          <cx:pt idx="1438">-2.2086082409999999</cx:pt>
          <cx:pt idx="1439">-2.207538451</cx:pt>
          <cx:pt idx="1440">-2.2074950339999999</cx:pt>
          <cx:pt idx="1441">-2.207429307</cx:pt>
          <cx:pt idx="1442">-2.2073637549999998</cx:pt>
          <cx:pt idx="1443">-2.2072987159999999</cx:pt>
          <cx:pt idx="1444">-2.2069712940000001</cx:pt>
          <cx:pt idx="1445">-2.2068183929999998</cx:pt>
          <cx:pt idx="1446">-2.2067965969999999</cx:pt>
          <cx:pt idx="1447">-2.206490971</cx:pt>
          <cx:pt idx="1448">-2.206338245</cx:pt>
          <cx:pt idx="1449">-2.2062291009999999</cx:pt>
          <cx:pt idx="1450">-2.2060104850000002</cx:pt>
          <cx:pt idx="1451">-2.2056178489999998</cx:pt>
          <cx:pt idx="1452">-2.2053340189999999</cx:pt>
          <cx:pt idx="1453">-2.205268631</cx:pt>
          <cx:pt idx="1454">-2.2052248749999999</cx:pt>
          <cx:pt idx="1455">-2.2039151860000001</cx:pt>
          <cx:pt idx="1456">-2.2034786190000002</cx:pt>
          <cx:pt idx="1457">-2.2023654229999998</cx:pt>
          <cx:pt idx="1458">-2.2023436269999999</cx:pt>
          <cx:pt idx="1459">-2.2022777370000002</cx:pt>
          <cx:pt idx="1460">-2.2016887829999998</cx:pt>
          <cx:pt idx="1461">-2.2016450270000001</cx:pt>
          <cx:pt idx="1462">-2.2006627609999998</cx:pt>
          <cx:pt idx="1463">-2.2005318200000001</cx:pt>
          <cx:pt idx="1464">-2.2005100350000002</cx:pt>
          <cx:pt idx="1465">-2.2003571339999999</cx:pt>
          <cx:pt idx="1466">-2.2003349999999999</cx:pt>
          <cx:pt idx="1467">-1.5005196940000001</cx:pt>
          <cx:pt idx="1468">-0.82779112200000005</cx:pt>
          <cx:pt idx="1469">-0.79982204000000001</cx:pt>
          <cx:pt idx="1470">-0.65976654199999996</cx:pt>
          <cx:pt idx="1471">-0.043634394999999999</cx:pt>
          <cx:pt idx="1472">0.012513855000000001</cx:pt>
          <cx:pt idx="1473">0.54452866600000005</cx:pt>
          <cx:pt idx="1474">0.57272183799999998</cx:pt>
          <cx:pt idx="1475">0.65618091099999998</cx:pt>
          <cx:pt idx="1476">2.365418204</cx:pt>
          <cx:pt idx="1477">5.0263746229999997</cx:pt>
          <cx:pt idx="1478">6.1183873389999999</cx:pt>
          <cx:pt idx="1479">8.0511251949999991</cx:pt>
          <cx:pt idx="1480">9.2840477490000008</cx:pt>
          <cx:pt idx="1481">9.3395517399999992</cx:pt>
          <cx:pt idx="1482">9.5357554879999995</cx:pt>
          <cx:pt idx="1483">9.7887657449999992</cx:pt>
          <cx:pt idx="1484">9.8442557320000006</cx:pt>
          <cx:pt idx="1485">10.404463720000001</cx:pt>
          <cx:pt idx="1486">11.60898302</cx:pt>
          <cx:pt idx="1487">11.748590330000001</cx:pt>
          <cx:pt idx="1488">11.88864583</cx:pt>
          <cx:pt idx="1489">11.972553080000001</cx:pt>
          <cx:pt idx="1490">13.79320452</cx:pt>
          <cx:pt idx="1491">13.87775603</cx:pt>
          <cx:pt idx="1492">14.04578061</cx:pt>
          <cx:pt idx="1493">14.101494690000001</cx:pt>
          <cx:pt idx="1494">14.577585340000001</cx:pt>
          <cx:pt idx="1495">14.605988590000001</cx:pt>
          <cx:pt idx="1496">16.12426022</cx:pt>
          <cx:pt idx="1497">16.25819529</cx:pt>
          <cx:pt idx="1498">16.286150370000001</cx:pt>
          <cx:pt idx="1499">16.566695530000001</cx:pt>
          <cx:pt idx="1500">16.650812869999999</cx:pt>
          <cx:pt idx="1501">16.762465110000001</cx:pt>
          <cx:pt idx="1502">17.88286708</cx:pt>
          <cx:pt idx="1503">18.05132583</cx:pt>
          <cx:pt idx="1504">18.162964070000001</cx:pt>
          <cx:pt idx="1505">18.387136890000001</cx:pt>
          <cx:pt idx="1506">18.415764240000001</cx:pt>
          <cx:pt idx="1507">18.891630800000001</cx:pt>
          <cx:pt idx="1508">19.003703210000001</cx:pt>
          <cx:pt idx="1509">19.479793860000001</cx:pt>
          <cx:pt idx="1510">21.776325880000002</cx:pt>
          <cx:pt idx="1511">22.476575350000001</cx:pt>
          <cx:pt idx="1512">22.672989189999999</cx:pt>
          <cx:pt idx="1513">22.73001979</cx:pt>
          <cx:pt idx="1514">23.036783339999999</cx:pt>
          <cx:pt idx="1515">25.58587743</cx:pt>
          <cx:pt idx="1516">25.727235449999998</cx:pt>
          <cx:pt idx="1517">25.754980440000001</cx:pt>
          <cx:pt idx="1518">26.454585659999999</cx:pt>
          <cx:pt idx="1519">26.902273059999999</cx:pt>
          <cx:pt idx="1520">27.294890639999998</cx:pt>
          <cx:pt idx="1521">27.406752959999999</cx:pt>
          <cx:pt idx="1522">28.247057940000001</cx:pt>
          <cx:pt idx="1523">28.275895370000001</cx:pt>
          <cx:pt idx="1524">28.303430280000001</cx:pt>
          <cx:pt idx="1525">28.807476009999998</cx:pt>
          <cx:pt idx="1526">28.92044477</cx:pt>
          <cx:pt idx="1527">29.759433229999999</cx:pt>
          <cx:pt idx="1528">30.319851289999999</cx:pt>
          <cx:pt idx="1529">30.347610299999999</cx:pt>
          <cx:pt idx="1530">30.404626889999999</cx:pt>
          <cx:pt idx="1531">30.459682699999998</cx:pt>
          <cx:pt idx="1532">31.83245067</cx:pt>
          <cx:pt idx="1533">31.888164750000001</cx:pt>
          <cx:pt idx="1534">32.616817480000002</cx:pt>
          <cx:pt idx="1535">33.345484220000003</cx:pt>
          <cx:pt idx="1536">33.569867129999999</cx:pt>
          <cx:pt idx="1537">34.270116610000002</cx:pt>
          <cx:pt idx="1538">34.522258520000001</cx:pt>
          <cx:pt idx="1539">34.80192134</cx:pt>
          <cx:pt idx="1540">34.857635420000001</cx:pt>
          <cx:pt idx="1541">34.941976830000002</cx:pt>
          <cx:pt idx="1542">35.082452500000002</cx:pt>
          <cx:pt idx="1543">35.1654774</cx:pt>
          <cx:pt idx="1544">37.409138460000001</cx:pt>
          <cx:pt idx="1545">37.574754089999999</cx:pt>
          <cx:pt idx="1546">37.882820160000001</cx:pt>
          <cx:pt idx="1547">37.91188168</cx:pt>
          <cx:pt idx="1548">38.050830730000001</cx:pt>
          <cx:pt idx="1549">40.126033049999997</cx:pt>
          <cx:pt idx="1550">40.291648670000001</cx:pt>
          <cx:pt idx="1551">40.935973990000001</cx:pt>
          <cx:pt idx="1552">40.964811419999997</cx:pt>
          <cx:pt idx="1553">41.020091319999999</cx:pt>
          <cx:pt idx="1554">41.356994819999997</cx:pt>
          <cx:pt idx="1555">42.169330709999997</cx:pt>
          <cx:pt idx="1556">42.448559359999997</cx:pt>
          <cx:pt idx="1557">42.561304030000002</cx:pt>
          <cx:pt idx="1558">42.645631450000003</cx:pt>
          <cx:pt idx="1559">42.729748780000001</cx:pt>
          <cx:pt idx="1560">43.401609010000001</cx:pt>
          <cx:pt idx="1561">43.541216329999997</cx:pt>
          <cx:pt idx="1562">43.57005376</cx:pt>
          <cx:pt idx="1563">43.989113809999999</cx:pt>
          <cx:pt idx="1564">44.102292660000003</cx:pt>
          <cx:pt idx="1565">44.131578259999998</cx:pt>
          <cx:pt idx="1566">44.185541649999998</cx:pt>
          <cx:pt idx="1567">45.585830520000002</cx:pt>
          <cx:pt idx="1568">45.614667939999997</cx:pt>
          <cx:pt idx="1569">45.950493020000003</cx:pt>
          <cx:pt idx="1570">46.594370159999997</cx:pt>
          <cx:pt idx="1571">46.791008079999997</cx:pt>
          <cx:pt idx="1572">47.016707510000003</cx:pt>
          <cx:pt idx="1573">47.043149990000003</cx:pt>
          <cx:pt idx="1574">47.070670890000002</cx:pt>
          <cx:pt idx="1575">47.127267320000001</cx:pt>
          <cx:pt idx="1576">47.182981400000003</cx:pt>
          <cx:pt idx="1577">48.9197396</cx:pt>
          <cx:pt idx="1578">50.404369889999998</cx:pt>
          <cx:pt idx="1579">50.992532949999998</cx:pt>
          <cx:pt idx="1580">51.104185200000003</cx:pt>
          <cx:pt idx="1581">51.328792200000002</cx:pt>
          <cx:pt idx="1582">52.0286075</cx:pt>
          <cx:pt idx="1583">53.205381809999999</cx:pt>
          <cx:pt idx="1584">53.263056659999997</cx:pt>
          <cx:pt idx="1585">53.401795630000002</cx:pt>
          <cx:pt idx="1586">54.129804110000002</cx:pt>
          <cx:pt idx="1587">54.157325020000002</cx:pt>
          <cx:pt idx="1588">55.278175160000004</cx:pt>
          <cx:pt idx="1589">55.642179400000003</cx:pt>
          <cx:pt idx="1590">56.061897719999997</cx:pt>
          <cx:pt idx="1591">56.230132380000001</cx:pt>
          <cx:pt idx="1592">56.763015539999998</cx:pt>
          <cx:pt idx="1593">56.958785110000001</cx:pt>
          <cx:pt idx="1594">56.986320020000001</cx:pt>
          <cx:pt idx="1595">58.498905389999997</cx:pt>
          <cx:pt idx="1596">59.227123949999999</cx:pt>
          <cx:pt idx="1597">59.311675459999996</cx:pt>
          <cx:pt idx="1598">59.36761362</cx:pt>
          <cx:pt idx="1599">60.26363267</cx:pt>
          <cx:pt idx="1600">61.666330500000001</cx:pt>
          <cx:pt idx="1601">61.832590379999999</cx:pt>
          <cx:pt idx="1602">62.50663548</cx:pt>
          <cx:pt idx="1603">62.672895359999998</cx:pt>
          <cx:pt idx="1604">63.157725470000003</cx:pt>
          <cx:pt idx="1605">63.765552329999998</cx:pt>
          <cx:pt idx="1606">65.081513790000002</cx:pt>
          <cx:pt idx="1607">65.278151699999995</cx:pt>
          <cx:pt idx="1608">65.390014030000003</cx:pt>
          <cx:pt idx="1609">65.642155939999995</cx:pt>
          <cx:pt idx="1610">66.67844058</cx:pt>
          <cx:pt idx="1611">67.434404130000004</cx:pt>
          <cx:pt idx="1612">67.464558080000003</cx:pt>
          <cx:pt idx="1613">68.470702770000003</cx:pt>
          <cx:pt idx="1614">68.807606269999994</cx:pt>
          <cx:pt idx="1615">69.479676580000003</cx:pt>
          <cx:pt idx="1616">69.955319059999994</cx:pt>
          <cx:pt idx="1617">69.985472999999999</cx:pt>
          <cx:pt idx="1618">70.069590340000005</cx:pt>
          <cx:pt idx="1619">71.049950809999999</cx:pt>
          <cx:pt idx="1620">71.692525430000003</cx:pt>
          <cx:pt idx="1621">72.000801589999995</cx:pt>
          <cx:pt idx="1622">72.142383690000003</cx:pt>
          <cx:pt idx="1623">72.226290939999998</cx:pt>
          <cx:pt idx="1624">72.618474340000006</cx:pt>
          <cx:pt idx="1625">72.868865560000003</cx:pt>
          <cx:pt idx="1626">72.952758810000006</cx:pt>
          <cx:pt idx="1627">73.010657749999993</cx:pt>
          <cx:pt idx="1628">73.094565000000003</cx:pt>
          <cx:pt idx="1629">73.178682330000001</cx:pt>
          <cx:pt idx="1630">73.206637409999999</cx:pt>
          <cx:pt idx="1631">74.24314613</cx:pt>
          <cx:pt idx="1632">74.299084289999996</cx:pt>
          <cx:pt idx="1633">74.8313232</cx:pt>
          <cx:pt idx="1634">74.969838080000002</cx:pt>
          <cx:pt idx="1635">75.64365909</cx:pt>
          <cx:pt idx="1636">75.78196389</cx:pt>
          <cx:pt idx="1637">75.811669670000001</cx:pt>
          <cx:pt idx="1638">75.923756080000004</cx:pt>
          <cx:pt idx="1639">76.118209129999997</cx:pt>
          <cx:pt idx="1640">76.398096039999999</cx:pt>
          <cx:pt idx="1641">78.976909910000003</cx:pt>
          <cx:pt idx="1642">79.143183800000003</cx:pt>
          <cx:pt idx="1643">79.172889569999995</cx:pt>
          <cx:pt idx="1644">79.283673460000003</cx:pt>
          <cx:pt idx="1645">81.329814260000006</cx:pt>
          <cx:pt idx="1646">82.840873029999997</cx:pt>
          <cx:pt idx="1647">82.952735349999998</cx:pt>
          <cx:pt idx="1648">83.681178000000003</cx:pt>
          <cx:pt idx="1649">83.738642769999998</cx:pt>
          <cx:pt idx="1650">87.043252240000001</cx:pt>
          <cx:pt idx="1651">88.611495660000003</cx:pt>
          <cx:pt idx="1652">89.56392907</cx:pt>
          <cx:pt idx="1653">89.705539180000002</cx:pt>
          <cx:pt idx="1654">89.789684530000002</cx:pt>
          <cx:pt idx="1655">89.816126999999994</cx:pt>
          <cx:pt idx="1656">89.899389999999997</cx:pt>
          <cx:pt idx="1657">131.8629</cx:pt>
          <cx:pt idx="1658">112.3742</cx:pt>
          <cx:pt idx="1659">84.870069999999998</cx:pt>
          <cx:pt idx="1660">100.5016852</cx:pt>
          <cx:pt idx="1661">119.3682</cx:pt>
          <cx:pt idx="1662">106.3233</cx:pt>
          <cx:pt idx="1663">112.2155745</cx:pt>
          <cx:pt idx="1664">118.1108</cx:pt>
          <cx:pt idx="1665">103.4943</cx:pt>
          <cx:pt idx="1666">121.2542</cx:pt>
          <cx:pt idx="1667">98.229230000000001</cx:pt>
          <cx:pt idx="1668">127.6194</cx:pt>
          <cx:pt idx="1669">107.9736</cx:pt>
          <cx:pt idx="1670">92.178309999999996</cx:pt>
          <cx:pt idx="1671">115.5176</cx:pt>
          <cx:pt idx="1672">104.4032692</cx:pt>
          <cx:pt idx="1673">93.199889999999996</cx:pt>
          <cx:pt idx="1674">119.211</cx:pt>
          <cx:pt idx="1675">88.406300000000002</cx:pt>
          <cx:pt idx="1676">121.4113</cx:pt>
          <cx:pt idx="1677">94.064319999999995</cx:pt>
          <cx:pt idx="1678">113.408852</cx:pt>
          <cx:pt idx="1679">113.553</cx:pt>
          <cx:pt idx="1680">125.4191</cx:pt>
          <cx:pt idx="1681">121.089055</cx:pt>
          <cx:pt idx="1682">112.2957</cx:pt>
          <cx:pt idx="1683">123.29730000000001</cx:pt>
          <cx:pt idx="1684">109.6238</cx:pt>
          <cx:pt idx="1685">126.5192</cx:pt>
          <cx:pt idx="1686">139.4855</cx:pt>
          <cx:pt idx="1687">117.08920000000001</cx:pt>
          <cx:pt idx="1688">131.31280000000001</cx:pt>
          <cx:pt idx="1689">141.60730000000001</cx:pt>
          <cx:pt idx="1690">115.0461</cx:pt>
          <cx:pt idx="1691">147.501</cx:pt>
          <cx:pt idx="1692">124.08320000000001</cx:pt>
          <cx:pt idx="1693">142.3931</cx:pt>
          <cx:pt idx="1694">124.2403</cx:pt>
          <cx:pt idx="1695">164.86789999999999</cx:pt>
          <cx:pt idx="1696">136.9708</cx:pt>
          <cx:pt idx="1697">159.85859160000001</cx:pt>
          <cx:pt idx="1698">162.9819</cx:pt>
          <cx:pt idx="1699">135.4778</cx:pt>
          <cx:pt idx="1700">149.0727</cx:pt>
          <cx:pt idx="1701">137.83529999999999</cx:pt>
          <cx:pt idx="1702">149.46559999999999</cx:pt>
          <cx:pt idx="1703">128.4838</cx:pt>
          <cx:pt idx="1704">153.47329999999999</cx:pt>
          <cx:pt idx="1705">164.71080000000001</cx:pt>
          <cx:pt idx="1706">143.9648</cx:pt>
          <cx:pt idx="1707">161.0959</cx:pt>
          <cx:pt idx="1708">142.31450000000001</cx:pt>
          <cx:pt idx="1709">154.9724928</cx:pt>
          <cx:pt idx="1710">173.35489999999999</cx:pt>
          <cx:pt idx="1711">150.25139999999999</cx:pt>
          <cx:pt idx="1712">177.36269999999999</cx:pt>
          <cx:pt idx="1713">152.2946</cx:pt>
          <cx:pt idx="1714">172.33340000000001</cx:pt>
          <cx:pt idx="1715">146.7938</cx:pt>
          <cx:pt idx="1716">173.905</cx:pt>
          <cx:pt idx="1717">158.26689999999999</cx:pt>
          <cx:pt idx="1718">130.21270000000001</cx:pt>
          <cx:pt idx="1719">133.66626400000001</cx:pt>
          <cx:pt idx="1720">141.84299999999999</cx:pt>
          <cx:pt idx="1721">125.5762</cx:pt>
          <cx:pt idx="1722">0.94300059999999997</cx:pt>
          <cx:pt idx="1723">3.8688593610000002</cx:pt>
          <cx:pt idx="1724">12.691854429999999</cx:pt>
          <cx:pt idx="1725">91.827763770000004</cx:pt>
          <cx:pt idx="1726">103.55464120000001</cx:pt>
          <cx:pt idx="1727">106.48050000000001</cx:pt>
          <cx:pt idx="1728">122.1972</cx:pt>
          <cx:pt idx="1729">188.44290000000001</cx:pt>
          <cx:pt idx="1730">163.61060000000001</cx:pt>
          <cx:pt idx="1731">138.30670000000001</cx:pt>
          <cx:pt idx="1732">162.589</cx:pt>
          <cx:pt idx="1733">156.98129040000001</cx:pt>
          <cx:pt idx="1734">144.20050000000001</cx:pt>
          <cx:pt idx="1735">156.85239999999999</cx:pt>
          <cx:pt idx="1736">168.87569999999999</cx:pt>
          <cx:pt idx="1737">138.85679999999999</cx:pt>
          <cx:pt idx="1738">154.25919999999999</cx:pt>
          <cx:pt idx="1739">174.84800000000001</cx:pt>
          <cx:pt idx="1740">136.49930000000001</cx:pt>
          <cx:pt idx="1741">156.77379999999999</cx:pt>
          <cx:pt idx="1742">175.3981</cx:pt>
          <cx:pt idx="1743">143.80760000000001</cx:pt>
          <cx:pt idx="1744">165.4966</cx:pt>
          <cx:pt idx="1745">177.67699999999999</cx:pt>
          <cx:pt idx="1746">143.1003</cx:pt>
          <cx:pt idx="1747">172.25479999999999</cx:pt>
          <cx:pt idx="1748">162.11750000000001</cx:pt>
          <cx:pt idx="1749">147.8939</cx:pt>
          <cx:pt idx="1750">171.7047</cx:pt>
          <cx:pt idx="1751">159.60290000000001</cx:pt>
          <cx:pt idx="1752">143.80760000000001</cx:pt>
          <cx:pt idx="1753">174.6123</cx:pt>
          <cx:pt idx="1754">163.2963</cx:pt>
          <cx:pt idx="1755">144.90780000000001</cx:pt>
          <cx:pt idx="1756">183.64940000000001</cx:pt>
          <cx:pt idx="1757">160.15299999999999</cx:pt>
          <cx:pt idx="1758">179.0915</cx:pt>
          <cx:pt idx="1759">152.76609999999999</cx:pt>
          <cx:pt idx="1760">173.5907</cx:pt>
          <cx:pt idx="1761">157.71680000000001</cx:pt>
          <cx:pt idx="1762">176.4983</cx:pt>
          <cx:pt idx="1763">160.86019999999999</cx:pt>
          <cx:pt idx="1764">174.06219999999999</cx:pt>
          <cx:pt idx="1765">162.82480000000001</cx:pt>
          <cx:pt idx="1766">176.18389999999999</cx:pt>
          <cx:pt idx="1767">161.96029999999999</cx:pt>
          <cx:pt idx="1768">176.1054</cx:pt>
          <cx:pt idx="1769">163.13910000000001</cx:pt>
          <cx:pt idx="1770">177.36269999999999</cx:pt>
          <cx:pt idx="1771">159.36709999999999</cx:pt>
          <cx:pt idx="1772">181.76339999999999</cx:pt>
          <cx:pt idx="1773">170.36879999999999</cx:pt>
          <cx:pt idx="1774">180.74180000000001</cx:pt>
          <cx:pt idx="1775">163.76779999999999</cx:pt>
          <cx:pt idx="1776">186.3212</cx:pt>
          <cx:pt idx="1777">163.6892</cx:pt>
          <cx:pt idx="1778">177.67699999999999</cx:pt>
          <cx:pt idx="1779">188.67869999999999</cx:pt>
          <cx:pt idx="1780">159.6814</cx:pt>
          <cx:pt idx="1781">182.7064</cx:pt>
          <cx:pt idx="1782">165.02510000000001</cx:pt>
          <cx:pt idx="1783">191.42910000000001</cx:pt>
          <cx:pt idx="1784">168.4828</cx:pt>
          <cx:pt idx="1785">196.45849999999999</cx:pt>
          <cx:pt idx="1786">176.26249999999999</cx:pt>
          <cx:pt idx="1787">190.26024820000001</cx:pt>
          <cx:pt idx="1788">197.7158</cx:pt>
          <cx:pt idx="1789">172.88339999999999</cx:pt>
          <cx:pt idx="1790">200.93770000000001</cx:pt>
          <cx:pt idx="1791">175.94820000000001</cx:pt>
          <cx:pt idx="1792">199.68039999999999</cx:pt>
          <cx:pt idx="1793">166.36099999999999</cx:pt>
          <cx:pt idx="1794">181.6062</cx:pt>
          <cx:pt idx="1795">197.3229</cx:pt>
          <cx:pt idx="1796">170.2116</cx:pt>
          <cx:pt idx="1797">199.36609999999999</cx:pt>
          <cx:pt idx="1798">175.3981</cx:pt>
          <cx:pt idx="1799">207.69589999999999</cx:pt>
          <cx:pt idx="1800">197.0784692</cx:pt>
          <cx:pt idx="1801">171.94040000000001</cx:pt>
          <cx:pt idx="1802">185.77109999999999</cx:pt>
          <cx:pt idx="1803">207.53870000000001</cx:pt>
          <cx:pt idx="1804">173.04060000000001</cx:pt>
          <cx:pt idx="1805">186.7927</cx:pt>
          <cx:pt idx="1806">204.6311</cx:pt>
          <cx:pt idx="1807">171.7833</cx:pt>
          <cx:pt idx="1808">194.101</cx:pt>
          <cx:pt idx="1809">173.74780000000001</cx:pt>
          <cx:pt idx="1810">209.0318</cx:pt>
          <cx:pt idx="1811">191.58629999999999</cx:pt>
          <cx:pt idx="1812">178.3843</cx:pt>
          <cx:pt idx="1813">213.58959999999999</cx:pt>
          <cx:pt idx="1814">182.54920000000001</cx:pt>
          <cx:pt idx="1815">188.15485870000001</cx:pt>
          <cx:pt idx="1816">217.99029999999999</cx:pt>
          <cx:pt idx="1817">176.57689999999999</cx:pt>
          <cx:pt idx="1818">193.62950000000001</cx:pt>
          <cx:pt idx="1819">210.05340000000001</cx:pt>
          <cx:pt idx="1820">176.1054</cx:pt>
          <cx:pt idx="1821">216.18279999999999</cx:pt>
          <cx:pt idx="1822">266.8691</cx:pt>
          <cx:pt idx="1823">212.8038</cx:pt>
          <cx:pt idx="1824">266.79059999999998</cx:pt>
          <cx:pt idx="1825">231.50659999999999</cx:pt>
          <cx:pt idx="1826">261.13260000000002</cx:pt>
          <cx:pt idx="1827">229.5421</cx:pt>
          <cx:pt idx="1828">247.852</cx:pt>
          <cx:pt idx="1829">244.86396350000001</cx:pt>
          <cx:pt idx="1830">238.88332879999999</cx:pt>
          <cx:pt idx="1831">229.77780000000001</cx:pt>
          <cx:pt idx="1832">258.93220000000002</cx:pt>
          <cx:pt idx="1833">234.41419999999999</cx:pt>
          <cx:pt idx="1834">243.02631289999999</cx:pt>
          <cx:pt idx="1835">251.70259999999999</cx:pt>
          <cx:pt idx="1836">218.77610000000001</cx:pt>
          <cx:pt idx="1837">250.0523</cx:pt>
          <cx:pt idx="1838">235.0429</cx:pt>
          <cx:pt idx="1839">251.33732180000001</cx:pt>
          <cx:pt idx="1840">251.46690000000001</cx:pt>
          <cx:pt idx="1841">239.5222</cx:pt>
          <cx:pt idx="1842">252.88130000000001</cx:pt>
          <cx:pt idx="1843">242.35120000000001</cx:pt>
          <cx:pt idx="1844">253.6671</cx:pt>
          <cx:pt idx="1845">237.00749999999999</cx:pt>
          <cx:pt idx="1846">247.9306</cx:pt>
          <cx:pt idx="1847">236.2216</cx:pt>
          <cx:pt idx="1848">253.58860000000001</cx:pt>
          <cx:pt idx="1849">228.4419</cx:pt>
          <cx:pt idx="1850">256.18180000000001</cx:pt>
          <cx:pt idx="1851">238.50059999999999</cx:pt>
          <cx:pt idx="1852">254.61019999999999</cx:pt>
          <cx:pt idx="1853">227.65610000000001</cx:pt>
          <cx:pt idx="1854">248.40209999999999</cx:pt>
          <cx:pt idx="1855">221.2122</cx:pt>
          <cx:pt idx="1856">262.70420000000001</cx:pt>
          <cx:pt idx="1857">235.8287</cx:pt>
          <cx:pt idx="1858">248.92250960000001</cx:pt>
          <cx:pt idx="1859">262.2328</cx:pt>
          <cx:pt idx="1860">225.1414</cx:pt>
          <cx:pt idx="1861">249.58080000000001</cx:pt>
          <cx:pt idx="1862">234.41419999999999</cx:pt>
          <cx:pt idx="1863">254.8459</cx:pt>
          <cx:pt idx="1864">227.18459999999999</cx:pt>
          <cx:pt idx="1865">245.2587</cx:pt>
          <cx:pt idx="1866">229.6207</cx:pt>
          <cx:pt idx="1867">254.76730000000001</cx:pt>
          <cx:pt idx="1868">236.69309999999999</cx:pt>
          <cx:pt idx="1869">247.38050000000001</cx:pt>
          <cx:pt idx="1870">233.86420000000001</cx:pt>
          <cx:pt idx="1871">255.78890000000001</cx:pt>
          <cx:pt idx="1872">233.70699999999999</cx:pt>
          <cx:pt idx="1873">254.8459</cx:pt>
          <cx:pt idx="1874">234.88570000000001</cx:pt>
          <cx:pt idx="1875">249.738</cx:pt>
          <cx:pt idx="1876">238.10769999999999</cx:pt>
          <cx:pt idx="1877">255.5532</cx:pt>
          <cx:pt idx="1878">242.0368</cx:pt>
          <cx:pt idx="1879">251.5528219</cx:pt>
          <cx:pt idx="1880">261.28969999999998</cx:pt>
          <cx:pt idx="1881">237.79329999999999</cx:pt>
          <cx:pt idx="1882">251.9383</cx:pt>
          <cx:pt idx="1883">228.28469999999999</cx:pt>
          <cx:pt idx="1884">264.11869999999999</cx:pt>
          <cx:pt idx="1885">238.422</cx:pt>
          <cx:pt idx="1886">267.73360000000002</cx:pt>
          <cx:pt idx="1887">225.6129</cx:pt>
          <cx:pt idx="1888">253.0385</cx:pt>
          <cx:pt idx="1889">224.5127</cx:pt>
          <cx:pt idx="1890">265.76900000000001</cx:pt>
          <cx:pt idx="1891">237.55760000000001</cx:pt>
          <cx:pt idx="1892">261.76119999999997</cx:pt>
          <cx:pt idx="1893">220.97649999999999</cx:pt>
          <cx:pt idx="1894">252.01689999999999</cx:pt>
          <cx:pt idx="1895">239.9151</cx:pt>
          <cx:pt idx="1896">259.6395</cx:pt>
          <cx:pt idx="1897">235.8287</cx:pt>
          <cx:pt idx="1898">250.20949999999999</cx:pt>
          <cx:pt idx="1899">236.06450000000001</cx:pt>
          <cx:pt idx="1900">258.30360000000002</cx:pt>
          <cx:pt idx="1901">235.35720000000001</cx:pt>
          <cx:pt idx="1902">256.0247</cx:pt>
          <cx:pt idx="1903">237.3218</cx:pt>
          <cx:pt idx="1904">255.6317</cx:pt>
          <cx:pt idx="1905">229.5421</cx:pt>
          <cx:pt idx="1906">261.28969999999998</cx:pt>
          <cx:pt idx="1907">240.9366</cx:pt>
          <cx:pt idx="1908">248.83621199999999</cx:pt>
          <cx:pt idx="1909">256.7319</cx:pt>
          <cx:pt idx="1910">227.10599999999999</cx:pt>
          <cx:pt idx="1911">252.9599</cx:pt>
          <cx:pt idx="1912">231.11369999999999</cx:pt>
          <cx:pt idx="1913">266.47629999999998</cx:pt>
          <cx:pt idx="1914">224.59129999999999</cx:pt>
          <cx:pt idx="1915">246.51609999999999</cx:pt>
          <cx:pt idx="1916">260.7396</cx:pt>
          <cx:pt idx="1917">228.36330000000001</cx:pt>
          <cx:pt idx="1918">257.98930000000001</cx:pt>
          <cx:pt idx="1919">233.9427</cx:pt>
          <cx:pt idx="1920">257.83210000000003</cx:pt>
          <cx:pt idx="1921">228.36330000000001</cx:pt>
          <cx:pt idx="1922">247.69479999999999</cx:pt>
          <cx:pt idx="1923">236.7236595</cx:pt>
          <cx:pt idx="1924">230.87799999999999</cx:pt>
          <cx:pt idx="1925">257.20339999999999</cx:pt>
          <cx:pt idx="1926">242.11539999999999</cx:pt>
          <cx:pt idx="1927">246.29585879999999</cx:pt>
          <cx:pt idx="1928">254.68870000000001</cx:pt>
          <cx:pt idx="1929">233.2355</cx:pt>
          <cx:pt idx="1930">254.68870000000001</cx:pt>
          <cx:pt idx="1931">233.70699999999999</cx:pt>
          <cx:pt idx="1932">254.06010000000001</cx:pt>
          <cx:pt idx="1933">240.2294</cx:pt>
          <cx:pt idx="1934">252.09549999999999</cx:pt>
          <cx:pt idx="1935">230.79939999999999</cx:pt>
          <cx:pt idx="1936">266.39760000000001</cx:pt>
          <cx:pt idx="1937">242.90119999999999</cx:pt>
          <cx:pt idx="1938">266.39760000000001</cx:pt>
          <cx:pt idx="1939">230.87799999999999</cx:pt>
          <cx:pt idx="1940">249.0308</cx:pt>
          <cx:pt idx="1941">230.0136</cx:pt>
          <cx:pt idx="1942">264.74740000000003</cx:pt>
          <cx:pt idx="1943">237.55760000000001</cx:pt>
          <cx:pt idx="1944">263.2543</cx:pt>
          <cx:pt idx="1945">229.2277</cx:pt>
          <cx:pt idx="1946">252.56700000000001</cx:pt>
          <cx:pt idx="1947">227.97040000000001</cx:pt>
          <cx:pt idx="1948">260.58249999999998</cx:pt>
          <cx:pt idx="1949">238.89349999999999</cx:pt>
          <cx:pt idx="1950">249.738</cx:pt>
          <cx:pt idx="1951">225.6129</cx:pt>
          <cx:pt idx="1952">254.61019999999999</cx:pt>
          <cx:pt idx="1953">241.01519999999999</cx:pt>
          <cx:pt idx="1954">245.01128969999999</cx:pt>
          <cx:pt idx="1955">252.88130000000001</cx:pt>
          <cx:pt idx="1956">239.99359999999999</cx:pt>
          <cx:pt idx="1957">258.85359999999997</cx:pt>
          <cx:pt idx="1958">235.7501</cx:pt>
          <cx:pt idx="1959">251.8597</cx:pt>
          <cx:pt idx="1960">242.2507646</cx:pt>
          <cx:pt idx="1961">232.5283</cx:pt>
          <cx:pt idx="1962">265.61180000000002</cx:pt>
          <cx:pt idx="1963">242.35120000000001</cx:pt>
          <cx:pt idx="1964">268.99090000000001</cx:pt>
          <cx:pt idx="1965">231.50659999999999</cx:pt>
          <cx:pt idx="1966">251.78120000000001</cx:pt>
          <cx:pt idx="1967">233.86420000000001</cx:pt>
          <cx:pt idx="1968">268.7552</cx:pt>
          <cx:pt idx="1969">243.29419999999999</cx:pt>
          <cx:pt idx="1970">262.1542</cx:pt>
          <cx:pt idx="1971">223.49109999999999</cx:pt>
          <cx:pt idx="1972">254.61019999999999</cx:pt>
          <cx:pt idx="1973">235.98589999999999</cx:pt>
          <cx:pt idx="1974">261.21120000000002</cx:pt>
          <cx:pt idx="1975">242.4298</cx:pt>
          <cx:pt idx="1976">254.68870000000001</cx:pt>
          <cx:pt idx="1977">232.2139</cx:pt>
          <cx:pt idx="1978">252.01689999999999</cx:pt>
          <cx:pt idx="1979">239.99359999999999</cx:pt>
          <cx:pt idx="1980">256.49619999999999</cx:pt>
          <cx:pt idx="1981">241.09379999999999</cx:pt>
          <cx:pt idx="1982">253.58860000000001</cx:pt>
          <cx:pt idx="1983">248.61084339999999</cx:pt>
          <cx:pt idx="1984">238.422</cx:pt>
          <cx:pt idx="1985">253.82429999999999</cx:pt>
          <cx:pt idx="1986">240.38659999999999</cx:pt>
          <cx:pt idx="1987">254.5316</cx:pt>
          <cx:pt idx="1988">228.04900000000001</cx:pt>
          <cx:pt idx="1989">257.36059999999998</cx:pt>
          <cx:pt idx="1990">229.69919999999999</cx:pt>
          <cx:pt idx="1991">265.53320000000002</cx:pt>
          <cx:pt idx="1992">242.11539999999999</cx:pt>
          <cx:pt idx="1993">265.4547</cx:pt>
          <cx:pt idx="1994">227.7346</cx:pt>
          <cx:pt idx="1995">254.92449999999999</cx:pt>
          <cx:pt idx="1996">232.9212</cx:pt>
          <cx:pt idx="1997">266.16199999999998</cx:pt>
          <cx:pt idx="1998">235.90729999999999</cx:pt>
          <cx:pt idx="1999">261.05399999999997</cx:pt>
          <cx:pt idx="2000">229.14920000000001</cx:pt>
          <cx:pt idx="2001">256.7319</cx:pt>
          <cx:pt idx="2002">231.66390000000001</cx:pt>
          <cx:pt idx="2003">258.14640000000003</cx:pt>
          <cx:pt idx="2004">234.88570000000001</cx:pt>
          <cx:pt idx="2005">246.67320000000001</cx:pt>
          <cx:pt idx="2006">230.95660000000001</cx:pt>
          <cx:pt idx="2007">258.69650000000001</cx:pt>
          <cx:pt idx="2008">246.4375</cx:pt>
          <cx:pt idx="2009">257.36059999999998</cx:pt>
          <cx:pt idx="2010">238.0291</cx:pt>
          <cx:pt idx="2011">256.18180000000001</cx:pt>
          <cx:pt idx="2012">230.7208</cx:pt>
          <cx:pt idx="2013">267.89069999999998</cx:pt>
          <cx:pt idx="2014">240.38659999999999</cx:pt>
          <cx:pt idx="2015">252.2889687</cx:pt>
          <cx:pt idx="2016">264.19729999999998</cx:pt>
          <cx:pt idx="2017">240.38659999999999</cx:pt>
          <cx:pt idx="2018">251.70259999999999</cx:pt>
          <cx:pt idx="2019">241.16985769999999</cx:pt>
          <cx:pt idx="2020">230.79939999999999</cx:pt>
          <cx:pt idx="2021">262.2328</cx:pt>
          <cx:pt idx="2022">240.07220000000001</cx:pt>
          <cx:pt idx="2023">264.11869999999999</cx:pt>
          <cx:pt idx="2024">227.65610000000001</cx:pt>
          <cx:pt idx="2025">250.99529999999999</cx:pt>
          <cx:pt idx="2026">236.8503</cx:pt>
          <cx:pt idx="2027">264.74740000000003</cx:pt>
          <cx:pt idx="2028">238.50059999999999</cx:pt>
          <cx:pt idx="2029">259.6395</cx:pt>
          <cx:pt idx="2030">227.65610000000001</cx:pt>
          <cx:pt idx="2031">258.46080000000001</cx:pt>
          <cx:pt idx="2032">247.852</cx:pt>
          <cx:pt idx="2033">233.6284</cx:pt>
          <cx:pt idx="2034">261.44690000000003</cx:pt>
          <cx:pt idx="2035">244.47290000000001</cx:pt>
          <cx:pt idx="2036">254.61019999999999</cx:pt>
          <cx:pt idx="2037">240.30799999999999</cx:pt>
          <cx:pt idx="2038">255.16030000000001</cx:pt>
          <cx:pt idx="2039">240.9366</cx:pt>
          <cx:pt idx="2040">257.28199999999998</cx:pt>
          <cx:pt idx="2041">232.99969999999999</cx:pt>
          <cx:pt idx="2042">260.11090000000002</cx:pt>
          <cx:pt idx="2043">245.2587</cx:pt>
          <cx:pt idx="2044">255.71029999999999</cx:pt>
          <cx:pt idx="2045">228.36330000000001</cx:pt>
          <cx:pt idx="2046">272.21280000000002</cx:pt>
          <cx:pt idx="2047">243.05840000000001</cx:pt>
          <cx:pt idx="2048">259.16800000000001</cx:pt>
          <cx:pt idx="2049">229.46350000000001</cx:pt>
          <cx:pt idx="2050">255.86750000000001</cx:pt>
          <cx:pt idx="2051">230.24930000000001</cx:pt>
          <cx:pt idx="2052">266.8691</cx:pt>
          <cx:pt idx="2053">234.96430000000001</cx:pt>
          <cx:pt idx="2054">249.738</cx:pt>
          <cx:pt idx="2055">261.21120000000002</cx:pt>
          <cx:pt idx="2056">230.3279</cx:pt>
          <cx:pt idx="2057">256.41759999999999</cx:pt>
          <cx:pt idx="2058">241.48670000000001</cx:pt>
          <cx:pt idx="2059">262.07560000000001</cx:pt>
          <cx:pt idx="2060">235.7501</cx:pt>
          <cx:pt idx="2061">256.81049999999999</cx:pt>
          <cx:pt idx="2062">245.7302</cx:pt>
          <cx:pt idx="2063">255.22523849999999</cx:pt>
          <cx:pt idx="2064">256.41759999999999</cx:pt>
          <cx:pt idx="2065">250.1898004</cx:pt>
          <cx:pt idx="2066">243.76560000000001</cx:pt>
          <cx:pt idx="2067">262.31130000000002</cx:pt>
          <cx:pt idx="2068">234.49279999999999</cx:pt>
          <cx:pt idx="2069">261.44690000000003</cx:pt>
          <cx:pt idx="2070">249.3451</cx:pt>
          <cx:pt idx="2071">227.97040000000001</cx:pt>
          <cx:pt idx="2072">267.81220000000002</cx:pt>
          <cx:pt idx="2073">241.95820000000001</cx:pt>
          <cx:pt idx="2074">267.81220000000002</cx:pt>
          <cx:pt idx="2075">231.821</cx:pt>
          <cx:pt idx="2076">252.7242</cx:pt>
          <cx:pt idx="2077">237.87190000000001</cx:pt>
          <cx:pt idx="2078">263.01859999999999</cx:pt>
          <cx:pt idx="2079">229.69919999999999</cx:pt>
          <cx:pt idx="2080">241.48670000000001</cx:pt>
          <cx:pt idx="2081">263.2543</cx:pt>
          <cx:pt idx="2082">228.67760000000001</cx:pt>
          <cx:pt idx="2083">261.52550000000002</cx:pt>
          <cx:pt idx="2084">238.65770000000001</cx:pt>
          <cx:pt idx="2085">259.01080000000002</cx:pt>
          <cx:pt idx="2086">241.87970000000001</cx:pt>
          <cx:pt idx="2087">257.51769999999999</cx:pt>
          <cx:pt idx="2088">251.618504</cx:pt>
          <cx:pt idx="2089">238.97210000000001</cx:pt>
          <cx:pt idx="2090">252.9599</cx:pt>
          <cx:pt idx="2091">241.251</cx:pt>
          <cx:pt idx="2092">253.27420000000001</cx:pt>
          <cx:pt idx="2093">241.80109999999999</cx:pt>
          <cx:pt idx="2094">253.90289999999999</cx:pt>
          <cx:pt idx="2095">235.51439999999999</cx:pt>
          <cx:pt idx="2096">252.17410000000001</cx:pt>
          <cx:pt idx="2097">228.99199999999999</cx:pt>
          <cx:pt idx="2098">264.35449999999997</cx:pt>
          <cx:pt idx="2099">246.8304</cx:pt>
          <cx:pt idx="2100">233.86420000000001</cx:pt>
          <cx:pt idx="2101">264.82600000000002</cx:pt>
          <cx:pt idx="2102">243.137</cx:pt>
          <cx:pt idx="2103">256.339</cx:pt>
          <cx:pt idx="2104">235.4358</cx:pt>
          <cx:pt idx="2105">260.11090000000002</cx:pt>
          <cx:pt idx="2106">241.95820000000001</cx:pt>
          <cx:pt idx="2107">266.2405</cx:pt>
          <cx:pt idx="2108">232.44970000000001</cx:pt>
          <cx:pt idx="2109">249.26650000000001</cx:pt>
          <cx:pt idx="2110">260.89690000000002</cx:pt>
          <cx:pt idx="2111">231.89959999999999</cx:pt>
          <cx:pt idx="2112">256.81049999999999</cx:pt>
          <cx:pt idx="2113">242.82259999999999</cx:pt>
          <cx:pt idx="2114">254.5316</cx:pt>
          <cx:pt idx="2115">235.27860000000001</cx:pt>
          <cx:pt idx="2116">255.31739999999999</cx:pt>
          <cx:pt idx="2117">237.95050000000001</cx:pt>
          <cx:pt idx="2118">256.81049999999999</cx:pt>
          <cx:pt idx="2119">246.0446</cx:pt>
          <cx:pt idx="2120">261.76119999999997</cx:pt>
          <cx:pt idx="2121">240.07220000000001</cx:pt>
          <cx:pt idx="2122">244.03272480000001</cx:pt>
          <cx:pt idx="2123">252.6456</cx:pt>
          <cx:pt idx="2124">233.5498</cx:pt>
          <cx:pt idx="2125">257.4391</cx:pt>
          <cx:pt idx="2126">232.76400000000001</cx:pt>
          <cx:pt idx="2127">270.32679999999999</cx:pt>
          <cx:pt idx="2128">242.50829999999999</cx:pt>
          <cx:pt idx="2129">264.51170000000002</cx:pt>
          <cx:pt idx="2130">227.4203</cx:pt>
          <cx:pt idx="2131">266.00479999999999</cx:pt>
          <cx:pt idx="2132">247.30189999999999</cx:pt>
          <cx:pt idx="2133">240.6417328</cx:pt>
          <cx:pt idx="2134">227.3417</cx:pt>
          <cx:pt idx="2135">275.98480000000001</cx:pt>
          <cx:pt idx="2136">230.24930000000001</cx:pt>
          <cx:pt idx="2137">248.79499999999999</cx:pt>
          <cx:pt idx="2138">267.41930000000002</cx:pt>
          <cx:pt idx="2139">228.5205</cx:pt>
          <cx:pt idx="2140">263.3329</cx:pt>
          <cx:pt idx="2141">243.4513</cx:pt>
          <cx:pt idx="2142">261.21120000000002</cx:pt>
          <cx:pt idx="2143">231.11369999999999</cx:pt>
          <cx:pt idx="2144">257.83210000000003</cx:pt>
          <cx:pt idx="2145">234.88570000000001</cx:pt>
          <cx:pt idx="2146">260.81819999999999</cx:pt>
          <cx:pt idx="2147">246.28030000000001</cx:pt>
          <cx:pt idx="2148">253.9611491</cx:pt>
          <cx:pt idx="2149">256.57470000000001</cx:pt>
          <cx:pt idx="2150">243.137</cx:pt>
          <cx:pt idx="2151">254.92449999999999</cx:pt>
          <cx:pt idx="2152">241.3295</cx:pt>
          <cx:pt idx="2153">256.88900000000001</cx:pt>
          <cx:pt idx="2154">245.88740000000001</cx:pt>
          <cx:pt idx="2155">260.81819999999999</cx:pt>
          <cx:pt idx="2156">233.39259999999999</cx:pt>
          <cx:pt idx="2157">259.01080000000002</cx:pt>
          <cx:pt idx="2158">244.5515</cx:pt>
          <cx:pt idx="2159">262.1542</cx:pt>
          <cx:pt idx="2160">237.6362</cx:pt>
          <cx:pt idx="2161">259.01080000000002</cx:pt>
          <cx:pt idx="2162">229.935</cx:pt>
          <cx:pt idx="2163">268.51940000000002</cx:pt>
          <cx:pt idx="2164">239.99359999999999</cx:pt>
          <cx:pt idx="2165">266.47629999999998</cx:pt>
          <cx:pt idx="2166">232.5283</cx:pt>
          <cx:pt idx="2167">262.46850000000001</cx:pt>
          <cx:pt idx="2168">248.6378</cx:pt>
          <cx:pt idx="2169">262.5471</cx:pt>
          <cx:pt idx="2170">231.27090000000001</cx:pt>
          <cx:pt idx="2171">248.3235</cx:pt>
          <cx:pt idx="2172">232.99969999999999</cx:pt>
          <cx:pt idx="2173">259.3252</cx:pt>
          <cx:pt idx="2174">245.41589999999999</cx:pt>
          <cx:pt idx="2175">256.0247</cx:pt>
          <cx:pt idx="2176">244.86580000000001</cx:pt>
          <cx:pt idx="2177">255.71029999999999</cx:pt>
          <cx:pt idx="2178">245.2587</cx:pt>
          <cx:pt idx="2179">255.78890000000001</cx:pt>
          <cx:pt idx="2180">242.7441</cx:pt>
          <cx:pt idx="2181">262.62569999999999</cx:pt>
          <cx:pt idx="2182">233.70699999999999</cx:pt>
          <cx:pt idx="2183">249.0308</cx:pt>
          <cx:pt idx="2184">228.75620000000001</cx:pt>
          <cx:pt idx="2185">261.13260000000002</cx:pt>
          <cx:pt idx="2186">247.45910000000001</cx:pt>
          <cx:pt idx="2187">269.61959999999999</cx:pt>
          <cx:pt idx="2188">234.3356</cx:pt>
          <cx:pt idx="2189">253.11709999999999</cx:pt>
          <cx:pt idx="2190">230.6422</cx:pt>
          <cx:pt idx="2191">266.00479999999999</cx:pt>
          <cx:pt idx="2192">235.98589999999999</cx:pt>
          <cx:pt idx="2193">263.41149999999999</cx:pt>
          <cx:pt idx="2194">233.3141</cx:pt>
          <cx:pt idx="2195">253.6671</cx:pt>
          <cx:pt idx="2196">239.60069999999999</cx:pt>
          <cx:pt idx="2197">260.50389999999999</cx:pt>
          <cx:pt idx="2198">243.9228</cx:pt>
          <cx:pt idx="2199">255.86750000000001</cx:pt>
          <cx:pt idx="2200">234.96430000000001</cx:pt>
          <cx:pt idx="2201">256.339</cx:pt>
          <cx:pt idx="2202">244.39429999999999</cx:pt>
          <cx:pt idx="2203">266.8691</cx:pt>
          <cx:pt idx="2204">244.2372</cx:pt>
          <cx:pt idx="2205">256.6533</cx:pt>
          <cx:pt idx="2206">245.18010000000001</cx:pt>
          <cx:pt idx="2207">255.6317</cx:pt>
          <cx:pt idx="2208">237.08609999999999</cx:pt>
          <cx:pt idx="2209">255.78890000000001</cx:pt>
          <cx:pt idx="2210">234.57140000000001</cx:pt>
          <cx:pt idx="2211">259.01080000000002</cx:pt>
          <cx:pt idx="2212">237.2432</cx:pt>
          <cx:pt idx="2213">269.541</cx:pt>
          <cx:pt idx="2214">253.11709999999999</cx:pt>
          <cx:pt idx="2215">229.46350000000001</cx:pt>
          <cx:pt idx="2216">266.8691</cx:pt>
          <cx:pt idx="2217">238.57910000000001</cx:pt>
          <cx:pt idx="2218">252.44056169999999</cx:pt>
          <cx:pt idx="2219">266.08330000000001</cx:pt>
          <cx:pt idx="2220">237.7148</cx:pt>
          <cx:pt idx="2221">255.47460000000001</cx:pt>
          <cx:pt idx="2222">248.2348369</cx:pt>
          <cx:pt idx="2223">240.9366</cx:pt>
          <cx:pt idx="2224">257.51769999999999</cx:pt>
          <cx:pt idx="2225">244.15860000000001</cx:pt>
          <cx:pt idx="2226">254.29580000000001</cx:pt>
          <cx:pt idx="2227">239.9151</cx:pt>
          <cx:pt idx="2228">262.38990000000001</cx:pt>
          <cx:pt idx="2229">251.46690000000001</cx:pt>
          <cx:pt idx="2230">237.3218</cx:pt>
          <cx:pt idx="2231">261.28969999999998</cx:pt>
          <cx:pt idx="2232">249.2575497</cx:pt>
          <cx:pt idx="2233">237.3218</cx:pt>
          <cx:pt idx="2234">262.38990000000001</cx:pt>
          <cx:pt idx="2235">242.4298</cx:pt>
          <cx:pt idx="2236">265.53320000000002</cx:pt>
          <cx:pt idx="2237">230.24930000000001</cx:pt>
          <cx:pt idx="2238">256.96769999999998</cx:pt>
          <cx:pt idx="2239">230.87799999999999</cx:pt>
          <cx:pt idx="2240">274.25599999999997</cx:pt>
          <cx:pt idx="2241">239.8365</cx:pt>
          <cx:pt idx="2242">262.86149999999998</cx:pt>
          <cx:pt idx="2243">234.3356</cx:pt>
          <cx:pt idx="2244">259.9538</cx:pt>
          <cx:pt idx="2245">249.0811296</cx:pt>
          <cx:pt idx="2246">237.95050000000001</cx:pt>
          <cx:pt idx="2247">265.37610000000001</cx:pt>
          <cx:pt idx="2248">232.2139</cx:pt>
          <cx:pt idx="2249">248.87360000000001</cx:pt>
          <cx:pt idx="2250">260.7396</cx:pt>
          <cx:pt idx="2251">233.6284</cx:pt>
          <cx:pt idx="2252">259.16800000000001</cx:pt>
          <cx:pt idx="2253">252.6640299</cx:pt>
          <cx:pt idx="2254">246.35890000000001</cx:pt>
          <cx:pt idx="2255">259.6395</cx:pt>
          <cx:pt idx="2256">244.08000000000001</cx:pt>
          <cx:pt idx="2257">211.625</cx:pt>
          <cx:pt idx="2258">246.20140000000001</cx:pt>
          <cx:pt idx="2259">-2.0431680000000001</cx:pt>
          <cx:pt idx="2260">-1.7768141230000001</cx:pt>
          <cx:pt idx="2261">0.40523893799999999</cx:pt>
          <cx:pt idx="2262">0.58346490600000001</cx:pt>
          <cx:pt idx="2263">1.638636089</cx:pt>
          <cx:pt idx="2264">4.5234798989999998</cx:pt>
          <cx:pt idx="2265">4.7878637199999998</cx:pt>
          <cx:pt idx="2266">6.1032159249999998</cx:pt>
          <cx:pt idx="2267">8.4634949220000006</cx:pt>
          <cx:pt idx="2268">8.7298487999999992</cx:pt>
          <cx:pt idx="2269">8.9880597350000002</cx:pt>
          <cx:pt idx="2270">9.2563836990000006</cx:pt>
          <cx:pt idx="2271">9.5145946339999998</cx:pt>
          <cx:pt idx="2272">10.301310519999999</cx:pt>
          <cx:pt idx="2273">11.354511649999999</cx:pt>
          <cx:pt idx="2274">12.147400429999999</cx:pt>
          <cx:pt idx="2275">13.720963530000001</cx:pt>
          <cx:pt idx="2276">14.767991779999999</cx:pt>
          <cx:pt idx="2277">15.55877914</cx:pt>
          <cx:pt idx="2278">16.868089779999998</cx:pt>
          <cx:pt idx="2279">20.814277659999998</cx:pt>
          <cx:pt idx="2280">21.072357270000001</cx:pt>
          <cx:pt idx="2281">22.125558389999998</cx:pt>
          <cx:pt idx="2282">23.4368391</cx:pt>
          <cx:pt idx="2283">23.967445470000001</cx:pt>
          <cx:pt idx="2284">25.278726169999999</cx:pt>
          <cx:pt idx="2285">26.852289280000001</cx:pt>
          <cx:pt idx="2286">27.643208000000001</cx:pt>
          <cx:pt idx="2287">28.16567139</cx:pt>
          <cx:pt idx="2288">29.478922180000001</cx:pt>
          <cx:pt idx="2289">30.792304300000001</cx:pt>
          <cx:pt idx="2290">32.105686419999998</cx:pt>
          <cx:pt idx="2291">34.205784420000001</cx:pt>
          <cx:pt idx="2292">34.734420739999997</cx:pt>
          <cx:pt idx="2293">47.607535550000001</cx:pt>
          <cx:pt idx="2294">49.181098650000003</cx:pt>
          <cx:pt idx="2295">51.279095249999997</cx:pt>
          <cx:pt idx="2296">51.807731560000001</cx:pt>
          <cx:pt idx="2297">53.381294670000003</cx:pt>
          <cx:pt idx="2298">54.432394379999998</cx:pt>
          <cx:pt idx="2299">55.741573670000001</cx:pt>
          <cx:pt idx="2300">56.536563889999996</cx:pt>
          <cx:pt idx="2301">57.32130969</cx:pt>
          <cx:pt idx="2302">64.676774899999998</cx:pt>
          <cx:pt idx="2303">65.992258430000007</cx:pt>
          <cx:pt idx="2304">66.781075729999998</cx:pt>
          <cx:pt idx="2305">67.827972610000003</cx:pt>
          <cx:pt idx="2306">69.669991049999993</cx:pt>
          <cx:pt idx="2307">71.247625630000002</cx:pt>
          <cx:pt idx="2308">71.501633729999995</cx:pt>
          <cx:pt idx="2309">72.032371459999993</cx:pt>
          <cx:pt idx="2310">73.347723630000004</cx:pt>
          <cx:pt idx="2311">75.714175549999993</cx:pt>
          <cx:pt idx="2312">76.496819939999995</cx:pt>
          <cx:pt idx="2313">84.63913239</cx:pt>
          <cx:pt idx="2314">87.794401579999999</cx:pt>
          <cx:pt idx="2315">90.681346809999994</cx:pt>
          <cx:pt idx="2316">92.256879999999995</cx:pt>
          <cx:pt idx="2317">113.7102</cx:pt>
          <cx:pt idx="2318">118.7411626</cx:pt>
          <cx:pt idx="2319">128.8767</cx:pt>
          <cx:pt idx="2320">114.496</cx:pt>
          <cx:pt idx="2321">120.41792959999999</cx:pt>
          <cx:pt idx="2322">123.4470989</cx:pt>
          <cx:pt idx="2323">126.3621</cx:pt>
          <cx:pt idx="2324">134.61541629999999</cx:pt>
          <cx:pt idx="2325">142.8646</cx:pt>
          <cx:pt idx="2326">128.5624</cx:pt>
          <cx:pt idx="2327">127.1906314</cx:pt>
          <cx:pt idx="2328">125.81886280000001</cx:pt>
          <cx:pt idx="2329">124.44709400000001</cx:pt>
          <cx:pt idx="2330">121.6932532</cx:pt>
          <cx:pt idx="2331">116.195875</cx:pt>
          <cx:pt idx="2332">114.8454007</cx:pt>
          <cx:pt idx="2333">113.4420341</cx:pt>
          <cx:pt idx="2334">109.3377189</cx:pt>
          <cx:pt idx="2335">106.5838779</cx:pt>
          <cx:pt idx="2336">105.2231</cx:pt>
          <cx:pt idx="2337">-1.1717711799999999</cx:pt>
          <cx:pt idx="2338">-1.964585</cx:pt>
          <cx:pt idx="2339">-1.9645706949999999</cx:pt>
          <cx:pt idx="2340">-1.9645559379999999</cx:pt>
          <cx:pt idx="2341">-1.9645415239999999</cx:pt>
          <cx:pt idx="2342">-1.9645414080000001</cx:pt>
          <cx:pt idx="2343">-1.964526993</cx:pt>
          <cx:pt idx="2344">-1.964512346</cx:pt>
          <cx:pt idx="2345">-1.9644541209999999</cx:pt>
          <cx:pt idx="2346">-1.964425176</cx:pt>
          <cx:pt idx="2347">-1.964075899</cx:pt>
          <cx:pt idx="2348">-1.9640031360000001</cx:pt>
          <cx:pt idx="2349">-1.9639886129999999</cx:pt>
          <cx:pt idx="2350">-1.963973856</cx:pt>
          <cx:pt idx="2351">-1.963959435</cx:pt>
          <cx:pt idx="2352">-1.963886563</cx:pt>
          <cx:pt idx="2353">-1.9638721480000001</cx:pt>
          <cx:pt idx="2354">-1.9637703310000001</cx:pt>
          <cx:pt idx="2355">-1.963741153</cx:pt>
          <cx:pt idx="2356">-1.9636829280000001</cx:pt>
          <cx:pt idx="2357">-1.963668397</cx:pt>
          <cx:pt idx="2358">-1.9636538670000001</cx:pt>
          <cx:pt idx="2359">-1.963639336</cx:pt>
          <cx:pt idx="2360">-1.9636244629999999</cx:pt>
          <cx:pt idx="2361">-1.963537402</cx:pt>
          <cx:pt idx="2362">-1.963493701</cx:pt>
          <cx:pt idx="2363">-1.963450116</cx:pt>
          <cx:pt idx="2364">-1.963435469</cx:pt>
          <cx:pt idx="2365">-1.963406523</cx:pt>
          <cx:pt idx="2366">-1.963348291</cx:pt>
          <cx:pt idx="2367">-1.9633191210000001</cx:pt>
          <cx:pt idx="2368">-1.9633045899999999</cx:pt>
          <cx:pt idx="2369">-1.9632610049999999</cx:pt>
          <cx:pt idx="2370">-1.9632171869999999</cx:pt>
          <cx:pt idx="2371">-1.963159071</cx:pt>
          <cx:pt idx="2372">-1.9630861989999999</cx:pt>
          <cx:pt idx="2373">-1.962999022</cx:pt>
          <cx:pt idx="2374">-1.9629262590000001</cx:pt>
          <cx:pt idx="2375">-1.9628535030000001</cx:pt>
          <cx:pt idx="2376">-1.9627952710000001</cx:pt>
          <cx:pt idx="2377">-1.9627806240000001</cx:pt>
          <cx:pt idx="2378">-1.9627515689999999</cx:pt>
          <cx:pt idx="2379">-1.9626934460000001</cx:pt>
          <cx:pt idx="2380">-1.9626642759999999</cx:pt>
          <cx:pt idx="2381">-1.9626496360000001</cx:pt>
          <cx:pt idx="2382">-1.962576989</cx:pt>
          <cx:pt idx="2383">-1.9625477019999999</cx:pt>
          <cx:pt idx="2384">-1.9623877620000001</cx:pt>
          <cx:pt idx="2385">-1.9623587069999999</cx:pt>
          <cx:pt idx="2386">-1.9623003590000001</cx:pt>
          <cx:pt idx="2387">-1.9622713039999999</cx:pt>
          <cx:pt idx="2388">-1.9622422429999999</cx:pt>
          <cx:pt idx="2389">-1.962154956</cx:pt>
          <cx:pt idx="2390">-1.962096724</cx:pt>
          <cx:pt idx="2391">-1.962052906</cx:pt>
          <cx:pt idx="2392">-1.9619803760000001</cx:pt>
          <cx:pt idx="2393">-1.961878217</cx:pt>
          <cx:pt idx="2394">-1.9617620950000001</cx:pt>
          <cx:pt idx="2395">-1.9615728670000001</cx:pt>
          <cx:pt idx="2396">-1.9613543600000001</cx:pt>
          <cx:pt idx="2397">-1.961150835</cx:pt>
          <cx:pt idx="2398">-1.961136078</cx:pt>
          <cx:pt idx="2399">-1.9609759120000001</cx:pt>
          <cx:pt idx="2400">-1.960932444</cx:pt>
          <cx:pt idx="2401">-1.9608596810000001</cx:pt>
          <cx:pt idx="2402">-1.960786809</cx:pt>
          <cx:pt idx="2403">-1.9599864380000001</cx:pt>
          <cx:pt idx="2404">-1.9599573830000001</cx:pt>
          <cx:pt idx="2405">-1.9596813209999999</cx:pt>
          <cx:pt idx="2406">-1.9595208200000001</cx:pt>
          <cx:pt idx="2407">-1.9595062889999999</cx:pt>
          <cx:pt idx="2408">-1.9594630390000001</cx:pt>
          <cx:pt idx="2409">-1.9594189959999999</cx:pt>
          <cx:pt idx="2410">-1.959346349</cx:pt>
          <cx:pt idx="2411">-1.959331709</cx:pt>
          <cx:pt idx="2412">-1.959273593</cx:pt>
          <cx:pt idx="2413">-1.95917166</cx:pt>
          <cx:pt idx="2414">-1.959128067</cx:pt>
          <cx:pt idx="2415">-1.9590988970000001</cx:pt>
          <cx:pt idx="2416">-1.9590697260000001</cx:pt>
          <cx:pt idx="2417">-1.9590407809999999</cx:pt>
          <cx:pt idx="2418">-1.958968018</cx:pt>
          <cx:pt idx="2419">-1.9589243160000001</cx:pt>
          <cx:pt idx="2420">-1.958807626</cx:pt>
          <cx:pt idx="2421">-1.9587642670000001</cx:pt>
          <cx:pt idx="2422">-1.9586478030000001</cx:pt>
          <cx:pt idx="2423">-1.958589345</cx:pt>
          <cx:pt idx="2424">-1.9583275870000001</cx:pt>
          <cx:pt idx="2425">-1.9583131730000001</cx:pt>
          <cx:pt idx="2426">-1.9582840020000001</cx:pt>
          <cx:pt idx="2427">-1.9578183769999999</cx:pt>
          <cx:pt idx="2428">-1.9563484120000001</cx:pt>
          <cx:pt idx="2429">-1.9563339980000001</cx:pt>
          <cx:pt idx="2430">-1.955373577</cx:pt>
          <cx:pt idx="2431">-1.9533650060000001</cx:pt>
          <cx:pt idx="2432">-1.953263298</cx:pt>
          <cx:pt idx="2433">-1.9525795079999999</cx:pt>
          <cx:pt idx="2434">-1.952477349</cx:pt>
          <cx:pt idx="2435">-1.95217189</cx:pt>
          <cx:pt idx="2436">-1.9517353260000001</cx:pt>
          <cx:pt idx="2437">-1.9514588129999999</cx:pt>
          <cx:pt idx="2438">-1.95138605</cx:pt>
          <cx:pt idx="2439">-1.951357104</cx:pt>
          <cx:pt idx="2440">-1.950833255</cx:pt>
          <cx:pt idx="2441">-1.9508184980000001</cx:pt>
          <cx:pt idx="2442">-1.9507457349999999</cx:pt>
          <cx:pt idx="2443">-1.95067298</cx:pt>
          <cx:pt idx="2444">-1.950425753</cx:pt>
          <cx:pt idx="2445">-1.950105421</cx:pt>
          <cx:pt idx="2446">-1.948883025</cx:pt>
          <cx:pt idx="2447">-1.948621267</cx:pt>
          <cx:pt idx="2448">-1.948533748</cx:pt>
          <cx:pt idx="2449">-1.9484464610000001</cx:pt>
          <cx:pt idx="2450">-1.9483736979999999</cx:pt>
          <cx:pt idx="2451">-1.94825735</cx:pt>
          <cx:pt idx="2452">-1.9482281800000001</cx:pt>
          <cx:pt idx="2453">-1.948213765</cx:pt>
          <cx:pt idx="2454">-1.948199118</cx:pt>
          <cx:pt idx="2455">-1.948184704</cx:pt>
          <cx:pt idx="2456">-1.948126246</cx:pt>
          <cx:pt idx="2457">-1.9481261299999999</cx:pt>
          <cx:pt idx="2458">-1.948111599</cx:pt>
          <cx:pt idx="2459">-1.9480827700000001</cx:pt>
          <cx:pt idx="2460">-1.948082654</cx:pt>
          <cx:pt idx="2461">-1.9480535990000001</cx:pt>
          <cx:pt idx="2462">-1.9480391850000001</cx:pt>
          <cx:pt idx="2463">-1.9480244289999999</cx:pt>
          <cx:pt idx="2464">-1.948009898</cx:pt>
          <cx:pt idx="2465">-1.9479664219999999</cx:pt>
          <cx:pt idx="2466">-1.947951891</cx:pt>
          <cx:pt idx="2467">-1.9479227210000001</cx:pt>
          <cx:pt idx="2468">-1.9479079640000001</cx:pt>
          <cx:pt idx="2469">-1.9478206709999999</cx:pt>
          <cx:pt idx="2470">-1.947718853</cx:pt>
          <cx:pt idx="2471">-1.947617036</cx:pt>
          <cx:pt idx="2472">-1.947587865</cx:pt>
          <cx:pt idx="2473">-1.9475589200000001</cx:pt>
          <cx:pt idx="2474">-1.9475442730000001</cx:pt>
          <cx:pt idx="2475">-1.9475153279999999</cx:pt>
          <cx:pt idx="2476">-1.9474861569999999</cx:pt>
          <cx:pt idx="2477">-1.9474567540000001</cx:pt>
          <cx:pt idx="2478">-1.9474279249999999</cx:pt>
          <cx:pt idx="2479">-1.9474132850000001</cx:pt>
          <cx:pt idx="2480">-1.947398754</cx:pt>
          <cx:pt idx="2481">-1.9473842240000001</cx:pt>
          <cx:pt idx="2482">-1.947384107</cx:pt>
          <cx:pt idx="2483">-1.947369693</cx:pt>
          <cx:pt idx="2484">-1.947311461</cx:pt>
          <cx:pt idx="2485">-1.947253119</cx:pt>
          <cx:pt idx="2486">-1.9472530029999999</cx:pt>
          <cx:pt idx="2487">-1.947238705</cx:pt>
          <cx:pt idx="2488">-1.947224174</cx:pt>
          <cx:pt idx="2489">-1.9472096430000001</cx:pt>
          <cx:pt idx="2490">-1.9471805820000001</cx:pt>
          <cx:pt idx="2491">-1.947136771</cx:pt>
          <cx:pt idx="2492">-1.94710771</cx:pt>
          <cx:pt idx="2493">-1.9470931789999999</cx:pt>
          <cx:pt idx="2494">-1.947078656</cx:pt>
          <cx:pt idx="2495">-1.947064125</cx:pt>
          <cx:pt idx="2496">-1.9470640079999999</cx:pt>
          <cx:pt idx="2497">-1.9470347210000001</cx:pt>
          <cx:pt idx="2498">-1.9470203070000001</cx:pt>
          <cx:pt idx="2499">-1.9470057759999999</cx:pt>
          <cx:pt idx="2500">-1.946991245</cx:pt>
          <cx:pt idx="2501">-1.946976722</cx:pt>
          <cx:pt idx="2502">-1.9469623</cx:pt>
          <cx:pt idx="2503">-1.9469330199999999</cx:pt>
          <cx:pt idx="2504">-1.9469184900000001</cx:pt>
          <cx:pt idx="2505">-1.946904075</cx:pt>
          <cx:pt idx="2506">-1.9468603739999999</cx:pt>
          <cx:pt idx="2507">-1.9468457269999999</cx:pt>
          <cx:pt idx="2508">-1.9468019089999999</cx:pt>
          <cx:pt idx="2509">-1.946772964</cx:pt>
          <cx:pt idx="2510">-1.946744019</cx:pt>
          <cx:pt idx="2511">-1.9467147389999999</cx:pt>
          <cx:pt idx="2512">-1.946685794</cx:pt>
          <cx:pt idx="2513">-1.9466566160000001</cx:pt>
          <cx:pt idx="2514">-1.946642092</cx:pt>
          <cx:pt idx="2515">-1.946598158</cx:pt>
          <cx:pt idx="2516">-1.9465692130000001</cx:pt>
          <cx:pt idx="2517">-1.946554798</cx:pt>
          <cx:pt idx="2518">-1.9465402679999999</cx:pt>
          <cx:pt idx="2519">-1.9465255109999999</cx:pt>
          <cx:pt idx="2520">-1.946496566</cx:pt>
          <cx:pt idx="2521">-1.946452981</cx:pt>
          <cx:pt idx="2522">-1.946438334</cx:pt>
          <cx:pt idx="2523">-1.9463946329999999</cx:pt>
          <cx:pt idx="2524">-1.946365345</cx:pt>
          <cx:pt idx="2525">-1.9463510479999999</cx:pt>
          <cx:pt idx="2526">-1.9463218769999999</cx:pt>
          <cx:pt idx="2527">-1.9463074549999999</cx:pt>
          <cx:pt idx="2528">-1.9462054120000001</cx:pt>
          <cx:pt idx="2529">-1.946190882</cx:pt>
          <cx:pt idx="2530">-1.946059894</cx:pt>
          <cx:pt idx="2531">-1.9459433129999999</cx:pt>
          <cx:pt idx="2532">-1.945885423</cx:pt>
          <cx:pt idx="2533">-1.9458708920000001</cx:pt>
          <cx:pt idx="2534">-1.94578338</cx:pt>
          <cx:pt idx="2535">-1.9456816720000001</cx:pt>
          <cx:pt idx="2536">-1.9456669150000001</cx:pt>
          <cx:pt idx="2537">-1.9456233300000001</cx:pt>
          <cx:pt idx="2538">-1.9455943849999999</cx:pt>
          <cx:pt idx="2539">-1.945550567</cx:pt>
          <cx:pt idx="2540">-1.9455361529999999</cx:pt>
          <cx:pt idx="2541">-1.945521622</cx:pt>
          <cx:pt idx="2542">-1.9455067500000001</cx:pt>
          <cx:pt idx="2543">-1.94549211</cx:pt>
          <cx:pt idx="2544">-1.945477804</cx:pt>
          <cx:pt idx="2545">-1.9454486339999999</cx:pt>
          <cx:pt idx="2546">-1.9453906270000001</cx:pt>
          <cx:pt idx="2547">-1.9453761039999999</cx:pt>
          <cx:pt idx="2548">-1.945361573</cx:pt>
          <cx:pt idx="2549">-1.945288468</cx:pt>
          <cx:pt idx="2550">-1.945274054</cx:pt>
          <cx:pt idx="2551">-1.9452451079999999</cx:pt>
          <cx:pt idx="2552">-1.9452303520000001</cx:pt>
          <cx:pt idx="2553">-1.9452160469999999</cx:pt>
          <cx:pt idx="2554">-1.9452158209999999</cx:pt>
          <cx:pt idx="2555">-1.9449247839999999</cx:pt>
          <cx:pt idx="2556">-1.9448517949999999</cx:pt>
          <cx:pt idx="2557">-1.9447792580000001</cx:pt>
          <cx:pt idx="2558">-1.9446920809999999</cx:pt>
          <cx:pt idx="2559">-1.9446775569999999</cx:pt>
          <cx:pt idx="2560">-1.944663026</cx:pt>
          <cx:pt idx="2561">-1.9446482700000001</cx:pt>
          <cx:pt idx="2562">-1.944459275</cx:pt>
          <cx:pt idx="2563">-1.944430214</cx:pt>
          <cx:pt idx="2564">-1.9443863960000001</cx:pt>
          <cx:pt idx="2565">-1.9442554080000001</cx:pt>
          <cx:pt idx="2566">-1.9441537</cx:pt>
          <cx:pt idx="2567">-1.9441099989999999</cx:pt>
          <cx:pt idx="2568">-1.944109882</cx:pt>
          <cx:pt idx="2569">-1.944080711</cx:pt>
          <cx:pt idx="2570">-1.944037236</cx:pt>
          <cx:pt idx="2571">-1.944022712</cx:pt>
          <cx:pt idx="2572">-1.9439934249999999</cx:pt>
          <cx:pt idx="2573">-1.9439643630000001</cx:pt>
          <cx:pt idx="2574">-1.9439499490000001</cx:pt>
          <cx:pt idx="2575">-1.9439354179999999</cx:pt>
          <cx:pt idx="2576">-1.943920662</cx:pt>
          <cx:pt idx="2577">-1.943906248</cx:pt>
          <cx:pt idx="2578">-1.9439061310000001</cx:pt>
          <cx:pt idx="2579">-1.9438917170000001</cx:pt>
          <cx:pt idx="2580">-1.943877077</cx:pt>
          <cx:pt idx="2581">-1.9438480149999999</cx:pt>
          <cx:pt idx="2582">-1.9438189539999999</cx:pt>
          <cx:pt idx="2583">-1.943673435</cx:pt>
          <cx:pt idx="2584">-1.9436587949999999</cx:pt>
          <cx:pt idx="2585">-1.9436006720000001</cx:pt>
          <cx:pt idx="2586">-1.9435701409999999</cx:pt>
          <cx:pt idx="2587">-1.94351316</cx:pt>
          <cx:pt idx="2588">-1.943469568</cx:pt>
          <cx:pt idx="2589">-1.9433823910000001</cx:pt>
          <cx:pt idx="2590">-1.9432658169999999</cx:pt>
          <cx:pt idx="2591">-1.9432514030000001</cx:pt>
          <cx:pt idx="2592">-1.9432368719999999</cx:pt>
          <cx:pt idx="2593">-1.9432221160000001</cx:pt>
          <cx:pt idx="2594">-1.943207017</cx:pt>
          <cx:pt idx="2595">-1.94319317</cx:pt>
          <cx:pt idx="2596">-1.94317864</cx:pt>
          <cx:pt idx="2597">-1.943149585</cx:pt>
          <cx:pt idx="2598">-1.9430911280000001</cx:pt>
          <cx:pt idx="2599">-1.9430768220000001</cx:pt>
          <cx:pt idx="2600">-1.943047652</cx:pt>
          <cx:pt idx="2601">-1.943033121</cx:pt>
          <cx:pt idx="2602">-1.943003834</cx:pt>
          <cx:pt idx="2603">-1.9429603580000001</cx:pt>
          <cx:pt idx="2604">-1.942916547</cx:pt>
          <cx:pt idx="2605">-1.9428873689999999</cx:pt>
          <cx:pt idx="2606">-1.94288726</cx:pt>
          <cx:pt idx="2607">-1.9428583150000001</cx:pt>
          <cx:pt idx="2608">-1.9428003089999999</cx:pt>
          <cx:pt idx="2609">-1.9427855519999999</cx:pt>
          <cx:pt idx="2610">-1.9427115450000001</cx:pt>
          <cx:pt idx="2611">-1.9426982660000001</cx:pt>
          <cx:pt idx="2612">-1.942683844</cx:pt>
          <cx:pt idx="2613">-1.9426544480000001</cx:pt>
          <cx:pt idx="2614">-1.9426400340000001</cx:pt>
          <cx:pt idx="2615">-1.942625619</cx:pt>
          <cx:pt idx="2616">-1.942610972</cx:pt>
          <cx:pt idx="2617">-1.942596558</cx:pt>
          <cx:pt idx="2618">-1.942582027</cx:pt>
          <cx:pt idx="2619">-1.9425672709999999</cx:pt>
          <cx:pt idx="2620">-1.942552856</cx:pt>
          <cx:pt idx="2621">-1.9425236859999999</cx:pt>
          <cx:pt idx="2622">-1.9425092639999999</cx:pt>
          <cx:pt idx="2623">-1.9424794169999999</cx:pt>
          <cx:pt idx="2624">-1.9423636360000001</cx:pt>
          <cx:pt idx="2625">-1.9423345750000001</cx:pt>
          <cx:pt idx="2626">-1.9422908729999999</cx:pt>
          <cx:pt idx="2627">-1.942275658</cx:pt>
          <cx:pt idx="2628">-1.942274982</cx:pt>
          <cx:pt idx="2629">-1.9421161760000001</cx:pt>
          <cx:pt idx="2630">-1.9420870059999999</cx:pt>
          <cx:pt idx="2631">-1.942057377</cx:pt>
          <cx:pt idx="2632">-1.9420567</cx:pt>
          <cx:pt idx="2633">-1.942014243</cx:pt>
          <cx:pt idx="2634">-1.9419707740000001</cx:pt>
          <cx:pt idx="2635">-1.941941487</cx:pt>
          <cx:pt idx="2636">-1.9419265050000001</cx:pt>
          <cx:pt idx="2637">-1.941912426</cx:pt>
          <cx:pt idx="2638">-1.9418978950000001</cx:pt>
          <cx:pt idx="2639">-1.9418833710000001</cx:pt>
          <cx:pt idx="2640">-1.9418689499999999</cx:pt>
          <cx:pt idx="2641">-1.9418538510000001</cx:pt>
          <cx:pt idx="2642">-1.9418395530000001</cx:pt>
          <cx:pt idx="2643">-1.9418251390000001</cx:pt>
          <cx:pt idx="2644">-1.941795852</cx:pt>
          <cx:pt idx="2645">-1.941767016</cx:pt>
          <cx:pt idx="2646">-1.941752492</cx:pt>
          <cx:pt idx="2647">-1.941723431</cx:pt>
          <cx:pt idx="2648">-1.9417087909999999</cx:pt>
          <cx:pt idx="2649">-1.941694144</cx:pt>
          <cx:pt idx="2650">-1.941665199</cx:pt>
          <cx:pt idx="2651">-1.9416506680000001</cx:pt>
          <cx:pt idx="2652">-1.941635344</cx:pt>
          <cx:pt idx="2653">-1.9416214970000001</cx:pt>
          <cx:pt idx="2654">-1.941592327</cx:pt>
          <cx:pt idx="2655">-1.9415776789999999</cx:pt>
          <cx:pt idx="2656">-1.9415630399999999</cx:pt>
          <cx:pt idx="2657">-1.9415487339999999</cx:pt>
          <cx:pt idx="2658">-1.941534211</cx:pt>
          <cx:pt idx="2659">-1.9415340940000001</cx:pt>
          <cx:pt idx="2660">-1.9415045820000001</cx:pt>
          <cx:pt idx="2661">-1.941388576</cx:pt>
          <cx:pt idx="2662">-1.94124305</cx:pt>
          <cx:pt idx="2663">-1.9410829999999999</cx:pt>
          <cx:pt idx="2664">-1.9410679019999999</cx:pt>
          <cx:pt idx="2665">-1.941053946</cx:pt>
          <cx:pt idx="2666">-1.9410394150000001</cx:pt>
          <cx:pt idx="2667">-1.9410247679999999</cx:pt>
          <cx:pt idx="2668">-1.940995255</cx:pt>
          <cx:pt idx="2669">-1.9409809570000001</cx:pt>
          <cx:pt idx="2670">-1.940922834</cx:pt>
          <cx:pt idx="2671">-1.940893889</cx:pt>
          <cx:pt idx="2672">-1.9408937799999999</cx:pt>
          <cx:pt idx="2673">-1.9408793660000001</cx:pt>
          <cx:pt idx="2674">-1.940821017</cx:pt>
          <cx:pt idx="2675">-1.9408064860000001</cx:pt>
          <cx:pt idx="2676">-1.940791395</cx:pt>
          <cx:pt idx="2677">-1.940762785</cx:pt>
          <cx:pt idx="2678">-1.9406027349999999</cx:pt>
          <cx:pt idx="2679">-1.94052998</cx:pt>
          <cx:pt idx="2680">-1.9404572170000001</cx:pt>
          <cx:pt idx="2681">-1.9404426859999999</cx:pt>
          <cx:pt idx="2682">-1.9404275879999999</cx:pt>
          <cx:pt idx="2683">-1.9404135149999999</cx:pt>
          <cx:pt idx="2684">-1.9403991009999999</cx:pt>
          <cx:pt idx="2685">-1.9403844539999999</cx:pt>
          <cx:pt idx="2686">-1.940369923</cx:pt>
          <cx:pt idx="2687">-1.9403554000000001</cx:pt>
          <cx:pt idx="2688">-1.940340752</cx:pt>
          <cx:pt idx="2689">-1.9402678799999999</cx:pt>
          <cx:pt idx="2690">-1.940195117</cx:pt>
          <cx:pt idx="2691">-1.9401080559999999</cx:pt>
          <cx:pt idx="2692">-1.9400934160000001</cx:pt>
          <cx:pt idx="2693">-1.9400642379999999</cx:pt>
          <cx:pt idx="2694">-1.940035068</cx:pt>
          <cx:pt idx="2695">-1.9400055549999999</cx:pt>
          <cx:pt idx="2696">-1.9399912500000001</cx:pt>
          <cx:pt idx="2697">-1.9399624209999999</cx:pt>
          <cx:pt idx="2698">-1.93994789</cx:pt>
          <cx:pt idx="2699">-1.939932792</cx:pt>
          <cx:pt idx="2700">-1.939918378</cx:pt>
          <cx:pt idx="2701">-1.939729609</cx:pt>
          <cx:pt idx="2702">-1.9396859070000001</cx:pt>
          <cx:pt idx="2703">-1.939453095</cx:pt>
          <cx:pt idx="2704">-1.9393366379999999</cx:pt>
          <cx:pt idx="2705">-1.9391469589999999</cx:pt>
          <cx:pt idx="2706">-1.939132319</cx:pt>
          <cx:pt idx="2707">-1.9391038249999999</cx:pt>
          <cx:pt idx="2708">-1.939089295</cx:pt>
          <cx:pt idx="2709">-1.9390455929999999</cx:pt>
          <cx:pt idx="2710">-1.939016648</cx:pt>
          <cx:pt idx="2711">-1.93900155</cx:pt>
          <cx:pt idx="2712">-1.9389581899999999</cx:pt>
          <cx:pt idx="2713">-1.9389435500000001</cx:pt>
          <cx:pt idx="2714">-1.938914147</cx:pt>
          <cx:pt idx="2715">-1.9388995069999999</cx:pt>
          <cx:pt idx="2716">-1.938870329</cx:pt>
          <cx:pt idx="2717">-1.938856031</cx:pt>
          <cx:pt idx="2718">-1.9388417259999999</cx:pt>
          <cx:pt idx="2719">-1.9387539810000001</cx:pt>
          <cx:pt idx="2720">-1.9387399089999999</cx:pt>
          <cx:pt idx="2721">-1.9387103960000001</cx:pt>
          <cx:pt idx="2722">-1.938681793</cx:pt>
          <cx:pt idx="2723">-1.9386672620000001</cx:pt>
          <cx:pt idx="2724">-1.9386522799999999</cx:pt>
          <cx:pt idx="2725">-1.938637975</cx:pt>
          <cx:pt idx="2726">-1.9386236699999999</cx:pt>
          <cx:pt idx="2727">-1.9386084619999999</cx:pt>
          <cx:pt idx="2728">-1.9385944989999999</cx:pt>
          <cx:pt idx="2729">-1.938579292</cx:pt>
          <cx:pt idx="2730">-1.938564986</cx:pt>
          <cx:pt idx="2731">-1.9385506880000001</cx:pt>
          <cx:pt idx="2732">-1.9385362669999999</cx:pt>
          <cx:pt idx="2733">-1.9385067540000001</cx:pt>
          <cx:pt idx="2734">-1.9384622600000001</cx:pt>
          <cx:pt idx="2735">-1.938389497</cx:pt>
          <cx:pt idx="2736">-1.9381869970000001</cx:pt>
          <cx:pt idx="2737">-1.937866782</cx:pt>
          <cx:pt idx="2738">-1.9376195549999999</cx:pt>
          <cx:pt idx="2739">-1.9372551870000001</cx:pt>
          <cx:pt idx="2740">-1.9372119370000001</cx:pt>
          <cx:pt idx="2741">-1.9371968390000001</cx:pt>
          <cx:pt idx="2742">-1.936934972</cx:pt>
          <cx:pt idx="2743">-1.9369206670000001</cx:pt>
          <cx:pt idx="2744">-1.9369063689999999</cx:pt>
          <cx:pt idx="2745">-1.9368766230000001</cx:pt>
          <cx:pt idx="2746">-1.9368623250000001</cx:pt>
          <cx:pt idx="2747">-1.9368337149999999</cx:pt>
          <cx:pt idx="2748">-1.936818624</cx:pt>
          <cx:pt idx="2749">-1.9367753729999999</cx:pt>
          <cx:pt idx="2750">-1.936716916</cx:pt>
          <cx:pt idx="2751">-1.9366875189999999</cx:pt>
          <cx:pt idx="2752">-1.9366735559999999</cx:pt>
          <cx:pt idx="2753">-1.9366584579999999</cx:pt>
          <cx:pt idx="2754">-1.9366298550000001</cx:pt>
          <cx:pt idx="2755">-1.9366002259999999</cx:pt>
          <cx:pt idx="2756">-1.9365716230000001</cx:pt>
          <cx:pt idx="2757">-1.9365570919999999</cx:pt>
          <cx:pt idx="2758">-1.9365279209999999</cx:pt>
          <cx:pt idx="2759">-1.9365128229999999</cx:pt>
          <cx:pt idx="2760">-1.936512255</cx:pt>
          <cx:pt idx="2761">-1.9364842200000001</cx:pt>
          <cx:pt idx="2762">-1.9364699139999999</cx:pt>
          <cx:pt idx="2763">-1.9364552749999999</cx:pt>
          <cx:pt idx="2764">-1.9364401760000001</cx:pt>
          <cx:pt idx="2765">-1.936411573</cx:pt>
          <cx:pt idx="2766">-1.936382512</cx:pt>
          <cx:pt idx="2767">-1.9363674129999999</cx:pt>
          <cx:pt idx="2768">-1.9363667369999999</cx:pt>
          <cx:pt idx="2769">-1.936353115</cx:pt>
          <cx:pt idx="2770">-1.9363237120000001</cx:pt>
          <cx:pt idx="2771">-1.9363231439999999</cx:pt>
          <cx:pt idx="2772">-1.9361931750000001</cx:pt>
          <cx:pt idx="2773">-1.93617887</cx:pt>
          <cx:pt idx="2774">-1.936163662</cx:pt>
          <cx:pt idx="2775">-1.9361493569999999</cx:pt>
          <cx:pt idx="2776">-1.9361350589999999</cx:pt>
          <cx:pt idx="2777">-1.9361056560000001</cx:pt>
          <cx:pt idx="2778">-1.936076259</cx:pt>
          <cx:pt idx="2779">-1.9360619539999999</cx:pt>
          <cx:pt idx="2780">-1.936047656</cx:pt>
          <cx:pt idx="2781">-1.9360333510000001</cx:pt>
          <cx:pt idx="2782">-1.93598965</cx:pt>
          <cx:pt idx="2783">-1.9356838489999999</cx:pt>
          <cx:pt idx="2784">-1.9356693250000001</cx:pt>
          <cx:pt idx="2785">-1.9355966790000001</cx:pt>
          <cx:pt idx="2786">-1.9353771449999999</cx:pt>
          <cx:pt idx="2787">-1.935363408</cx:pt>
          <cx:pt idx="2788">-1.9351889440000001</cx:pt>
          <cx:pt idx="2789">-1.9351595479999999</cx:pt>
          <cx:pt idx="2790">-1.93502912</cx:pt>
          <cx:pt idx="2791">-1.9348538630000001</cx:pt>
          <cx:pt idx="2792">-1.9348252530000001</cx:pt>
          <cx:pt idx="2793">-1.9347958569999999</cx:pt>
          <cx:pt idx="2794">-1.9347815509999999</cx:pt>
          <cx:pt idx="2795">-1.934767253</cx:pt>
          <cx:pt idx="2796">-1.934752155</cx:pt>
          <cx:pt idx="2797">-1.934737741</cx:pt>
          <cx:pt idx="2798">-1.9347235519999999</cx:pt>
          <cx:pt idx="2799">-1.9346941479999999</cx:pt>
          <cx:pt idx="2800">-1.93467985</cx:pt>
          <cx:pt idx="2801">-1.934664752</cx:pt>
          <cx:pt idx="2802">-1.934650105</cx:pt>
          <cx:pt idx="2803">-1.9346495370000001</cx:pt>
          <cx:pt idx="2804">-1.934635807</cx:pt>
          <cx:pt idx="2805">-1.9346215019999999</cx:pt>
          <cx:pt idx="2806">-1.934607204</cx:pt>
          <cx:pt idx="2807">-1.934592557</cx:pt>
          <cx:pt idx="2808">-1.9345634949999999</cx:pt>
          <cx:pt idx="2809">-1.9345484040000001</cx:pt>
          <cx:pt idx="2810">-1.9344903980000001</cx:pt>
          <cx:pt idx="2811">-1.9344760919999999</cx:pt>
          <cx:pt idx="2812">-1.934446696</cx:pt>
          <cx:pt idx="2813">-1.9344173</cx:pt>
          <cx:pt idx="2814">-1.9344029949999999</cx:pt>
          <cx:pt idx="2815">-1.934344879</cx:pt>
          <cx:pt idx="2816">-1.9339807360000001</cx:pt>
          <cx:pt idx="2817">-1.933966431</cx:pt>
          <cx:pt idx="2818">-1.9339521260000001</cx:pt>
          <cx:pt idx="2819">-1.9339227299999999</cx:pt>
          <cx:pt idx="2820">-1.9338941270000001</cx:pt>
          <cx:pt idx="2821">-1.933820796</cx:pt>
          <cx:pt idx="2822">-1.933806382</cx:pt>
          <cx:pt idx="2823">-1.933645423</cx:pt>
          <cx:pt idx="2824">-1.9334569960000001</cx:pt>
          <cx:pt idx="2825">-1.9333556300000001</cx:pt>
          <cx:pt idx="2826">-1.933311703</cx:pt>
          <cx:pt idx="2827">-1.933282867</cx:pt>
          <cx:pt idx="2828">-1.9332680010000001</cx:pt>
          <cx:pt idx="2829">-1.9331215660000001</cx:pt>
          <cx:pt idx="2830">-1.9330935300000001</cx:pt>
          <cx:pt idx="2831">-1.933020432</cx:pt>
          <cx:pt idx="2832">-1.9329045359999999</cx:pt>
          <cx:pt idx="2833">-1.9328171329999999</cx:pt>
          <cx:pt idx="2834">-1.932714064</cx:pt>
          <cx:pt idx="2835">-1.9326279129999999</cx:pt>
          <cx:pt idx="2836">-1.9325984</cx:pt>
          <cx:pt idx="2837">-1.9325840949999999</cx:pt>
          <cx:pt idx="2838">-1.9325546979999999</cx:pt>
          <cx:pt idx="2839">-1.9325260879999999</cx:pt>
          <cx:pt idx="2840">-1.9325109899999999</cx:pt>
          <cx:pt idx="2841">-1.9324823870000001</cx:pt>
          <cx:pt idx="2842">-1.932467972</cx:pt>
          <cx:pt idx="2843">-1.932438576</cx:pt>
          <cx:pt idx="2844">-1.93243846</cx:pt>
          <cx:pt idx="2845">-1.9324242709999999</cx:pt>
          <cx:pt idx="2846">-1.9324096310000001</cx:pt>
          <cx:pt idx="2847">-1.932394875</cx:pt>
          <cx:pt idx="2848">-1.932380569</cx:pt>
          <cx:pt idx="2849">-1.932365471</cx:pt>
          <cx:pt idx="2850">-1.9323647939999999</cx:pt>
          <cx:pt idx="2851">-1.9322347090000001</cx:pt>
          <cx:pt idx="2852">-1.932030157</cx:pt>
          <cx:pt idx="2853">-1.9319440059999999</cx:pt>
          <cx:pt idx="2854">-1.9319282310000001</cx:pt>
          <cx:pt idx="2855">-1.9319003050000001</cx:pt>
          <cx:pt idx="2856">-1.9318709080000001</cx:pt>
          <cx:pt idx="2857">-1.9318272000000001</cx:pt>
          <cx:pt idx="2858">-1.9316674920000001</cx:pt>
          <cx:pt idx="2859">-1.931565333</cx:pt>
          <cx:pt idx="2860">-1.931536162</cx:pt>
          <cx:pt idx="2861">-1.9314780460000001</cx:pt>
          <cx:pt idx="2862">-1.931463741</cx:pt>
          <cx:pt idx="2863">-1.9313469350000001</cx:pt>
          <cx:pt idx="2864">-1.9312015330000001</cx:pt>
          <cx:pt idx="2865">-1.9311872269999999</cx:pt>
          <cx:pt idx="2866">-1.9311721289999999</cx:pt>
          <cx:pt idx="2867">-1.9311574890000001</cx:pt>
          <cx:pt idx="2868">-1.9311570309999999</cx:pt>
          <cx:pt idx="2869">-1.931143184</cx:pt>
          <cx:pt idx="2870">-1.931128886</cx:pt>
          <cx:pt idx="2871">-1.9311145810000001</cx:pt>
          <cx:pt idx="2872">-1.931099941</cx:pt>
          <cx:pt idx="2873">-1.931070879</cx:pt>
          <cx:pt idx="2874">-1.9310271779999999</cx:pt>
          <cx:pt idx="2875">-1.9309977819999999</cx:pt>
          <cx:pt idx="2876">-1.930983476</cx:pt>
          <cx:pt idx="2877">-1.930968378</cx:pt>
          <cx:pt idx="2878">-1.9309397749999999</cx:pt>
          <cx:pt idx="2879">-1.9309246769999999</cx:pt>
          <cx:pt idx="2880">-1.930924109</cx:pt>
          <cx:pt idx="2881">-1.930896073</cx:pt>
          <cx:pt idx="2882">-1.9308523719999999</cx:pt>
          <cx:pt idx="2883">-1.9308229690000001</cx:pt>
          <cx:pt idx="2884">-1.930692206</cx:pt>
          <cx:pt idx="2885">-1.9306779009999999</cx:pt>
          <cx:pt idx="2886">-1.930648505</cx:pt>
          <cx:pt idx="2887">-1.930604803</cx:pt>
          <cx:pt idx="2888">-1.9305904979999999</cx:pt>
          <cx:pt idx="2889">-1.9305754070000001</cx:pt>
          <cx:pt idx="2890">-1.930531706</cx:pt>
          <cx:pt idx="2891">-1.9305174000000001</cx:pt>
          <cx:pt idx="2892">-1.9305030949999999</cx:pt>
          <cx:pt idx="2893">-1.930342027</cx:pt>
          <cx:pt idx="2894">-1.930255643</cx:pt>
          <cx:pt idx="2895">-1.9302413380000001</cx:pt>
          <cx:pt idx="2896">-1.9302268140000001</cx:pt>
          <cx:pt idx="2897">-1.930211941</cx:pt>
          <cx:pt idx="2898">-1.9301976359999999</cx:pt>
          <cx:pt idx="2899">-1.930110233</cx:pt>
          <cx:pt idx="2900">-1.9300665319999999</cx:pt>
          <cx:pt idx="2901">-1.9300522339999999</cx:pt>
          <cx:pt idx="2902">-1.9300371359999999</cx:pt>
          <cx:pt idx="2903">-1.9299791289999999</cx:pt>
          <cx:pt idx="2904">-1.9299648309999999</cx:pt>
          <cx:pt idx="2905">-1.929935427</cx:pt>
          <cx:pt idx="2906">-1.9299211300000001</cx:pt>
          <cx:pt idx="2907">-1.929906031</cx:pt>
          <cx:pt idx="2908">-1.9298917259999999</cx:pt>
          <cx:pt idx="2909">-1.929877428</cx:pt>
          <cx:pt idx="2910">-1.929848483</cx:pt>
          <cx:pt idx="2911">-1.929819079</cx:pt>
          <cx:pt idx="2912">-1.929425766</cx:pt>
          <cx:pt idx="2913">-1.9294253079999999</cx:pt>
          <cx:pt idx="2914">-1.929382516</cx:pt>
          <cx:pt idx="2915">-1.9293682110000001</cx:pt>
          <cx:pt idx="2916">-1.9293536870000001</cx:pt>
          <cx:pt idx="2917">-1.9293388149999999</cx:pt>
          <cx:pt idx="2918">-1.929308851</cx:pt>
          <cx:pt idx="2919">-1.9287558229999999</cx:pt>
          <cx:pt idx="2920">-1.928727788</cx:pt>
          <cx:pt idx="2921">-1.9286685290000001</cx:pt>
          <cx:pt idx="2922">-1.928654683</cx:pt>
          <cx:pt idx="2923">-1.928509389</cx:pt>
          <cx:pt idx="2924">-1.9284950919999999</cx:pt>
          <cx:pt idx="2925">-1.928465688</cx:pt>
          <cx:pt idx="2926">-1.9283345839999999</cx:pt>
          <cx:pt idx="2927">-1.9283051870000001</cx:pt>
          <cx:pt idx="2928">-1.9283047289999999</cx:pt>
          <cx:pt idx="2929">-1.928290882</cx:pt>
          <cx:pt idx="2930">-1.9282765770000001</cx:pt>
          <cx:pt idx="2931">-1.9282621630000001</cx:pt>
          <cx:pt idx="2932">-1.9282471809999999</cx:pt>
          <cx:pt idx="2933">-1.9282185780000001</cx:pt>
          <cx:pt idx="2934">-1.9281891739999999</cx:pt>
          <cx:pt idx="2935">-1.9281167530000001</cx:pt>
          <cx:pt idx="2936">-1.9280871310000001</cx:pt>
          <cx:pt idx="2937">-1.928058528</cx:pt>
          <cx:pt idx="2938">-1.92804343</cx:pt>
          <cx:pt idx="2939">-1.928042746</cx:pt>
          <cx:pt idx="2940">-1.9279997280000001</cx:pt>
          <cx:pt idx="2941">-1.927956027</cx:pt>
          <cx:pt idx="2942">-1.9279417219999999</cx:pt>
          <cx:pt idx="2943">-1.927912326</cx:pt>
          <cx:pt idx="2944">-1.92789802</cx:pt>
          <cx:pt idx="2945">-1.9278837150000001</cx:pt>
          <cx:pt idx="2946">-1.927868624</cx:pt>
          <cx:pt idx="2947">-1.927840014</cx:pt>
          <cx:pt idx="2948">-1.9278399049999999</cx:pt>
          <cx:pt idx="2949">-1.927518896</cx:pt>
          <cx:pt idx="2950">-1.9274034499999999</cx:pt>
          <cx:pt idx="2951">-1.9273454510000001</cx:pt>
          <cx:pt idx="2952">-1.927301749</cx:pt>
          <cx:pt idx="2953">-1.9272723460000001</cx:pt>
          <cx:pt idx="2954">-1.9272580479999999</cx:pt>
          <cx:pt idx="2955">-1.927213888</cx:pt>
          <cx:pt idx="2956">-1.927185285</cx:pt>
          <cx:pt idx="2957">-1.927155889</cx:pt>
          <cx:pt idx="2958">-1.9271415839999999</cx:pt>
          <cx:pt idx="2959">-1.927097882</cx:pt>
          <cx:pt idx="2960">-1.927082784</cx:pt>
          <cx:pt idx="2961">-1.9270684789999999</cx:pt>
          <cx:pt idx="2962">-1.9270390820000001</cx:pt>
          <cx:pt idx="2963">-1.927024777</cx:pt>
          <cx:pt idx="2964">-1.9269961739999999</cx:pt>
          <cx:pt idx="2965">-1.9269810759999999</cx:pt>
          <cx:pt idx="2966">-1.926952131</cx:pt>
          <cx:pt idx="2967">-1.9269087709999999</cx:pt>
          <cx:pt idx="2968">-1.9268793749999999</cx:pt>
          <cx:pt idx="2969">-1.926835673</cx:pt>
          <cx:pt idx="2970">-1.9268062699999999</cx:pt>
          <cx:pt idx="2971">-1.926792423</cx:pt>
          <cx:pt idx="2972">-1.926777325</cx:pt>
          <cx:pt idx="2973">-1.9265596110000001</cx:pt>
          <cx:pt idx="2974">-1.926530214</cx:pt>
          <cx:pt idx="2975">-1.9265008109999999</cx:pt>
          <cx:pt idx="2976">-1.926486513</cx:pt>
          <cx:pt idx="2977">-1.9264722080000001</cx:pt>
          <cx:pt idx="2978">-1.9264428119999999</cx:pt>
          <cx:pt idx="2979">-1.92639911</cx:pt>
          <cx:pt idx="2980">-1.9263558599999999</cx:pt>
          <cx:pt idx="2981">-1.926340194</cx:pt>
          <cx:pt idx="2982">-1.926326464</cx:pt>
          <cx:pt idx="2983">-1.9262976279999999</cx:pt>
          <cx:pt idx="2984">-1.9262825290000001</cx:pt>
          <cx:pt idx="2985">-1.926253926</cx:pt>
          <cx:pt idx="2986">-1.9261371270000001</cx:pt>
          <cx:pt idx="2987">-1.926035419</cx:pt>
          <cx:pt idx="2988">-1.926006023</cx:pt>
          <cx:pt idx="2989">-1.925991717</cx:pt>
          <cx:pt idx="2990">-1.9259774119999999</cx:pt>
          <cx:pt idx="2991">-1.925962314</cx:pt>
          <cx:pt idx="2992">-1.925948016</cx:pt>
          <cx:pt idx="2993">-1.9257880759999999</cx:pt>
          <cx:pt idx="2994">-1.9257150869999999</cx:pt>
          <cx:pt idx="2995">-1.925685691</cx:pt>
          <cx:pt idx="2996">-1.9256570879999999</cx:pt>
          <cx:pt idx="2997">-1.925642557</cx:pt>
          <cx:pt idx="2998">-1.9256424409999999</cx:pt>
          <cx:pt idx="2999">-1.925627684</cx:pt>
          <cx:pt idx="3000">-1.9255839830000001</cx:pt>
          <cx:pt idx="3001">-1.925583415</cx:pt>
          <cx:pt idx="3002">-1.92555538</cx:pt>
          <cx:pt idx="3003">-1.925525983</cx:pt>
          <cx:pt idx="3004">-1.925511569</cx:pt>
          <cx:pt idx="3005">-1.9254827329999999</cx:pt>
          <cx:pt idx="3006">-1.925467635</cx:pt>
          <cx:pt idx="3007">-1.925453337</cx:pt>
          <cx:pt idx="3008">-1.9254390320000001</cx:pt>
          <cx:pt idx="3009">-1.925424501</cx:pt>
          <cx:pt idx="3010">-1.9254096350000001</cx:pt>
          <cx:pt idx="3011">-1.92539533</cx:pt>
          <cx:pt idx="3012">-1.925380232</cx:pt>
          <cx:pt idx="3013">-1.925365934</cx:pt>
          <cx:pt idx="3014">-1.9253516289999999</cx:pt>
          <cx:pt idx="3015">-1.925307927</cx:pt>
          <cx:pt idx="3016">-1.9252785240000001</cx:pt>
          <cx:pt idx="3017">-1.9252642259999999</cx:pt>
          <cx:pt idx="3018">-1.9252059939999999</cx:pt>
          <cx:pt idx="3019">-1.9251468519999999</cx:pt>
          <cx:pt idx="3020">-1.9251188159999999</cx:pt>
          <cx:pt idx="3021">-1.9250450349999999</cx:pt>
          <cx:pt idx="3022">-1.925002468</cx:pt>
          <cx:pt idx="3023">-1.924885669</cx:pt>
          <cx:pt idx="3024">-1.92476943</cx:pt>
          <cx:pt idx="3025">-1.9246667040000001</cx:pt>
          <cx:pt idx="3026">-1.9245222040000001</cx:pt>
          <cx:pt idx="3027">-1.924507105</cx:pt>
          <cx:pt idx="3028">-1.924492807</cx:pt>
          <cx:pt idx="3029">-1.9244634039999999</cx:pt>
          <cx:pt idx="3030">-1.924449106</cx:pt>
          <cx:pt idx="3031">-1.9244348010000001</cx:pt>
          <cx:pt idx="3032">-1.9243755499999999</cx:pt>
          <cx:pt idx="3033">-1.924303696</cx:pt>
          <cx:pt idx="3034">-1.9242737249999999</cx:pt>
          <cx:pt idx="3035">-1.92417225</cx:pt>
          <cx:pt idx="3036">-1.924143647</cx:pt>
          <cx:pt idx="3037">-1.924114243</cx:pt>
          <cx:pt idx="3038">-1.924099945</cx:pt>
          <cx:pt idx="3039">-1.9240856399999999</cx:pt>
          <cx:pt idx="3040">-1.9240705419999999</cx:pt>
          <cx:pt idx="3041">-1.924041822</cx:pt>
          <cx:pt idx="3042">-1.9239982369999999</cx:pt>
          <cx:pt idx="3043">-1.923983139</cx:pt>
          <cx:pt idx="3044">-1.9239394379999999</cx:pt>
          <cx:pt idx="3045">-1.9238671329999999</cx:pt>
          <cx:pt idx="3046">-1.923852828</cx:pt>
          <cx:pt idx="3047">-1.9238377289999999</cx:pt>
          <cx:pt idx="3048">-1.9238091260000001</cx:pt>
          <cx:pt idx="3049">-1.9237797299999999</cx:pt>
          <cx:pt idx="3050">-1.923765425</cx:pt>
          <cx:pt idx="3051">-1.9237498749999999</cx:pt>
          <cx:pt idx="3052">-1.9236338690000001</cx:pt>
          <cx:pt idx="3053">-1.923619564</cx:pt>
          <cx:pt idx="3054">-1.9236052589999999</cx:pt>
          <cx:pt idx="3055">-1.9235758629999999</cx:pt>
          <cx:pt idx="3056">-1.9235464659999999</cx:pt>
          <cx:pt idx="3057">-1.9235178559999999</cx:pt>
          <cx:pt idx="3058">-1.92348846</cx:pt>
          <cx:pt idx="3059">-1.9234741550000001</cx:pt>
          <cx:pt idx="3060">-1.9234304529999999</cx:pt>
          <cx:pt idx="3061">-1.923416155</cx:pt>
          <cx:pt idx="3062">-1.9233867520000001</cx:pt>
          <cx:pt idx="3063">-1.923372337</cx:pt>
          <cx:pt idx="3064">-1.923357355</cx:pt>
          <cx:pt idx="3065">-1.923313654</cx:pt>
          <cx:pt idx="3066">-1.923299807</cx:pt>
          <cx:pt idx="3067">-1.923284709</cx:pt>
          <cx:pt idx="3068">-1.923256106</cx:pt>
          <cx:pt idx="3069">-1.9232123969999999</cx:pt>
          <cx:pt idx="3070">-1.9231973060000001</cx:pt>
          <cx:pt idx="3071">-1.9231968479999999</cx:pt>
          <cx:pt idx="3072">-1.9231686960000001</cx:pt>
          <cx:pt idx="3073">-1.923139299</cx:pt>
          <cx:pt idx="3074">-1.9231249939999999</cx:pt>
          <cx:pt idx="3075">-1.9231099030000001</cx:pt>
          <cx:pt idx="3076">-1.9230812930000001</cx:pt>
          <cx:pt idx="3077">-1.923051896</cx:pt>
          <cx:pt idx="3078">-1.923051329</cx:pt>
          <cx:pt idx="3079">-1.923023068</cx:pt>
          <cx:pt idx="3080">-1.9229795919999999</cx:pt>
          <cx:pt idx="3081">-1.9229644939999999</cx:pt>
          <cx:pt idx="3082">-1.9229501879999999</cx:pt>
          <cx:pt idx="3083">-1.92293589</cx:pt>
          <cx:pt idx="3084">-1.922920792</cx:pt>
          <cx:pt idx="3085">-1.9228921889999999</cx:pt>
          <cx:pt idx="3086">-1.922848146</cx:pt>
          <cx:pt idx="3087">-1.922819542</cx:pt>
          <cx:pt idx="3088">-1.922805012</cx:pt>
          <cx:pt idx="3089">-1.9227758340000001</cx:pt>
          <cx:pt idx="3090">-1.922760743</cx:pt>
          <cx:pt idx="3091">-1.922746437</cx:pt>
          <cx:pt idx="3092">-1.9227321319999999</cx:pt>
          <cx:pt idx="3093">-1.922702736</cx:pt>
          <cx:pt idx="3094">-1.92267334</cx:pt>
          <cx:pt idx="3095">-1.9226729979999999</cx:pt>
          <cx:pt idx="3096">-1.9226447289999999</cx:pt>
          <cx:pt idx="3097">-1.9226296380000001</cx:pt>
          <cx:pt idx="3098">-1.922615333</cx:pt>
          <cx:pt idx="3099">-1.9225865040000001</cx:pt>
          <cx:pt idx="3100">-1.922557326</cx:pt>
          <cx:pt idx="3101">-1.9225136249999999</cx:pt>
          <cx:pt idx="3102">-1.9224993269999999</cx:pt>
          <cx:pt idx="3103">-1.9224699240000001</cx:pt>
          <cx:pt idx="3104">-1.9224556260000001</cx:pt>
          <cx:pt idx="3105">-1.9224115820000001</cx:pt>
          <cx:pt idx="3106">-1.922382979</cx:pt>
          <cx:pt idx="3107">-1.9223535759999999</cx:pt>
          <cx:pt idx="3108">-1.9223241790000001</cx:pt>
          <cx:pt idx="3109">-1.922309874</cx:pt>
          <cx:pt idx="3110">-1.9222661729999999</cx:pt>
          <cx:pt idx="3111">-1.9222367760000001</cx:pt>
          <cx:pt idx="3112">-1.9222081660000001</cx:pt>
          <cx:pt idx="3113">-1.922193075</cx:pt>
          <cx:pt idx="3114">-1.922178202</cx:pt>
          <cx:pt idx="3115">-1.922164465</cx:pt>
          <cx:pt idx="3116">-1.922149941</cx:pt>
          <cx:pt idx="3117">-1.922135068</cx:pt>
          <cx:pt idx="3118">-1.9221207629999999</cx:pt>
          <cx:pt idx="3119">-1.9221064649999999</cx:pt>
          <cx:pt idx="3120">-1.9220913669999999</cx:pt>
          <cx:pt idx="3121">-1.9220333599999999</cx:pt>
          <cx:pt idx="3122">-1.921975019</cx:pt>
          <cx:pt idx="3123">-1.9219607139999999</cx:pt>
          <cx:pt idx="3124">-1.9217561700000001</cx:pt>
          <cx:pt idx="3125">-1.9216699020000001</cx:pt>
          <cx:pt idx="3126">-1.9216548040000001</cx:pt>
          <cx:pt idx="3127">-1.9216404979999999</cx:pt>
          <cx:pt idx="3128">-1.9215967970000001</cx:pt>
          <cx:pt idx="3129">-1.9215824990000001</cx:pt>
          <cx:pt idx="3130">-1.9215823830000001</cx:pt>
          <cx:pt idx="3131">-1.9215674009999999</cx:pt>
          <cx:pt idx="3132">-1.9215669419999999</cx:pt>
          <cx:pt idx="3133">-1.9215527530000001</cx:pt>
          <cx:pt idx="3134">-1.921538456</cx:pt>
          <cx:pt idx="3135">-1.92152415</cx:pt>
          <cx:pt idx="3136">-1.9213930459999999</cx:pt>
          <cx:pt idx="3137">-1.9213350389999999</cx:pt>
          <cx:pt idx="3138">-1.9213199480000001</cx:pt>
          <cx:pt idx="3139">-1.9212913380000001</cx:pt>
          <cx:pt idx="3140">-1.9212619419999999</cx:pt>
          <cx:pt idx="3141">-1.9212476359999999</cx:pt>
          <cx:pt idx="3142">-1.921233339</cx:pt>
          <cx:pt idx="3143">-1.9212039350000001</cx:pt>
          <cx:pt idx="3144">-1.9211745389999999</cx:pt>
          <cx:pt idx="3145">-1.921160234</cx:pt>
          <cx:pt idx="3146">-1.9211459360000001</cx:pt>
          <cx:pt idx="3147">-1.921130837</cx:pt>
          <cx:pt idx="3148">-1.9210875869999999</cx:pt>
          <cx:pt idx="3149">-1.921058191</cx:pt>
          <cx:pt idx="3150">-1.9210438860000001</cx:pt>
          <cx:pt idx="3151">-1.9210295879999999</cx:pt>
          <cx:pt idx="3152">-1.9208984760000001</cx:pt>
          <cx:pt idx="3153">-1.920883385</cx:pt>
          <cx:pt idx="3154">-1.9208401349999999</cx:pt>
          <cx:pt idx="3155">-1.920781109</cx:pt>
          <cx:pt idx="3156">-1.9206510240000001</cx:pt>
          <cx:pt idx="3157">-1.9204036879999999</cx:pt>
          <cx:pt idx="3158">-1.9203888149999999</cx:pt>
          <cx:pt idx="3159">-1.920388247</cx:pt>
          <cx:pt idx="3160">-1.92037451</cx:pt>
          <cx:pt idx="3161">-1.9203602120000001</cx:pt>
          <cx:pt idx="3162">-1.9203451140000001</cx:pt>
          <cx:pt idx="3163">-1.9203014119999999</cx:pt>
          <cx:pt idx="3164">-1.9202577110000001</cx:pt>
          <cx:pt idx="3165">-1.9202572520000001</cx:pt>
          <cx:pt idx="3166">-1.920243747</cx:pt>
          <cx:pt idx="3167">-1.920243631</cx:pt>
          <cx:pt idx="3168">-1.920214351</cx:pt>
          <cx:pt idx="3169">-1.9201849479999999</cx:pt>
          <cx:pt idx="3170">-1.92014065</cx:pt>
          <cx:pt idx="3171">-1.920141246</cx:pt>
          <cx:pt idx="3172">-1.920112643</cx:pt>
          <cx:pt idx="3173">-1.9200689419999999</cx:pt>
          <cx:pt idx="3174">-1.9200395379999999</cx:pt>
          <cx:pt idx="3175">-1.920025015</cx:pt>
          <cx:pt idx="3176">-1.920010709</cx:pt>
          <cx:pt idx="3177">-1.919967008</cx:pt>
          <cx:pt idx="3178">-1.919879605</cx:pt>
          <cx:pt idx="3179">-1.919850209</cx:pt>
          <cx:pt idx="3180">-1.919821598</cx:pt>
          <cx:pt idx="3181">-1.9198071839999999</cx:pt>
          <cx:pt idx="3182">-1.9197634830000001</cx:pt>
          <cx:pt idx="3183">-1.9197340860000001</cx:pt>
          <cx:pt idx="3184">-1.919719781</cx:pt>
          <cx:pt idx="3185">-1.919704683</cx:pt>
          <cx:pt idx="3186">-1.919690385</cx:pt>
          <cx:pt idx="3187">-1.9196760799999999</cx:pt>
          <cx:pt idx="3188">-1.9196466830000001</cx:pt>
          <cx:pt idx="3189">-1.919632378</cx:pt>
          <cx:pt idx="3190">-1.91961728</cx:pt>
          <cx:pt idx="3191">-1.9196029750000001</cx:pt>
          <cx:pt idx="3192">-1.9194136449999999</cx:pt>
          <cx:pt idx="3193">-1.9193850349999999</cx:pt>
          <cx:pt idx="3194">-1.919355522</cx:pt>
          <cx:pt idx="3195">-1.919326919</cx:pt>
          <cx:pt idx="3196">-1.919297523</cx:pt>
          <cx:pt idx="3197">-1.9192538219999999</cx:pt>
          <cx:pt idx="3198">-1.919224418</cx:pt>
          <cx:pt idx="3199">-1.9191958149999999</cx:pt>
          <cx:pt idx="3200">-1.919166419</cx:pt>
          <cx:pt idx="3201">-1.9191517709999999</cx:pt>
          <cx:pt idx="3202">-1.919123168</cx:pt>
          <cx:pt idx="3203">-1.919093765</cx:pt>
          <cx:pt idx="3204">-1.919079467</cx:pt>
          <cx:pt idx="3205">-1.919050063</cx:pt>
          <cx:pt idx="3206">-1.918992064</cx:pt>
          <cx:pt idx="3207">-1.9189483629999999</cx:pt>
          <cx:pt idx="3208">-1.918904661</cx:pt>
          <cx:pt idx="3209">-1.9186429039999999</cx:pt>
          <cx:pt idx="3210">-1.918599202</cx:pt>
          <cx:pt idx="3211">-1.918584104</cx:pt>
          <cx:pt idx="3212">-1.9185837619999999</cx:pt>
          <cx:pt idx="3213">-1.9185697989999999</cx:pt>
          <cx:pt idx="3214">-1.9185555009999999</cx:pt>
          <cx:pt idx="3215">-1.9185404020000001</cx:pt>
          <cx:pt idx="3216">-1.918526097</cx:pt>
          <cx:pt idx="3217">-1.9184536759999999</cx:pt>
          <cx:pt idx="3218">-1.918133235</cx:pt>
          <cx:pt idx="3219">-1.918118937</cx:pt>
          <cx:pt idx="3220">-1.9181034969999999</cx:pt>
          <cx:pt idx="3221">-1.9180895339999999</cx:pt>
          <cx:pt idx="3222">-1.918060138</cx:pt>
          <cx:pt idx="3223">-1.918031534</cx:pt>
          <cx:pt idx="3224">-1.9180172289999999</cx:pt>
          <cx:pt idx="3225">-1.9180016799999999</cx:pt>
          <cx:pt idx="3226">-1.917987833</cx:pt>
          <cx:pt idx="3227">-1.9179735280000001</cx:pt>
          <cx:pt idx="3228">-1.9179441319999999</cx:pt>
          <cx:pt idx="3229">-1.9178861250000001</cx:pt>
          <cx:pt idx="3230">-1.917870685</cx:pt>
          <cx:pt idx="3231">-1.9178567289999999</cx:pt>
          <cx:pt idx="3232">-1.917813478</cx:pt>
          <cx:pt idx="3233">-1.917797929</cx:pt>
          <cx:pt idx="3234">-1.9177840749999999</cx:pt>
          <cx:pt idx="3235">-1.917754679</cx:pt>
          <cx:pt idx="3236">-1.917710977</cx:pt>
          <cx:pt idx="3237">-1.9176966719999999</cx:pt>
          <cx:pt idx="3238">-1.917667276</cx:pt>
          <cx:pt idx="3239">-1.9176669340000001</cx:pt>
          <cx:pt idx="3240">-1.91765297</cx:pt>
          <cx:pt idx="3241">-1.9176235740000001</cx:pt>
          <cx:pt idx="3242">-1.9176092689999999</cx:pt>
          <cx:pt idx="3243">-1.9175512699999999</cx:pt>
          <cx:pt idx="3244">-1.917536964</cx:pt>
          <cx:pt idx="3245">-1.9175368479999999</cx:pt>
          <cx:pt idx="3246">-1.917521866</cx:pt>
          <cx:pt idx="3247">-1.917521415</cx:pt>
          <cx:pt idx="3248">-1.917507568</cx:pt>
          <cx:pt idx="3249">-1.9174931470000001</cx:pt>
          <cx:pt idx="3250">-1.917347519</cx:pt>
          <cx:pt idx="3251">-1.9173040429999999</cx:pt>
          <cx:pt idx="3252">-1.917187695</cx:pt>
          <cx:pt idx="3253">-1.917143993</cx:pt>
          <cx:pt idx="3254">-1.9171288950000001</cx:pt>
          <cx:pt idx="3255">-1.9171002850000001</cx:pt>
          <cx:pt idx="3256">-1.917085194</cx:pt>
          <cx:pt idx="3257">-1.917070888</cx:pt>
          <cx:pt idx="3258">-1.9170565829999999</cx:pt>
          <cx:pt idx="3259">-1.9168672470000001</cx:pt>
          <cx:pt idx="3260">-1.916837508</cx:pt>
          <cx:pt idx="3261">-1.9166773500000001</cx:pt>
          <cx:pt idx="3262">-1.9166637289999999</cx:pt>
          <cx:pt idx="3263">-1.9166200200000001</cx:pt>
          <cx:pt idx="3264">-1.9165612270000001</cx:pt>
          <cx:pt idx="3265">-1.916546922</cx:pt>
          <cx:pt idx="3266">-1.916474392</cx:pt>
          <cx:pt idx="3267">-1.9164449889999999</cx:pt>
          <cx:pt idx="3268">-1.916430691</cx:pt>
          <cx:pt idx="3269">-1.916416385</cx:pt>
          <cx:pt idx="3270">-1.916401287</cx:pt>
          <cx:pt idx="3271">-1.9163869819999999</cx:pt>
          <cx:pt idx="3272">-1.9163575859999999</cx:pt>
          <cx:pt idx="3273">-1.9162851649999999</cx:pt>
          <cx:pt idx="3274">-1.916212067</cx:pt>
          <cx:pt idx="3275">-1.9161977619999999</cx:pt>
          <cx:pt idx="3276">-1.9161683650000001</cx:pt>
          <cx:pt idx="3277">-1.91615406</cx:pt>
          <cx:pt idx="3278">-1.9161534929999999</cx:pt>
          <cx:pt idx="3279">-1.9161397549999999</cx:pt>
          <cx:pt idx="3280">-1.916066206</cx:pt>
          <cx:pt idx="3281">-1.9158624479999999</cx:pt>
          <cx:pt idx="3282">-1.915848601</cx:pt>
          <cx:pt idx="3283">-1.915819205</cx:pt>
          <cx:pt idx="3284">-1.9158048999999999</cx:pt>
          <cx:pt idx="3285">-1.915790602</cx:pt>
          <cx:pt idx="3286">-1.9157314599999999</cx:pt>
          <cx:pt idx="3287">-1.9157031920000001</cx:pt>
          <cx:pt idx="3288">-1.915688101</cx:pt>
          <cx:pt idx="3289">-1.915673795</cx:pt>
          <cx:pt idx="3290">-1.9156592649999999</cx:pt>
          <cx:pt idx="3291">-1.915644967</cx:pt>
          <cx:pt idx="3292">-1.9156298679999999</cx:pt>
          <cx:pt idx="3293">-1.9156012650000001</cx:pt>
          <cx:pt idx="3294">-1.9155714109999999</cx:pt>
          <cx:pt idx="3295">-1.915557564</cx:pt>
          <cx:pt idx="3296">-1.9155432590000001</cx:pt>
          <cx:pt idx="3297">-1.91552816</cx:pt>
          <cx:pt idx="3298">-1.915527709</cx:pt>
          <cx:pt idx="3299">-1.9155138549999999</cx:pt>
          <cx:pt idx="3300">-1.915484459</cx:pt>
          <cx:pt idx="3301">-1.9154701540000001</cx:pt>
          <cx:pt idx="3302">-1.9154695859999999</cx:pt>
          <cx:pt idx="3303">-1.9154558559999999</cx:pt>
          <cx:pt idx="3304">-1.915382642</cx:pt>
          <cx:pt idx="3305">-1.915368336</cx:pt>
          <cx:pt idx="3306">-1.9153540389999999</cx:pt>
          <cx:pt idx="3307">-1.91533894</cx:pt>
          <cx:pt idx="3308">-1.915295239</cx:pt>
          <cx:pt idx="3309">-1.9152809340000001</cx:pt>
          <cx:pt idx="3310">-1.915106695</cx:pt>
          <cx:pt idx="3311">-1.915091597</cx:pt>
          <cx:pt idx="3312">-1.9150629939999999</cx:pt>
          <cx:pt idx="3313">-1.9150478959999999</cx:pt>
          <cx:pt idx="3314">-1.91503359</cx:pt>
          <cx:pt idx="3315">-1.9150330229999999</cx:pt>
          <cx:pt idx="3316">-1.9150040779999999</cx:pt>
          <cx:pt idx="3317">-1.914989321</cx:pt>
          <cx:pt idx="3318">-1.9149611769999999</cx:pt>
          <cx:pt idx="3319">-1.9149317729999999</cx:pt>
          <cx:pt idx="3320">-1.914902377</cx:pt>
          <cx:pt idx="3321">-1.9148586750000001</cx:pt>
          <cx:pt idx="3322">-1.9148300650000001</cx:pt>
          <cx:pt idx="3323">-1.914814974</cx:pt>
          <cx:pt idx="3324">-1.9148006689999999</cx:pt>
          <cx:pt idx="3325">-1.914800101</cx:pt>
          <cx:pt idx="3326">-1.91477184</cx:pt>
          <cx:pt idx="3327">-1.914756742</cx:pt>
          <cx:pt idx="3328">-1.9147424369999999</cx:pt>
          <cx:pt idx="3329">-1.9147281389999999</cx:pt>
          <cx:pt idx="3330">-1.9147130400000001</cx:pt>
          <cx:pt idx="3331">-1.914698735</cx:pt>
          <cx:pt idx="3332">-1.9146701319999999</cx:pt>
          <cx:pt idx="3333">-1.9146700160000001</cx:pt>
          <cx:pt idx="3334">-1.9146550339999999</cx:pt>
          <cx:pt idx="3335">-1.9146545829999999</cx:pt>
          <cx:pt idx="3336">-1.9146264310000001</cx:pt>
          <cx:pt idx="3337">-1.914611332</cx:pt>
          <cx:pt idx="3338">-1.9145963500000001</cx:pt>
          <cx:pt idx="3339">-1.9145827289999999</cx:pt>
          <cx:pt idx="3340">-1.914567514</cx:pt>
          <cx:pt idx="3341">-1.914524613</cx:pt>
          <cx:pt idx="3342">-1.914509515</cx:pt>
          <cx:pt idx="3343">-1.9144952099999999</cx:pt>
          <cx:pt idx="3344">-1.9144809119999999</cx:pt>
          <cx:pt idx="3345">-1.914451508</cx:pt>
          <cx:pt idx="3346">-1.91443721</cx:pt>
          <cx:pt idx="3347">-1.9143784109999999</cx:pt>
          <cx:pt idx="3348">-1.9143495749999999</cx:pt>
          <cx:pt idx="3349">-1.9143053059999999</cx:pt>
          <cx:pt idx="3350">-1.914291575</cx:pt>
          <cx:pt idx="3351">-1.914276251</cx:pt>
          <cx:pt idx="3352">-1.9142621719999999</cx:pt>
          <cx:pt idx="3353">-1.9141744270000001</cx:pt>
          <cx:pt idx="3354">-1.9140142680000001</cx:pt>
          <cx:pt idx="3355">-1.913825608</cx:pt>
          <cx:pt idx="3356">-1.91381131</cx:pt>
          <cx:pt idx="3357">-1.9137819069999999</cx:pt>
          <cx:pt idx="3358">-1.913767609</cx:pt>
          <cx:pt idx="3359">-1.9137533040000001</cx:pt>
          <cx:pt idx="3360">-1.9137382060000001</cx:pt>
          <cx:pt idx="3361">-1.9137239079999999</cx:pt>
          <cx:pt idx="3362">-1.913709602</cx:pt>
          <cx:pt idx="3363">-1.9136950720000001</cx:pt>
          <cx:pt idx="3364">-1.9136076689999999</cx:pt>
          <cx:pt idx="3365">-1.913577705</cx:pt>
          <cx:pt idx="3366">-1.913548869</cx:pt>
          <cx:pt idx="3367">-1.9135202659999999</cx:pt>
          <cx:pt idx="3368">-1.913447052</cx:pt>
          <cx:pt idx="3369">-1.9134327470000001</cx:pt>
          <cx:pt idx="3370">-1.913389045</cx:pt>
          <cx:pt idx="3371">-1.9133166239999999</cx:pt>
          <cx:pt idx="3372">-1.9133015330000001</cx:pt>
          <cx:pt idx="3373">-1.9132729230000001</cx:pt>
          <cx:pt idx="3374">-1.913258508</cx:pt>
          <cx:pt idx="3375">-1.9132430680000001</cx:pt>
          <cx:pt idx="3376">-1.913229112</cx:pt>
          <cx:pt idx="3377">-1.913200276</cx:pt>
          <cx:pt idx="3378">-1.9131854109999999</cx:pt>
          <cx:pt idx="3379">-1.913141709</cx:pt>
          <cx:pt idx="3380">-1.9131274039999999</cx:pt>
          <cx:pt idx="3381">-1.913083702</cx:pt>
          <cx:pt idx="3382">-1.913068604</cx:pt>
          <cx:pt idx="3383">-1.913054306</cx:pt>
          <cx:pt idx="3384">-1.9130397750000001</cx:pt>
          <cx:pt idx="3385">-1.913010372</cx:pt>
          <cx:pt idx="3386">-1.912996074</cx:pt>
          <cx:pt idx="3387">-1.9129817689999999</cx:pt>
          <cx:pt idx="3388">-1.9129674640000001</cx:pt>
          <cx:pt idx="3389">-1.9126471389999999</cx:pt>
          <cx:pt idx="3390">-1.912545205</cx:pt>
          <cx:pt idx="3391">-1.9124871990000001</cx:pt>
          <cx:pt idx="3392">-1.9124717659999999</cx:pt>
          <cx:pt idx="3393">-1.9124578029999999</cx:pt>
          <cx:pt idx="3394">-1.9124434969999999</cx:pt>
          <cx:pt idx="3395">-1.9123853820000001</cx:pt>
          <cx:pt idx="3396">-1.912370283</cx:pt>
          <cx:pt idx="3397">-1.9121952520000001</cx:pt>
          <cx:pt idx="3398">-1.9120649409999999</cx:pt>
          <cx:pt idx="3399">-1.9120642569999999</cx:pt>
          <cx:pt idx="3400">-1.912021239</cx:pt>
          <cx:pt idx="3401">-1.911991843</cx:pt>
          <cx:pt idx="3402">-1.9119915009999999</cx:pt>
          <cx:pt idx="3403">-1.911963233</cx:pt>
          <cx:pt idx="3404">-1.9119488179999999</cx:pt>
          <cx:pt idx="3405">-1.911919422</cx:pt>
          <cx:pt idx="3406">-1.9119051170000001</cx:pt>
          <cx:pt idx="3407">-1.9118757209999999</cx:pt>
          <cx:pt idx="3408">-1.911861415</cx:pt>
          <cx:pt idx="3409">-1.911846317</cx:pt>
          <cx:pt idx="3410">-1.9118026159999999</cx:pt>
          <cx:pt idx="3411">-1.9117883179999999</cx:pt>
          <cx:pt idx="3412">-1.911758914</cx:pt>
          <cx:pt idx="3413">-1.911744616</cx:pt>
          <cx:pt idx="3414">-1.9117296269999999</cx:pt>
          <cx:pt idx="3415">-1.91171578</cx:pt>
          <cx:pt idx="3416">-1.911700682</cx:pt>
          <cx:pt idx="3417">-1.9116859260000001</cx:pt>
          <cx:pt idx="3418">-1.9116720789999999</cx:pt>
          <cx:pt idx="3419">-1.9116569800000001</cx:pt>
          <cx:pt idx="3420">-1.911628377</cx:pt>
          <cx:pt idx="3421">-1.9116140720000001</cx:pt>
          <cx:pt idx="3422">-1.9115846759999999</cx:pt>
          <cx:pt idx="3423">-1.91155528</cx:pt>
          <cx:pt idx="3424">-1.9115549380000001</cx:pt>
          <cx:pt idx="3425">-1.911540974</cx:pt>
          <cx:pt idx="3426">-1.9115266689999999</cx:pt>
          <cx:pt idx="3427">-1.911511462</cx:pt>
          <cx:pt idx="3428">-1.9114828589999999</cx:pt>
          <cx:pt idx="3429">-1.9114540229999999</cx:pt>
          <cx:pt idx="3430">-1.911439157</cx:pt>
          <cx:pt idx="3431">-1.9114248519999999</cx:pt>
          <cx:pt idx="3432">-1.9113954559999999</cx:pt>
          <cx:pt idx="3433">-1.911366052</cx:pt>
          <cx:pt idx="3434">-1.911351754</cx:pt>
          <cx:pt idx="3435">-1.9113374489999999</cx:pt>
          <cx:pt idx="3436">-1.911308053</cx:pt>
          <cx:pt idx="3437">-1.911293522</cx:pt>
          <cx:pt idx="3438">-1.9112792169999999</cx:pt>
          <cx:pt idx="3439">-1.911235515</cx:pt>
          <cx:pt idx="3440">-1.911206119</cx:pt>
          <cx:pt idx="3441">-1.9111775090000001</cx:pt>
          <cx:pt idx="3442">-1.9111481130000001</cx:pt>
          <cx:pt idx="3443">-1.9111044109999999</cx:pt>
          <cx:pt idx="3444">-1.9110168919999999</cx:pt>
          <cx:pt idx="3445">-1.910958892</cx:pt>
          <cx:pt idx="3446">-1.9109294889999999</cx:pt>
          <cx:pt idx="3447">-1.9109008860000001</cx:pt>
          <cx:pt idx="3448">-1.910885787</cx:pt>
          <cx:pt idx="3449">-1.910827555</cx:pt>
          <cx:pt idx="3450">-1.910813257</cx:pt>
          <cx:pt idx="3451">-1.9107552510000001</cx:pt>
          <cx:pt idx="3452">-1.9107409449999999</cx:pt>
          <cx:pt idx="3453">-1.9106678479999999</cx:pt>
          <cx:pt idx="3454">-1.910638335</cx:pt>
          <cx:pt idx="3455">-1.910580328</cx:pt>
          <cx:pt idx="3456">-1.9105366269999999</cx:pt>
          <cx:pt idx="3457">-1.910522329</cx:pt>
          <cx:pt idx="3458">-1.9104929260000001</cx:pt>
          <cx:pt idx="3459">-1.9104786279999999</cx:pt>
          <cx:pt idx="3460">-1.9104492239999999</cx:pt>
          <cx:pt idx="3461">-1.9104060899999999</cx:pt>
          <cx:pt idx="3462">-1.910376694</cx:pt>
          <cx:pt idx="3463">-1.9103623890000001</cx:pt>
          <cx:pt idx="3464">-1.91034729</cx:pt>
          <cx:pt idx="3465">-1.9102749859999999</cx:pt>
          <cx:pt idx="3466">-1.9102169790000001</cx:pt>
          <cx:pt idx="3467">-1.9102024559999999</cx:pt>
          <cx:pt idx="3468">-1.910173052</cx:pt>
          <cx:pt idx="3469">-1.9101724849999999</cx:pt>
          <cx:pt idx="3470">-1.910158754</cx:pt>
          <cx:pt idx="3471">-1.9101293509999999</cx:pt>
          <cx:pt idx="3472">-1.910128783</cx:pt>
          <cx:pt idx="3473">-1.910056253</cx:pt>
          <cx:pt idx="3474">-1.9100419479999999</cx:pt>
          <cx:pt idx="3475">-1.9100414969999999</cx:pt>
          <cx:pt idx="3476">-1.9100276430000001</cx:pt>
          <cx:pt idx="3477">-1.910012552</cx:pt>
          <cx:pt idx="3478">-1.909983832</cx:pt>
          <cx:pt idx="3479">-1.9099695269999999</cx:pt>
          <cx:pt idx="3480">-1.9099401309999999</cx:pt>
          <cx:pt idx="3481">-1.909910502</cx:pt>
          <cx:pt idx="3482">-1.9098670259999999</cx:pt>
          <cx:pt idx="3483">-1.9098527279999999</cx:pt>
          <cx:pt idx="3484">-1.9098522689999999</cx:pt>
          <cx:pt idx="3485">-1.9098383059999999</cx:pt>
          <cx:pt idx="3486">-1.909824008</cx:pt>
          <cx:pt idx="3487">-1.90980891</cx:pt>
          <cx:pt idx="3488">-1.9098086839999999</cx:pt>
          <cx:pt idx="3489">-1.9097946050000001</cx:pt>
          <cx:pt idx="3490">-1.9097941540000001</cx:pt>
          <cx:pt idx="3491">-1.9097803069999999</cx:pt>
          <cx:pt idx="3492">-1.909750794</cx:pt>
          <cx:pt idx="3493">-1.9097364889999999</cx:pt>
          <cx:pt idx="3494">-1.909722191</cx:pt>
          <cx:pt idx="3495">-1.909678489</cx:pt>
          <cx:pt idx="3496">-1.90961969</cx:pt>
          <cx:pt idx="3497">-1.9094011820000001</cx:pt>
          <cx:pt idx="3498">-1.9092856279999999</cx:pt>
          <cx:pt idx="3499">-1.9091683699999999</cx:pt>
          <cx:pt idx="3500">-1.9089354409999999</cx:pt>
          <cx:pt idx="3501">-1.9089210270000001</cx:pt>
          <cx:pt idx="3502">-1.908849064</cx:pt>
          <cx:pt idx="3503">-1.9085572260000001</cx:pt>
          <cx:pt idx="3504">-1.9084989939999999</cx:pt>
          <cx:pt idx="3505">-1.908484354</cx:pt>
          <cx:pt idx="3506">-1.9084706170000001</cx:pt>
          <cx:pt idx="3507">-1.9084267989999999</cx:pt>
          <cx:pt idx="3508">-1.9084125009999999</cx:pt>
          <cx:pt idx="3509">-1.908368799</cx:pt>
          <cx:pt idx="3510">-1.9083250979999999</cx:pt>
          <cx:pt idx="3511">-1.90831</cx:pt>
          <cx:pt idx="3512">-1.9082813970000001</cx:pt>
          <cx:pt idx="3513">-1.9082519929999999</cx:pt>
          <cx:pt idx="3514">-1.9082232729999999</cx:pt>
          <cx:pt idx="3515">-1.908193877</cx:pt>
          <cx:pt idx="3516">-1.9081644740000001</cx:pt>
          <cx:pt idx="3517">-1.9081501759999999</cx:pt>
          <cx:pt idx="3518">-1.908062656</cx:pt>
          <cx:pt idx="3519">-1.908034053</cx:pt>
          <cx:pt idx="3520">-1.9080188389999999</cx:pt>
          <cx:pt idx="3521">-1.907990235</cx:pt>
          <cx:pt idx="3522">-1.9079465339999999</cx:pt>
          <cx:pt idx="3523">-1.9079322359999999</cx:pt>
          <cx:pt idx="3524">-1.9078885350000001</cx:pt>
          <cx:pt idx="3525">-1.9078591309999999</cx:pt>
          <cx:pt idx="3526">-1.907829735</cx:pt>
          <cx:pt idx="3527">-1.9078149790000001</cx:pt>
          <cx:pt idx="3528">-1.907801015</cx:pt>
          <cx:pt idx="3529">-1.907669453</cx:pt>
          <cx:pt idx="3530">-1.907654929</cx:pt>
          <cx:pt idx="3531">-1.9073644519999999</cx:pt>
          <cx:pt idx="3532">-1.9072046279999999</cx:pt>
          <cx:pt idx="3533">-1.9071019010000001</cx:pt>
          <cx:pt idx="3534">-1.906927772</cx:pt>
          <cx:pt idx="3535">-1.906898376</cx:pt>
          <cx:pt idx="3536">-1.9068697729999999</cx:pt>
          <cx:pt idx="3537">-1.906840369</cx:pt>
          <cx:pt idx="3538">-1.906826071</cx:pt>
          <cx:pt idx="3539">-1.906781802</cx:pt>
          <cx:pt idx="3540">-1.9067528570000001</cx:pt>
          <cx:pt idx="3541">-1.906738552</cx:pt>
          <cx:pt idx="3542">-1.9067242470000001</cx:pt>
          <cx:pt idx="3543">-1.906709491</cx:pt>
          <cx:pt idx="3544">-1.906665338</cx:pt>
          <cx:pt idx="3545">-1.9059814310000001</cx:pt>
          <cx:pt idx="3546">-1.905953054</cx:pt>
          <cx:pt idx="3547">-1.9055302279999999</cx:pt>
          <cx:pt idx="3548">-1.9053998000000001</cx:pt>
          <cx:pt idx="3549">-1.9053408919999999</cx:pt>
          <cx:pt idx="3550">-1.9053267030000001</cx:pt>
          <cx:pt idx="3551">-1.905312398</cx:pt>
          <cx:pt idx="3552">-1.9052981</cx:pt>
          <cx:pt idx="3553">-1.905268696</cx:pt>
          <cx:pt idx="3554">-1.9052399769999999</cx:pt>
          <cx:pt idx="3555">-1.9052246530000001</cx:pt>
          <cx:pt idx="3556">-1.905196275</cx:pt>
          <cx:pt idx="3557">-1.905166879</cx:pt>
          <cx:pt idx="3558">-1.9051231769999999</cx:pt>
          <cx:pt idx="3559">-1.9050942319999999</cx:pt>
          <cx:pt idx="3560">-1.9050799270000001</cx:pt>
          <cx:pt idx="3561">-1.9050505310000001</cx:pt>
          <cx:pt idx="3562">-1.9050216950000001</cx:pt>
          <cx:pt idx="3563">-1.905006604</cx:pt>
          <cx:pt idx="3564">-1.9049779929999999</cx:pt>
          <cx:pt idx="3565">-1.904773566</cx:pt>
          <cx:pt idx="3566">-1.9045700409999999</cx:pt>
          <cx:pt idx="3567">-1.9045414300000001</cx:pt>
          <cx:pt idx="3568">-1.9044833139999999</cx:pt>
          <cx:pt idx="3569">-1.904453918</cx:pt>
          <cx:pt idx="3570">-1.9044245150000001</cx:pt>
          <cx:pt idx="3571">-1.9043959109999999</cx:pt>
          <cx:pt idx="3572">-1.904380813</cx:pt>
          <cx:pt idx="3573">-1.904380588</cx:pt>
          <cx:pt idx="3574">-1.904366515</cx:pt>
          <cx:pt idx="3575">-1.9043660570000001</cx:pt>
          <cx:pt idx="3576">-1.9043371120000001</cx:pt>
          <cx:pt idx="3577">-1.9043083919999999</cx:pt>
          <cx:pt idx="3578">-1.9043078250000001</cx:pt>
          <cx:pt idx="3579">-1.904061056</cx:pt>
          <cx:pt idx="3580">-1.9040467510000001</cx:pt>
          <cx:pt idx="3581">-1.90400305</cx:pt>
          <cx:pt idx="3582">-1.903973653</cx:pt>
          <cx:pt idx="3583">-1.9039593480000001</cx:pt>
          <cx:pt idx="3584">-1.9039442499999999</cx:pt>
          <cx:pt idx="3585">-1.9039299519999999</cx:pt>
          <cx:pt idx="3586">-1.9039294929999999</cx:pt>
          <cx:pt idx="3587">-1.903915647</cx:pt>
          <cx:pt idx="3588">-1.9038422070000001</cx:pt>
          <cx:pt idx="3589">-1.903712005</cx:pt>
          <cx:pt idx="3590">-1.903696681</cx:pt>
          <cx:pt idx="3591">-1.903536632</cx:pt>
          <cx:pt idx="3592">-1.9034786319999999</cx:pt>
          <cx:pt idx="3593">-1.9033335650000001</cx:pt>
          <cx:pt idx="3594">-1.9032891789999999</cx:pt>
          <cx:pt idx="3595">-1.903173282</cx:pt>
          <cx:pt idx="3596">-1.9031581909999999</cx:pt>
          <cx:pt idx="3597">-1.9031580749999999</cx:pt>
          <cx:pt idx="3598">-1.9031438860000001</cx:pt>
          <cx:pt idx="3599">-1.903129581</cx:pt>
          <cx:pt idx="3600">-1.9031291299999999</cx:pt>
          <cx:pt idx="3601">-1.903100185</cx:pt>
          <cx:pt idx="3602">-1.9029697569999999</cx:pt>
          <cx:pt idx="3603">-1.9028526160000001</cx:pt>
          <cx:pt idx="3604">-1.902823787</cx:pt>
          <cx:pt idx="3605">-1.9028094820000001</cx:pt>
          <cx:pt idx="3606">-1.902795177</cx:pt>
          <cx:pt idx="3607">-1.9023869980000001</cx:pt>
          <cx:pt idx="3608">-1.9023586210000001</cx:pt>
          <cx:pt idx="3609">-1.9023432899999999</cx:pt>
          <cx:pt idx="3610">-1.9021832400000001</cx:pt>
          <cx:pt idx="3611">-1.902023875</cx:pt>
          <cx:pt idx="3612">-1.9018630249999999</cx:pt>
          <cx:pt idx="3613">-1.9018485009999999</cx:pt>
          <cx:pt idx="3614">-1.901673921</cx:pt>
          <cx:pt idx="3615">-1.9015283949999999</cx:pt>
          <cx:pt idx="3616">-1.901513872</cx:pt>
          <cx:pt idx="3617">-1.9014997920000001</cx:pt>
          <cx:pt idx="3618">-1.9014706210000001</cx:pt>
          <cx:pt idx="3619">-1.901456316</cx:pt>
          <cx:pt idx="3620">-1.90142692</cx:pt>
          <cx:pt idx="3621">-1.9014117049999999</cx:pt>
          <cx:pt idx="3622">-1.9013975160000001</cx:pt>
          <cx:pt idx="3623">-1.9013832180000001</cx:pt>
          <cx:pt idx="3624">-1.901382876</cx:pt>
          <cx:pt idx="3625">-1.901353815</cx:pt>
          <cx:pt idx="3626">-1.9013252119999999</cx:pt>
          <cx:pt idx="3627">-1.9012958149999999</cx:pt>
          <cx:pt idx="3628">-1.9012378089999999</cx:pt>
          <cx:pt idx="3629">-1.901208413</cx:pt>
          <cx:pt idx="3630">-1.9011793509999999</cx:pt>
          <cx:pt idx="3631">-1.901165046</cx:pt>
          <cx:pt idx="3632">-1.9011356500000001</cx:pt>
          <cx:pt idx="3633">-1.901034058</cx:pt>
          <cx:pt idx="3634">-1.9010197529999999</cx:pt>
          <cx:pt idx="3635">-1.9010046620000001</cx:pt>
          <cx:pt idx="3636">-1.900989898</cx:pt>
          <cx:pt idx="3637">-1.9009751420000001</cx:pt>
          <cx:pt idx="3638">-1.900946655</cx:pt>
          <cx:pt idx="3639">-1.9009172510000001</cx:pt>
          <cx:pt idx="3640">-1.900902954</cx:pt>
          <cx:pt idx="3641">-1.900874234</cx:pt>
          <cx:pt idx="3642">-1.900859136</cx:pt>
          <cx:pt idx="3643">-1.9008154340000001</cx:pt>
          <cx:pt idx="3644">-1.900771733</cx:pt>
          <cx:pt idx="3645">-1.9007427880000001</cx:pt>
          <cx:pt idx="3646">-1.900714185</cx:pt>
          <cx:pt idx="3647">-1.9006990859999999</cx:pt>
          <cx:pt idx="3648">-1.9006702579999999</cx:pt>
          <cx:pt idx="3649">-1.9006559519999999</cx:pt>
          <cx:pt idx="3650">-1.9006408539999999</cx:pt>
          <cx:pt idx="3651">-1.9006406280000001</cx:pt>
          <cx:pt idx="3652">-1.9006115669999999</cx:pt>
          <cx:pt idx="3653">-1.900597495</cx:pt>
          <cx:pt idx="3654">-1.900583189</cx:pt>
          <cx:pt idx="3655">-1.900466048</cx:pt>
          <cx:pt idx="3656">-1.900451517</cx:pt>
          <cx:pt idx="3657">-1.9003351690000001</cx:pt>
          <cx:pt idx="3658">-1.90033506</cx:pt>
          <cx:pt idx="3659">-1.9003062239999999</cx:pt>
          <cx:pt idx="3660">-1.9002919190000001</cx:pt>
          <cx:pt idx="3661">-1.9002625230000001</cx:pt>
          <cx:pt idx="3662">-1.900233694</cx:pt>
          <cx:pt idx="3663">-1.9002193890000001</cx:pt>
          <cx:pt idx="3664">-1.9002042910000001</cx:pt>
          <cx:pt idx="3665">-1.9002040650000001</cx:pt>
          <cx:pt idx="3666">-1.900175688</cx:pt>
          <cx:pt idx="3667">-1.9001466259999999</cx:pt>
          <cx:pt idx="3668">-1.900102022</cx:pt>
          <cx:pt idx="3669">-1.9000585459999999</cx:pt>
          <cx:pt idx="3670">-1.900044125</cx:pt>
          <cx:pt idx="3671">-1.900029827</cx:pt>
          <cx:pt idx="3672">-1.900001107</cx:pt>
          <cx:pt idx="3673">-1.899986009</cx:pt>
          <cx:pt idx="3674">-1.8999717110000001</cx:pt>
          <cx:pt idx="3675">-1.8997384399999999</cx:pt>
          <cx:pt idx="3676">-1.899724368</cx:pt>
          <cx:pt idx="3677">-1.8997100629999999</cx:pt>
          <cx:pt idx="3678">-1.8996806660000001</cx:pt>
          <cx:pt idx="3679">-1.8996654589999999</cx:pt>
          <cx:pt idx="3680">-1.8996512699999999</cx:pt>
          <cx:pt idx="3681">-1.8996219830000001</cx:pt>
          <cx:pt idx="3682">-1.8995929220000001</cx:pt>
          <cx:pt idx="3683">-1.8995056349999999</cx:pt>
          <cx:pt idx="3684">-1.8994914460000001</cx:pt>
          <cx:pt idx="3685">-1.899477141</cx:pt>
          <cx:pt idx="3686">-1.899476457</cx:pt>
          <cx:pt idx="3687">-1.899462043</cx:pt>
          <cx:pt idx="3688">-1.899447745</cx:pt>
          <cx:pt idx="3689">-1.8994188000000001</cx:pt>
          <cx:pt idx="3690">-1.899375091</cx:pt>
          <cx:pt idx="3691">-1.8993462619999999</cx:pt>
          <cx:pt idx="3692">-1.8993311639999999</cx:pt>
          <cx:pt idx="3693">-1.8993025610000001</cx:pt>
          <cx:pt idx="3694">-1.8992878049999999</cx:pt>
          <cx:pt idx="3695">-1.899273499</cx:pt>
          <cx:pt idx="3696">-1.8992584079999999</cx:pt>
          <cx:pt idx="3697">-1.8992581749999999</cx:pt>
          <cx:pt idx="3698">-1.899244103</cx:pt>
          <cx:pt idx="3699">-1.899243652</cx:pt>
          <cx:pt idx="3700">-1.8992288960000001</cx:pt>
          <cx:pt idx="3701">-1.8992147070000001</cx:pt>
          <cx:pt idx="3702">-1.899200402</cx:pt>
          <cx:pt idx="3703">-1.899186096</cx:pt>
          <cx:pt idx="3704">-1.899170998</cx:pt>
          <cx:pt idx="3705">-1.899141827</cx:pt>
          <cx:pt idx="3706">-1.8991279809999999</cx:pt>
          <cx:pt idx="3707">-1.8990985840000001</cx:pt>
          <cx:pt idx="3708">-1.8990981259999999</cx:pt>
          <cx:pt idx="3709">-1.899054883</cx:pt>
          <cx:pt idx="3710">-1.8990405779999999</cx:pt>
          <cx:pt idx="3711">-1.8989965339999999</cx:pt>
          <cx:pt idx="3712">-1.8989528330000001</cx:pt>
          <cx:pt idx="3713">-1.8989240039999999</cx:pt>
          <cx:pt idx="3714">-1.8988946010000001</cx:pt>
          <cx:pt idx="3715">-1.8988659969999999</cx:pt>
          <cx:pt idx="3716">-1.898836143</cx:pt>
          <cx:pt idx="3717">-1.8988218450000001</cx:pt>
          <cx:pt idx="3718">-1.8988070889999999</cx:pt>
          <cx:pt idx="3719">-1.898792332</cx:pt>
          <cx:pt idx="3720">-1.8986906240000001</cx:pt>
          <cx:pt idx="3721">-1.8985456730000001</cx:pt>
          <cx:pt idx="3722">-1.8985162689999999</cx:pt>
          <cx:pt idx="3723">-1.898516044</cx:pt>
          <cx:pt idx="3724">-1.898501513</cx:pt>
          <cx:pt idx="3725">-1.8984874410000001</cx:pt>
          <cx:pt idx="3726">-1.898414678</cx:pt>
          <cx:pt idx="3727">-1.898385282</cx:pt>
          <cx:pt idx="3728">-1.898327275</cx:pt>
          <cx:pt idx="3729">-1.898297879</cx:pt>
          <cx:pt idx="3730">-1.898035779</cx:pt>
          <cx:pt idx="3731">-1.897934413</cx:pt>
          <cx:pt idx="3732">-1.8979338450000001</cx:pt>
          <cx:pt idx="3733">-1.8979192060000001</cx:pt>
          <cx:pt idx="3734">-1.897905017</cx:pt>
          <cx:pt idx="3735">-1.8978902600000001</cx:pt>
          <cx:pt idx="3736">-1.8978613150000001</cx:pt>
          <cx:pt idx="3737">-1.897832596</cx:pt>
          <cx:pt idx="3738">-1.8978174969999999</cx:pt>
          <cx:pt idx="3739">-1.897803192</cx:pt>
          <cx:pt idx="3740">-1.897774589</cx:pt>
          <cx:pt idx="3741">-1.897759491</cx:pt>
          <cx:pt idx="3742">-1.8977156799999999</cx:pt>
          <cx:pt idx="3743">-1.897701149</cx:pt>
          <cx:pt idx="3744">-1.897424636</cx:pt>
          <cx:pt idx="3745">-1.897395465</cx:pt>
          <cx:pt idx="3746">-1.897322927</cx:pt>
          <cx:pt idx="3747">-1.8973227020000001</cx:pt>
          <cx:pt idx="3748">-1.8973086299999999</cx:pt>
          <cx:pt idx="3749">-1.8973081709999999</cx:pt>
          <cx:pt idx="3750">-1.897294324</cx:pt>
          <cx:pt idx="3751">-1.897279226</cx:pt>
          <cx:pt idx="3752">-1.8972215610000001</cx:pt>
          <cx:pt idx="3753">-1.897162652</cx:pt>
          <cx:pt idx="3754">-1.8971483469999999</cx:pt>
          <cx:pt idx="3755">-1.8971049879999999</cx:pt>
          <cx:pt idx="3756">-1.897075592</cx:pt>
          <cx:pt idx="3757">-1.897075359</cx:pt>
          <cx:pt idx="3758">-1.897061286</cx:pt>
          <cx:pt idx="3759">-1.8970460790000001</cx:pt>
          <cx:pt idx="3760">-1.8970318900000001</cx:pt>
          <cx:pt idx="3761">-1.8970171339999999</cx:pt>
          <cx:pt idx="3762">-1.8969880720000001</cx:pt>
          <cx:pt idx="3763">-1.896959469</cx:pt>
          <cx:pt idx="3764">-1.8969300659999999</cx:pt>
          <cx:pt idx="3765">-1.8969157679999999</cx:pt>
          <cx:pt idx="3766">-1.896886364</cx:pt>
          <cx:pt idx="3767">-1.896872066</cx:pt>
          <cx:pt idx="3768">-1.8967988520000001</cx:pt>
          <cx:pt idx="3769">-1.8966823880000001</cx:pt>
          <cx:pt idx="3770">-1.896667857</cx:pt>
          <cx:pt idx="3771">-1.8966242719999999</cx:pt>
          <cx:pt idx="3772">-1.896435503</cx:pt>
          <cx:pt idx="3773">-1.896391801</cx:pt>
          <cx:pt idx="3774">-1.8963770449999999</cx:pt>
          <cx:pt idx="3775">-1.89636274</cx:pt>
          <cx:pt idx="3776">-1.8963484349999999</cx:pt>
          <cx:pt idx="3777">-1.8963046240000001</cx:pt>
          <cx:pt idx="3778">-1.8962895259999999</cx:pt>
          <cx:pt idx="3779">-1.896216763</cx:pt>
          <cx:pt idx="3780">-1.895852962</cx:pt>
          <cx:pt idx="3781">-1.8957801990000001</cx:pt>
          <cx:pt idx="3782">-1.8957074439999999</cx:pt>
          <cx:pt idx="3783">-1.8956927969999999</cx:pt>
          <cx:pt idx="3784">-1.895678499</cx:pt>
          <cx:pt idx="3785">-1.895664193</cx:pt>
          <cx:pt idx="3786">-1.895649779</cx:pt>
          <cx:pt idx="3787">-1.895634681</cx:pt>
          <cx:pt idx="3788">-1.8956201500000001</cx:pt>
          <cx:pt idx="3789">-1.8955909790000001</cx:pt>
          <cx:pt idx="3790">-1.895562376</cx:pt>
          <cx:pt idx="3791">-1.8954163989999999</cx:pt>
          <cx:pt idx="3792">-1.8951258129999999</cx:pt>
          <cx:pt idx="3793">-1.895096409</cx:pt>
          <cx:pt idx="3794">-1.895096184</cx:pt>
          <cx:pt idx="3795">-1.89505305</cx:pt>
          <cx:pt idx="3796">-1.8949949340000001</cx:pt>
          <cx:pt idx="3797">-1.894951233</cx:pt>
          <cx:pt idx="3798">-1.8946160350000001</cx:pt>
          <cx:pt idx="3799">-1.8944122839999999</cx:pt>
          <cx:pt idx="3800">-1.894339521</cx:pt>
          <cx:pt idx="3801">-1.894179472</cx:pt>
          <cx:pt idx="3802">-1.8941648250000001</cx:pt>
          <cx:pt idx="3803">-1.8941065930000001</cx:pt>
          <cx:pt idx="3804">-1.894092069</cx:pt>
          <cx:pt idx="3805">-1.8940779889999999</cx:pt>
          <cx:pt idx="3806">-1.894004775</cx:pt>
          <cx:pt idx="3807">-1.8936414260000001</cx:pt>
          <cx:pt idx="3808">-1.8936263280000001</cx:pt>
          <cx:pt idx="3809">-1.8936262189999999</cx:pt>
          <cx:pt idx="3810">-1.893597274</cx:pt>
          <cx:pt idx="3811">-1.8935686700000001</cx:pt>
          <cx:pt idx="3812">-1.8935682119999999</cx:pt>
          <cx:pt idx="3813">-1.893524969</cx:pt>
          <cx:pt idx="3814">-1.8935106639999999</cx:pt>
          <cx:pt idx="3815">-1.893495565</cx:pt>
          <cx:pt idx="3816">-1.8934668459999999</cx:pt>
          <cx:pt idx="3817">-1.89343745</cx:pt>
          <cx:pt idx="3818">-1.893422693</cx:pt>
          <cx:pt idx="3819">-1.893408046</cx:pt>
          <cx:pt idx="3820">-1.893393748</cx:pt>
          <cx:pt idx="3821">-1.8933794429999999</cx:pt>
          <cx:pt idx="3822">-1.8933499300000001</cx:pt>
          <cx:pt idx="3823">-1.8933357420000001</cx:pt>
          <cx:pt idx="3824">-1.8933067960000001</cx:pt>
          <cx:pt idx="3825">-1.893271266</cx:pt>
          <cx:pt idx="3826">-1.8932481130000001</cx:pt>
          <cx:pt idx="3827">-1.893233808</cx:pt>
          <cx:pt idx="3828">-1.89321951</cx:pt>
          <cx:pt idx="3829">-1.893204412</cx:pt>
          <cx:pt idx="3830">-1.893190106</cx:pt>
          <cx:pt idx="3831">-1.8931758089999999</cx:pt>
          <cx:pt idx="3832">-1.8931753499999999</cx:pt>
          <cx:pt idx="3833">-1.893146405</cx:pt>
          <cx:pt idx="3834">-1.893132107</cx:pt>
          <cx:pt idx="3835">-1.8931168920000001</cx:pt>
          <cx:pt idx="3836">-1.8930884059999999</cx:pt>
          <cx:pt idx="3837">-1.8930741</cx:pt>
          <cx:pt idx="3838">-1.893059002</cx:pt>
          <cx:pt idx="3839">-1.8930302830000001</cx:pt>
          <cx:pt idx="3840">-1.8929865809999999</cx:pt>
          <cx:pt idx="3841">-1.892957636</cx:pt>
          <cx:pt idx="3842">-1.892913367</cx:pt>
          <cx:pt idx="3843">-1.8928845379999999</cx:pt>
          <cx:pt idx="3844">-1.892870233</cx:pt>
          <cx:pt idx="3845">-1.892855135</cx:pt>
          <cx:pt idx="3846">-1.8928408370000001</cx:pt>
          <cx:pt idx="3847">-1.892826532</cx:pt>
          <cx:pt idx="3848">-1.892796903</cx:pt>
          <cx:pt idx="3849">-1.8927826050000001</cx:pt>
          <cx:pt idx="3850">-1.8927532010000001</cx:pt>
          <cx:pt idx="3851">-1.892724147</cx:pt>
          <cx:pt idx="3852">-1.8927098419999999</cx:pt>
          <cx:pt idx="3853">-1.8926803290000001</cx:pt>
          <cx:pt idx="3854">-1.89266614</cx:pt>
          <cx:pt idx="3855">-1.892651842</cx:pt>
          <cx:pt idx="3856">-1.892636744</cx:pt>
          <cx:pt idx="3857">-1.892636628</cx:pt>
          <cx:pt idx="3858">-1.892608141</cx:pt>
          <cx:pt idx="3859">-1.892578621</cx:pt>
          <cx:pt idx="3860">-1.892564323</cx:pt>
          <cx:pt idx="3861">-1.8925500179999999</cx:pt>
          <cx:pt idx="3862">-1.8925495670000001</cx:pt>
          <cx:pt idx="3863">-1.892534919</cx:pt>
          <cx:pt idx="3864">-1.8925348099999999</cx:pt>
          <cx:pt idx="3865">-1.8925206219999999</cx:pt>
          <cx:pt idx="3866">-1.892389517</cx:pt>
          <cx:pt idx="3867">-1.8923603389999999</cx:pt>
          <cx:pt idx="3868">-1.892273053</cx:pt>
          <cx:pt idx="3869">-1.8922293509999999</cx:pt>
          <cx:pt idx="3870">-1.8922000640000001</cx:pt>
          <cx:pt idx="3871">-1.892171577</cx:pt>
          <cx:pt idx="3872">-1.8921571559999999</cx:pt>
          <cx:pt idx="3873">-1.892156588</cx:pt>
          <cx:pt idx="3874">-1.892113454</cx:pt>
          <cx:pt idx="3875">-1.892098356</cx:pt>
          <cx:pt idx="3876">-1.892084058</cx:pt>
          <cx:pt idx="3877">-1.891982008</cx:pt>
          <cx:pt idx="3878">-1.8918800739999999</cx:pt>
          <cx:pt idx="3879">-1.89185102</cx:pt>
          <cx:pt idx="3880">-1.891822417</cx:pt>
          <cx:pt idx="3881">-1.8918072020000001</cx:pt>
          <cx:pt idx="3882">-1.891793013</cx:pt>
          <cx:pt idx="3883">-1.8917636170000001</cx:pt>
          <cx:pt idx="3884">-1.891735014</cx:pt>
          <cx:pt idx="3885">-1.8917205930000001</cx:pt>
          <cx:pt idx="3886">-1.8917055009999999</cx:pt>
          <cx:pt idx="3887">-1.891691196</cx:pt>
          <cx:pt idx="3888">-1.891560543</cx:pt>
          <cx:pt idx="3889">-1.891545445</cx:pt>
          <cx:pt idx="3890">-1.891531147</cx:pt>
          <cx:pt idx="3891">-1.891502311</cx:pt>
          <cx:pt idx="3892">-1.8914872199999999</cx:pt>
          <cx:pt idx="3893">-1.891429555</cx:pt>
          <cx:pt idx="3894">-1.891414457</cx:pt>
          <cx:pt idx="3895">-1.8914001519999999</cx:pt>
          <cx:pt idx="3896">-1.8913858539999999</cx:pt>
          <cx:pt idx="3897">-1.891342152</cx:pt>
          <cx:pt idx="3898">-1.8913416940000001</cx:pt>
          <cx:pt idx="3899">-1.891327054</cx:pt>
          <cx:pt idx="3900">-1.8913127489999999</cx:pt>
          <cx:pt idx="3901">-1.8912984509999999</cx:pt>
          <cx:pt idx="3902">-1.8912840289999999</cx:pt>
          <cx:pt idx="3903">-1.8912834620000001</cx:pt>
          <cx:pt idx="3904">-1.8912689380000001</cx:pt>
          <cx:pt idx="3905">-1.891254633</cx:pt>
          <cx:pt idx="3906">-1.8912544069999999</cx:pt>
          <cx:pt idx="3907">-1.8912403280000001</cx:pt>
          <cx:pt idx="3908">-1.891225229</cx:pt>
          <cx:pt idx="3909">-1.8911815279999999</cx:pt>
          <cx:pt idx="3910">-1.891123871</cx:pt>
          <cx:pt idx="3911">-1.8910801690000001</cx:pt>
          <cx:pt idx="3912">-1.8910657470000001</cx:pt>
          <cx:pt idx="3913">-1.890774368</cx:pt>
          <cx:pt idx="3914">-1.890774143</cx:pt>
          <cx:pt idx="3915">-1.8907600630000001</cx:pt>
          <cx:pt idx="3916">-1.8907449650000001</cx:pt>
          <cx:pt idx="3917">-1.8907448549999999</cx:pt>
          <cx:pt idx="3918">-1.890628617</cx:pt>
          <cx:pt idx="3919">-1.8905703920000001</cx:pt>
          <cx:pt idx="3920">-1.890512269</cx:pt>
          <cx:pt idx="3921">-1.890381281</cx:pt>
          <cx:pt idx="3922">-1.890323048</cx:pt>
          <cx:pt idx="3923">-1.890308401</cx:pt>
          <cx:pt idx="3924">-1.8902797979999999</cx:pt>
          <cx:pt idx="3925">-1.890265042</cx:pt>
          <cx:pt idx="3926">-1.890250744</cx:pt>
          <cx:pt idx="3927">-1.8902213400000001</cx:pt>
          <cx:pt idx="3928">-1.8900757050000001</cx:pt>
          <cx:pt idx="3929">-1.889784777</cx:pt>
          <cx:pt idx="3930">-1.889784551</cx:pt>
          <cx:pt idx="3931">-1.8895808009999999</cx:pt>
          <cx:pt idx="3932">-1.889522685</cx:pt>
          <cx:pt idx="3933">-1.8895083800000001</cx:pt>
          <cx:pt idx="3934">-1.8895081540000001</cx:pt>
          <cx:pt idx="3935">-1.8894935070000001</cx:pt>
          <cx:pt idx="3936">-1.889464678</cx:pt>
          <cx:pt idx="3937">-1.889435282</cx:pt>
          <cx:pt idx="3938">-1.8894066709999999</cx:pt>
          <cx:pt idx="3939">-1.889391915</cx:pt>
          <cx:pt idx="3940">-1.8893625190000001</cx:pt>
          <cx:pt idx="3941">-1.889348214</cx:pt>
          <cx:pt idx="3942">-1.889333916</cx:pt>
          <cx:pt idx="3943">-1.8892899809999999</cx:pt>
          <cx:pt idx="3944">-1.8892607020000001</cx:pt>
          <cx:pt idx="3945">-1.8892461709999999</cx:pt>
          <cx:pt idx="3946">-1.8891588770000001</cx:pt>
          <cx:pt idx="3947">-1.8890569429999999</cx:pt>
          <cx:pt idx="3948">-1.8890278890000001</cx:pt>
          <cx:pt idx="3949">-1.888998602</cx:pt>
          <cx:pt idx="3950">-1.8888391200000001</cx:pt>
          <cx:pt idx="3951">-1.8888386619999999</cx:pt>
          <cx:pt idx="3952">-1.8888241379999999</cx:pt>
          <cx:pt idx="3953">-1.8888101749999999</cx:pt>
          <cx:pt idx="3954">-1.8887950769999999</cx:pt>
          <cx:pt idx="3955">-1.8887806620000001</cx:pt>
          <cx:pt idx="3956">-1.888634911</cx:pt>
          <cx:pt idx="3957">-1.888475087</cx:pt>
          <cx:pt idx="3958">-1.8884603310000001</cx:pt>
          <cx:pt idx="3959">-1.8884462580000001</cx:pt>
          <cx:pt idx="3960">-1.888402557</cx:pt>
          <cx:pt idx="3961">-1.888373495</cx:pt>
          <cx:pt idx="3962">-1.888358397</cx:pt>
          <cx:pt idx="3963">-1.888344099</cx:pt>
          <cx:pt idx="3964">-1.8883297939999999</cx:pt>
          <cx:pt idx="3965">-1.8883145859999999</cx:pt>
          <cx:pt idx="3966">-1.8883003979999999</cx:pt>
          <cx:pt idx="3967">-1.888286092</cx:pt>
          <cx:pt idx="3968">-1.8882857500000001</cx:pt>
          <cx:pt idx="3969">-1.8882423909999999</cx:pt>
          <cx:pt idx="3970">-1.8882279769999999</cx:pt>
          <cx:pt idx="3971">-1.888212878</cx:pt>
          <cx:pt idx="3972">-1.8881985729999999</cx:pt>
          <cx:pt idx="3973">-1.8881983470000001</cx:pt>
          <cx:pt idx="3974">-1.888169293</cx:pt>
          <cx:pt idx="3975">-1.888096872</cx:pt>
          <cx:pt idx="3976">-1.888067927</cx:pt>
          <cx:pt idx="3977">-1.8880385239999999</cx:pt>
          <cx:pt idx="3978">-1.888023767</cx:pt>
          <cx:pt idx="3979">-1.888009695</cx:pt>
          <cx:pt idx="3980">-1.8879945970000001</cx:pt>
          <cx:pt idx="3981">-1.887965535</cx:pt>
          <cx:pt idx="3982">-1.8878202420000001</cx:pt>
          <cx:pt idx="3983">-1.887805486</cx:pt>
          <cx:pt idx="3984">-1.887791413</cx:pt>
          <cx:pt idx="3985">-1.887776315</cx:pt>
          <cx:pt idx="3986">-1.8877477119999999</cx:pt>
          <cx:pt idx="3987">-1.887718308</cx:pt>
          <cx:pt idx="3988">-1.88770401</cx:pt>
          <cx:pt idx="3989">-1.8876456619999999</cx:pt>
          <cx:pt idx="3990">-1.887631364</cx:pt>
          <cx:pt idx="3991">-1.887573132</cx:pt>
          <cx:pt idx="3992">-1.887543728</cx:pt>
          <cx:pt idx="3993">-1.8875003690000001</cx:pt>
          <cx:pt idx="3994">-1.88748527</cx:pt>
          <cx:pt idx="3995">-1.887470972</cx:pt>
          <cx:pt idx="3996">-1.88744146</cx:pt>
          <cx:pt idx="3997">-1.887427271</cx:pt>
          <cx:pt idx="3998">-1.8874271540000001</cx:pt>
          <cx:pt idx="3999">-1.8874129660000001</cx:pt>
          <cx:pt idx="4000">-1.887397867</cx:pt>
          <cx:pt idx="4001">-1.8870633539999999</cx:pt>
          <cx:pt idx="4002">-1.886961304</cx:pt>
          <cx:pt idx="4003">-1.886903188</cx:pt>
          <cx:pt idx="4004">-1.8868888829999999</cx:pt>
          <cx:pt idx="4005">-1.8868594869999999</cx:pt>
          <cx:pt idx="4006">-1.8868304250000001</cx:pt>
          <cx:pt idx="4007">-1.8868159019999999</cx:pt>
          <cx:pt idx="4008">-1.8866703760000001</cx:pt>
          <cx:pt idx="4009">-1.8866563030000001</cx:pt>
          <cx:pt idx="4010">-1.8866412050000001</cx:pt>
          <cx:pt idx="4011">-1.8866272420000001</cx:pt>
          <cx:pt idx="4012">-1.8865978459999999</cx:pt>
          <cx:pt idx="4013">-1.8865835399999999</cx:pt>
          <cx:pt idx="4014">-1.8865830889999999</cx:pt>
          <cx:pt idx="4015">-1.886554144</cx:pt>
          <cx:pt idx="4016">-1.8865398390000001</cx:pt>
          <cx:pt idx="4017">-1.8865104429999999</cx:pt>
          <cx:pt idx="4018">-1.8864817229999999</cx:pt>
          <cx:pt idx="4019">-1.8864523200000001</cx:pt>
          <cx:pt idx="4020">-1.886422923</cx:pt>
          <cx:pt idx="4021">-1.8864086179999999</cx:pt>
          <cx:pt idx="4022">-1.886379222</cx:pt>
          <cx:pt idx="4023">-1.8863506189999999</cx:pt>
          <cx:pt idx="4024">-1.8863359719999999</cx:pt>
          <cx:pt idx="4025">-1.8863216739999999</cx:pt>
          <cx:pt idx="4026">-1.886292045</cx:pt>
          <cx:pt idx="4027">-1.8862776299999999</cx:pt>
          <cx:pt idx="4028">-1.886263325</cx:pt>
          <cx:pt idx="4029">-1.886262874</cx:pt>
          <cx:pt idx="4030">-1.886248234</cx:pt>
          <cx:pt idx="4031">-1.8862339290000001</cx:pt>
          <cx:pt idx="4032">-1.886233812</cx:pt>
          <cx:pt idx="4033">-1.886219624</cx:pt>
          <cx:pt idx="4034">-1.886190679</cx:pt>
          <cx:pt idx="4035">-1.88617558</cx:pt>
          <cx:pt idx="4036">-1.886161282</cx:pt>
          <cx:pt idx="4037">-1.8860880680000001</cx:pt>
          <cx:pt idx="4038">-1.886059232</cx:pt>
          <cx:pt idx="4039">-1.8860300619999999</cx:pt>
          <cx:pt idx="4040">-1.886001</cx:pt>
          <cx:pt idx="4041">-1.8861763760000001</cx:pt>
          <cx:pt idx="4042">-1.886437562</cx:pt>
          <cx:pt idx="4043">-1.886481155</cx:pt>
          <cx:pt idx="4044">-1.8865250760000001</cx:pt>
          <cx:pt idx="4045">-1.8868305320000001</cx:pt>
          <cx:pt idx="4046">-1.886872772</cx:pt>
          <cx:pt idx="4047">-1.8869183949999999</cx:pt>
          <cx:pt idx="4048">-1.886960634</cx:pt>
          <cx:pt idx="4049">-1.8870488240000001</cx:pt>
          <cx:pt idx="4050">-1.8870920680000001</cx:pt>
          <cx:pt idx="4051">-1.887134984</cx:pt>
          <cx:pt idx="4052">-1.8872664180000001</cx:pt>
          <cx:pt idx="4053">-1.887309334</cx:pt>
          <cx:pt idx="4054">-1.8873546299999999</cx:pt>
          <cx:pt idx="4055">-1.8873975460000001</cx:pt>
          <cx:pt idx="4056">-1.8873982229999999</cx:pt>
          <cx:pt idx="4057">-1.8874857359999999</cx:pt>
          <cx:pt idx="4058">-1.8875286520000001</cx:pt>
          <cx:pt idx="4059">-1.8875715470000001</cx:pt>
          <cx:pt idx="4060">-1.8876158160000001</cx:pt>
          <cx:pt idx="4061">-1.8876587330000001</cx:pt>
          <cx:pt idx="4062">-1.8876600859999999</cx:pt>
          <cx:pt idx="4063">-1.8877040279999999</cx:pt>
          <cx:pt idx="4064">-1.8877469229999999</cx:pt>
          <cx:pt idx="4065">-1.887833082</cx:pt>
          <cx:pt idx="4066">-1.8878783779999999</cx:pt>
          <cx:pt idx="4067">-1.8879216219999999</cx:pt>
          <cx:pt idx="4068">-1.8879645380000001</cx:pt>
          <cx:pt idx="4069">-1.8881395649999999</cx:pt>
          <cx:pt idx="4070">-1.8881402410000001</cx:pt>
          <cx:pt idx="4071">-1.8882706709999999</cx:pt>
          <cx:pt idx="4072">-1.8883135870000001</cx:pt>
          <cx:pt idx="4073">-1.888358883</cx:pt>
          <cx:pt idx="4074">-1.8884017769999999</cx:pt>
          <cx:pt idx="4075">-1.8884446930000001</cx:pt>
          <cx:pt idx="4076">-1.8884879370000001</cx:pt>
          <cx:pt idx="4077">-1.8885761270000001</cx:pt>
          <cx:pt idx="4078">-1.8886190430000001</cx:pt>
          <cx:pt idx="4079">-1.888620397</cx:pt>
          <cx:pt idx="4080">-1.8887072549999999</cx:pt>
          <cx:pt idx="4081">-1.8887501499999999</cx:pt>
          <cx:pt idx="4082">-1.888795445</cx:pt>
          <cx:pt idx="4083">-1.888883308</cx:pt>
          <cx:pt idx="4084">-1.8889684419999999</cx:pt>
          <cx:pt idx="4085">-1.889013737</cx:pt>
          <cx:pt idx="4086">-1.889100574</cx:pt>
          <cx:pt idx="4087">-1.889581057</cx:pt>
          <cx:pt idx="4088">-1.889668592</cx:pt>
          <cx:pt idx="4089">-1.889711487</cx:pt>
          <cx:pt idx="4090">-1.8898000260000001</cx:pt>
          <cx:pt idx="4091">-1.889842942</cx:pt>
          <cx:pt idx="4092">-1.889886186</cx:pt>
          <cx:pt idx="4093">-1.889973699</cx:pt>
          <cx:pt idx="4094">-1.890061212</cx:pt>
          <cx:pt idx="4095">-1.890104805</cx:pt>
          <cx:pt idx="4096">-1.890147045</cx:pt>
          <cx:pt idx="4097">-1.8902362610000001</cx:pt>
          <cx:pt idx="4098">-1.890279177</cx:pt>
          <cx:pt idx="4099">-1.8902795050000001</cx:pt>
          <cx:pt idx="4100">-1.8903673670000001</cx:pt>
          <cx:pt idx="4101">-1.890410283</cx:pt>
          <cx:pt idx="4102">-1.8904984730000001</cx:pt>
          <cx:pt idx="4103">-1.890628226</cx:pt>
          <cx:pt idx="4104">-1.8907160670000001</cx:pt>
          <cx:pt idx="4105">-1.8907600090000001</cx:pt>
          <cx:pt idx="4106">-1.8908900900000001</cx:pt>
          <cx:pt idx="4107">-1.890933006</cx:pt>
          <cx:pt idx="4108">-1.8909783010000001</cx:pt>
          <cx:pt idx="4109">-1.8910211960000001</cx:pt>
          <cx:pt idx="4110">-1.8910651380000001</cx:pt>
          <cx:pt idx="4111">-1.8910654659999999</cx:pt>
          <cx:pt idx="4112">-1.8911526510000001</cx:pt>
          <cx:pt idx="4113">-1.8911965719999999</cx:pt>
          <cx:pt idx="4114">-1.8912834080000001</cx:pt>
          <cx:pt idx="4115">-1.8913280269999999</cx:pt>
          <cx:pt idx="4116">-1.8913709219999999</cx:pt>
          <cx:pt idx="4117">-1.8914148639999999</cx:pt>
          <cx:pt idx="4118">-1.8914577800000001</cx:pt>
          <cx:pt idx="4119">-1.891502727</cx:pt>
          <cx:pt idx="4120">-1.8915449440000001</cx:pt>
          <cx:pt idx="4121">-1.89158786</cx:pt>
          <cx:pt idx="4122">-1.8917199929999999</cx:pt>
          <cx:pt idx="4123">-1.8917203199999999</cx:pt>
          <cx:pt idx="4124">-1.8917625600000001</cx:pt>
          <cx:pt idx="4125">-1.8918507499999999</cx:pt>
          <cx:pt idx="4126">-1.8918936660000001</cx:pt>
          <cx:pt idx="4127">-1.892288338</cx:pt>
          <cx:pt idx="4128">-1.892419444</cx:pt>
          <cx:pt idx="4129">-1.892812436</cx:pt>
          <cx:pt idx="4130">-1.894513761</cx:pt>
          <cx:pt idx="4131">-1.8946887880000001</cx:pt>
          <cx:pt idx="4132">-1.8951256999999999</cx:pt>
          <cx:pt idx="4133">-1.8952125360000001</cx:pt>
          <cx:pt idx="4134">-1.8953433150000001</cx:pt>
          <cx:pt idx="4135">-1.8953436429999999</cx:pt>
          <cx:pt idx="4136">-1.895516988</cx:pt>
          <cx:pt idx="4137">-1.8955183419999999</cx:pt>
          <cx:pt idx="4138">-1.8955622839999999</cx:pt>
          <cx:pt idx="4139">-1.8956491209999999</cx:pt>
          <cx:pt idx="4140">-1.8956916880000001</cx:pt>
          <cx:pt idx="4141">-1.8956930409999999</cx:pt>
          <cx:pt idx="4142">-1.896086709</cx:pt>
          <cx:pt idx="4143">-1.896304303</cx:pt>
          <cx:pt idx="4144">-1.896392165</cx:pt>
          <cx:pt idx="4145">-1.896435409</cx:pt>
          <cx:pt idx="4146">-1.896653701</cx:pt>
          <cx:pt idx="4147">-1.8970013969999999</cx:pt>
          <cx:pt idx="4148">-1.897133857</cx:pt>
          <cx:pt idx="4149">-1.897396418</cx:pt>
          <cx:pt idx="4150">-1.897438636</cx:pt>
          <cx:pt idx="4151">-1.8974815519999999</cx:pt>
          <cx:pt idx="4152">-1.897526826</cx:pt>
          <cx:pt idx="4153">-1.897919468</cx:pt>
          <cx:pt idx="4154">-1.8979637380000001</cx:pt>
          <cx:pt idx="4155">-1.898006654</cx:pt>
          <cx:pt idx="4156">-1.898093491</cx:pt>
          <cx:pt idx="4157">-1.8981387860000001</cx:pt>
          <cx:pt idx="4158">-1.8982252740000001</cx:pt>
          <cx:pt idx="4159">-1.898311106</cx:pt>
          <cx:pt idx="4160">-1.8983563800000001</cx:pt>
          <cx:pt idx="4161">-1.898399296</cx:pt>
          <cx:pt idx="4162">-1.898442213</cx:pt>
          <cx:pt idx="4163">-1.898660483</cx:pt>
          <cx:pt idx="4164">-1.8987061279999999</cx:pt>
          <cx:pt idx="4165">-1.8987483460000001</cx:pt>
          <cx:pt idx="4166">-1.8987936409999999</cx:pt>
          <cx:pt idx="4167">-1.8988365359999999</cx:pt>
          <cx:pt idx="4168">-1.8988794520000001</cx:pt>
          <cx:pt idx="4169">-1.8989237210000001</cx:pt>
          <cx:pt idx="4170">-1.898965961</cx:pt>
          <cx:pt idx="4171">-1.899097067</cx:pt>
          <cx:pt idx="4172">-1.8990984209999999</cx:pt>
          <cx:pt idx="4173">-1.8991856069999999</cx:pt>
          <cx:pt idx="4174">-1.8995785759999999</cx:pt>
          <cx:pt idx="4175">-1.8996647360000001</cx:pt>
          <cx:pt idx="4176">-1.899710032</cx:pt>
          <cx:pt idx="4177">-1.899841465</cx:pt>
          <cx:pt idx="4178">-1.8999701920000001</cx:pt>
          <cx:pt idx="4179">-1.900015837</cx:pt>
          <cx:pt idx="4180">-1.9001023239999999</cx:pt>
          <cx:pt idx="4181">-1.9001452409999999</cx:pt>
          <cx:pt idx="4182">-1.900146245</cx:pt>
          <cx:pt idx="4183">-1.900233431</cx:pt>
          <cx:pt idx="4184">-1.9003216430000001</cx:pt>
          <cx:pt idx="4185">-1.900451374</cx:pt>
          <cx:pt idx="4186">-1.9010626349999999</cx:pt>
          <cx:pt idx="4187">-1.9011511750000001</cx:pt>
          <cx:pt idx="4188">-1.901194091</cx:pt>
          <cx:pt idx="4189">-1.901238011</cx:pt>
          <cx:pt idx="4190">-1.901280928</cx:pt>
          <cx:pt idx="4191">-1.901325546</cx:pt>
          <cx:pt idx="4192">-1.9014130600000001</cx:pt>
          <cx:pt idx="4193">-1.901499896</cx:pt>
          <cx:pt idx="4194">-1.901585707</cx:pt>
          <cx:pt idx="4195">-1.9016310030000001</cx:pt>
          <cx:pt idx="4196">-1.9019804010000001</cx:pt>
          <cx:pt idx="4197">-1.9022855080000001</cx:pt>
          <cx:pt idx="4198">-1.9023291010000001</cx:pt>
          <cx:pt idx="4199">-1.9028092560000001</cx:pt>
          <cx:pt idx="4200">-1.9030718179999999</cx:pt>
          <cx:pt idx="4201">-1.904249745</cx:pt>
          <cx:pt idx="4202">-1.9045998200000001</cx:pt>
          <cx:pt idx="4203">-1.904643063</cx:pt>
          <cx:pt idx="4204">-1.904730926</cx:pt>
          <cx:pt idx="4205">-1.904817413</cx:pt>
          <cx:pt idx="4206">-1.904861683</cx:pt>
          <cx:pt idx="4207">-1.904904927</cx:pt>
          <cx:pt idx="4208">-1.90494852</cx:pt>
          <cx:pt idx="4209">-1.904992789</cx:pt>
          <cx:pt idx="4210">-1.9050357060000001</cx:pt>
          <cx:pt idx="4211">-1.905079626</cx:pt>
          <cx:pt idx="4212">-1.905297918</cx:pt>
          <cx:pt idx="4213">-1.905428675</cx:pt>
          <cx:pt idx="4214">-1.9055168870000001</cx:pt>
          <cx:pt idx="4215">-1.9059098569999999</cx:pt>
          <cx:pt idx="4216">-1.9062592549999999</cx:pt>
          <cx:pt idx="4217">-1.9065647109999999</cx:pt>
          <cx:pt idx="4218">-1.9068265959999999</cx:pt>
          <cx:pt idx="4219">-1.9068694909999999</cx:pt>
          <cx:pt idx="4220">-1.908485682</cx:pt>
          <cx:pt idx="4221">-1.911410579</cx:pt>
          <cx:pt idx="4222">-1.9134619799999999</cx:pt>
          <cx:pt idx="4223">-1.9140735689999999</cx:pt>
          <cx:pt idx="4224">-1.9141171619999999</cx:pt>
          <cx:pt idx="4225">-1.919530698</cx:pt>
          <cx:pt idx="4226">-1.919617535</cx:pt>
          <cx:pt idx="4227">-1.9209715140000001</cx:pt>
          <cx:pt idx="4228">-1.92105835</cx:pt>
          <cx:pt idx="4229">-1.9211026200000001</cx:pt>
          <cx:pt idx="4230">-1.9228918079999999</cx:pt>
          <cx:pt idx="4231">-1.9231100999999999</cx:pt>
          <cx:pt idx="4232">-1.9252500400000001</cx:pt>
          <cx:pt idx="4233">-1.925555846</cx:pt>
          <cx:pt idx="4234">-1.928654721</cx:pt>
          <cx:pt idx="4235">-1.931275842</cx:pt>
          <cx:pt idx="4236">-1.931405246</cx:pt>
          <cx:pt idx="4237">-1.932278393</cx:pt>
          <cx:pt idx="4238">-1.932714955</cx:pt>
          <cx:pt idx="4239">-1.9338070709999999</cx:pt>
          <cx:pt idx="4240">-1.934810975</cx:pt>
          <cx:pt idx="4241">-1.93847824</cx:pt>
          <cx:pt idx="4242">-1.9409668790000001</cx:pt>
          <cx:pt idx="4243">-1.944416463</cx:pt>
          <cx:pt idx="4244">-1.9472993169999999</cx:pt>
          <cx:pt idx="4245">-1.9478646930000001</cx:pt>
          <cx:pt idx="4246">-1.9479073039999999</cx:pt>
          <cx:pt idx="4247">-1.9480385200000001</cx:pt>
          <cx:pt idx="4248">-1.9489116449999999</cx:pt>
          <cx:pt idx="4249">-1.94904286</cx:pt>
          <cx:pt idx="4250">-1.9526241390000001</cx:pt>
          <cx:pt idx="4251">-1.953235576</cx:pt>
          <cx:pt idx="4252">-1.954938735</cx:pt>
          <cx:pt idx="4253">-1.955462636</cx:pt>
          <cx:pt idx="4254">-1.9576898490000001</cx:pt>
          <cx:pt idx="4255">-1.9588658539999999</cx:pt>
          <cx:pt idx="4256">-1.9590868749999999</cx:pt>
          <cx:pt idx="4257">-1.9620089999999999</cx:pt>
          <cx:pt idx="4258">-1.964585</cx:pt>
          <cx:pt idx="4259">-1.964760031</cx:pt>
          <cx:pt idx="4260">-1.9651523319999999</cx:pt>
          <cx:pt idx="4261">-1.9651967749999999</cx:pt>
          <cx:pt idx="4262">-1.965218396</cx:pt>
          <cx:pt idx="4263">-1.965785565</cx:pt>
          <cx:pt idx="4264">-1.965807361</cx:pt>
          <cx:pt idx="4265">-1.967620879</cx:pt>
          <cx:pt idx="4266">-1.9688197199999999</cx:pt>
          <cx:pt idx="4267">-1.96988915</cx:pt>
          <cx:pt idx="4268">-1.9705021039999999</cx:pt>
          <cx:pt idx="4269">-1.971526415</cx:pt>
          <cx:pt idx="4270">-1.9750408290000001</cx:pt>
          <cx:pt idx="4271">-1.975717457</cx:pt>
          <cx:pt idx="4272">-1.9786427419999999</cx:pt>
          <cx:pt idx="4273">-1.979013913</cx:pt>
          <cx:pt idx="4274">-1.979910179</cx:pt>
          <cx:pt idx="4275">-1.9814817069999999</cx:pt>
          <cx:pt idx="4276">-1.981524098</cx:pt>
          <cx:pt idx="4277">-1.9815680280000001</cx:pt>
          <cx:pt idx="4278">-1.983554144</cx:pt>
          <cx:pt idx="4279">-1.983597397</cx:pt>
          <cx:pt idx="4280">-1.985103539</cx:pt>
          <cx:pt idx="4281">-1.9856509419999999</cx:pt>
          <cx:pt idx="4282">-1.986458496</cx:pt>
          <cx:pt idx="4283">-1.9877245690000001</cx:pt>
          <cx:pt idx="4284">-1.987963285</cx:pt>
          <cx:pt idx="4285">-1.993050569</cx:pt>
          <cx:pt idx="4286">-1.994382192</cx:pt>
          <cx:pt idx="4287">-1.99531967</cx:pt>
          <cx:pt idx="4288">-1.995626305</cx:pt>
          <cx:pt idx="4289">-1.9957354469999999</cx:pt>
          <cx:pt idx="4290">-1.99815846</cx:pt>
          <cx:pt idx="4291">-1.998376734</cx:pt>
          <cx:pt idx="4292">-1.998418961</cx:pt>
          <cx:pt idx="4293">-2.0006468599999998</cx:pt>
          <cx:pt idx="4294">-2.001519966</cx:pt>
          <cx:pt idx="4295">-2.003309942</cx:pt>
          <cx:pt idx="4296">-2.003877428</cx:pt>
          <cx:pt idx="4297">-2.0039417890000002</cx:pt>
          <cx:pt idx="4298">-2.0039647739999999</cx:pt>
          <cx:pt idx="4299">-2.0055352769999999</cx:pt>
          <cx:pt idx="4300">-2.0060166050000001</cx:pt>
          <cx:pt idx="4301">-2.007238933</cx:pt>
          <cx:pt idx="4302">-2.0076754800000001</cx:pt>
          <cx:pt idx="4303">-2.0086141479999999</cx:pt>
          <cx:pt idx="4304">-2.009180443</cx:pt>
          <cx:pt idx="4305">-2.0096181799999999</cx:pt>
          <cx:pt idx="4306">-2.0100111470000002</cx:pt>
          <cx:pt idx="4307">-2.0120182080000002</cx:pt>
          <cx:pt idx="4308">-2.0159919789999998</cx:pt>
          <cx:pt idx="4309">-2.0162102530000001</cx:pt>
          <cx:pt idx="4310">-2.0175199159999999</cx:pt>
          <cx:pt idx="4311">-2.0192443419999999</cx:pt>
          <cx:pt idx="4312">-2.0192880980000001</cx:pt>
          <cx:pt idx="4313">-2.0207942499999998</cx:pt>
          <cx:pt idx="4314">-2.0208160460000002</cx:pt>
          <cx:pt idx="4315">-2.021034319</cx:pt>
          <cx:pt idx="4316">-2.0240902049999998</cx:pt>
          <cx:pt idx="4317">-2.024330274</cx:pt>
          <cx:pt idx="4318">-2.0245267519999999</cx:pt>
          <cx:pt idx="4319">-2.0268406329999999</cx:pt>
          <cx:pt idx="4320">-2.0272771810000001</cx:pt>
          <cx:pt idx="4321">-2.0288928140000002</cx:pt>
          <cx:pt idx="4322">-2.0303551999999998</cx:pt>
          <cx:pt idx="4323">-2.032297561</cx:pt>
          <cx:pt idx="4324">-2.0328873550000002</cx:pt>
          <cx:pt idx="4325">-2.0338474689999999</cx:pt>
          <cx:pt idx="4326">-2.0347641649999999</cx:pt>
          <cx:pt idx="4327">-2.0348950929999998</cx:pt>
          <cx:pt idx="4328">-2.0372089629999999</cx:pt>
          <cx:pt idx="4329">-2.0403086039999998</cx:pt>
          <cx:pt idx="4330">-2.0405922639999998</cx:pt>
          <cx:pt idx="4331">-2.0407887420000002</cx:pt>
          <cx:pt idx="4332">-2.0419896130000001</cx:pt>
          <cx:pt idx="4333">-2.0431680000000001</cx:pt>
          <cx:pt idx="4334">-2.0405922259999998</cx:pt>
          <cx:pt idx="4335">-2.037666712</cx:pt>
          <cx:pt idx="4336">-2.0375798770000002</cx:pt>
          <cx:pt idx="4337">-2.0375356089999999</cx:pt>
          <cx:pt idx="4338">-2.0347858159999999</cx:pt>
          <cx:pt idx="4339">-2.0342184859999999</cx:pt>
          <cx:pt idx="4340">-2.034174567</cx:pt>
          <cx:pt idx="4341">-2.033301437</cx:pt>
          <cx:pt idx="4342">-2.029459573</cx:pt>
          <cx:pt idx="4343">-2.0290669389999998</cx:pt>
          <cx:pt idx="4344">-2.028935835</cx:pt>
          <cx:pt idx="4345">-2.0265783489999998</cx:pt>
          <cx:pt idx="4346">-2.0255741170000001</cx:pt>
          <cx:pt idx="4347">-2.0251372139999999</cx:pt>
          <cx:pt idx="4348">-2.0183701840000001</cx:pt>
          <cx:pt idx="4349">-2.0172794660000002</cx:pt>
          <cx:pt idx="4350">-2.0171922819999999</cx:pt>
          <cx:pt idx="4351">-2.012171489</cx:pt>
          <cx:pt idx="4352">-2.011647075</cx:pt>
          <cx:pt idx="4353">-2.0101626960000001</cx:pt>
          <cx:pt idx="4354">-2.0095078549999998</cx:pt>
          <cx:pt idx="4355">-2.0092902650000002</cx:pt>
          <cx:pt idx="4356">-2.0071074530000002</cx:pt>
          <cx:pt idx="4357">-2.0048810709999998</cx:pt>
          <cx:pt idx="4358">-2.0041812619999999</cx:pt>
          <cx:pt idx="4359">-2.0006881129999998</cx:pt>
          <cx:pt idx="4360">-1.9977646499999999</cx:pt>
          <cx:pt idx="4361">-1.991434524</cx:pt>
          <cx:pt idx="4362">-1.990997272</cx:pt>
          <cx:pt idx="4363">-1.990692498</cx:pt>
          <cx:pt idx="4364">-1.9906472040000001</cx:pt>
          <cx:pt idx="4365">-1.9886833559999999</cx:pt>
          <cx:pt idx="4366">-1.984884407</cx:pt>
          <cx:pt idx="4367">-1.984274839</cx:pt>
          <cx:pt idx="4368">-1.984143735</cx:pt>
          <cx:pt idx="4369">-1.983968712</cx:pt>
          <cx:pt idx="4370">-1.98274689</cx:pt>
          <cx:pt idx="4371">-1.982309638</cx:pt>
          <cx:pt idx="4372">-1.9813929379999999</cx:pt>
          <cx:pt idx="4373">-1.976372145</cx:pt>
          <cx:pt idx="4374">-1.9751925400000001</cx:pt>
          <cx:pt idx="4375">-1.9713942680000001</cx:pt>
          <cx:pt idx="4376">-1.9689070319999999</cx:pt>
          <cx:pt idx="4377">-1.9665495239999999</cx:pt>
          <cx:pt idx="4378">-1.9647161040000001</cx:pt>
          <cx:pt idx="4379">-1.964585</cx:pt>
          <cx:pt idx="4380">-1.9665931080000001</cx:pt>
          <cx:pt idx="4381">-1.9695632059999999</cx:pt>
          <cx:pt idx="4382">-1.971264839</cx:pt>
          <cx:pt idx="4383">-1.9743639879999999</cx:pt>
          <cx:pt idx="4384">-1.976548494</cx:pt>
          <cx:pt idx="4385">-1.979515514</cx:pt>
          <cx:pt idx="4386">-1.9805210959999999</cx:pt>
          <cx:pt idx="4387">-1.9828350020000001</cx:pt>
          <cx:pt idx="4388">-1.9884213989999999</cx:pt>
          <cx:pt idx="4389">-1.988814359</cx:pt>
          <cx:pt idx="4390">-1.9917398609999999</cx:pt>
          <cx:pt idx="4391">-1.992136226</cx:pt>
          <cx:pt idx="4392">-1.993791211</cx:pt>
          <cx:pt idx="4393">-1.9938365060000001</cx:pt>
          <cx:pt idx="4394">-1.9946646640000001</cx:pt>
          <cx:pt idx="4395">-1.9947957679999999</cx:pt>
          <cx:pt idx="4396">-1.9958442649999999</cx:pt>
          <cx:pt idx="4397">-2.0018246469999998</cx:pt>
          <cx:pt idx="4398">-2.0025666480000002</cx:pt>
          <cx:pt idx="4399">-2.00378984</cx:pt>
          <cx:pt idx="4400">-2.0076742539999999</cx:pt>
          <cx:pt idx="4401">-2.0107737530000001</cx:pt>
          <cx:pt idx="4402">-2.0148342370000001</cx:pt>
          <cx:pt idx="4403">-2.0156198299999999</cx:pt>
          <cx:pt idx="4404">-2.017252332</cx:pt>
          <cx:pt idx="4405">-2.0181966189999998</cx:pt>
          <cx:pt idx="4406">-2.0214296209999998</cx:pt>
          <cx:pt idx="4407">-2.0215144039999999</cx:pt>
          <cx:pt idx="4408">-2.0229541590000002</cx:pt>
          <cx:pt idx="4409">-2.0232170630000001</cx:pt>
          <cx:pt idx="4410">-2.025312682</cx:pt>
          <cx:pt idx="4411">-2.0276265659999999</cx:pt>
          <cx:pt idx="4412">-2.0285432839999999</cx:pt>
          <cx:pt idx="4413">-2.0312937419999999</cx:pt>
          <cx:pt idx="4414">-2.0333447429999998</cx:pt>
          <cx:pt idx="4415">-2.0358336709999998</cx:pt>
          <cx:pt idx="4416">-2.0358765870000002</cx:pt>
          <cx:pt idx="4417">-2.0365324509999998</cx:pt>
          <cx:pt idx="4418">-2.0395471449999998</cx:pt>
          <cx:pt idx="4419">-2.0410294869999999</cx:pt>
          <cx:pt idx="4420">-2.041249804</cx:pt>
          <cx:pt idx="4421">-2.042730771</cx:pt>
          <cx:pt idx="4422">-2.0431680000000001</cx:pt>
          <cx:pt idx="4423">-2.0432991010000001</cx:pt>
          <cx:pt idx="4424">-2.0452853869999998</cx:pt>
          <cx:pt idx="4425">-2.0460931150000001</cx:pt>
          <cx:pt idx="4426">-2.0474024370000001</cx:pt>
          <cx:pt idx="4427">-2.047511917</cx:pt>
          <cx:pt idx="4428">-2.0493248639999999</cx:pt>
          <cx:pt idx="4429">-2.0497816879999999</cx:pt>
          <cx:pt idx="4430">-2.0513969680000002</cx:pt>
          <cx:pt idx="4431">-2.05189924</cx:pt>
          <cx:pt idx="4432">-2.053056341</cx:pt>
          <cx:pt idx="4433">-2.0549118640000001</cx:pt>
          <cx:pt idx="4434">-2.0549566449999999</cx:pt>
          <cx:pt idx="4435">-2.0549988720000001</cx:pt>
          <cx:pt idx="4436">-2.057749458</cx:pt>
          <cx:pt idx="4437">-2.0578596259999999</cx:pt>
          <cx:pt idx="4438">-2.0581652450000001</cx:pt>
          <cx:pt idx="4439">-2.0582307960000001</cx:pt>
          <cx:pt idx="4440">-2.0590165530000002</cx:pt>
          <cx:pt idx="4441">-2.0590383480000001</cx:pt>
          <cx:pt idx="4442">-2.0602388669999998</cx:pt>
          <cx:pt idx="4443">-2.060544497</cx:pt>
          <cx:pt idx="4444">-2.0611981269999999</cx:pt>
          <cx:pt idx="4445">-2.0612430819999998</cx:pt>
          <cx:pt idx="4446">-2.0623548899999999</cx:pt>
          <cx:pt idx="4447">-2.062967504</cx:pt>
          <cx:pt idx="4448">-2.0640370840000002</cx:pt>
          <cx:pt idx="4449">-2.0641244310000002</cx:pt>
          <cx:pt idx="4450">-2.0641462260000001</cx:pt>
          <cx:pt idx="4451">-2.0680084669999999</cx:pt>
          <cx:pt idx="4452">-2.0680534119999998</cx:pt>
          <cx:pt idx="4453">-2.0689701060000001</cx:pt>
          <cx:pt idx="4454">-2.0705636009999999</cx:pt>
          <cx:pt idx="4455">-2.070977337</cx:pt>
          <cx:pt idx="4456">-2.071042549</cx:pt>
          <cx:pt idx="4457">-2.0710874939999999</cx:pt>
          <cx:pt idx="4458">-2.0720915340000001</cx:pt>
          <cx:pt idx="4459">-2.0726372230000001</cx:pt>
          <cx:pt idx="4460">-2.0726591929999998</cx:pt>
          <cx:pt idx="4461">-2.0727901200000001</cx:pt>
          <cx:pt idx="4462">-2.0728554959999999</cx:pt>
          <cx:pt idx="4463">-2.073750569</cx:pt>
          <cx:pt idx="4464">-2.0756484940000002</cx:pt>
          <cx:pt idx="4465">-2.0768064470000001</cx:pt>
          <cx:pt idx="4466">-2.0801461479999999</cx:pt>
          <cx:pt idx="4467">-2.0806908100000001</cx:pt>
          <cx:pt idx="4468">-2.0834202990000001</cx:pt>
          <cx:pt idx="4469">-2.0852746209999999</cx:pt>
          <cx:pt idx="4470">-2.0871092</cx:pt>
          <cx:pt idx="4471">-2.0906017979999998</cx:pt>
          <cx:pt idx="4472">-2.0909292129999999</cx:pt>
          <cx:pt idx="4473">-2.0909728049999998</cx:pt>
          <cx:pt idx="4474">-2.0914093619999998</cx:pt>
          <cx:pt idx="4475">-2.092588084</cx:pt>
          <cx:pt idx="4476">-2.0927627769999999</cx:pt>
          <cx:pt idx="4477">-2.0929592549999998</cx:pt>
          <cx:pt idx="4478">-2.0954694439999999</cx:pt>
          <cx:pt idx="4479">-2.097106519</cx:pt>
          <cx:pt idx="4480">-2.0979360310000001</cx:pt>
          <cx:pt idx="4481">-2.098001418</cx:pt>
          <cx:pt idx="4482">-2.0983943840000001</cx:pt>
          <cx:pt idx="4483">-2.1001405900000001</cx:pt>
          <cx:pt idx="4484">-2.101363079</cx:pt>
          <cx:pt idx="4485">-2.1020149090000002</cx:pt>
          <cx:pt idx="4486">-2.1029346040000001</cx:pt>
          <cx:pt idx="4487">-2.10529206</cx:pt>
          <cx:pt idx="4488">-2.1060342360000002</cx:pt>
          <cx:pt idx="4489">-2.10660172</cx:pt>
          <cx:pt idx="4490">-2.106885718</cx:pt>
          <cx:pt idx="4491">-2.109396072</cx:pt>
          <cx:pt idx="4492">-2.1111637349999999</cx:pt>
          <cx:pt idx="4493">-2.113761599</cx:pt>
          <cx:pt idx="4494">-2.1143724989999999</cx:pt>
          <cx:pt idx="4495">-2.115071259</cx:pt>
          <cx:pt idx="4496">-2.1158350559999999</cx:pt>
          <cx:pt idx="4497">-2.11603137</cx:pt>
          <cx:pt idx="4498">-2.1167299549999998</cx:pt>
          <cx:pt idx="4499">-2.1169919940000002</cx:pt>
          <cx:pt idx="4500">-2.117581274</cx:pt>
          <cx:pt idx="4501">-2.1176466500000002</cx:pt>
          <cx:pt idx="4502">-2.1182579000000001</cx:pt>
          <cx:pt idx="4503">-2.1193710710000002</cx:pt>
          <cx:pt idx="4504">-2.1195896940000001</cx:pt>
          <cx:pt idx="4505">-2.1212923199999998</cx:pt>
          <cx:pt idx="4506">-2.1217510000000002</cx:pt>
          <cx:pt idx="4507">-2.1218807540000002</cx:pt>
          <cx:pt idx="4508">-2.1246319699999998</cx:pt>
          <cx:pt idx="4509">-2.1250246150000001</cx:pt>
          <cx:pt idx="4510">-2.1255044449999998</cx:pt>
          <cx:pt idx="4511">-2.1278619920000001</cx:pt>
          <cx:pt idx="4512">-2.1279062620000002</cx:pt>
          <cx:pt idx="4513">-2.1308761220000001</cx:pt>
          <cx:pt idx="4514">-2.1321858379999998</cx:pt>
          <cx:pt idx="4515">-2.1340176030000002</cx:pt>
          <cx:pt idx="4516">-2.1340618729999998</cx:pt>
          <cx:pt idx="4517">-2.1372922220000001</cx:pt>
          <cx:pt idx="4518">-2.1381231340000002</cx:pt>
          <cx:pt idx="4519">-2.1406989959999998</cx:pt>
          <cx:pt idx="4520">-2.141439665</cx:pt>
          <cx:pt idx="4521">-2.1416582860000002</cx:pt>
          <cx:pt idx="4522">-2.1417468259999999</cx:pt>
          <cx:pt idx="4523">-2.142881842</cx:pt>
          <cx:pt idx="4524">-2.1430558660000001</cx:pt>
          <cx:pt idx="4525">-2.1441898560000001</cx:pt>
          <cx:pt idx="4526">-2.1510878400000002</cx:pt>
          <cx:pt idx="4527">-2.1511760299999998</cx:pt>
          <cx:pt idx="4528">-2.1536200870000002</cx:pt>
          <cx:pt idx="4529">-2.1536653819999998</cx:pt>
          <cx:pt idx="4530">-2.1588170619999998</cx:pt>
          <cx:pt idx="4531">-2.1598632119999999</cx:pt>
          <cx:pt idx="4532">-2.1645347340000001</cx:pt>
          <cx:pt idx="4533">-2.1675478369999999</cx:pt>
          <cx:pt idx="4534">-2.169642493</cx:pt>
          <cx:pt idx="4535">-2.1719574719999999</cx:pt>
          <cx:pt idx="4536">-2.173004975</cx:pt>
          <cx:pt idx="4537">-2.1742275270000002</cx:pt>
          <cx:pt idx="4538">-2.1764543160000001</cx:pt>
          <cx:pt idx="4539">-2.1766715830000001</cx:pt>
          <cx:pt idx="4540">-2.1787243489999999</cx:pt>
          <cx:pt idx="4541">-2.179816121</cx:pt>
          <cx:pt idx="4542">-2.1966673879999998</cx:pt>
          <cx:pt idx="4543">-2.2003349999999999</cx:pt>
          <cx:pt idx="4544">-2.2004225119999998</cx:pt>
          <cx:pt idx="4545">-2.2005103720000001</cx:pt>
          <cx:pt idx="4546">-2.2005532880000001</cx:pt>
          <cx:pt idx="4547">-2.2015139279999998</cx:pt>
          <cx:pt idx="4548">-2.2016017890000001</cx:pt>
          <cx:pt idx="4549">-2.2016457090000001</cx:pt>
          <cx:pt idx="4550">-2.207756871</cx:pt>
          <cx:pt idx="4551">-2.2092855180000002</cx:pt>
          <cx:pt idx="4552">-2.2094595369999999</cx:pt>
          <cx:pt idx="4553">-2.2122978670000002</cx:pt>
          <cx:pt idx="4554">-2.2133010739999999</cx:pt>
          <cx:pt idx="4555">-2.2134328540000001</cx:pt>
          <cx:pt idx="4556">-2.214611084</cx:pt>
          <cx:pt idx="4557">-2.2168408940000002</cx:pt>
          <cx:pt idx="4558">-2.2170128610000002</cx:pt>
          <cx:pt idx="4559">-2.21819144</cx:pt>
          <cx:pt idx="4560">-2.2182786019999998</cx:pt>
          <cx:pt idx="4561">-2.2191946470000001</cx:pt>
          <cx:pt idx="4562">-2.2219022009999998</cx:pt>
          <cx:pt idx="4563">-2.2250020610000001</cx:pt>
          <cx:pt idx="4564">-2.225306835</cx:pt>
          <cx:pt idx="4565">-2.2264424979999999</cx:pt>
          <cx:pt idx="4566">-2.2274031390000002</cx:pt>
          <cx:pt idx="4567">-2.2283198390000001</cx:pt>
          <cx:pt idx="4568">-2.2284945340000002</cx:pt>
          <cx:pt idx="4569">-2.2285381260000001</cx:pt>
          <cx:pt idx="4570">-2.229454848</cx:pt>
          <cx:pt idx="4571">-2.229716706</cx:pt>
          <cx:pt idx="4572">-2.2318552490000001</cx:pt>
          <cx:pt idx="4573">-2.2343036509999998</cx:pt>
          <cx:pt idx="4574">-2.2365273270000001</cx:pt>
          <cx:pt idx="4575">-2.2373568640000001</cx:pt>
          <cx:pt idx="4576">-2.2416781970000002</cx:pt>
          <cx:pt idx="4577">-2.246481052</cx:pt>
          <cx:pt idx="4578">-2.2472234050000002</cx:pt>
          <cx:pt idx="4579">-2.247310589</cx:pt>
          <cx:pt idx="4580">-2.2480965340000001</cx:pt>
          <cx:pt idx="4581">-2.2504976120000002</cx:pt>
          <cx:pt idx="4582">-2.2520255819999999</cx:pt>
          <cx:pt idx="4583">-2.2541205340000001</cx:pt>
          <cx:pt idx="4584">-2.2572234500000001</cx:pt>
          <cx:pt idx="4585">-2.259141654</cx:pt>
          <cx:pt idx="4586">-2.2593163500000002</cx:pt>
          <cx:pt idx="4587">-2.2649916349999999</cx:pt>
          <cx:pt idx="4588">-2.2678755869999998</cx:pt>
          <cx:pt idx="4589">-2.2703202789999999</cx:pt>
          <cx:pt idx="4590">-2.2739438550000002</cx:pt>
          <cx:pt idx="4591">-2.2746862079999999</cx:pt>
          <cx:pt idx="4592">-2.2785277449999999</cx:pt>
          <cx:pt idx="4593">-2.278918</cx:pt>
          <cx:pt idx="4594">-2.279661548</cx:pt>
          <cx:pt idx="4595">-2.2802727919999999</cx:pt>
          <cx:pt idx="4596">-2.2802932239999998</cx:pt>
          <cx:pt idx="4597">-2.281888087</cx:pt>
          <cx:pt idx="4598">-2.2819085189999999</cx:pt>
          <cx:pt idx="4599">-2.2831322090000001</cx:pt>
          <cx:pt idx="4600">-2.286013595</cx:pt>
          <cx:pt idx="4601">-2.2871049819999998</cx:pt>
          <cx:pt idx="4602">-2.2878022200000001</cx:pt>
          <cx:pt idx="4603">-2.2895716030000002</cx:pt>
          <cx:pt idx="4604">-2.29105596</cx:pt>
          <cx:pt idx="4605">-2.2937626519999998</cx:pt>
          <cx:pt idx="4606">-2.293784622</cx:pt>
          <cx:pt idx="4607">-2.2944174880000001</cx:pt>
          <cx:pt idx="4608">-2.294592008</cx:pt>
          <cx:pt idx="4609">-2.294679355</cx:pt>
          <cx:pt idx="4610">-2.2962728650000002</cx:pt>
          <cx:pt idx="4611">-2.2963602010000002</cx:pt>
          <cx:pt idx="4612">-2.2977790169999999</cx:pt>
          <cx:pt idx="4613">-2.299394312</cx:pt>
          <cx:pt idx="4614">-2.3007039850000002</cx:pt>
          <cx:pt idx="4615">-2.3026684940000002</cx:pt>
          <cx:pt idx="4616">-2.3071869710000001</cx:pt>
          <cx:pt idx="4617">-2.3083875009999999</cx:pt>
          <cx:pt idx="4618">-2.3094571030000002</cx:pt>
          <cx:pt idx="4619">-2.309500683</cx:pt>
          <cx:pt idx="4620">-2.3100683470000001</cx:pt>
          <cx:pt idx="4621">-2.3122518950000002</cx:pt>
          <cx:pt idx="4622">-2.312383031</cx:pt>
          <cx:pt idx="4623">-2.314281464</cx:pt>
          <cx:pt idx="4624">-2.314324434</cx:pt>
          <cx:pt idx="4625">-2.31436843</cx:pt>
          <cx:pt idx="4626">-2.3148489639999998</cx:pt>
          <cx:pt idx="4627">-2.3153951269999999</cx:pt>
          <cx:pt idx="4628">-2.315437551</cx:pt>
          <cx:pt idx="4629">-2.3154607220000001</cx:pt>
          <cx:pt idx="4630">-2.3176428179999999</cx:pt>
          <cx:pt idx="4631">-2.3189090409999999</cx:pt>
          <cx:pt idx="4632">-2.3190400019999999</cx:pt>
          <cx:pt idx="4633">-2.3190617979999999</cx:pt>
          <cx:pt idx="4634">-2.319804134</cx:pt>
          <cx:pt idx="4635">-2.3198261050000002</cx:pt>
          <cx:pt idx="4636">-2.3221390199999998</cx:pt>
          <cx:pt idx="4637">-2.3241469129999999</cx:pt>
          <cx:pt idx="4638">-2.3294734309999998</cx:pt>
          <cx:pt idx="4639">-2.3298664009999999</cx:pt>
          <cx:pt idx="4640">-2.3301938190000002</cx:pt>
          <cx:pt idx="4641">-2.3302156150000002</cx:pt>
          <cx:pt idx="4642">-2.3307395230000001</cx:pt>
          <cx:pt idx="4643">-2.330783115</cx:pt>
          <cx:pt idx="4644">-2.3334244420000001</cx:pt>
          <cx:pt idx="4645">-2.33355537</cx:pt>
          <cx:pt idx="4646">-2.3343193489999998</cx:pt>
          <cx:pt idx="4647">-2.3343629410000002</cx:pt>
          <cx:pt idx="4648">-2.3344066959999998</cx:pt>
          <cx:pt idx="4649">-2.3349520510000001</cx:pt>
          <cx:pt idx="4650">-2.3351703370000001</cx:pt>
          <cx:pt idx="4651">-2.3362402769999999</cx:pt>
          <cx:pt idx="4652">-2.3370480119999999</cx:pt>
          <cx:pt idx="4653">-2.3372880829999998</cx:pt>
          <cx:pt idx="4654">-2.3373359200000001</cx:pt>
          <cx:pt idx="4655">-2.3375730990000001</cx:pt>
          <cx:pt idx="4656">-2.3375948950000001</cx:pt>
          <cx:pt idx="4657">-2.3379427449999999</cx:pt>
          <cx:pt idx="4658">-2.3388609759999999</cx:pt>
          <cx:pt idx="4659">-2.3388814070000001</cx:pt>
          <cx:pt idx="4660">-2.3391010579999998</cx:pt>
          <cx:pt idx="4661">-2.3411515490000001</cx:pt>
          <cx:pt idx="4662">-2.3435963640000002</cx:pt>
          <cx:pt idx="4663">-2.3442729959999999</cx:pt>
          <cx:pt idx="4664">-2.344578619</cx:pt>
          <cx:pt idx="4665">-2.3446222099999998</cx:pt>
          <cx:pt idx="4666">-2.3454314730000001</cx:pt>
          <cx:pt idx="4667">-2.3455406160000001</cx:pt>
          <cx:pt idx="4668">-2.3468487609999999</cx:pt>
          <cx:pt idx="4669">-2.3468923419999999</cx:pt>
          <cx:pt idx="4670">-2.3474176139999998</cx:pt>
          <cx:pt idx="4671">-2.3479633080000002</cx:pt>
          <cx:pt idx="4672">-2.3499278170000002</cx:pt>
          <cx:pt idx="4673">-2.3508227239999999</cx:pt>
          <cx:pt idx="4674">-2.3524599780000002</cx:pt>
          <cx:pt idx="4675">-2.352852784</cx:pt>
          <cx:pt idx="4676">-2.3562362719999999</cx:pt>
          <cx:pt idx="4677">-2.3566714690000001</cx:pt>
          <cx:pt idx="4678">-2.3567164140000001</cx:pt>
          <cx:pt idx="4679">-2.357283915</cx:pt>
          <cx:pt idx="4680">-2.3575010000000001</cx:pt>
          <cx:pt idx="4681">-2.3560578649999999</cx:pt>
          <cx:pt idx="4682">-2.3559730839999999</cx:pt>
          <cx:pt idx="4683">-2.3535693289999999</cx:pt>
          <cx:pt idx="4684">-2.3518670479999999</cx:pt>
          <cx:pt idx="4685">-2.350906428</cx:pt>
          <cx:pt idx="4686">-2.350382701</cx:pt>
          <cx:pt idx="4687">-2.3477194510000001</cx:pt>
          <cx:pt idx="4688">-2.3472829069999999</cx:pt>
          <cx:pt idx="4689">-2.347239316</cx:pt>
          <cx:pt idx="4690">-2.3464098180000001</cx:pt>
          <cx:pt idx="4691">-2.3429609889999998</cx:pt>
          <cx:pt idx="4692">-2.342000697</cx:pt>
          <cx:pt idx="4693">-2.3417824349999998</cx:pt>
          <cx:pt idx="4694">-2.3407782240000001</cx:pt>
          <cx:pt idx="4695">-2.3388597120000001</cx:pt>
          <cx:pt idx="4696">-2.337678779</cx:pt>
          <cx:pt idx="4697">-2.3367181590000001</cx:pt>
          <cx:pt idx="4698">-2.3359782010000001</cx:pt>
          <cx:pt idx="4699">-2.3328767039999998</cx:pt>
          <cx:pt idx="4700">-2.3323526499999998</cx:pt>
          <cx:pt idx="4701">-2.331523131</cx:pt>
          <cx:pt idx="4702">-2.3303009860000001</cx:pt>
          <cx:pt idx="4703">-2.3299951929999998</cx:pt>
          <cx:pt idx="4704">-2.3294714660000002</cx:pt>
          <cx:pt idx="4705">-2.3293403650000002</cx:pt>
          <cx:pt idx="4706">-2.3234033489999999</cx:pt>
          <cx:pt idx="4707">-2.3202599639999999</cx:pt>
          <cx:pt idx="4708">-2.320085272</cx:pt>
          <cx:pt idx="4709">-2.3193432839999999</cx:pt>
          <cx:pt idx="4710">-2.317728164</cx:pt>
          <cx:pt idx="4711">-2.3143665169999998</cx:pt>
          <cx:pt idx="4712">-2.313668099</cx:pt>
          <cx:pt idx="4713">-2.3106994269999999</cx:pt>
          <cx:pt idx="4714">-2.3032780420000001</cx:pt>
          <cx:pt idx="4715">-2.3024485229999998</cx:pt>
          <cx:pt idx="4716">-2.3019244689999998</cx:pt>
          <cx:pt idx="4717">-2.301750105</cx:pt>
          <cx:pt idx="4718">-2.2961185319999999</cx:pt>
          <cx:pt idx="4719">-2.2954633549999999</cx:pt>
          <cx:pt idx="4720">-2.2935424640000002</cx:pt>
          <cx:pt idx="4721">-2.2891769549999998</cx:pt>
          <cx:pt idx="4722">-2.2885221279999999</cx:pt>
          <cx:pt idx="4723">-2.2829334480000001</cx:pt>
          <cx:pt idx="4724">-2.281013583</cx:pt>
          <cx:pt idx="4725">-2.279310953</cx:pt>
          <cx:pt idx="4726">-2.279048752</cx:pt>
          <cx:pt idx="4727">-2.278918</cx:pt>
          <cx:pt idx="4728">-2.2823668580000001</cx:pt>
          <cx:pt idx="4729">-2.284331356</cx:pt>
          <cx:pt idx="4730">-2.2877366229999998</cx:pt>
          <cx:pt idx="4731">-2.2886969019999999</cx:pt>
          <cx:pt idx="4732">-2.290094099</cx:pt>
          <cx:pt idx="4733">-2.2942849509999999</cx:pt>
          <cx:pt idx="4734">-2.2969482019999998</cx:pt>
          <cx:pt idx="4735">-2.2973408310000001</cx:pt>
          <cx:pt idx="4736">-2.2992627639999998</cx:pt>
          <cx:pt idx="4737">-2.3016192150000001</cx:pt>
          <cx:pt idx="4738">-2.3054610289999999</cx:pt>
          <cx:pt idx="4739">-2.306770695</cx:pt>
          <cx:pt idx="4740">-2.307425528</cx:pt>
          <cx:pt idx="4741">-2.3094775369999998</cx:pt>
          <cx:pt idx="4742">-2.3120114090000001</cx:pt>
          <cx:pt idx="4743">-2.3122283189999999</cx:pt>
          <cx:pt idx="4744">-2.3152852249999998</cx:pt>
          <cx:pt idx="4745">-2.3159400570000002</cx:pt>
          <cx:pt idx="4746">-2.3197372760000001</cx:pt>
          <cx:pt idx="4747">-2.319780191</cx:pt>
          <cx:pt idx="4748">-2.32227045</cx:pt>
          <cx:pt idx="4749">-2.3250341560000001</cx:pt>
          <cx:pt idx="4750">-2.3289481780000001</cx:pt>
          <cx:pt idx="4751">-2.329211736</cx:pt>
          <cx:pt idx="4752">-2.3321787509999998</cx:pt>
          <cx:pt idx="4753">-2.332966061</cx:pt>
          <cx:pt idx="4754">-2.333140733</cx:pt>
          <cx:pt idx="4755">-2.3332718350000001</cx:pt>
          <cx:pt idx="4756">-2.3339266680000001</cx:pt>
          <cx:pt idx="4757">-2.334450398</cx:pt>
          <cx:pt idx="4758">-2.3385104980000002</cx:pt>
          <cx:pt idx="4759">-2.3388142630000002</cx:pt>
          <cx:pt idx="4760">-2.3416089640000002</cx:pt>
          <cx:pt idx="4761">-2.3426131620000001</cx:pt>
          <cx:pt idx="4762">-2.3452324939999998</cx:pt>
          <cx:pt idx="4763">-2.3453207030000001</cx:pt>
          <cx:pt idx="4764">-2.348813829</cx:pt>
          <cx:pt idx="4765">-2.3502974889999999</cx:pt>
          <cx:pt idx="4766">-2.3531783480000001</cx:pt>
          <cx:pt idx="4767">-2.3539210399999999</cx:pt>
          <cx:pt idx="4768">-2.356190658</cx:pt>
          <cx:pt idx="4769">-2.3566268560000001</cx:pt>
          <cx:pt idx="4770">-2.3575010000000001</cx:pt>
          <cx:pt idx="4771">-2.3580900840000001</cx:pt>
          <cx:pt idx="4772">-2.358417663</cx:pt>
          <cx:pt idx="4773">-2.3611899470000002</cx:pt>
          <cx:pt idx="4774">-2.364092313</cx:pt>
          <cx:pt idx="4775">-2.3644638090000001</cx:pt>
          <cx:pt idx="4776">-2.3664941279999998</cx:pt>
          <cx:pt idx="4777">-2.3671703810000002</cx:pt>
          <cx:pt idx="4778">-2.3672154989999998</cx:pt>
          <cx:pt idx="4779">-2.3700953939999998</cx:pt>
          <cx:pt idx="4780">-2.3716014790000002</cx:pt>
          <cx:pt idx="4781">-2.3721686040000001</cx:pt>
          <cx:pt idx="4782">-2.3722128709999999</cx:pt>
          <cx:pt idx="4783">-2.3726708689999998</cx:pt>
          <cx:pt idx="4784">-2.3726926640000001</cx:pt>
          <cx:pt idx="4785">-2.3728251139999998</cx:pt>
          <cx:pt idx="4786">-2.3754426409999998</cx:pt>
          <cx:pt idx="4787">-2.3754867439999998</cx:pt>
          <cx:pt idx="4788">-2.3756626199999999</cx:pt>
          <cx:pt idx="4789">-2.3757268040000001</cx:pt>
          <cx:pt idx="4790">-2.3760542079999998</cx:pt>
          <cx:pt idx="4791">-2.3776925900000001</cx:pt>
          <cx:pt idx="4792">-2.3782163000000001</cx:pt>
          <cx:pt idx="4793">-2.3784333759999998</cx:pt>
          <cx:pt idx="4794">-2.3792628589999998</cx:pt>
          <cx:pt idx="4795">-2.3795465089999999</cx:pt>
          <cx:pt idx="4796">-2.379917667</cx:pt>
          <cx:pt idx="4797">-2.38024507</cx:pt>
          <cx:pt idx="4798">-2.3806598170000002</cx:pt>
          <cx:pt idx="4799">-2.3808780930000002</cx:pt>
          <cx:pt idx="4800">-2.3817961090000002</cx:pt>
          <cx:pt idx="4801">-2.3819052470000002</cx:pt>
          <cx:pt idx="4802">-2.382734567</cx:pt>
          <cx:pt idx="4803">-2.3833447689999998</cx:pt>
          <cx:pt idx="4804">-2.384939224</cx:pt>
          <cx:pt idx="4805">-2.385244658</cx:pt>
          <cx:pt idx="4806">-2.3874493139999999</cx:pt>
          <cx:pt idx="4807">-2.38904139</cx:pt>
          <cx:pt idx="4808">-2.3890631739999999</cx:pt>
          <cx:pt idx="4809">-2.3893032340000002</cx:pt>
          <cx:pt idx="4810">-2.3915964239999998</cx:pt>
          <cx:pt idx="4811">-2.3933633489999999</cx:pt>
          <cx:pt idx="4812">-2.3946304</cx:pt>
          <cx:pt idx="4813">-2.3949128599999998</cx:pt>
          <cx:pt idx="4814">-2.3949579779999999</cx:pt>
          <cx:pt idx="4815">-2.3953071650000002</cx:pt>
          <cx:pt idx="4816">-2.398344383</cx:pt>
          <cx:pt idx="4817">-2.398716555</cx:pt>
          <cx:pt idx="4818">-2.4021434830000001</cx:pt>
          <cx:pt idx="4819">-2.405352309</cx:pt>
          <cx:pt idx="4820">-2.4085606340000001</cx:pt>
          <cx:pt idx="4821">-2.408953586</cx:pt>
          <cx:pt idx="4822">-2.4099793759999999</cx:pt>
          <cx:pt idx="4823">-2.410634183</cx:pt>
          <cx:pt idx="4824">-2.411638189</cx:pt>
          <cx:pt idx="4825">-2.4145849959999999</cx:pt>
          <cx:pt idx="4826">-2.4151527979999998</cx:pt>
          <cx:pt idx="4827">-2.415239803</cx:pt>
          <cx:pt idx="4828">-2.4170514970000001</cx:pt>
          <cx:pt idx="4829">-2.417422491</cx:pt>
          <cx:pt idx="4830">-2.4176628889999998</cx:pt>
          <cx:pt idx="4831">-2.4187103099999998</cx:pt>
          <cx:pt idx="4832">-2.4194524610000001</cx:pt>
          <cx:pt idx="4833">-2.4196051779999999</cx:pt>
          <cx:pt idx="4834">-2.4197364490000002</cx:pt>
          <cx:pt idx="4835">-2.420587389</cx:pt>
          <cx:pt idx="4836">-2.4221380899999998</cx:pt>
          <cx:pt idx="4837">-2.4240578959999999</cx:pt>
          <cx:pt idx="4838">-2.4261099989999999</cx:pt>
          <cx:pt idx="4839">-2.426480829</cx:pt>
          <cx:pt idx="4840">-2.4294278</cx:pt>
          <cx:pt idx="4841">-2.4298639930000001</cx:pt>
          <cx:pt idx="4842">-2.4308026140000001</cx:pt>
          <cx:pt idx="4843">-2.431937553</cx:pt>
          <cx:pt idx="4844">-2.4323245459999998</cx:pt>
          <cx:pt idx="4845">-2.4336404570000001</cx:pt>
          <cx:pt idx="4846">-2.4341207530000002</cx:pt>
          <cx:pt idx="4847">-2.4360849999999998</cx:pt>
          <cx:pt idx="4848">-2.4358668880000001</cx:pt>
          <cx:pt idx="4849">-2.435785675</cx:pt>
          <cx:pt idx="4850">-2.4333556569999999</cx:pt>
          <cx:pt idx="4851">-2.433072846</cx:pt>
          <cx:pt idx="4852">-2.4318496679999999</cx:pt>
          <cx:pt idx="4853">-2.4317849680000001</cx:pt>
          <cx:pt idx="4854">-2.430278301</cx:pt>
          <cx:pt idx="4855">-2.4299512210000001</cx:pt>
          <cx:pt idx="4856">-2.4299294250000001</cx:pt>
          <cx:pt idx="4857">-2.4297760240000001</cx:pt>
          <cx:pt idx="4858">-2.4297324329999999</cx:pt>
          <cx:pt idx="4859">-2.429580385</cx:pt>
          <cx:pt idx="4860">-2.429536455</cx:pt>
          <cx:pt idx="4861">-2.4271793239999999</cx:pt>
          <cx:pt idx="4862">-2.426480556</cx:pt>
          <cx:pt idx="4863">-2.4251053310000001</cx:pt>
          <cx:pt idx="4864">-2.4247336439999998</cx:pt>
          <cx:pt idx="4865">-2.4241230749999998</cx:pt>
          <cx:pt idx="4866">-2.4241012799999999</cx:pt>
          <cx:pt idx="4867">-2.4228346840000001</cx:pt>
          <cx:pt idx="4868">-2.421067002</cx:pt>
          <cx:pt idx="4869">-2.4193211049999999</cx:pt>
          <cx:pt idx="4870">-2.4192771749999999</cx:pt>
          <cx:pt idx="4871">-2.4192548770000002</cx:pt>
          <cx:pt idx="4872">-2.4150638130000002</cx:pt>
          <cx:pt idx="4873">-2.414955183</cx:pt>
          <cx:pt idx="4874">-2.4149325460000002</cx:pt>
          <cx:pt idx="4875">-2.4127286410000002</cx:pt>
          <cx:pt idx="4876">-2.4096720540000001</cx:pt>
          <cx:pt idx="4877">-2.4095418030000002</cx:pt>
          <cx:pt idx="4878">-2.4082752080000001</cx:pt>
          <cx:pt idx="4879">-2.4082321289999999</cx:pt>
          <cx:pt idx="4880">-2.4074017460000001</cx:pt>
          <cx:pt idx="4881">-2.4070091140000001</cx:pt>
          <cx:pt idx="4882">-2.4067690430000002</cx:pt>
          <cx:pt idx="4883">-2.4037572379999999</cx:pt>
          <cx:pt idx="4884">-2.4036480949999999</cx:pt>
          <cx:pt idx="4885">-2.4036043399999998</cx:pt>
          <cx:pt idx="4886">-2.4031454800000001</cx:pt>
          <cx:pt idx="4887">-2.4027530229999998</cx:pt>
          <cx:pt idx="4888">-2.4027089180000001</cx:pt>
          <cx:pt idx="4889">-2.4025766260000001</cx:pt>
          <cx:pt idx="4890">-2.401137726</cx:pt>
          <cx:pt idx="4891">-2.3991291110000001</cx:pt>
          <cx:pt idx="4892">-2.3990199680000002</cx:pt>
          <cx:pt idx="4893">-2.3989763869999998</cx:pt>
          <cx:pt idx="4894">-2.3980819910000002</cx:pt>
          <cx:pt idx="4895">-2.3978637049999998</cx:pt>
          <cx:pt idx="4896">-2.3958549260000002</cx:pt>
          <cx:pt idx="4897">-2.3952874359999998</cx:pt>
          <cx:pt idx="4898">-2.3952656399999999</cx:pt>
          <cx:pt idx="4899">-2.3949160869999999</cx:pt>
          <cx:pt idx="4900">-2.3943705679999998</cx:pt>
          <cx:pt idx="4901">-2.393781282</cx:pt>
          <cx:pt idx="4902">-2.3932355780000001</cx:pt>
          <cx:pt idx="4903">-2.3917948010000001</cx:pt>
          <cx:pt idx="4904">-2.3906598209999999</cx:pt>
          <cx:pt idx="4905">-2.3894373199999999</cx:pt>
          <cx:pt idx="4906">-2.3881930329999999</cx:pt>
          <cx:pt idx="4907">-2.3881058500000001</cx:pt>
          <cx:pt idx="4908">-2.3873856359999999</cx:pt>
          <cx:pt idx="4909">-2.3865123490000002</cx:pt>
          <cx:pt idx="4910">-2.3843077670000001</cx:pt>
          <cx:pt idx="4911">-2.3841112870000001</cx:pt>
          <cx:pt idx="4912">-2.3832819199999999</cx:pt>
          <cx:pt idx="4913">-2.3824741949999999</cx:pt>
          <cx:pt idx="4914">-2.381797562</cx:pt>
          <cx:pt idx="4915">-2.3815137239999999</cx:pt>
          <cx:pt idx="4916">-2.3803131930000001</cx:pt>
          <cx:pt idx="4917">-2.3764715189999999</cx:pt>
          <cx:pt idx="4918">-2.3762968240000002</cx:pt>
          <cx:pt idx="4919">-2.3760785489999998</cx:pt>
          <cx:pt idx="4920">-2.3760129970000001</cx:pt>
          <cx:pt idx="4921">-2.3748340880000001</cx:pt>
          <cx:pt idx="4922">-2.3743977009999999</cx:pt>
          <cx:pt idx="4923">-2.3723446529999999</cx:pt>
          <cx:pt idx="4924">-2.3702926199999999</cx:pt>
          <cx:pt idx="4925">-2.3682639220000001</cx:pt>
          <cx:pt idx="4926">-2.3682203409999998</cx:pt>
          <cx:pt idx="4927">-2.3672162889999999</cx:pt>
          <cx:pt idx="4928">-2.3663200170000001</cx:pt>
          <cx:pt idx="4929">-2.3639201339999998</cx:pt>
          <cx:pt idx="4930">-2.3636798990000001</cx:pt>
          <cx:pt idx="4931">-2.362588675</cx:pt>
          <cx:pt idx="4932">-2.362064766</cx:pt>
          <cx:pt idx="4933">-2.3606445950000001</cx:pt>
          <cx:pt idx="4934">-2.3602529900000002</cx:pt>
          <cx:pt idx="4935">-2.3595531969999999</cx:pt>
          <cx:pt idx="4936">-2.3593349209999999</cx:pt>
          <cx:pt idx="4937">-2.3593131249999999</cx:pt>
          <cx:pt idx="4938">-2.3580907990000002</cx:pt>
          <cx:pt idx="4939">-2.3575010000000001</cx:pt>
          <cx:pt idx="4940">-2.3558425949999999</cx:pt>
          <cx:pt idx="4941">-2.3557547329999999</cx:pt>
          <cx:pt idx="4942">-2.3545768100000002</cx:pt>
          <cx:pt idx="4943">-2.3486392139999999</cx:pt>
          <cx:pt idx="4944">-2.34457899</cx:pt>
          <cx:pt idx="4945">-2.3438805450000002</cx:pt>
          <cx:pt idx="4946">-2.3406519029999999</cx:pt>
          <cx:pt idx="4947">-2.3402132899999999</cx:pt>
          <cx:pt idx="4948">-2.3362406020000002</cx:pt>
          <cx:pt idx="4949">-2.3361966600000001</cx:pt>
          <cx:pt idx="4950">-2.3356729129999998</cx:pt>
          <cx:pt idx="4951">-2.3337519470000001</cx:pt>
          <cx:pt idx="4952">-2.3295602689999999</cx:pt>
          <cx:pt idx="4953">-2.3294298609999999</cx:pt>
          <cx:pt idx="4954">-2.3271581229999998</cx:pt>
          <cx:pt idx="4955">-2.326766857</cx:pt>
          <cx:pt idx="4956">-2.326723264</cx:pt>
          <cx:pt idx="4957">-2.3241910379999999</cx:pt>
          <cx:pt idx="4958">-2.3241467689999999</cx:pt>
          <cx:pt idx="4959">-2.3185149549999999</cx:pt>
          <cx:pt idx="4960">-2.3145861870000002</cx:pt>
          <cx:pt idx="4961">-2.3137562869999999</cx:pt>
          <cx:pt idx="4962">-2.312883491</cx:pt>
          <cx:pt idx="4963">-2.3081231419999999</cx:pt>
          <cx:pt idx="4964">-2.3061585830000002</cx:pt>
          <cx:pt idx="4965">-2.3046319390000001</cx:pt>
          <cx:pt idx="4966">-2.2979965739999999</cx:pt>
          <cx:pt idx="4967">-2.297516092</cx:pt>
          <cx:pt idx="4968">-2.2974725</cx:pt>
          <cx:pt idx="4969">-2.295114951</cx:pt>
          <cx:pt idx="4970">-2.294765902</cx:pt>
          <cx:pt idx="4971">-2.2930615250000002</cx:pt>
          <cx:pt idx="4972">-2.2917484140000002</cx:pt>
          <cx:pt idx="4973">-2.2915788240000001</cx:pt>
          <cx:pt idx="4974">-2.291490961</cx:pt>
          <cx:pt idx="4975">-2.2904383589999999</cx:pt>
          <cx:pt idx="4976">-2.2890030050000001</cx:pt>
          <cx:pt idx="4977">-2.2838898310000002</cx:pt>
          <cx:pt idx="4978">-2.2830211170000001</cx:pt>
          <cx:pt idx="4979">-2.278918</cx:pt>
          <cx:pt idx="4980">-2.2783064149999999</cx:pt>
          <cx:pt idx="4981">-2.2750326319999998</cx:pt>
          <cx:pt idx="4982">-2.2749447730000001</cx:pt>
          <cx:pt idx="4983">-2.2744213969999998</cx:pt>
          <cx:pt idx="4984">-2.274334214</cx:pt>
          <cx:pt idx="4985">-2.2714959490000002</cx:pt>
          <cx:pt idx="4986">-2.268134984</cx:pt>
          <cx:pt idx="4987">-2.2665634790000002</cx:pt>
          <cx:pt idx="4988">-2.2639441730000001</cx:pt>
          <cx:pt idx="4989">-2.2614113499999999</cx:pt>
          <cx:pt idx="4990">-2.2612363310000001</cx:pt>
          <cx:pt idx="4991">-2.2574388000000001</cx:pt>
          <cx:pt idx="4992">-2.2476599940000002</cx:pt>
          <cx:pt idx="4993">-2.2462635080000002</cx:pt>
          <cx:pt idx="4994">-2.2418087930000001</cx:pt>
          <cx:pt idx="4995">-2.2417226370000001</cx:pt>
          <cx:pt idx="4996">-2.2416797220000002</cx:pt>
          <cx:pt idx="4997">-2.239189487</cx:pt>
          <cx:pt idx="4998">-2.238665761</cx:pt>
          <cx:pt idx="4999">-2.2356980979999999</cx:pt>
          <cx:pt idx="5000">-2.2330787920000001</cx:pt>
          <cx:pt idx="5001">-2.2326865159999998</cx:pt>
          <cx:pt idx="5002">-2.2326412219999998</cx:pt>
          <cx:pt idx="5003">-2.2307649289999998</cx:pt>
          <cx:pt idx="5004">-2.2291498330000001</cx:pt>
          <cx:pt idx="5005">-2.2266616269999999</cx:pt>
          <cx:pt idx="5006">-2.2209850960000002</cx:pt>
          <cx:pt idx="5007">-2.2205931699999999</cx:pt>
          <cx:pt idx="5008">-2.2204150729999999</cx:pt>
          <cx:pt idx="5009">-2.2147865640000002</cx:pt>
          <cx:pt idx="5010">-2.2145246900000002</cx:pt>
          <cx:pt idx="5011">-2.2131714680000001</cx:pt>
          <cx:pt idx="5012">-2.2113367140000002</cx:pt>
          <cx:pt idx="5013">-2.2086741660000002</cx:pt>
          <cx:pt idx="5014">-2.2061420420000002</cx:pt>
          <cx:pt idx="5015">-2.2042655089999998</cx:pt>
          <cx:pt idx="5016">-2.2042208479999998</cx:pt>
          <cx:pt idx="5017">-2.20155865</cx:pt>
          <cx:pt idx="5018">-2.2003349999999999</cx:pt>
          <cx:pt idx="5019">-2.197323387</cx:pt>
          <cx:pt idx="5020">-2.1922077569999998</cx:pt>
          <cx:pt idx="5021">-2.1919978680000001</cx:pt>
          <cx:pt idx="5022">-2.1741842899999999</cx:pt>
          <cx:pt idx="5023">-2.1739659969999998</cx:pt>
          <cx:pt idx="5024">-2.1719131919999999</cx:pt>
          <cx:pt idx="5025">-2.1682022989999998</cx:pt>
          <cx:pt idx="5026">-2.164928669</cx:pt>
          <cx:pt idx="5027">-2.1618726549999998</cx:pt>
          <cx:pt idx="5028">-2.1617847920000002</cx:pt>
          <cx:pt idx="5029">-2.161217798</cx:pt>
          <cx:pt idx="5030">-2.1498223169999999</cx:pt>
          <cx:pt idx="5031">-2.1493857529999998</cx:pt>
          <cx:pt idx="5032">-2.1492546460000002</cx:pt>
          <cx:pt idx="5033">-2.1482507380000002</cx:pt>
          <cx:pt idx="5034">-2.1391263330000001</cx:pt>
          <cx:pt idx="5035">-2.1373797059999999</cx:pt>
          <cx:pt idx="5036">-2.1336688559999999</cx:pt>
          <cx:pt idx="5037">-2.1329274900000001</cx:pt>
          <cx:pt idx="5038">-2.1319225570000002</cx:pt>
          <cx:pt idx="5039">-2.1261596229999999</cx:pt>
          <cx:pt idx="5040">-2.1256801420000002</cx:pt>
          <cx:pt idx="5041">-2.123448577</cx:pt>
          <cx:pt idx="5042">-2.1234100919999999</cx:pt>
          <cx:pt idx="5043">-2.1233225779999998</cx:pt>
          <cx:pt idx="5044">-2.1217510000000002</cx:pt>
          <cx:pt idx="5045">-2.1211833210000002</cx:pt>
          <cx:pt idx="5046">-2.1210961589999999</cx:pt>
          <cx:pt idx="5047">-2.118212883</cx:pt>
          <cx:pt idx="5048">-2.1170360060000002</cx:pt>
          <cx:pt idx="5049">-2.1166859379999998</cx:pt>
          <cx:pt idx="5050">-2.115769217</cx:pt>
          <cx:pt idx="5051">-2.1126704040000002</cx:pt>
          <cx:pt idx="5052">-2.105335347</cx:pt>
          <cx:pt idx="5053">-2.1018854400000002</cx:pt>
          <cx:pt idx="5054">-2.0976952099999999</cx:pt>
          <cx:pt idx="5055">-2.091889825</cx:pt>
          <cx:pt idx="5056">-2.0915397570000001</cx:pt>
          <cx:pt idx="5057">-2.0903172589999999</cx:pt>
          <cx:pt idx="5058">-2.0853403849999999</cx:pt>
          <cx:pt idx="5059">-2.076216198</cx:pt>
          <cx:pt idx="5060">-2.0657813009999999</cx:pt>
          <cx:pt idx="5061">-2.0633812489999999</cx:pt>
          <cx:pt idx="5062">-2.0606307799999999</cx:pt>
          <cx:pt idx="5063">-2.0604114660000001</cx:pt>
          <cx:pt idx="5064">-2.0595819510000002</cx:pt>
          <cx:pt idx="5065">-2.059144699</cx:pt>
          <cx:pt idx="5066">-2.0577492070000001</cx:pt>
          <cx:pt idx="5067">-2.057487327</cx:pt>
          <cx:pt idx="5068">-2.0529470289999998</cx:pt>
          <cx:pt idx="5069">-2.0527723330000001</cx:pt>
          <cx:pt idx="5070">-2.0526415789999999</cx:pt>
          <cx:pt idx="5071">-2.049847518</cx:pt>
          <cx:pt idx="5072">-2.0497164140000002</cx:pt>
          <cx:pt idx="5073">-2.0496728219999998</cx:pt>
          <cx:pt idx="5074">-2.0468787609999999</cx:pt>
          <cx:pt idx="5075">-2.0457434459999999</cx:pt>
          <cx:pt idx="5076">-2.0431680000000001</cx:pt>
          <cx:pt idx="5077">-2.0430145909999999</cx:pt>
          <cx:pt idx="5078">-2.040809877</cx:pt>
          <cx:pt idx="5079">-2.0402866639999999</cx:pt>
          <cx:pt idx="5080">-2.0400239490000001</cx:pt>
          <cx:pt idx="5081">-2.0378629799999999</cx:pt>
          <cx:pt idx="5082">-2.0378413590000002</cx:pt>
          <cx:pt idx="5083">-2.0373172940000002</cx:pt>
          <cx:pt idx="5084">-2.0359206319999998</cx:pt>
          <cx:pt idx="5085">-2.035811501</cx:pt>
          <cx:pt idx="5086">-2.0357663819999998</cx:pt>
          <cx:pt idx="5087">-2.03476371</cx:pt>
          <cx:pt idx="5088">-2.0312062530000001</cx:pt>
          <cx:pt idx="5089">-2.0302633459999999</cx:pt>
          <cx:pt idx="5090">-2.0298739509999999</cx:pt>
          <cx:pt idx="5091">-2.0268400569999998</cx:pt>
          <cx:pt idx="5092">-2.0265332489999999</cx:pt>
          <cx:pt idx="5093">-2.0264911969999999</cx:pt>
          <cx:pt idx="5094">-2.0257268900000001</cx:pt>
          <cx:pt idx="5095">-2.0241334019999999</cx:pt>
          <cx:pt idx="5096">-2.0241102529999999</cx:pt>
          <cx:pt idx="5097">-2.0229315240000001</cx:pt>
          <cx:pt idx="5098">-2.020072147</cx:pt>
          <cx:pt idx="5099">-2.014091192</cx:pt>
          <cx:pt idx="5100">-2.0127171760000002</cx:pt>
          <cx:pt idx="5101">-2.012324387</cx:pt>
          <cx:pt idx="5102">-2.010618188</cx:pt>
          <cx:pt idx="5103">-2.0102945179999998</cx:pt>
          <cx:pt idx="5104">-2.0098797589999999</cx:pt>
          <cx:pt idx="5105">-2.0075878629999999</cx:pt>
          <cx:pt idx="5106">-2.0053831500000001</cx:pt>
          <cx:pt idx="5107">-2.0052958040000002</cx:pt>
          <cx:pt idx="5108">-2.0046130469999999</cx:pt>
          <cx:pt idx="5109">-2.003177236</cx:pt>
          <cx:pt idx="5110">-2.0018893769999999</cx:pt>
          <cx:pt idx="5111">-2.0016710940000002</cx:pt>
          <cx:pt idx="5112">-1.999205707</cx:pt>
          <cx:pt idx="5113">-1.9991622899999999</cx:pt>
          <cx:pt idx="5114">-1.9976985490000001</cx:pt>
          <cx:pt idx="5115">-1.9956479110000001</cx:pt>
          <cx:pt idx="5116">-1.994665506</cx:pt>
          <cx:pt idx="5117">-1.9930490329999999</cx:pt>
          <cx:pt idx="5118">-1.991805955</cx:pt>
          <cx:pt idx="5119">-1.991674003</cx:pt>
          <cx:pt idx="5120">-1.990538865</cx:pt>
          <cx:pt idx="5121">-1.9882044050000001</cx:pt>
          <cx:pt idx="5122">-1.9876369229999999</cx:pt>
          <cx:pt idx="5123">-1.9872429330000001</cx:pt>
          <cx:pt idx="5124">-1.985976357</cx:pt>
          <cx:pt idx="5125">-1.9839027440000001</cx:pt>
          <cx:pt idx="5126">-1.9826153870000001</cx:pt>
          <cx:pt idx="5127">-1.9822889990000001</cx:pt>
          <cx:pt idx="5128">-1.981916805</cx:pt>
          <cx:pt idx="5129">-1.981851255</cx:pt>
          <cx:pt idx="5130">-1.9809127689999999</cx:pt>
          <cx:pt idx="5131">-1.9803885290000001</cx:pt>
          <cx:pt idx="5132">-1.980237172</cx:pt>
          <cx:pt idx="5133">-1.97971327</cx:pt>
          <cx:pt idx="5134">-1.978467977</cx:pt>
          <cx:pt idx="5135">-1.9781197930000001</cx:pt>
          <cx:pt idx="5136">-1.9780969829999999</cx:pt>
          <cx:pt idx="5137">-1.977289259</cx:pt>
          <cx:pt idx="5138">-1.9759349980000001</cx:pt>
          <cx:pt idx="5139">-1.9746253439999999</cx:pt>
          <cx:pt idx="5140">-1.9743207410000001</cx:pt>
          <cx:pt idx="5141">-1.9741678439999999</cx:pt>
          <cx:pt idx="5142">-1.97054416</cx:pt>
          <cx:pt idx="5143">-1.9698459159999999</cx:pt>
          <cx:pt idx="5144">-1.969627644</cx:pt>
          <cx:pt idx="5145">-1.968645228</cx:pt>
          <cx:pt idx="5146">-1.9686013099999999</cx:pt>
          <cx:pt idx="5147">-1.9657642310000001</cx:pt>
          <cx:pt idx="5148">-1.964585</cx:pt>
          <cx:pt idx="5149">4.493499473</cx:pt>
          <cx:pt idx="5150">9.4370628889999999</cx:pt>
          <cx:pt idx="5151">19.226548690000001</cx:pt>
          <cx:pt idx="5152">21.347251579999998</cx:pt>
          <cx:pt idx="5153">25.283976899999999</cx:pt>
          <cx:pt idx="5154">30.732902110000001</cx:pt>
          <cx:pt idx="5155">33.758815650000003</cx:pt>
          <cx:pt idx="5156">34.467280879999997</cx:pt>
          <cx:pt idx="5157">47.08437052</cx:pt>
          <cx:pt idx="5158">51.318661339999998</cx:pt>
          <cx:pt idx="5159">61.511931959999998</cx:pt>
          <cx:pt idx="5160">74.835115189999996</cx:pt>
          <cx:pt idx="5161">78.873417480000001</cx:pt>
          <cx:pt idx="5162">81.998536340000001</cx:pt>
          <cx:pt idx="5163">85.026064629999993</cx:pt>
          <cx:pt idx="5164">91.787214770000006</cx:pt>
          <cx:pt idx="5165">94.108649470000003</cx:pt>
          <cx:pt idx="5166">99.962166839999995</cx:pt>
          <cx:pt idx="5167">101.0744674</cx:pt>
          <cx:pt idx="5168">103.4943</cx:pt>
          <cx:pt idx="5169">117.48220000000001</cx:pt>
          <cx:pt idx="5170">87.69905</cx:pt>
          <cx:pt idx="5171">58.211342510000001</cx:pt>
          <cx:pt idx="5172">-1.964585</cx:pt>
          <cx:pt idx="5173">-1.523955433</cx:pt>
          <cx:pt idx="5174">-1.244049381</cx:pt>
          <cx:pt idx="5175">1.0626085700000001</cx:pt>
          <cx:pt idx="5176">1.2059302780000001</cx:pt>
          <cx:pt idx="5177">3.3675731799999999</cx:pt>
          <cx:pt idx="5178">11.87024665</cx:pt>
          <cx:pt idx="5179">16.04909387</cx:pt>
          <cx:pt idx="5180">21.237353890000001</cx:pt>
          <cx:pt idx="5181">27.146185559999999</cx:pt>
          <cx:pt idx="5182">30.820884830000001</cx:pt>
          <cx:pt idx="5183">32.406971120000001</cx:pt>
          <cx:pt idx="5184">36.009721310000003</cx:pt>
          <cx:pt idx="5185">37.594150290000002</cx:pt>
          <cx:pt idx="5186">43.143813029999997</cx:pt>
          <cx:pt idx="5187">47.609844080000002</cx:pt>
          <cx:pt idx="5188">54.600614090000001</cx:pt>
          <cx:pt idx="5189">56.475613600000003</cx:pt>
          <cx:pt idx="5190">56.692001269999999</cx:pt>
          <cx:pt idx="5191">63.822165869999999</cx:pt>
          <cx:pt idx="5192">64.903563779999999</cx:pt>
          <cx:pt idx="5193">65.263813580000004</cx:pt>
          <cx:pt idx="5194">69.013272150000006</cx:pt>
          <cx:pt idx="5195">74.27178791</cx:pt>
          <cx:pt idx="5196">79.389251770000001</cx:pt>
          <cx:pt idx="5197">81.620033520000007</cx:pt>
          <cx:pt idx="5198">83.998064099999993</cx:pt>
          <cx:pt idx="5199">97.473762829999998</cx:pt>
          <cx:pt idx="5200">98.266823990000006</cx:pt>
          <cx:pt idx="5201">99.565150000000003</cx:pt>
          <cx:pt idx="5202">117.5607</cx:pt>
          <cx:pt idx="5203">104.1884695</cx:pt>
          <cx:pt idx="5204">91.215506910000002</cx:pt>
          <cx:pt idx="5205">77.640370000000004</cx:pt>
          <cx:pt idx="5206">94.771559999999994</cx:pt>
          <cx:pt idx="5207">108.9166</cx:pt>
          <cx:pt idx="5208">88.091970000000003</cx:pt>
          <cx:pt idx="5209">110.2525</cx:pt>
          <cx:pt idx="5210">85.577299999999994</cx:pt>
          <cx:pt idx="5211">98.779319999999998</cx:pt>
          <cx:pt idx="5212">124.79040000000001</cx:pt>
          <cx:pt idx="5213">93.357050000000001</cx:pt>
          <cx:pt idx="5214">117.4036</cx:pt>
          <cx:pt idx="5215">91.078149999999994</cx:pt>
          <cx:pt idx="5216">106.5591</cx:pt>
          <cx:pt idx="5217">123.4545</cx:pt>
          <cx:pt idx="5218">96.107470000000006</cx:pt>
          <cx:pt idx="5219">124.63330000000001</cx:pt>
          <cx:pt idx="5220">126.73965339999999</cx:pt>
          <cx:pt idx="5221">141.92160000000001</cx:pt>
          <cx:pt idx="5222">125.5762</cx:pt>
          <cx:pt idx="5223">148.60120000000001</cx:pt>
          <cx:pt idx="5224">123.5331</cx:pt>
          <cx:pt idx="5225">128.24200959999999</cx:pt>
          <cx:pt idx="5226">149.93709999999999</cx:pt>
          <cx:pt idx="5227">118.6609</cx:pt>
          <cx:pt idx="5228">140.50710000000001</cx:pt>
          <cx:pt idx="5229">123.14019999999999</cx:pt>
          <cx:pt idx="5230">134.92769999999999</cx:pt>
          <cx:pt idx="5231">121.4113</cx:pt>
          <cx:pt idx="5232">146.71520000000001</cx:pt>
          <cx:pt idx="5233">125.812</cx:pt>
          <cx:pt idx="5234">139.64269999999999</cx:pt>
          <cx:pt idx="5235">170.44739999999999</cx:pt>
          <cx:pt idx="5236">140.03559999999999</cx:pt>
          <cx:pt idx="5237">159.2885</cx:pt>
          <cx:pt idx="5238">153.16004050000001</cx:pt>
          <cx:pt idx="5239">143.9648</cx:pt>
          <cx:pt idx="5240">157.95259999999999</cx:pt>
          <cx:pt idx="5241">171.62610000000001</cx:pt>
          <cx:pt idx="5242">158.1883</cx:pt>
          <cx:pt idx="5243">170.52590000000001</cx:pt>
          <cx:pt idx="5244">172.0683128</cx:pt>
          <cx:pt idx="5245">180.8989</cx:pt>
          <cx:pt idx="5246">196.99174160000001</cx:pt>
          <cx:pt idx="5247">202.5094</cx:pt>
          <cx:pt idx="5248">189.386</cx:pt>
          <cx:pt idx="5249">204.3954</cx:pt>
          <cx:pt idx="5250">214.53270000000001</cx:pt>
          <cx:pt idx="5251">216.6104972</cx:pt>
          <cx:pt idx="5252">226.7131</cx:pt>
          <cx:pt idx="5253">209.97479999999999</cx:pt>
          <cx:pt idx="5254">226.87020000000001</cx:pt>
          <cx:pt idx="5255">209.0318</cx:pt>
          <cx:pt idx="5256">234.0213</cx:pt>
          <cx:pt idx="5257">209.4247</cx:pt>
          <cx:pt idx="5258">227.65610000000001</cx:pt>
          <cx:pt idx="5259">231.8073358</cx:pt>
          <cx:pt idx="5260">238.01448920000001</cx:pt>
          <cx:pt idx="5261">244.47290000000001</cx:pt>
          <cx:pt idx="5262">233.39259999999999</cx:pt>
          <cx:pt idx="5263">247.6163</cx:pt>
          <cx:pt idx="5264">229.5421</cx:pt>
          <cx:pt idx="5265">232.48449669999999</cx:pt>
          <cx:pt idx="5266">246.67320000000001</cx:pt>
          <cx:pt idx="5267">233.3141</cx:pt>
          <cx:pt idx="5268">248.48070000000001</cx:pt>
          <cx:pt idx="5269">260.42529999999999</cx:pt>
          <cx:pt idx="5270">245.88740000000001</cx:pt>
          <cx:pt idx="5271">249.73411770000001</cx:pt>
          <cx:pt idx="5272">268.28359999999998</cx:pt>
          <cx:pt idx="5273">254.21719999999999</cx:pt>
          <cx:pt idx="5274">340.03030000000001</cx:pt>
          <cx:pt idx="5275">277.08510000000001</cx:pt>
          <cx:pt idx="5276">333.82220000000001</cx:pt>
          <cx:pt idx="5277">293.43040000000002</cx:pt>
          <cx:pt idx="5278">313.39049999999997</cx:pt>
          <cx:pt idx="5279">311.0029553</cx:pt>
          <cx:pt idx="5280">308.57652940000003</cx:pt>
          <cx:pt idx="5281">306.15010339999998</cx:pt>
          <cx:pt idx="5282">298.8526</cx:pt>
          <cx:pt idx="5283">310.48289999999997</cx:pt>
          <cx:pt idx="5284">310.94328460000003</cx:pt>
          <cx:pt idx="5285">323.84210000000002</cx:pt>
          <cx:pt idx="5286">307.57530000000003</cx:pt>
          <cx:pt idx="5287">318.81279999999998</cx:pt>
          <cx:pt idx="5288">308.75420000000003</cx:pt>
          <cx:pt idx="5289">330.52170000000001</cx:pt>
          <cx:pt idx="5290">316.37670000000003</cx:pt>
          <cx:pt idx="5291">326.82830000000001</cx:pt>
          <cx:pt idx="5292">315.11939999999998</cx:pt>
          <cx:pt idx="5293">316.54721069999999</cx:pt>
          <cx:pt idx="5294">326.74970000000002</cx:pt>
          <cx:pt idx="5295">311.6617</cx:pt>
          <cx:pt idx="5296">298.774</cx:pt>
          <cx:pt idx="5297">328.71429999999998</cx:pt>
          <cx:pt idx="5298">309.85430000000002</cx:pt>
          <cx:pt idx="5299">320.77730000000003</cx:pt>
          <cx:pt idx="5300">309.46140000000003</cx:pt>
          <cx:pt idx="5301">313.21674410000003</cx:pt>
          <cx:pt idx="5302">320.78572789999998</cx:pt>
          <cx:pt idx="5303">322.66340000000002</cx:pt>
          <cx:pt idx="5304">314.64126019999998</cx:pt>
          <cx:pt idx="5305">306.55380000000002</cx:pt>
          <cx:pt idx="5306">317.63400000000001</cx:pt>
          <cx:pt idx="5307">334.3723</cx:pt>
          <cx:pt idx="5308">311.81880000000001</cx:pt>
          <cx:pt idx="5309">332.72199999999998</cx:pt>
          <cx:pt idx="5310">319.28429999999997</cx:pt>
          <cx:pt idx="5311">324.7019009</cx:pt>
          <cx:pt idx="5312">329.86966150000001</cx:pt>
          <cx:pt idx="5313">335.0795</cx:pt>
          <cx:pt idx="5314">322.74189999999999</cx:pt>
          <cx:pt idx="5315">337.75139999999999</cx:pt>
          <cx:pt idx="5316">323.52780000000001</cx:pt>
          <cx:pt idx="5317">341.75920000000002</cx:pt>
          <cx:pt idx="5318">325.49239999999998</cx:pt>
          <cx:pt idx="5319">338.30149999999998</cx:pt>
          <cx:pt idx="5320">323.13490000000002</cx:pt>
          <cx:pt idx="5321">354.33240000000001</cx:pt>
          <cx:pt idx="5322">322.66340000000002</cx:pt>
          <cx:pt idx="5323">338.53719999999998</cx:pt>
          <cx:pt idx="5324">335.63306449999999</cx:pt>
          <cx:pt idx="5325">326.82830000000001</cx:pt>
          <cx:pt idx="5326">353.70370000000003</cx:pt>
          <cx:pt idx="5327">329.42149999999998</cx:pt>
          <cx:pt idx="5328">341.91629999999998</cx:pt>
          <cx:pt idx="5329">330.9932</cx:pt>
          <cx:pt idx="5330">350.95339999999999</cx:pt>
          <cx:pt idx="5331">334.92230000000001</cx:pt>
          <cx:pt idx="5332">348.91019999999997</cx:pt>
          <cx:pt idx="5333">352.45937889999999</cx:pt>
          <cx:pt idx="5334">353.05496060000002</cx:pt>
          <cx:pt idx="5335">366.35570000000001</cx:pt>
          <cx:pt idx="5336">354.96109999999999</cx:pt>
          <cx:pt idx="5337">360.10541690000002</cx:pt>
          <cx:pt idx="5338">365.4938358</cx:pt>
          <cx:pt idx="5339">370.5992</cx:pt>
          <cx:pt idx="5340">398.4178</cx:pt>
          <cx:pt idx="5341">392.8838902</cx:pt>
          <cx:pt idx="5342">366.19850000000002</cx:pt>
          <cx:pt idx="5343">379.4006</cx:pt>
          <cx:pt idx="5344">389.88276880000001</cx:pt>
          <cx:pt idx="5345">392.60090150000002</cx:pt>
          <cx:pt idx="5346">395.19589999999999</cx:pt>
          <cx:pt idx="5347">376.96449999999999</cx:pt>
          <cx:pt idx="5348">389.46513190000002</cx:pt>
          <cx:pt idx="5349">393.5455</cx:pt>
          <cx:pt idx="5350">375.94290000000001</cx:pt>
          <cx:pt idx="5351">393.46699999999998</cx:pt>
          <cx:pt idx="5352">392.36221569999998</cx:pt>
          <cx:pt idx="5353">387.30427939999998</cx:pt>
          <cx:pt idx="5354">381.28660000000002</cx:pt>
          <cx:pt idx="5355">408.39780000000002</cx:pt>
          <cx:pt idx="5356">397.63189999999997</cx:pt>
          <cx:pt idx="5357">400.93148230000003</cx:pt>
          <cx:pt idx="5358">404.25793160000001</cx:pt>
          <cx:pt idx="5359">407.74222359999999</cx:pt>
          <cx:pt idx="5360">411.0686728</cx:pt>
          <cx:pt idx="5361">414.34306779999997</cx:pt>
          <cx:pt idx="5362">417.72325080000002</cx:pt>
          <cx:pt idx="5363">421.04969999999997</cx:pt>
          <cx:pt idx="5364">390.48079999999999</cx:pt>
          <cx:pt idx="5365">405.25450000000001</cx:pt>
          <cx:pt idx="5366">419.2423</cx:pt>
          <cx:pt idx="5367">402.26839999999999</cx:pt>
          <cx:pt idx="5368">402.89065390000002</cx:pt>
          <cx:pt idx="5369">405.88944429999998</cx:pt>
          <cx:pt idx="5370">409.42885180000002</cx:pt>
          <cx:pt idx="5371">413.19139999999999</cx:pt>
          <cx:pt idx="5372">425.1361</cx:pt>
          <cx:pt idx="5373">393.62419999999997</cx:pt>
          <cx:pt idx="5374">404.46870000000001</cx:pt>
          <cx:pt idx="5375">421.59989999999999</cx:pt>
          <cx:pt idx="5376">423.64631329999997</cx:pt>
          <cx:pt idx="5377">425.66070300000001</cx:pt>
          <cx:pt idx="5378">427.74017300000003</cx:pt>
          <cx:pt idx="5379">429.78658619999999</cx:pt>
          <cx:pt idx="5380">431.93010349999997</cx:pt>
          <cx:pt idx="5381">433.97651680000001</cx:pt>
          <cx:pt idx="5382">435.99090649999999</cx:pt>
          <cx:pt idx="5383">438.10239999999999</cx:pt>
          <cx:pt idx="5384">434.56465659999998</cx:pt>
          <cx:pt idx="5385">418.37799999999999</cx:pt>
          <cx:pt idx="5386">426.19120880000003</cx:pt>
          <cx:pt idx="5387">429.77249999999998</cx:pt>
          <cx:pt idx="5388">427.32096910000001</cx:pt>
          <cx:pt idx="5389">424.84947629999999</cx:pt>
          <cx:pt idx="5390">422.26070959999998</cx:pt>
          <cx:pt idx="5391">419.78921680000002</cx:pt>
          <cx:pt idx="5392">417.35640000000001</cx:pt>
          <cx:pt idx="5393">431.81569999999999</cx:pt>
          <cx:pt idx="5394">426.06528680000002</cx:pt>
          <cx:pt idx="5395">420.04201319999999</cx:pt>
          <cx:pt idx="5396">414.29160000000002</cx:pt>
          <cx:pt idx="5397">442.42439999999999</cx:pt>
          <cx:pt idx="5398">430.24400000000003</cx:pt>
          <cx:pt idx="5399">431.35903789999998</cx:pt>
          <cx:pt idx="5400">436.46080269999999</cx:pt>
          <cx:pt idx="5401">442.58416590000002</cx:pt>
          <cx:pt idx="5402">449.33980000000003</cx:pt>
          <cx:pt idx="5403">432.20859999999999</cx:pt>
          <cx:pt idx="5404">454.84059999999999</cx:pt>
          <cx:pt idx="5405">409.0265</cx:pt>
          <cx:pt idx="5406">453.42610000000002</cx:pt>
          <cx:pt idx="5407">420.26389999999998</cx:pt>
          <cx:pt idx="5408">434.48750000000001</cx:pt>
          <cx:pt idx="5409">441.73550970000002</cx:pt>
          <cx:pt idx="5410">448.86829999999998</cx:pt>
          <cx:pt idx="5411">426.5505</cx:pt>
          <cx:pt idx="5412">457.04090000000002</cx:pt>
          <cx:pt idx="5413">1078.4000000000001</cx:pt>
          <cx:pt idx="5414">1235.252</cx:pt>
          <cx:pt idx="5415">1284.681</cx:pt>
          <cx:pt idx="5416">878.30215759999999</cx:pt>
          <cx:pt idx="5417">452.64030000000002</cx:pt>
          <cx:pt idx="5418">1149.1893419999999</cx:pt>
          <cx:pt idx="5419">1154.8610000000001</cx:pt>
          <cx:pt idx="5420">1215.921</cx:pt>
          <cx:pt idx="5421">1249.1610000000001</cx:pt>
          <cx:pt idx="5422">1246.919474</cx:pt>
          <cx:pt idx="5423">1217.414</cx:pt>
          <cx:pt idx="5424">1204.683</cx:pt>
          <cx:pt idx="5425">1218.828</cx:pt>
          <cx:pt idx="5426">1220.7363700000001</cx:pt>
          <cx:pt idx="5427">1228.5528569999999</cx:pt>
          <cx:pt idx="5428">1234.4922919999999</cx:pt>
          <cx:pt idx="5429">1236.431</cx:pt>
          <cx:pt idx="5430">1233.9688249999999</cx:pt>
          <cx:pt idx="5431">1226.385325</cx:pt>
          <cx:pt idx="5432">1223.765318</cx:pt>
          <cx:pt idx="5433">1221.2639999999999</cx:pt>
          <cx:pt idx="5434">1234.9380000000001</cx:pt>
          <cx:pt idx="5435">1231.285378</cx:pt>
          <cx:pt idx="5436">1217.335</cx:pt>
          <cx:pt idx="5437">1232.44217</cx:pt>
          <cx:pt idx="5438">1232.502</cx:pt>
          <cx:pt idx="5439">632.20348179999996</cx:pt>
          <cx:pt idx="5440">-1.6502509999999999</cx:pt>
          <cx:pt idx="5441">-1.6505179699999999</cx:pt>
          <cx:pt idx="5442">-1.6506855300000001</cx:pt>
          <cx:pt idx="5443">-1.6513856769999999</cx:pt>
          <cx:pt idx="5444">-1.6519952330000001</cx:pt>
          <cx:pt idx="5445">-1.652173009</cx:pt>
          <cx:pt idx="5446">-1.6536543319999999</cx:pt>
          <cx:pt idx="5447">-1.657411819</cx:pt>
          <cx:pt idx="5448">-1.658807309</cx:pt>
          <cx:pt idx="5449">-1.6588931410000001</cx:pt>
          <cx:pt idx="5450">-1.6589803270000001</cx:pt>
          <cx:pt idx="5451">-1.659067512</cx:pt>
          <cx:pt idx="5452">-1.6593297229999999</cx:pt>
          <cx:pt idx="5453">-1.659418917</cx:pt>
          <cx:pt idx="5454">-1.659506103</cx:pt>
          <cx:pt idx="5455">-1.659685887</cx:pt>
          <cx:pt idx="5456">-1.6597683139999999</cx:pt>
          <cx:pt idx="5457">-1.6599406329999999</cx:pt>
          <cx:pt idx="5458">-1.6602028440000001</cx:pt>
          <cx:pt idx="5459">-1.660290029</cx:pt>
          <cx:pt idx="5460">-1.6611631499999999</cx:pt>
          <cx:pt idx="5461">-1.6612503350000001</cx:pt>
          <cx:pt idx="5462">-1.6616868730000001</cx:pt>
          <cx:pt idx="5463">-1.6619491280000001</cx:pt>
          <cx:pt idx="5464">-1.6623012319999999</cx:pt>
          <cx:pt idx="5465">-1.6635203430000001</cx:pt>
          <cx:pt idx="5466">-1.663610934</cx:pt>
          <cx:pt idx="5467">-1.6636967229999999</cx:pt>
          <cx:pt idx="5468">-1.66386974</cx:pt>
          <cx:pt idx="5469">-1.663960331</cx:pt>
          <cx:pt idx="5470">-1.6642191369999999</cx:pt>
          <cx:pt idx="5471">-1.664306278</cx:pt>
          <cx:pt idx="5472">-1.6643968689999999</cx:pt>
          <cx:pt idx="5473">-1.6644827010000001</cx:pt>
          <cx:pt idx="5474">-1.664568533</cx:pt>
          <cx:pt idx="5475">-1.664657727</cx:pt>
          <cx:pt idx="5476">-1.6647442139999999</cx:pt>
          <cx:pt idx="5477">-1.6648300460000001</cx:pt>
          <cx:pt idx="5478">-1.6650064250000001</cx:pt>
          <cx:pt idx="5479">-1.6651794419999999</cx:pt>
          <cx:pt idx="5480">-1.665355822</cx:pt>
          <cx:pt idx="5481">-1.665615981</cx:pt>
          <cx:pt idx="5482">-1.6657065719999999</cx:pt>
          <cx:pt idx="5483">-1.6657924040000001</cx:pt>
          <cx:pt idx="5484">-1.665878236</cx:pt>
          <cx:pt idx="5485">-1.6659674289999999</cx:pt>
          <cx:pt idx="5486">-1.666054615</cx:pt>
          <cx:pt idx="5487">-1.6661404470000001</cx:pt>
          <cx:pt idx="5488">-1.6663168260000001</cx:pt>
          <cx:pt idx="5489">-1.6664019590000001</cx:pt>
          <cx:pt idx="5490">-1.6664891449999999</cx:pt>
          <cx:pt idx="5491">-1.6665797360000001</cx:pt>
          <cx:pt idx="5492">-1.666751356</cx:pt>
          <cx:pt idx="5493">-1.6669256830000001</cx:pt>
          <cx:pt idx="5494">-1.667102106</cx:pt>
          <cx:pt idx="5495">-1.6671879380000001</cx:pt>
          <cx:pt idx="5496">-1.6672771319999999</cx:pt>
          <cx:pt idx="5497">-1.6673643170000001</cx:pt>
          <cx:pt idx="5498">-1.667450149</cx:pt>
          <cx:pt idx="5499">-1.6675406960000001</cx:pt>
          <cx:pt idx="5500">-1.667626528</cx:pt>
          <cx:pt idx="5501">-1.6677116620000001</cx:pt>
          <cx:pt idx="5502">-1.667798847</cx:pt>
          <cx:pt idx="5503">-1.668150252</cx:pt>
          <cx:pt idx="5504">-1.668413162</cx:pt>
          <cx:pt idx="5505">-1.668673321</cx:pt>
          <cx:pt idx="5506">-1.6686740200000001</cx:pt>
          <cx:pt idx="5507">-1.6687591530000001</cx:pt>
          <cx:pt idx="5508">-1.6689355320000001</cx:pt>
          <cx:pt idx="5509">-1.66910855</cx:pt>
          <cx:pt idx="5510">-1.669284929</cx:pt>
          <cx:pt idx="5511">-1.669545088</cx:pt>
          <cx:pt idx="5512">-1.669635679</cx:pt>
          <cx:pt idx="5513">-1.6697215110000001</cx:pt>
          <cx:pt idx="5514">-1.6698072989999999</cx:pt>
          <cx:pt idx="5515">-1.669983722</cx:pt>
          <cx:pt idx="5516">-1.670160101</cx:pt>
          <cx:pt idx="5517">-1.670331067</cx:pt>
          <cx:pt idx="5518">-1.6704182519999999</cx:pt>
          <cx:pt idx="5519">-1.6705946309999999</cx:pt>
          <cx:pt idx="5520">-1.670854791</cx:pt>
          <cx:pt idx="5521">-1.6709453809999999</cx:pt>
          <cx:pt idx="5522">-1.671031213</cx:pt>
          <cx:pt idx="5523">-1.671206239</cx:pt>
          <cx:pt idx="5524">-1.6729511699999999</cx:pt>
          <cx:pt idx="5525">-1.6730376570000001</cx:pt>
          <cx:pt idx="5526">-1.673564786</cx:pt>
          <cx:pt idx="5527">-1.6738269969999999</cx:pt>
          <cx:pt idx="5528">-1.674260174</cx:pt>
          <cx:pt idx="5529">-1.6743473600000001</cx:pt>
          <cx:pt idx="5530">-1.6745237390000001</cx:pt>
          <cx:pt idx="5531">-1.6747042219999999</cx:pt>
          <cx:pt idx="5532">-1.6748717820000001</cx:pt>
          <cx:pt idx="5533">-1.6749623730000001</cx:pt>
          <cx:pt idx="5534">-1.6750481610000001</cx:pt>
          <cx:pt idx="5535">-1.675135346</cx:pt>
          <cx:pt idx="5536">-1.676880277</cx:pt>
          <cx:pt idx="5537">-1.677667566</cx:pt>
          <cx:pt idx="5538">-1.6777547509999999</cx:pt>
          <cx:pt idx="5539">-1.6778419369999999</cx:pt>
          <cx:pt idx="5540">-1.677927725</cx:pt>
          <cx:pt idx="5541">-1.679065807</cx:pt>
          <cx:pt idx="5542">-1.6791516390000001</cx:pt>
          <cx:pt idx="5543">-1.679237428</cx:pt>
          <cx:pt idx="5544">-1.6793280180000001</cx:pt>
          <cx:pt idx="5545">-1.67941385</cx:pt>
          <cx:pt idx="5546">-1.6794996820000001</cx:pt>
          <cx:pt idx="5547">-1.679586169</cx:pt>
          <cx:pt idx="5548">-1.679762548</cx:pt>
          <cx:pt idx="5549">-1.6799389709999999</cx:pt>
          <cx:pt idx="5550">-1.6801105919999999</cx:pt>
          <cx:pt idx="5551">-1.6808093850000001</cx:pt>
          <cx:pt idx="5552">-1.680895872</cx:pt>
          <cx:pt idx="5553">-1.6811580829999999</cx:pt>
          <cx:pt idx="5554">-1.6813331090000001</cx:pt>
          <cx:pt idx="5555">-1.681423699</cx:pt>
          <cx:pt idx="5556">-1.6815094880000001</cx:pt>
          <cx:pt idx="5557">-1.68159532</cx:pt>
          <cx:pt idx="5558">-1.6816838590000001</cx:pt>
          <cx:pt idx="5559">-1.681771044</cx:pt>
          <cx:pt idx="5560">-1.681947423</cx:pt>
          <cx:pt idx="5561">-1.682119044</cx:pt>
          <cx:pt idx="5562">-1.6822055739999999</cx:pt>
          <cx:pt idx="5563">-1.6823819529999999</cx:pt>
          <cx:pt idx="5564">-1.682467785</cx:pt>
          <cx:pt idx="5565">-1.6825556260000001</cx:pt>
          <cx:pt idx="5566">-1.6826441640000001</cx:pt>
          <cx:pt idx="5567">-1.6828246469999999</cx:pt>
          <cx:pt idx="5568">-1.6836923539999999</cx:pt>
          <cx:pt idx="5569">-1.683865328</cx:pt>
          <cx:pt idx="5570">-1.683952514</cx:pt>
          <cx:pt idx="5571">-1.6840431039999999</cx:pt>
          <cx:pt idx="5572">-1.684128893</cx:pt>
          <cx:pt idx="5573">-1.684303264</cx:pt>
          <cx:pt idx="5574">-1.6844762369999999</cx:pt>
          <cx:pt idx="5575">-1.6845668279999999</cx:pt>
          <cx:pt idx="5576">-1.685263569</cx:pt>
          <cx:pt idx="5577">-1.685700151</cx:pt>
          <cx:pt idx="5578">-1.6863117590000001</cx:pt>
          <cx:pt idx="5579">-1.6865719180000001</cx:pt>
          <cx:pt idx="5580">-1.686922668</cx:pt>
          <cx:pt idx="5581">-1.688145185</cx:pt>
          <cx:pt idx="5582">-1.688233069</cx:pt>
          <cx:pt idx="5583">-1.6884053450000001</cx:pt>
          <cx:pt idx="5584">-1.688500039</cx:pt>
          <cx:pt idx="5585">-1.689542772</cx:pt>
          <cx:pt idx="5586">-1.6898914700000001</cx:pt>
          <cx:pt idx="5587">-1.690677405</cx:pt>
          <cx:pt idx="5588">-1.6909396160000001</cx:pt>
          <cx:pt idx="5589">-1.6911153400000001</cx:pt>
          <cx:pt idx="5590">-1.6912869610000001</cx:pt>
          <cx:pt idx="5591">-1.691374146</cx:pt>
          <cx:pt idx="5592">-1.6915505689999999</cx:pt>
          <cx:pt idx="5593">-1.6916363569999999</cx:pt>
          <cx:pt idx="5594">-1.6917235429999999</cx:pt>
          <cx:pt idx="5595">-1.6918107280000001</cx:pt>
          <cx:pt idx="5596">-1.6919013190000001</cx:pt>
          <cx:pt idx="5597">-1.6919871070000001</cx:pt>
          <cx:pt idx="5598">-1.692072939</cx:pt>
          <cx:pt idx="5599">-1.6921614780000001</cx:pt>
          <cx:pt idx="5600">-1.6923344520000001</cx:pt>
          <cx:pt idx="5601">-1.6924250430000001</cx:pt>
          <cx:pt idx="5602">-1.692510875</cx:pt>
          <cx:pt idx="5603">-1.692596663</cx:pt>
          <cx:pt idx="5604">-1.692683849</cx:pt>
          <cx:pt idx="5605">-1.693122483</cx:pt>
          <cx:pt idx="5606">-1.6933846939999999</cx:pt>
          <cx:pt idx="5607">-1.693471181</cx:pt>
          <cx:pt idx="5608">-1.693558366</cx:pt>
          <cx:pt idx="5609">-1.693734745</cx:pt>
          <cx:pt idx="5610">-1.6938205770000001</cx:pt>
          <cx:pt idx="5611">-1.693906366</cx:pt>
          <cx:pt idx="5612">-1.694169974</cx:pt>
          <cx:pt idx="5613">-1.6942557620000001</cx:pt>
          <cx:pt idx="5614">-1.6943429480000001</cx:pt>
          <cx:pt idx="5615">-1.694430133</cx:pt>
          <cx:pt idx="5616">-1.694520724</cx:pt>
          <cx:pt idx="5617">-1.6946923439999999</cx:pt>
          <cx:pt idx="5618">-1.6947829350000001</cx:pt>
          <cx:pt idx="5619">-1.694954555</cx:pt>
          <cx:pt idx="5620">-1.695045146</cx:pt>
          <cx:pt idx="5621">-1.6953032530000001</cx:pt>
          <cx:pt idx="5622">-1.695393844</cx:pt>
          <cx:pt idx="5623">-1.695565465</cx:pt>
          <cx:pt idx="5624">-1.6956560549999999</cx:pt>
          <cx:pt idx="5625">-1.696264258</cx:pt>
          <cx:pt idx="5626">-1.6972259169999999</cx:pt>
          <cx:pt idx="5627">-1.697488128</cx:pt>
          <cx:pt idx="5628">-1.697835473</cx:pt>
          <cx:pt idx="5629">-1.699668943</cx:pt>
          <cx:pt idx="5630">-1.699845322</cx:pt>
          <cx:pt idx="5631">-1.7000258049999999</cx:pt>
          <cx:pt idx="5632">-1.700894865</cx:pt>
          <cx:pt idx="5633">-1.700898969</cx:pt>
          <cx:pt idx="5634">-1.7018517660000001</cx:pt>
          <cx:pt idx="5635">-1.7020281880000001</cx:pt>
          <cx:pt idx="5636">-1.7026397959999999</cx:pt>
          <cx:pt idx="5637">-1.7027269380000001</cx:pt>
          <cx:pt idx="5638">-1.70281277</cx:pt>
          <cx:pt idx="5639">-1.7029033609999999</cx:pt>
          <cx:pt idx="5640">-1.702989149</cx:pt>
          <cx:pt idx="5641">-1.7030742830000001</cx:pt>
          <cx:pt idx="5642">-1.703161468</cx:pt>
          <cx:pt idx="5643">-1.7034236789999999</cx:pt>
          <cx:pt idx="5644">-1.7035142700000001</cx:pt>
          <cx:pt idx="5645">-1.703600102</cx:pt>
          <cx:pt idx="5646">-1.70403664</cx:pt>
          <cx:pt idx="5647">-1.7042130630000001</cx:pt>
          <cx:pt idx="5648">-1.7061302700000001</cx:pt>
          <cx:pt idx="5649">-1.7063958859999999</cx:pt>
          <cx:pt idx="5650">-1.706481718</cx:pt>
          <cx:pt idx="5651">-1.70656886</cx:pt>
          <cx:pt idx="5652">-1.7066560449999999</cx:pt>
          <cx:pt idx="5653">-1.706741877</cx:pt>
          <cx:pt idx="5654">-1.7070033899999999</cx:pt>
          <cx:pt idx="5655">-1.7070953339999999</cx:pt>
          <cx:pt idx="5656">-1.707181166</cx:pt>
          <cx:pt idx="5657">-1.707439972</cx:pt>
          <cx:pt idx="5658">-1.7077900239999999</cx:pt>
          <cx:pt idx="5659">-1.7078785620000001</cx:pt>
          <cx:pt idx="5660">-1.70805158</cx:pt>
          <cx:pt idx="5661">-1.708142171</cx:pt>
          <cx:pt idx="5662">-1.708227959</cx:pt>
          <cx:pt idx="5663">-1.708313092</cx:pt>
          <cx:pt idx="5664">-1.708490869</cx:pt>
          <cx:pt idx="5665">-1.7085767009999999</cx:pt>
          <cx:pt idx="5666">-1.708751028</cx:pt>
          <cx:pt idx="5667">-1.708838912</cx:pt>
          <cx:pt idx="5668">-1.7089247000000001</cx:pt>
          <cx:pt idx="5669">-1.709015291</cx:pt>
          <cx:pt idx="5670">-1.709018696</cx:pt>
          <cx:pt idx="5671">-1.7091011229999999</cx:pt>
          <cx:pt idx="5672">-1.7091882650000001</cx:pt>
          <cx:pt idx="5673">-1.70927545</cx:pt>
          <cx:pt idx="5674">-1.709623493</cx:pt>
          <cx:pt idx="5675">-1.7112900579999999</cx:pt>
          <cx:pt idx="5676">-1.7113697779999999</cx:pt>
          <cx:pt idx="5677">-1.712075338</cx:pt>
          <cx:pt idx="5678">-1.7129430450000001</cx:pt>
          <cx:pt idx="5679">-1.713552601</cx:pt>
          <cx:pt idx="5680">-1.7144270749999999</cx:pt>
          <cx:pt idx="5681">-1.714600092</cx:pt>
          <cx:pt idx="5682">-1.7146906829999999</cx:pt>
          <cx:pt idx="5683">-1.714776471</cx:pt>
          <cx:pt idx="5684">-1.7148623030000001</cx:pt>
          <cx:pt idx="5685">-1.7149494890000001</cx:pt>
          <cx:pt idx="5686">-1.7152117</cx:pt>
          <cx:pt idx="5687">-1.7153860270000001</cx:pt>
          <cx:pt idx="5688">-1.7154766180000001</cx:pt>
          <cx:pt idx="5689">-1.71556245</cx:pt>
          <cx:pt idx="5690">-1.715648238</cx:pt>
          <cx:pt idx="5691">-1.7158246610000001</cx:pt>
          <cx:pt idx="5692">-1.7159104489999999</cx:pt>
          <cx:pt idx="5693">-1.716004445</cx:pt>
          <cx:pt idx="5694">-1.716086872</cx:pt>
          <cx:pt idx="5695">-1.7161720060000001</cx:pt>
          <cx:pt idx="5696">-1.716263251</cx:pt>
          <cx:pt idx="5697">-1.716434915</cx:pt>
          <cx:pt idx="5698">-1.7166085879999999</cx:pt>
          <cx:pt idx="5699">-1.716697127</cx:pt>
          <cx:pt idx="5700">-1.716782915</cx:pt>
          <cx:pt idx="5701">-1.716873506</cx:pt>
          <cx:pt idx="5702">-1.7168776100000001</cx:pt>
          <cx:pt idx="5703">-1.717046479</cx:pt>
          <cx:pt idx="5704">-1.7172194970000001</cx:pt>
          <cx:pt idx="5705">-1.7173100880000001</cx:pt>
          <cx:pt idx="5706">-1.7176587860000001</cx:pt>
          <cx:pt idx="5707">-1.717744618</cx:pt>
          <cx:pt idx="5708">-1.718005432</cx:pt>
          <cx:pt idx="5709">-1.718096023</cx:pt>
          <cx:pt idx="5710">-1.7182676429999999</cx:pt>
          <cx:pt idx="5711">-1.7183582340000001</cx:pt>
          <cx:pt idx="5712">-1.7187062769999999</cx:pt>
          <cx:pt idx="5713">-1.718791411</cx:pt>
          <cx:pt idx="5714">-1.7188826559999999</cx:pt>
          <cx:pt idx="5715">-1.718968488</cx:pt>
          <cx:pt idx="5716">-1.7190543199999999</cx:pt>
          <cx:pt idx="5717">-1.719144867</cx:pt>
          <cx:pt idx="5718">-1.7194023199999999</cx:pt>
          <cx:pt idx="5719">-1.7194929109999999</cx:pt>
          <cx:pt idx="5720">-1.7196658840000001</cx:pt>
          <cx:pt idx="5721">-1.7197530700000001</cx:pt>
          <cx:pt idx="5722">-1.719838902</cx:pt>
          <cx:pt idx="5723">-1.720015281</cx:pt>
          <cx:pt idx="5724">-1.7201011129999999</cx:pt>
          <cx:pt idx="5725">-1.72080126</cx:pt>
          <cx:pt idx="5726">-1.7210634709999999</cx:pt>
          <cx:pt idx="5727">-1.721325682</cx:pt>
          <cx:pt idx="5728">-1.721410815</cx:pt>
          <cx:pt idx="5729">-1.722814514</cx:pt>
          <cx:pt idx="5730">-1.7228975959999999</cx:pt>
          <cx:pt idx="5731">-1.7235078500000001</cx:pt>
          <cx:pt idx="5732">-1.7236821769999999</cx:pt>
          <cx:pt idx="5733">-1.7242072980000001</cx:pt>
          <cx:pt idx="5734">-1.7243836770000001</cx:pt>
          <cx:pt idx="5735">-1.724466802</cx:pt>
          <cx:pt idx="5736">-1.7245553410000001</cx:pt>
          <cx:pt idx="5737">-1.724645888</cx:pt>
          <cx:pt idx="5738">-1.7247317200000001</cx:pt>
          <cx:pt idx="5739">-1.724817552</cx:pt>
          <cx:pt idx="5740">-1.7249046939999999</cx:pt>
          <cx:pt idx="5741">-1.725085177</cx:pt>
          <cx:pt idx="5742">-1.7269131900000001</cx:pt>
          <cx:pt idx="5743">-1.7274376119999999</cx:pt>
          <cx:pt idx="5744">-1.727524099</cx:pt>
          <cx:pt idx="5745">-1.727611284</cx:pt>
          <cx:pt idx="5746">-1.7277877070000001</cx:pt>
          <cx:pt idx="5747">-1.7279593280000001</cx:pt>
          <cx:pt idx="5748">-1.7280512720000001</cx:pt>
          <cx:pt idx="5749">-1.728053324</cx:pt>
          <cx:pt idx="5750">-1.728222892</cx:pt>
          <cx:pt idx="5751">-1.7283958660000001</cx:pt>
          <cx:pt idx="5752">-1.7285743410000001</cx:pt>
          <cx:pt idx="5753">-1.728577746</cx:pt>
          <cx:pt idx="5754">-1.7286601290000001</cx:pt>
          <cx:pt idx="5755">-1.728920987</cx:pt>
          <cx:pt idx="5756">-1.7290115779999999</cx:pt>
          <cx:pt idx="5757">-1.7290974100000001</cx:pt>
          <cx:pt idx="5758">-1.7291831980000001</cx:pt>
          <cx:pt idx="5759">-1.72926903</cx:pt>
          <cx:pt idx="5760">-1.7294467630000001</cx:pt>
          <cx:pt idx="5761">-1.7294508669999999</cx:pt>
          <cx:pt idx="5762">-1.729532595</cx:pt>
          <cx:pt idx="5763">-1.729974634</cx:pt>
          <cx:pt idx="5764">-1.730407112</cx:pt>
          <cx:pt idx="5765">-1.7306733839999999</cx:pt>
          <cx:pt idx="5766">-1.732151301</cx:pt>
          <cx:pt idx="5767">-1.7327636070000001</cx:pt>
          <cx:pt idx="5768">-1.7328507929999999</cx:pt>
          <cx:pt idx="5769">-1.7329365809999999</cx:pt>
          <cx:pt idx="5770">-1.7330271719999999</cx:pt>
          <cx:pt idx="5771">-1.733198792</cx:pt>
          <cx:pt idx="5772">-1.7333752149999999</cx:pt>
          <cx:pt idx="5773">-1.7334610029999999</cx:pt>
          <cx:pt idx="5774">-1.7335515939999999</cx:pt>
          <cx:pt idx="5775">-1.7337225599999999</cx:pt>
          <cx:pt idx="5776">-1.7338989389999999</cx:pt>
          <cx:pt idx="5777">-1.733984771</cx:pt>
          <cx:pt idx="5778">-1.7342469819999999</cx:pt>
          <cx:pt idx="5779">-1.7343375729999999</cx:pt>
          <cx:pt idx="5780">-1.7344233609999999</cx:pt>
          <cx:pt idx="5781">-1.734599784</cx:pt>
          <cx:pt idx="5782">-1.734771404</cx:pt>
          <cx:pt idx="5783">-1.7352958270000001</cx:pt>
          <cx:pt idx="5784">-1.735382314</cx:pt>
          <cx:pt idx="5785">-1.7354694989999999</cx:pt>
          <cx:pt idx="5786">-1.7355600900000001</cx:pt>
          <cx:pt idx="5787">-1.735645922</cx:pt>
          <cx:pt idx="5788">-1.735818197</cx:pt>
          <cx:pt idx="5789">-1.738790404</cx:pt>
          <cx:pt idx="5790">-1.7388755380000001</cx:pt>
          <cx:pt idx="5791">-1.73896137</cx:pt>
          <cx:pt idx="5792">-1.7390519600000001</cx:pt>
          <cx:pt idx="5793">-1.7390553660000001</cx:pt>
          <cx:pt idx="5794">-1.7393121199999999</cx:pt>
          <cx:pt idx="5795">-1.7393999600000001</cx:pt>
          <cx:pt idx="5796">-1.739485792</cx:pt>
          <cx:pt idx="5797">-1.7395763829999999</cx:pt>
          <cx:pt idx="5798">-1.739662171</cx:pt>
          <cx:pt idx="5799">-1.7397480030000001</cx:pt>
          <cx:pt idx="5800">-1.7398385940000001</cx:pt>
          <cx:pt idx="5801">-1.739841301</cx:pt>
          <cx:pt idx="5802">-1.7399243820000001</cx:pt>
          <cx:pt idx="5803">-1.740100805</cx:pt>
          <cx:pt idx="5804">-1.740186593</cx:pt>
          <cx:pt idx="5805">-1.7402724249999999</cx:pt>
          <cx:pt idx="5806">-1.740358257</cx:pt>
          <cx:pt idx="5807">-1.740448805</cx:pt>
          <cx:pt idx="5808">-1.740621822</cx:pt>
          <cx:pt idx="5809">-1.7407947960000001</cx:pt>
          <cx:pt idx="5810">-1.740971219</cx:pt>
          <cx:pt idx="5811">-1.741057007</cx:pt>
          <cx:pt idx="5812">-1.741147598</cx:pt>
          <cx:pt idx="5813">-1.7412334300000001</cx:pt>
          <cx:pt idx="5814">-1.7413192179999999</cx:pt>
          <cx:pt idx="5815">-1.7414098090000001</cx:pt>
          <cx:pt idx="5816">-1.7414949420000001</cx:pt>
          <cx:pt idx="5817">-1.7415834809999999</cx:pt>
          <cx:pt idx="5818">-1.741759904</cx:pt>
          <cx:pt idx="5819">-1.741931524</cx:pt>
          <cx:pt idx="5820">-1.74201871</cx:pt>
          <cx:pt idx="5821">-1.742104498</cx:pt>
          <cx:pt idx="5822">-1.74289183</cx:pt>
          <cx:pt idx="5823">-1.7429844729999999</cx:pt>
          <cx:pt idx="5824">-1.7432412269999999</cx:pt>
          <cx:pt idx="5825">-1.7433284120000001</cx:pt>
          <cx:pt idx="5826">-1.743418959</cx:pt>
          <cx:pt idx="5827">-1.743590623</cx:pt>
          <cx:pt idx="5828">-1.7436764119999999</cx:pt>
          <cx:pt idx="5829">-1.7437670030000001</cx:pt>
          <cx:pt idx="5830">-1.7454226960000001</cx:pt>
          <cx:pt idx="5831">-1.746386408</cx:pt>
          <cx:pt idx="5832">-1.7466520240000001</cx:pt>
          <cx:pt idx="5833">-1.7468209379999999</cx:pt>
          <cx:pt idx="5834">-1.74691358</cx:pt>
          <cx:pt idx="5835">-1.74708245</cx:pt>
          <cx:pt idx="5836">-1.747170334</cx:pt>
          <cx:pt idx="5837">-1.74725752</cx:pt>
          <cx:pt idx="5838">-1.7473480669999999</cx:pt>
          <cx:pt idx="5839">-1.747350119</cx:pt>
          <cx:pt idx="5840">-1.7475197309999999</cx:pt>
          <cx:pt idx="5841">-1.7476055189999999</cx:pt>
          <cx:pt idx="5842">-1.7476961099999999</cx:pt>
          <cx:pt idx="5843">-1.748480037</cx:pt>
          <cx:pt idx="5844">-1.7485672219999999</cx:pt>
          <cx:pt idx="5845">-1.7500567090000001</cx:pt>
          <cx:pt idx="5846">-1.7503162130000001</cx:pt>
          <cx:pt idx="5847">-1.75031892</cx:pt>
          <cx:pt idx="5848">-1.750578425</cx:pt>
          <cx:pt idx="5849">-1.7531978290000001</cx:pt>
          <cx:pt idx="5850">-1.7534600410000001</cx:pt>
          <cx:pt idx="5851">-1.7535458289999999</cx:pt>
          <cx:pt idx="5852">-1.753631661</cx:pt>
          <cx:pt idx="5853">-1.7537188459999999</cx:pt>
          <cx:pt idx="5854">-1.753806032</cx:pt>
          <cx:pt idx="5855">-1.7538965790000001</cx:pt>
          <cx:pt idx="5856">-1.753898631</cx:pt>
          <cx:pt idx="5857">-1.753982411</cx:pt>
          <cx:pt idx="5858">-1.7540682430000001</cx:pt>
          <cx:pt idx="5859">-1.75415473</cx:pt>
          <cx:pt idx="5860">-1.754155385</cx:pt>
          <cx:pt idx="5861">-1.754245321</cx:pt>
          <cx:pt idx="5862">-1.754331109</cx:pt>
          <cx:pt idx="5863">-1.7544169409999999</cx:pt>
          <cx:pt idx="5864">-1.7545075320000001</cx:pt>
          <cx:pt idx="5865">-1.7545926650000001</cx:pt>
          <cx:pt idx="5866">-1.7547690439999999</cx:pt>
          <cx:pt idx="5867">-1.7557273419999999</cx:pt>
          <cx:pt idx="5868">-1.755907127</cx:pt>
          <cx:pt idx="5869">-1.755989553</cx:pt>
          <cx:pt idx="5870">-1.7560753419999999</cx:pt>
          <cx:pt idx="5871">-1.7563382510000001</cx:pt>
          <cx:pt idx="5872">-1.7564254370000001</cx:pt>
          <cx:pt idx="5873">-1.7579156220000001</cx:pt>
          <cx:pt idx="5874">-1.7584393460000001</cx:pt>
          <cx:pt idx="5875">-1.758788743</cx:pt>
          <cx:pt idx="5876">-1.758957656</cx:pt>
          <cx:pt idx="5877">-1.76001126</cx:pt>
          <cx:pt idx="5878">-1.7620129449999999</cx:pt>
          <cx:pt idx="5879">-1.7627995780000001</cx:pt>
          <cx:pt idx="5880">-1.7633226470000001</cx:pt>
          <cx:pt idx="5881">-1.763585513</cx:pt>
          <cx:pt idx="5882">-1.7639376600000001</cx:pt>
          <cx:pt idx="5883">-1.7640275519999999</cx:pt>
          <cx:pt idx="5884">-1.764895216</cx:pt>
          <cx:pt idx="5885">-1.7651567720000001</cx:pt>
          <cx:pt idx="5886">-1.7652473630000001</cx:pt>
          <cx:pt idx="5887">-1.7653331510000001</cx:pt>
          <cx:pt idx="5888">-1.7655061679999999</cx:pt>
          <cx:pt idx="5889">-1.7655933539999999</cx:pt>
          <cx:pt idx="5890">-1.7656839010000001</cx:pt>
          <cx:pt idx="5891">-1.765769733</cx:pt>
          <cx:pt idx="5892">-1.7658555650000001</cx:pt>
          <cx:pt idx="5893">-1.765942052</cx:pt>
          <cx:pt idx="5894">-1.766032643</cx:pt>
          <cx:pt idx="5895">-1.766118431</cx:pt>
          <cx:pt idx="5896">-1.7662948540000001</cx:pt>
          <cx:pt idx="5897">-1.7663806419999999</cx:pt>
          <cx:pt idx="5898">-1.7668165259999999</cx:pt>
          <cx:pt idx="5899">-1.76734575</cx:pt>
          <cx:pt idx="5900">-1.7676903450000001</cx:pt>
          <cx:pt idx="5901">-1.7679566600000001</cx:pt>
          <cx:pt idx="5902">-1.7680383879999999</cx:pt>
          <cx:pt idx="5903">-1.7682134140000001</cx:pt>
          <cx:pt idx="5904">-1.7691764699999999</cx:pt>
          <cx:pt idx="5905">-1.7700522970000001</cx:pt>
          <cx:pt idx="5906">-1.7703962360000001</cx:pt>
          <cx:pt idx="5907">-1.770832164</cx:pt>
          <cx:pt idx="5908">-1.7708328179999999</cx:pt>
          <cx:pt idx="5909">-1.7709227110000001</cx:pt>
          <cx:pt idx="5910">-1.771008543</cx:pt>
          <cx:pt idx="5911">-1.7710943750000001</cx:pt>
          <cx:pt idx="5912">-1.771180862</cx:pt>
          <cx:pt idx="5913">-1.7712714519999999</cx:pt>
          <cx:pt idx="5914">-1.7725845600000001</cx:pt>
          <cx:pt idx="5915">-1.7726669429999999</cx:pt>
          <cx:pt idx="5916">-1.7727527750000001</cx:pt>
          <cx:pt idx="5917">-1.772843366</cx:pt>
          <cx:pt idx="5918">-1.7729291540000001</cx:pt>
          <cx:pt idx="5919">-1.773014986</cx:pt>
          <cx:pt idx="5920">-1.7731055769999999</cx:pt>
          <cx:pt idx="5921">-1.7733650379999999</cx:pt>
          <cx:pt idx="5922">-1.773452223</cx:pt>
          <cx:pt idx="5923">-1.7736286459999999</cx:pt>
          <cx:pt idx="5924">-1.773714435</cx:pt>
          <cx:pt idx="5925">-1.7738050249999999</cx:pt>
          <cx:pt idx="5926">-1.773890857</cx:pt>
          <cx:pt idx="5927">-1.7739766459999999</cx:pt>
          <cx:pt idx="5928">-1.7740624780000001</cx:pt>
          <cx:pt idx="5929">-1.774153069</cx:pt>
          <cx:pt idx="5930">-1.7742388570000001</cx:pt>
          <cx:pt idx="5931">-1.7745869000000001</cx:pt>
          <cx:pt idx="5932">-1.7746754389999999</cx:pt>
          <cx:pt idx="5933">-1.7747632790000001</cx:pt>
          <cx:pt idx="5934">-1.774849111</cx:pt>
          <cx:pt idx="5935">-1.774939702</cx:pt>
          <cx:pt idx="5936">-1.77502549</cx:pt>
          <cx:pt idx="5937">-1.7751113220000001</cx:pt>
          <cx:pt idx="5938">-1.7752911069999999</cx:pt>
          <cx:pt idx="5939">-1.775548559</cx:pt>
          <cx:pt idx="5940">-1.7756350460000001</cx:pt>
          <cx:pt idx="5941">-1.776863021</cx:pt>
          <cx:pt idx="5942">-1.7772941449999999</cx:pt>
          <cx:pt idx="5943">-1.7776435420000001</cx:pt>
          <cx:pt idx="5944">-1.7778233699999999</cx:pt>
          <cx:pt idx="5945">-1.7789545980000001</cx:pt>
          <cx:pt idx="5946">-1.77904043</cx:pt>
          <cx:pt idx="5947">-1.779131021</cx:pt>
          <cx:pt idx="5948">-1.779216809</cx:pt>
          <cx:pt idx="5949">-1.7793026409999999</cx:pt>
          <cx:pt idx="5950">-1.7796506839999999</cx:pt>
          <cx:pt idx="5951">-1.7798270629999999</cx:pt>
          <cx:pt idx="5952">-1.7799135500000001</cx:pt>
          <cx:pt idx="5953">-1.7800007360000001</cx:pt>
          <cx:pt idx="5954">-1.7812232530000001</cx:pt>
          <cx:pt idx="5955">-1.781311791</cx:pt>
          <cx:pt idx="5956">-1.7813976229999999</cx:pt>
          <cx:pt idx="5957">-1.7814882139999999</cx:pt>
          <cx:pt idx="5958">-1.781490223</cx:pt>
          <cx:pt idx="5959">-1.781574003</cx:pt>
          <cx:pt idx="5960">-1.781922046</cx:pt>
          <cx:pt idx="5961">-1.782012637</cx:pt>
          <cx:pt idx="5962">-1.782098425</cx:pt>
          <cx:pt idx="5963">-1.7821842569999999</cx:pt>
          <cx:pt idx="5964">-1.7822700890000001</cx:pt>
          <cx:pt idx="5965">-1.7822707440000001</cx:pt>
          <cx:pt idx="5966">-1.7823606359999999</cx:pt>
          <cx:pt idx="5967">-1.7824464680000001</cx:pt>
          <cx:pt idx="5968">-1.782532955</cx:pt>
          <cx:pt idx="5969">-1.782712783</cx:pt>
          <cx:pt idx="5970">-1.7843718820000001</cx:pt>
          <cx:pt idx="5971">-1.7855072139999999</cx:pt>
          <cx:pt idx="5972">-1.7857687259999999</cx:pt>
          <cx:pt idx="5973">-1.786292494</cx:pt>
          <cx:pt idx="5974">-1.786462062</cx:pt>
          <cx:pt idx="5975">-1.78734064</cx:pt>
          <cx:pt idx="5976">-1.788650343</cx:pt>
          <cx:pt idx="5977">-1.7887320710000001</cx:pt>
          <cx:pt idx="5978">-1.7889125539999999</cx:pt>
          <cx:pt idx="5979">-1.7891686529999999</cx:pt>
          <cx:pt idx="5980">-1.789872903</cx:pt>
          <cx:pt idx="5981">-1.790920351</cx:pt>
          <cx:pt idx="5982">-1.791444118</cx:pt>
          <cx:pt idx="5983">-1.7916136869999999</cx:pt>
          <cx:pt idx="5984">-1.7918807000000001</cx:pt>
          <cx:pt idx="5985">-1.792050269</cx:pt>
          <cx:pt idx="5986">-1.792841661</cx:pt>
          <cx:pt idx="5987">-1.79309776</cx:pt>
          <cx:pt idx="5988">-1.793274139</cx:pt>
          <cx:pt idx="5989">-1.793278243</cx:pt>
          <cx:pt idx="5990">-1.7934512170000001</cx:pt>
          <cx:pt idx="5991">-1.793452614</cx:pt>
          <cx:pt idx="5992">-1.793537049</cx:pt>
          <cx:pt idx="5993">-1.7937086689999999</cx:pt>
          <cx:pt idx="5994">-1.7937992599999999</cx:pt>
          <cx:pt idx="5995">-1.79397088</cx:pt>
          <cx:pt idx="5996">-1.794233092</cx:pt>
          <cx:pt idx="5997">-1.794320277</cx:pt>
          <cx:pt idx="5998">-1.7944074619999999</cx:pt>
          <cx:pt idx="5999">-1.7944980530000001</cx:pt>
          <cx:pt idx="6000">-1.794583842</cx:pt>
          <cx:pt idx="6001">-1.7946696740000001</cx:pt>
          <cx:pt idx="6002">-1.794760264</cx:pt>
          <cx:pt idx="6003">-1.795022476</cx:pt>
          <cx:pt idx="6004">-1.795111669</cx:pt>
          <cx:pt idx="6005">-1.7951940959999999</cx:pt>
          <cx:pt idx="6006">-1.7952846870000001</cx:pt>
          <cx:pt idx="6007">-1.795370519</cx:pt>
          <cx:pt idx="6008">-1.7955421389999999</cx:pt>
          <cx:pt idx="6009">-1.7956299790000001</cx:pt>
          <cx:pt idx="6010">-1.796066562</cx:pt>
          <cx:pt idx="6011">-1.7965044969999999</cx:pt>
          <cx:pt idx="6012">-1.796590285</cx:pt>
          <cx:pt idx="6013">-1.797032325</cx:pt>
          <cx:pt idx="6014">-1.797376919</cx:pt>
          <cx:pt idx="6015">-1.7978182599999999</cx:pt>
          <cx:pt idx="6016">-1.7980743589999999</cx:pt>
          <cx:pt idx="6017">-1.798163596</cx:pt>
          <cx:pt idx="6018">-1.798249384</cx:pt>
          <cx:pt idx="6019">-1.79833657</cx:pt>
          <cx:pt idx="6020">-1.7984298670000001</cx:pt>
          <cx:pt idx="6021">-1.7985987809999999</cx:pt>
          <cx:pt idx="6022">-1.799913941</cx:pt>
          <cx:pt idx="6023">-1.8009559749999999</cx:pt>
          <cx:pt idx="6024">-1.800956673</cx:pt>
          <cx:pt idx="6025">-1.801308777</cx:pt>
          <cx:pt idx="6026">-1.8013945650000001</cx:pt>
          <cx:pt idx="6027">-1.801480397</cx:pt>
          <cx:pt idx="6028">-1.8015709879999999</cx:pt>
          <cx:pt idx="6029">-1.801656776</cx:pt>
          <cx:pt idx="6030">-1.801743307</cx:pt>
          <cx:pt idx="6031">-1.8019223929999999</cx:pt>
          <cx:pt idx="6032">-1.8020913059999999</cx:pt>
          <cx:pt idx="6033">-1.8021791899999999</cx:pt>
          <cx:pt idx="6034">-1.802267729</cx:pt>
          <cx:pt idx="6035">-1.802353517</cx:pt>
          <cx:pt idx="6036">-1.802444108</cx:pt>
          <cx:pt idx="6037">-1.802615729</cx:pt>
          <cx:pt idx="6038">-1.8027063189999999</cx:pt>
          <cx:pt idx="6039">-1.802792151</cx:pt>
          <cx:pt idx="6040">-1.8028779399999999</cx:pt>
          <cx:pt idx="6041">-1.8030570690000001</cx:pt>
          <cx:pt idx="6042">-1.803140151</cx:pt>
          <cx:pt idx="6043">-1.8032259829999999</cx:pt>
          <cx:pt idx="6044">-1.8033165739999999</cx:pt>
          <cx:pt idx="6045">-1.803402406</cx:pt>
          <cx:pt idx="6046">-1.803488194</cx:pt>
          <cx:pt idx="6047">-1.8034888929999999</cx:pt>
          <cx:pt idx="6048">-1.8035753800000001</cx:pt>
          <cx:pt idx="6049">-1.803837591</cx:pt>
          <cx:pt idx="6050">-1.8039247759999999</cx:pt>
          <cx:pt idx="6051">-1.804279586</cx:pt>
          <cx:pt idx="6052">-1.804363366</cx:pt>
          <cx:pt idx="6053">-1.8045397889999999</cx:pt>
          <cx:pt idx="6054">-1.804541798</cx:pt>
          <cx:pt idx="6055">-1.8047114099999999</cx:pt>
          <cx:pt idx="6056">-1.806719905</cx:pt>
          <cx:pt idx="6057">-1.8068118500000001</cx:pt>
          <cx:pt idx="6058">-1.807159194</cx:pt>
          <cx:pt idx="6059">-1.8072483880000001</cx:pt>
          <cx:pt idx="6060">-1.807418</cx:pt>
          <cx:pt idx="6061">-1.80746159</cx:pt>
          <cx:pt idx="6062">-1.8075078870000001</cx:pt>
          <cx:pt idx="6063">-1.8075497739999999</cx:pt>
          <cx:pt idx="6064">-1.8075926870000001</cx:pt>
          <cx:pt idx="6065">-1.8076379579999999</cx:pt>
          <cx:pt idx="6066">-1.8083373840000001</cx:pt>
          <cx:pt idx="6067">-1.808771189</cx:pt>
          <cx:pt idx="6068">-1.808947579</cx:pt>
          <cx:pt idx="6069">-1.8089486050000001</cx:pt>
          <cx:pt idx="6070">-1.809600686</cx:pt>
          <cx:pt idx="6071">-1.8096459789999999</cx:pt>
          <cx:pt idx="6072">-1.809647005</cx:pt>
          <cx:pt idx="6073">-1.809819641</cx:pt>
          <cx:pt idx="6074">-1.809862554</cx:pt>
          <cx:pt idx="6075">-1.809907846</cx:pt>
          <cx:pt idx="6076">-1.80990885</cx:pt>
          <cx:pt idx="6077">-1.8099507379999999</cx:pt>
          <cx:pt idx="6078">-1.8099936510000001</cx:pt>
          <cx:pt idx="6079">-1.810080809</cx:pt>
          <cx:pt idx="6080">-1.8101261019999999</cx:pt>
          <cx:pt idx="6081">-1.810169015</cx:pt>
          <cx:pt idx="6082">-1.810170718</cx:pt>
          <cx:pt idx="6083">-1.8102119290000001</cx:pt>
          <cx:pt idx="6084">-1.810300113</cx:pt>
          <cx:pt idx="6085">-1.810343026</cx:pt>
          <cx:pt idx="6086">-1.810388297</cx:pt>
          <cx:pt idx="6087">-1.8105623070000001</cx:pt>
          <cx:pt idx="6088">-1.810648112</cx:pt>
          <cx:pt idx="6089">-1.8106920520000001</cx:pt>
          <cx:pt idx="6090">-1.81077921</cx:pt>
          <cx:pt idx="6091">-1.810824502</cx:pt>
          <cx:pt idx="6092">-1.810867416</cx:pt>
          <cx:pt idx="6093">-1.8108691180000001</cx:pt>
          <cx:pt idx="6094">-1.8109556</cx:pt>
          <cx:pt idx="6095">-1.8110414050000001</cx:pt>
          <cx:pt idx="6096">-1.8110866969999999</cx:pt>
          <cx:pt idx="6097">-1.811131313</cx:pt>
          <cx:pt idx="6098">-1.811260359</cx:pt>
          <cx:pt idx="6099">-1.8113931590000001</cx:pt>
          <cx:pt idx="6100">-1.8115239279999999</cx:pt>
          <cx:pt idx="6101">-1.8116107589999999</cx:pt>
          <cx:pt idx="6102">-1.811611436</cx:pt>
          <cx:pt idx="6103">-1.8116536510000001</cx:pt>
          <cx:pt idx="6104">-1.8117394769999999</cx:pt>
          <cx:pt idx="6105">-1.811784748</cx:pt>
          <cx:pt idx="6106">-1.8117861230000001</cx:pt>
          <cx:pt idx="6107">-1.8118276609999999</cx:pt>
          <cx:pt idx="6108">-1.8118297130000001</cx:pt>
          <cx:pt idx="6109">-1.8118705749999999</cx:pt>
          <cx:pt idx="6110">-1.811915846</cx:pt>
          <cx:pt idx="6111">-1.8119587589999999</cx:pt>
          <cx:pt idx="6112">-1.8120016720000001</cx:pt>
          <cx:pt idx="6113">-1.81204524</cx:pt>
          <cx:pt idx="6114">-1.812133446</cx:pt>
          <cx:pt idx="6115">-1.81222163</cx:pt>
          <cx:pt idx="6116">-1.8122226560000001</cx:pt>
          <cx:pt idx="6117">-1.812264544</cx:pt>
          <cx:pt idx="6118">-1.812307457</cx:pt>
          <cx:pt idx="6119">-1.812352728</cx:pt>
          <cx:pt idx="6120">-1.8123956409999999</cx:pt>
          <cx:pt idx="6121">-1.8124817950000001</cx:pt>
          <cx:pt idx="6122">-1.8125699790000001</cx:pt>
          <cx:pt idx="6123">-1.8126128930000001</cx:pt>
          <cx:pt idx="6124">-1.812656482</cx:pt>
          <cx:pt idx="6125">-1.812701077</cx:pt>
          <cx:pt idx="6126">-1.8127027790000001</cx:pt>
          <cx:pt idx="6127">-1.81274399</cx:pt>
          <cx:pt idx="6128">-1.812789282</cx:pt>
          <cx:pt idx="6129">-1.812832174</cx:pt>
          <cx:pt idx="6130">-1.813052154</cx:pt>
          <cx:pt idx="6131">-1.8131829020000001</cx:pt>
          <cx:pt idx="6132">-1.8132247889999999</cx:pt>
          <cx:pt idx="6133">-1.813267703</cx:pt>
          <cx:pt idx="6134">-1.8133558869999999</cx:pt>
          <cx:pt idx="6135">-1.813357589</cx:pt>
          <cx:pt idx="6136">-1.8133988000000001</cx:pt>
          <cx:pt idx="6137">-1.8136603179999999</cx:pt>
          <cx:pt idx="6138">-1.8137056110000001</cx:pt>
          <cx:pt idx="6139">-1.8137485019999999</cx:pt>
          <cx:pt idx="6140">-1.8137914159999999</cx:pt>
          <cx:pt idx="6141">-1.813836708</cx:pt>
          <cx:pt idx="6142">-1.8138795999999999</cx:pt>
          <cx:pt idx="6143">-1.8139661030000001</cx:pt>
          <cx:pt idx="6144">-1.8140106970000001</cx:pt>
          <cx:pt idx="6145">-1.8140124</cx:pt>
          <cx:pt idx="6146">-1.8140536110000001</cx:pt>
          <cx:pt idx="6147">-1.8140989030000001</cx:pt>
          <cx:pt idx="6148">-1.8142306770000001</cx:pt>
          <cx:pt idx="6149">-1.8143158049999999</cx:pt>
          <cx:pt idx="6150">-1.8145350870000001</cx:pt>
          <cx:pt idx="6151">-1.814578</cx:pt>
          <cx:pt idx="6152">-1.8146209129999999</cx:pt>
          <cx:pt idx="6153">-1.814664482</cx:pt>
          <cx:pt idx="6154">-1.814840872</cx:pt>
          <cx:pt idx="6155">-1.8148837849999999</cx:pt>
          <cx:pt idx="6156">-1.814885487</cx:pt>
          <cx:pt idx="6157">-1.814926676</cx:pt>
          <cx:pt idx="6158">-1.8149719689999999</cx:pt>
          <cx:pt idx="6159">-1.8150148820000001</cx:pt>
          <cx:pt idx="6160">-1.8152757239999999</cx:pt>
          <cx:pt idx="6161">-1.8155845639999999</cx:pt>
          <cx:pt idx="6162">-1.8163245029999999</cx:pt>
          <cx:pt idx="6163">-1.816369795</cx:pt>
          <cx:pt idx="6164">-1.816410984</cx:pt>
          <cx:pt idx="6165">-1.816542082</cx:pt>
          <cx:pt idx="6166">-1.8165853439999999</cx:pt>
          <cx:pt idx="6167">-1.816628913</cx:pt>
          <cx:pt idx="6168">-1.816674205</cx:pt>
          <cx:pt idx="6169">-1.8166752310000001</cx:pt>
          <cx:pt idx="6170">-1.816719148</cx:pt>
          <cx:pt idx="6171">-1.816807005</cx:pt>
          <cx:pt idx="6172">-1.816849918</cx:pt>
          <cx:pt idx="6173">-1.816891107</cx:pt>
          <cx:pt idx="6174">-1.8169810159999999</cx:pt>
          <cx:pt idx="6175">-1.817022227</cx:pt>
          <cx:pt idx="6176">-1.8170681959999999</cx:pt>
          <cx:pt idx="6177">-1.8171117640000001</cx:pt>
          <cx:pt idx="6178">-1.817153324</cx:pt>
          <cx:pt idx="6179">-1.8172013229999999</cx:pt>
          <cx:pt idx="6180">-1.817417549</cx:pt>
          <cx:pt idx="6181">-1.817458759</cx:pt>
          <cx:pt idx="6182">-1.8175047289999999</cx:pt>
          <cx:pt idx="6183">-1.817810513</cx:pt>
          <cx:pt idx="6184">-1.817894965</cx:pt>
          <cx:pt idx="6185">-1.8179838260000001</cx:pt>
          <cx:pt idx="6186">-1.8180291180000001</cx:pt>
          <cx:pt idx="6187">-1.8181159490000001</cx:pt>
          <cx:pt idx="6188">-1.818159539</cx:pt>
          <cx:pt idx="6189">-1.818331825</cx:pt>
          <cx:pt idx="6190">-1.818420031</cx:pt>
          <cx:pt idx="6191">-1.8184213849999999</cx:pt>
          <cx:pt idx="6192">-1.818554185</cx:pt>
          <cx:pt idx="6193">-1.818595395</cx:pt>
          <cx:pt idx="6194">-1.8185960720000001</cx:pt>
          <cx:pt idx="6195">-1.8186403390000001</cx:pt>
          <cx:pt idx="6196">-1.8186812000000001</cx:pt>
          <cx:pt idx="6197">-1.8187288720000001</cx:pt>
          <cx:pt idx="6198">-1.818771785</cx:pt>
          <cx:pt idx="6199">-1.8188143489999999</cx:pt>
          <cx:pt idx="6200">-1.8190761950000001</cx:pt>
          <cx:pt idx="6201">-1.8191201340000001</cx:pt>
          <cx:pt idx="6202">-1.8191613230000001</cx:pt>
          <cx:pt idx="6203">-1.8192049130000001</cx:pt>
          <cx:pt idx="6204">-1.819294821</cx:pt>
          <cx:pt idx="6205">-1.81933839</cx:pt>
          <cx:pt idx="6206">-1.8193796</cx:pt>
          <cx:pt idx="6207">-1.8194255699999999</cx:pt>
          <cx:pt idx="6208">-1.8194691599999999</cx:pt>
          <cx:pt idx="6209">-1.8195566670000001</cx:pt>
          <cx:pt idx="6210">-1.8196002570000001</cx:pt>
          <cx:pt idx="6211">-1.8196417949999999</cx:pt>
          <cx:pt idx="6212">-1.819687415</cx:pt>
          <cx:pt idx="6213">-1.819731354</cx:pt>
          <cx:pt idx="6214">-1.8197749439999999</cx:pt>
          <cx:pt idx="6215">-1.819815806</cx:pt>
          <cx:pt idx="6216">-1.8199469029999999</cx:pt>
          <cx:pt idx="6217">-1.8199932000000001</cx:pt>
          <cx:pt idx="6218">-1.8200367900000001</cx:pt>
          <cx:pt idx="6219">-1.8200780009999999</cx:pt>
          <cx:pt idx="6220">-1.820167887</cx:pt>
          <cx:pt idx="6221">-1.8202090980000001</cx:pt>
          <cx:pt idx="6222">-1.8202567700000001</cx:pt>
          <cx:pt idx="6223">-1.8202986569999999</cx:pt>
          <cx:pt idx="6224">-1.820339846</cx:pt>
          <cx:pt idx="6225">-1.8203861649999999</cx:pt>
          <cx:pt idx="6226">-1.8204297549999999</cx:pt>
          <cx:pt idx="6227">-1.820470944</cx:pt>
          <cx:pt idx="6228">-1.820514534</cx:pt>
          <cx:pt idx="6229">-1.8205605030000001</cx:pt>
          <cx:pt idx="6230">-1.820604442</cx:pt>
          <cx:pt idx="6231">-1.8206456310000001</cx:pt>
          <cx:pt idx="6232">-1.8206933030000001</cx:pt>
          <cx:pt idx="6233">-1.820736216</cx:pt>
          <cx:pt idx="6234">-1.8207787799999999</cx:pt>
          <cx:pt idx="6235">-1.820819969</cx:pt>
          <cx:pt idx="6236">-1.8208662879999999</cx:pt>
          <cx:pt idx="6237">-1.8209098779999999</cx:pt>
          <cx:pt idx="6238">-1.820951067</cx:pt>
          <cx:pt idx="6239">-1.8209970360000001</cx:pt>
          <cx:pt idx="6240">-1.8210409750000001</cx:pt>
          <cx:pt idx="6241">-1.8210821859999999</cx:pt>
          <cx:pt idx="6242">-1.8211301849999999</cx:pt>
          <cx:pt idx="6243">-1.8212153129999999</cx:pt>
          <cx:pt idx="6244">-1.821300441</cx:pt>
          <cx:pt idx="6245">-1.821348113</cx:pt>
          <cx:pt idx="6246">-1.8213910259999999</cx:pt>
          <cx:pt idx="6247">-1.8214335909999999</cx:pt>
          <cx:pt idx="6248">-1.82147478</cx:pt>
          <cx:pt idx="6249">-1.8215210980000001</cx:pt>
          <cx:pt idx="6250">-1.821564688</cx:pt>
          <cx:pt idx="6251">-1.821608278</cx:pt>
          <cx:pt idx="6252">-1.8216498160000001</cx:pt>
          <cx:pt idx="6253">-1.821824154</cx:pt>
          <cx:pt idx="6254">-1.8218701239999999</cx:pt>
          <cx:pt idx="6255">-1.821911662</cx:pt>
          <cx:pt idx="6256">-1.8219576310000001</cx:pt>
          <cx:pt idx="6257">-1.8220012210000001</cx:pt>
          <cx:pt idx="6258">-1.8220427589999999</cx:pt>
          <cx:pt idx="6259">-1.822088401</cx:pt>
          <cx:pt idx="6260">-1.822132318</cx:pt>
          <cx:pt idx="6261">-1.8221731800000001</cx:pt>
          <cx:pt idx="6262">-1.8222194979999999</cx:pt>
          <cx:pt idx="6263">-1.8222630879999999</cx:pt>
          <cx:pt idx="6264">-1.822304277</cx:pt>
          <cx:pt idx="6265">-1.8223505959999999</cx:pt>
          <cx:pt idx="6266">-1.8223941859999999</cx:pt>
          <cx:pt idx="6267">-1.822435375</cx:pt>
          <cx:pt idx="6268">-1.822478965</cx:pt>
          <cx:pt idx="6269">-1.822524934</cx:pt>
          <cx:pt idx="6270">-1.8225664720000001</cx:pt>
          <cx:pt idx="6271">-1.822612441</cx:pt>
          <cx:pt idx="6272">-1.822656031</cx:pt>
          <cx:pt idx="6273">-1.822697569</cx:pt>
          <cx:pt idx="6274">-1.8227432109999999</cx:pt>
          <cx:pt idx="6275">-1.822787129</cx:pt>
          <cx:pt idx="6276">-1.82282799</cx:pt>
          <cx:pt idx="6277">-1.8229185750000001</cx:pt>
          <cx:pt idx="6278">-1.8229590879999999</cx:pt>
          <cx:pt idx="6279">-1.8230054060000001</cx:pt>
          <cx:pt idx="6280">-1.8230901850000001</cx:pt>
          <cx:pt idx="6281">-1.8231337750000001</cx:pt>
          <cx:pt idx="6282">-1.8233108419999999</cx:pt>
          <cx:pt idx="6283">-1.8233980219999999</cx:pt>
          <cx:pt idx="6284">-1.8234419390000001</cx:pt>
          <cx:pt idx="6285">-1.823529119</cx:pt>
          <cx:pt idx="6286">-1.823616626</cx:pt>
          <cx:pt idx="6287">-1.823657488</cx:pt>
          <cx:pt idx="6288">-1.8237038059999999</cx:pt>
          <cx:pt idx="6289">-1.823965652</cx:pt>
          <cx:pt idx="6290">-1.8240102680000001</cx:pt>
          <cx:pt idx="6291">-1.8240940210000001</cx:pt>
          <cx:pt idx="6292">-1.8241839289999999</cx:pt>
          <cx:pt idx="6293">-1.824268708</cx:pt>
          <cx:pt idx="6294">-1.8246640519999999</cx:pt>
          <cx:pt idx="6295">-1.82470797</cx:pt>
          <cx:pt idx="6296">-1.82474918</cx:pt>
          <cx:pt idx="6297">-1.8247951499999999</cx:pt>
          <cx:pt idx="6298">-1.8248387399999999</cx:pt>
          <cx:pt idx="6299">-1.8249262470000001</cx:pt>
          <cx:pt idx="6300">-1.824969837</cx:pt>
          <cx:pt idx="6301">-1.8250110260000001</cx:pt>
          <cx:pt idx="6302">-1.8250590470000001</cx:pt>
          <cx:pt idx="6303">-1.8250982060000001</cx:pt>
          <cx:pt idx="6304">-1.8252316820000001</cx:pt>
          <cx:pt idx="6305">-1.825276975</cx:pt>
          <cx:pt idx="6306">-1.825318862</cx:pt>
          <cx:pt idx="6307">-1.8253627800000001</cx:pt>
          <cx:pt idx="6308">-1.8254036410000001</cx:pt>
          <cx:pt idx="6309">-1.82544996</cx:pt>
          <cx:pt idx="6310">-1.82553714</cx:pt>
          <cx:pt idx="6311">-1.8256246469999999</cx:pt>
          <cx:pt idx="6312">-1.8256682369999999</cx:pt>
          <cx:pt idx="6313">-1.825753016</cx:pt>
          <cx:pt idx="6314">-1.8258864930000001</cx:pt>
          <cx:pt idx="6315">-1.8259277039999999</cx:pt>
          <cx:pt idx="6316">-1.825974349</cx:pt>
          <cx:pt idx="6317">-1.8260588010000001</cx:pt>
          <cx:pt idx="6318">-1.826189898</cx:pt>
          <cx:pt idx="6319">-1.8262794579999999</cx:pt>
          <cx:pt idx="6320">-1.8263206460000001</cx:pt>
          <cx:pt idx="6321">-1.826368668</cx:pt>
          <cx:pt idx="6322">-1.8264517440000001</cx:pt>
          <cx:pt idx="6323">-1.826497713</cx:pt>
          <cx:pt idx="6324">-1.8265865960000001</cx:pt>
          <cx:pt idx="6325">-1.826977858</cx:pt>
          <cx:pt idx="6326">-1.827062637</cx:pt>
          <cx:pt idx="6327">-1.827106227</cx:pt>
          <cx:pt idx="6328">-1.8274995190000001</cx:pt>
          <cx:pt idx="6329">-1.8275454879999999</cx:pt>
          <cx:pt idx="6330">-1.8275884019999999</cx:pt>
          <cx:pt idx="6331">-1.8275890779999999</cx:pt>
          <cx:pt idx="6332">-1.827630616</cx:pt>
          <cx:pt idx="6333">-1.8277637659999999</cx:pt>
          <cx:pt idx="6334">-1.828067149</cx:pt>
          <cx:pt idx="6335">-1.8283726069999999</cx:pt>
          <cx:pt idx="6336">-1.828418903</cx:pt>
          <cx:pt idx="6337">-1.828504031</cx:pt>
          <cx:pt idx="6338">-1.8285057339999999</cx:pt>
          <cx:pt idx="6339">-1.828546945</cx:pt>
          <cx:pt idx="6340">-1.8285922370000001</cx:pt>
          <cx:pt idx="6341">-1.8285932629999999</cx:pt>
          <cx:pt idx="6342">-1.828898699</cx:pt>
          <cx:pt idx="6343">-1.829027068</cx:pt>
          <cx:pt idx="6344">-1.8290733859999999</cx:pt>
          <cx:pt idx="6345">-1.8292480739999999</cx:pt>
          <cx:pt idx="6346">-1.8292916420000001</cx:pt>
          <cx:pt idx="6347">-1.829378822</cx:pt>
          <cx:pt idx="6348">-1.8294663289999999</cx:pt>
          <cx:pt idx="6349">-1.829815355</cx:pt>
          <cx:pt idx="6350">-1.829858945</cx:pt>
          <cx:pt idx="6351">-1.8299004830000001</cx:pt>
          <cx:pt idx="6352">-1.8299464519999999</cx:pt>
          <cx:pt idx="6353">-1.8303370379999999</cx:pt>
          <cx:pt idx="6354">-1.830383007</cx:pt>
          <cx:pt idx="6355">-1.8306012620000001</cx:pt>
          <cx:pt idx="6356">-1.8306428219999999</cx:pt>
          <cx:pt idx="6357">-1.830688442</cx:pt>
          <cx:pt idx="6358">-1.8309063699999999</cx:pt>
          <cx:pt idx="6359">-1.830991848</cx:pt>
          <cx:pt idx="6360">-1.8310361150000001</cx:pt>
          <cx:pt idx="6361">-1.831079355</cx:pt>
          <cx:pt idx="6362">-1.8311246480000001</cx:pt>
          <cx:pt idx="6363">-1.831168216</cx:pt>
          <cx:pt idx="6364">-1.8312101030000001</cx:pt>
          <cx:pt idx="6365">-1.8312540429999999</cx:pt>
          <cx:pt idx="6366">-1.83138717</cx:pt>
          <cx:pt idx="6367">-1.8314736730000001</cx:pt>
          <cx:pt idx="6368">-1.8315172630000001</cx:pt>
          <cx:pt idx="6369">-1.831559478</cx:pt>
          <cx:pt idx="6370">-1.831607499</cx:pt>
          <cx:pt idx="6371">-1.831648012</cx:pt>
          <cx:pt idx="6372">-1.831690925</cx:pt>
          <cx:pt idx="6373">-1.831692627</cx:pt>
          <cx:pt idx="6374">-1.831779109</cx:pt>
          <cx:pt idx="6375">-1.831779786</cx:pt>
          <cx:pt idx="6376">-1.8318220220000001</cx:pt>
          <cx:pt idx="6377">-1.8318649140000001</cx:pt>
          <cx:pt idx="6378">-1.8319102060000001</cx:pt>
          <cx:pt idx="6379">-1.8319537960000001</cx:pt>
          <cx:pt idx="6380">-1.8319977140000001</cx:pt>
          <cx:pt idx="6381">-1.8319980629999999</cx:pt>
          <cx:pt idx="6382">-1.832083868</cx:pt>
          <cx:pt idx="6383">-1.832172074</cx:pt>
          <cx:pt idx="6384">-1.832215991</cx:pt>
          <cx:pt idx="6385">-1.8323450370000001</cx:pt>
          <cx:pt idx="6386">-1.8323903290000001</cx:pt>
          <cx:pt idx="6387">-1.8324332430000001</cx:pt>
          <cx:pt idx="6388">-1.832476134</cx:pt>
          <cx:pt idx="6389">-1.8325214270000001</cx:pt>
          <cx:pt idx="6390">-1.832608934</cx:pt>
          <cx:pt idx="6391">-1.832609283</cx:pt>
          <cx:pt idx="6392">-1.832652524</cx:pt>
          <cx:pt idx="6393">-1.8326944110000001</cx:pt>
          <cx:pt idx="6394">-1.8327383509999999</cx:pt>
          <cx:pt idx="6395">-1.832827561</cx:pt>
          <cx:pt idx="6396">-1.833089406</cx:pt>
          <cx:pt idx="6397">-1.8331309440000001</cx:pt>
          <cx:pt idx="6398">-1.833176914</cx:pt>
          <cx:pt idx="6399">-1.83330836</cx:pt>
          <cx:pt idx="6400">-1.833436402</cx:pt>
          <cx:pt idx="6401">-1.833524586</cx:pt>
          <cx:pt idx="6402">-1.8335259610000001</cx:pt>
          <cx:pt idx="6403">-1.8335674989999999</cx:pt>
          <cx:pt idx="6404">-1.833613468</cx:pt>
          <cx:pt idx="6405">-1.8336546570000001</cx:pt>
          <cx:pt idx="6406">-1.833700627</cx:pt>
          <cx:pt idx="6407">-1.833744217</cx:pt>
          <cx:pt idx="6408">-1.8337857550000001</cx:pt>
          <cx:pt idx="6409">-1.8338317239999999</cx:pt>
          <cx:pt idx="6410">-1.8338753139999999</cx:pt>
          <cx:pt idx="6411">-1.834311869</cx:pt>
          <cx:pt idx="6412">-1.834353058</cx:pt>
          <cx:pt idx="6413">-1.8343990269999999</cx:pt>
          <cx:pt idx="6414">-1.8344429659999999</cx:pt>
          <cx:pt idx="6415">-1.8348359089999999</cx:pt>
          <cx:pt idx="6416">-1.83487712</cx:pt>
          <cx:pt idx="6417">-1.8350953750000001</cx:pt>
          <cx:pt idx="6418">-1.835140668</cx:pt>
          <cx:pt idx="6419">-1.835184935</cx:pt>
          <cx:pt idx="6420">-1.8354025350000001</cx:pt>
          <cx:pt idx="6421">-1.835445427</cx:pt>
          <cx:pt idx="6422">-1.8354468020000001</cx:pt>
          <cx:pt idx="6423">-1.8354883399999999</cx:pt>
          <cx:pt idx="6424">-1.835532258</cx:pt>
          <cx:pt idx="6425">-1.835534309</cx:pt>
          <cx:pt idx="6426">-1.835620791</cx:pt>
          <cx:pt idx="6427">-1.8356650569999999</cx:pt>
          <cx:pt idx="6428">-1.835926248</cx:pt>
          <cx:pt idx="6429">-1.83596914</cx:pt>
          <cx:pt idx="6430">-1.835970842</cx:pt>
          <cx:pt idx="6431">-1.8360151090000001</cx:pt>
          <cx:pt idx="6432">-1.8360154580000001</cx:pt>
          <cx:pt idx="6433">-1.83605632</cx:pt>
          <cx:pt idx="6434">-1.8360992330000001</cx:pt>
          <cx:pt idx="6435">-1.836144504</cx:pt>
          <cx:pt idx="6436">-1.83618912</cx:pt>
          <cx:pt idx="6437">-1.83623033</cx:pt>
          <cx:pt idx="6438">-1.8362763</cx:pt>
          <cx:pt idx="6439">-1.8363198679999999</cx:pt>
          <cx:pt idx="6440">-1.8364073970000001</cx:pt>
          <cx:pt idx="6441">-1.836494555</cx:pt>
          <cx:pt idx="6442">-1.836670268</cx:pt>
          <cx:pt idx="6443">-1.8368439299999999</cx:pt>
          <cx:pt idx="6444">-1.8370162379999999</cx:pt>
          <cx:pt idx="6445">-1.8371493649999999</cx:pt>
          <cx:pt idx="6446">-1.8371929549999999</cx:pt>
          <cx:pt idx="6447">-1.83749874</cx:pt>
          <cx:pt idx="6448">-1.8375399509999999</cx:pt>
          <cx:pt idx="6449">-1.8375835190000001</cx:pt>
          <cx:pt idx="6450">-1.8376294879999999</cx:pt>
          <cx:pt idx="6451">-1.837673428</cx:pt>
          <cx:pt idx="6452">-1.8377146170000001</cx:pt>
          <cx:pt idx="6453">-1.8377605859999999</cx:pt>
          <cx:pt idx="6454">-1.8378041759999999</cx:pt>
          <cx:pt idx="6455">-1.837845714</cx:pt>
          <cx:pt idx="6456">-1.8378916830000001</cx:pt>
          <cx:pt idx="6457">-1.8379328939999999</cx:pt>
          <cx:pt idx="6458">-1.837978863</cx:pt>
          <cx:pt idx="6459">-1.838066043</cx:pt>
          <cx:pt idx="6460">-1.838109961</cx:pt>
          <cx:pt idx="6461">-1.838151171</cx:pt>
          <cx:pt idx="6462">-1.838194761</cx:pt>
          <cx:pt idx="6463">-1.838240731</cx:pt>
          <cx:pt idx="6464">-1.8382846479999999</cx:pt>
          <cx:pt idx="6465">-1.8383282379999999</cx:pt>
          <cx:pt idx="6466">-1.8383718280000001</cx:pt>
          <cx:pt idx="6467">-1.8384130169999999</cx:pt>
          <cx:pt idx="6468">-1.838458986</cx:pt>
          <cx:pt idx="6469">-1.838502925</cx:pt>
          <cx:pt idx="6470">-1.8385441140000001</cx:pt>
          <cx:pt idx="6471">-1.838590084</cx:pt>
          <cx:pt idx="6472">-1.838634699</cx:pt>
          <cx:pt idx="6473">-1.8387637450000001</cx:pt>
          <cx:pt idx="6474">-1.8393320740000001</cx:pt>
          <cx:pt idx="6475">-1.8396371819999999</cx:pt>
          <cx:pt idx="6476">-1.8399014069999999</cx:pt>
          <cx:pt idx="6477">-1.840074392</cx:pt>
          <cx:pt idx="6478">-1.8402926690000001</cx:pt>
          <cx:pt idx="6479">-1.8405545139999999</cx:pt>
          <cx:pt idx="6480">-1.8405960530000001</cx:pt>
          <cx:pt idx="6481">-1.8406413450000001</cx:pt>
          <cx:pt idx="6482">-1.8406849350000001</cx:pt>
          <cx:pt idx="6483">-1.840726823</cx:pt>
          <cx:pt idx="6484">-1.8408180839999999</cx:pt>
          <cx:pt idx="6485">-1.840859273</cx:pt>
          <cx:pt idx="6486">-1.8408599720000001</cx:pt>
          <cx:pt idx="6487">-1.8409450999999999</cx:pt>
          <cx:pt idx="6488">-1.841035663</cx:pt>
          <cx:pt idx="6489">-1.841122167</cx:pt>
          <cx:pt idx="6490">-1.841206946</cx:pt>
          <cx:pt idx="6491">-1.84151273</cx:pt>
          <cx:pt idx="6492">-1.8416894479999999</cx:pt>
          <cx:pt idx="6493">-1.841951315</cx:pt>
          <cx:pt idx="6494">-1.841992853</cx:pt>
          <cx:pt idx="6495">-1.8420388219999999</cx:pt>
          <cx:pt idx="6496">-1.8426936330000001</cx:pt>
          <cx:pt idx="6497">-1.8427372230000001</cx:pt>
          <cx:pt idx="6498">-1.843084196</cx:pt>
          <cx:pt idx="6499">-1.8431737560000001</cx:pt>
          <cx:pt idx="6500">-1.8435667200000001</cx:pt>
          <cx:pt idx="6501">-1.8436103100000001</cx:pt>
          <cx:pt idx="6502">-1.8441779410000001</cx:pt>
          <cx:pt idx="6503">-1.844309387</cx:pt>
          <cx:pt idx="6504">-1.8446120939999999</cx:pt>
          <cx:pt idx="6505">-1.8447431919999999</cx:pt>
          <cx:pt idx="6506">-1.844789161</cx:pt>
          <cx:pt idx="6507">-1.844876341</cx:pt>
          <cx:pt idx="6508">-1.8449634989999999</cx:pt>
          <cx:pt idx="6509">-1.8450510280000001</cx:pt>
          <cx:pt idx="6510">-1.8457034379999999</cx:pt>
          <cx:pt idx="6511">-1.845749407</cx:pt>
          <cx:pt idx="6512">-1.845791644</cx:pt>
          <cx:pt idx="6513">-1.8458345350000001</cx:pt>
          <cx:pt idx="6514">-1.845921715</cx:pt>
          <cx:pt idx="6515">-1.8459670079999999</cx:pt>
          <cx:pt idx="6516">-1.8459676840000001</cx:pt>
          <cx:pt idx="6517">-1.8460109250000001</cx:pt>
          <cx:pt idx="6518">-1.846360649</cx:pt>
          <cx:pt idx="6519">-1.8470154590000001</cx:pt>
          <cx:pt idx="6520">-1.847056998</cx:pt>
          <cx:pt idx="6521">-1.8472766279999999</cx:pt>
          <cx:pt idx="6522">-1.8473195200000001</cx:pt>
          <cx:pt idx="6523">-1.847362433</cx:pt>
          <cx:pt idx="6524">-1.8474063510000001</cx:pt>
          <cx:pt idx="6525">-1.847757428</cx:pt>
          <cx:pt idx="6526">-1.8484997460000001</cx:pt>
          <cx:pt idx="6527">-1.848718023</cx:pt>
          <cx:pt idx="6528">-1.8489798690000001</cx:pt>
          <cx:pt idx="6529">-1.849198823</cx:pt>
          <cx:pt idx="6530">-1.849634679</cx:pt>
          <cx:pt idx="6531">-1.8499840540000001</cx:pt>
          <cx:pt idx="6532">-1.8500276440000001</cx:pt>
          <cx:pt idx="6533">-1.8501563620000001</cx:pt>
          <cx:pt idx="6534">-1.850202331</cx:pt>
          <cx:pt idx="6535">-1.850243869</cx:pt>
          <cx:pt idx="6536">-1.8502877870000001</cx:pt>
          <cx:pt idx="6537">-1.8502894889999999</cx:pt>
          <cx:pt idx="6538">-1.8504216120000001</cx:pt>
          <cx:pt idx="6539">-1.8504641770000001</cx:pt>
          <cx:pt idx="6540">-1.8505077670000001</cx:pt>
          <cx:pt idx="6541">-1.850638864</cx:pt>
          <cx:pt idx="6542">-1.8509007310000001</cx:pt>
          <cx:pt idx="6543">-1.850944299</cx:pt>
          <cx:pt idx="6544">-1.8510318290000001</cx:pt>
          <cx:pt idx="6545">-1.8513808540000001</cx:pt>
          <cx:pt idx="6546">-1.8514223919999999</cx:pt>
          <cx:pt idx="6547">-1.8514683620000001</cx:pt>
          <cx:pt idx="6548">-1.8515119520000001</cx:pt>
          <cx:pt idx="6549">-1.8515555420000001</cx:pt>
          <cx:pt idx="6550">-1.8515987819999999</cx:pt>
          <cx:pt idx="6551">-1.8516406700000001</cx:pt>
          <cx:pt idx="6552">-1.851731233</cx:pt>
          <cx:pt idx="6553">-1.8519920750000001</cx:pt>
          <cx:pt idx="6554">-1.852034988</cx:pt>
          <cx:pt idx="6555">-1.8520778790000001</cx:pt>
          <cx:pt idx="6556">-1.8521207930000001</cx:pt>
          <cx:pt idx="6557">-1.8521660849999999</cx:pt>
          <cx:pt idx="6558">-1.852166762</cx:pt>
          <cx:pt idx="6559">-1.8522535929999999</cx:pt>
          <cx:pt idx="6560">-1.852343152</cx:pt>
          <cx:pt idx="6561">-1.852603295</cx:pt>
          <cx:pt idx="6562">-1.8527340649999999</cx:pt>
          <cx:pt idx="6563">-1.8527779820000001</cx:pt>
          <cx:pt idx="6564">-1.8532996429999999</cx:pt>
          <cx:pt idx="6565">-1.8535615110000001</cx:pt>
          <cx:pt idx="6566">-1.853736198</cx:pt>
          <cx:pt idx="6567">-1.8537818180000001</cx:pt>
          <cx:pt idx="6568">-1.853956505</cx:pt>
          <cx:pt idx="6569">-1.8541747829999999</cx:pt>
          <cx:pt idx="6570">-1.854307234</cx:pt>
          <cx:pt idx="6571">-1.8543504740000001</cx:pt>
          <cx:pt idx="6572">-1.8543913359999999</cx:pt>
          <cx:pt idx="6573">-1.854436628</cx:pt>
          <cx:pt idx="6574">-1.8544805680000001</cx:pt>
          <cx:pt idx="6575">-1.855616854</cx:pt>
          <cx:pt idx="6576">-1.855660095</cx:pt>
          <cx:pt idx="6577">-1.855700956</cx:pt>
          <cx:pt idx="6578">-1.8557462490000001</cx:pt>
          <cx:pt idx="6579">-1.855838187</cx:pt>
          <cx:pt idx="6580">-1.8559212860000001</cx:pt>
          <cx:pt idx="6581">-1.8559645259999999</cx:pt>
          <cx:pt idx="6582">-1.8562703110000001</cx:pt>
          <cx:pt idx="6583">-1.856357469</cx:pt>
          <cx:pt idx="6584">-1.856401059</cx:pt>
          <cx:pt idx="6585">-1.856488567</cx:pt>
          <cx:pt idx="6586">-1.8568379420000001</cx:pt>
          <cx:pt idx="6587">-1.856880855</cx:pt>
          <cx:pt idx="6588">-1.856881531</cx:pt>
          <cx:pt idx="6589">-1.8569264750000001</cx:pt>
          <cx:pt idx="6590">-1.8569268240000001</cx:pt>
          <cx:pt idx="6591">-1.85701228</cx:pt>
          <cx:pt idx="6592">-1.8570997869999999</cx:pt>
          <cx:pt idx="6593">-1.857318064</cx:pt>
          <cx:pt idx="6594">-1.8573633570000001</cx:pt>
          <cx:pt idx="6595">-1.8578833159999999</cx:pt>
          <cx:pt idx="6596">-1.858061081</cx:pt>
          <cx:pt idx="6597">-1.858234044</cx:pt>
          <cx:pt idx="6598">-1.8582793360000001</cx:pt>
          <cx:pt idx="6599">-1.8583219</cx:pt>
          <cx:pt idx="6600">-1.85836549</cx:pt>
          <cx:pt idx="6601">-1.8584087309999999</cx:pt>
          <cx:pt idx="6602">-1.8585401779999999</cx:pt>
          <cx:pt idx="6603">-1.8586276850000001</cx:pt>
          <cx:pt idx="6604">-1.8586712750000001</cx:pt>
          <cx:pt idx="6605">-1.858758455</cx:pt>
          <cx:pt idx="6606">-1.858802372</cx:pt>
          <cx:pt idx="6607">-1.8589763829999999</cx:pt>
          <cx:pt idx="6608">-1.8589773869999999</cx:pt>
          <cx:pt idx="6609">-1.8590199510000001</cx:pt>
          <cx:pt idx="6610">-1.8590642180000001</cx:pt>
          <cx:pt idx="6611">-1.8591078080000001</cx:pt>
          <cx:pt idx="6612">-1.8593277880000001</cx:pt>
          <cx:pt idx="6613">-1.859370701</cx:pt>
          <cx:pt idx="6614">-1.859893716</cx:pt>
          <cx:pt idx="6615">-1.859937306</cx:pt>
          <cx:pt idx="6616">-1.859982598</cx:pt>
          <cx:pt idx="6617">-1.860025512</cx:pt>
          <cx:pt idx="6618">-1.8600680759999999</cx:pt>
          <cx:pt idx="6619">-1.8601555830000001</cx:pt>
          <cx:pt idx="6620">-1.8601998500000001</cx:pt>
          <cx:pt idx="6621">-1.8602407110000001</cx:pt>
          <cx:pt idx="6622">-1.86028668</cx:pt>
          <cx:pt idx="6623">-1.86033027</cx:pt>
          <cx:pt idx="6624">-1.860373839</cx:pt>
          <cx:pt idx="6625">-1.8604153990000001</cx:pt>
          <cx:pt idx="6626">-1.8605049360000001</cx:pt>
          <cx:pt idx="6627">-1.8609414909999999</cx:pt>
          <cx:pt idx="6628">-1.8614652039999999</cx:pt>
          <cx:pt idx="6629">-1.861682783</cx:pt>
          <cx:pt idx="6630">-1.862423747</cx:pt>
          <cx:pt idx="6631">-1.8624693670000001</cx:pt>
          <cx:pt idx="6632">-1.86251228</cx:pt>
          <cx:pt idx="6633">-1.8625561980000001</cx:pt>
          <cx:pt idx="6634">-1.862599788</cx:pt>
          <cx:pt idx="6635">-1.862643727</cx:pt>
          <cx:pt idx="6636">-1.862686968</cx:pt>
          <cx:pt idx="6637">-1.862731234</cx:pt>
          <cx:pt idx="6638">-1.863211357</cx:pt>
          <cx:pt idx="6639">-1.863299214</cx:pt>
          <cx:pt idx="6640">-1.8634745779999999</cx:pt>
          <cx:pt idx="6641">-1.8634749269999999</cx:pt>
          <cx:pt idx="6642">-1.8635178189999999</cx:pt>
          <cx:pt idx="6643">-1.8635607320000001</cx:pt>
          <cx:pt idx="6644">-1.863604322</cx:pt>
          <cx:pt idx="6645">-1.86364789</cx:pt>
          <cx:pt idx="6646">-1.8636938590000001</cx:pt>
          <cx:pt idx="6647">-1.8637350699999999</cx:pt>
          <cx:pt idx="6648">-1.863778988</cx:pt>
          <cx:pt idx="6649">-1.8639536750000001</cx:pt>
          <cx:pt idx="6650">-1.8642591319999999</cx:pt>
          <cx:pt idx="6651">-1.8644337980000001</cx:pt>
          <cx:pt idx="6652">-1.8644777370000001</cx:pt>
          <cx:pt idx="6653">-1.864608485</cx:pt>
          <cx:pt idx="6654">-1.864652075</cx:pt>
          <cx:pt idx="6655">-1.864784199</cx:pt>
          <cx:pt idx="6656">-1.865046743</cx:pt>
          <cx:pt idx="6657">-1.865132198</cx:pt>
          <cx:pt idx="6658">-1.8651757879999999</cx:pt>
          <cx:pt idx="6659">-1.8654376560000001</cx:pt>
          <cx:pt idx="6660">-1.865874188</cx:pt>
          <cx:pt idx="6661">-1.866005286</cx:pt>
          <cx:pt idx="6662">-1.866048527</cx:pt>
          <cx:pt idx="6663">-1.866048876</cx:pt>
          <cx:pt idx="6664">-1.8660941680000001</cx:pt>
          <cx:pt idx="6665">-1.86613706</cx:pt>
          <cx:pt idx="6666">-1.8661799729999999</cx:pt>
          <cx:pt idx="6667">-1.8662235629999999</cx:pt>
          <cx:pt idx="6668">-1.8663151520000001</cx:pt>
          <cx:pt idx="6669">-1.8665310289999999</cx:pt>
          <cx:pt idx="6670">-1.8667036859999999</cx:pt>
          <cx:pt idx="6671">-1.866748979</cx:pt>
          <cx:pt idx="6672">-1.8667918699999999</cx:pt>
          <cx:pt idx="6673">-1.8669226400000001</cx:pt>
          <cx:pt idx="6674">-1.867096629</cx:pt>
          <cx:pt idx="6675">-1.867185512</cx:pt>
          <cx:pt idx="6676">-1.8672287519999999</cx:pt>
          <cx:pt idx="6677">-1.867622721</cx:pt>
          <cx:pt idx="6678">-1.8676659840000001</cx:pt>
          <cx:pt idx="6679">-1.8677078490000001</cx:pt>
          <cx:pt idx="6680">-1.8677521159999999</cx:pt>
          <cx:pt idx="6681">-1.8677950290000001</cx:pt>
          <cx:pt idx="6682">-1.8678389470000001</cx:pt>
          <cx:pt idx="6683">-1.8678825370000001</cx:pt>
          <cx:pt idx="6684">-1.867926127</cx:pt>
          <cx:pt idx="6685">-1.868013307</cx:pt>
          <cx:pt idx="6686">-1.8686681169999999</cx:pt>
          <cx:pt idx="6687">-1.8689343940000001</cx:pt>
          <cx:pt idx="6688">-1.869061737</cx:pt>
          <cx:pt idx="6689">-1.869149943</cx:pt>
          <cx:pt idx="6690">-1.869279337</cx:pt>
          <cx:pt idx="6691">-1.869322578</cx:pt>
          <cx:pt idx="6692">-1.8693681980000001</cx:pt>
          <cx:pt idx="6693">-1.869541532</cx:pt>
          <cx:pt idx="6694">-1.869584446</cx:pt>
          <cx:pt idx="6695">-1.869759111</cx:pt>
          <cx:pt idx="6696">-1.869802701</cx:pt>
          <cx:pt idx="6697">-1.869934475</cx:pt>
          <cx:pt idx="6698">-1.869977389</cx:pt>
          <cx:pt idx="6699">-1.8701071330000001</cx:pt>
          <cx:pt idx="6700">-1.8701963429999999</cx:pt>
          <cx:pt idx="6701">-1.8701966919999999</cx:pt>
          <cx:pt idx="6702">-1.8702392560000001</cx:pt>
          <cx:pt idx="6703">-1.870326414</cx:pt>
          <cx:pt idx="6704">-1.8703270910000001</cx:pt>
          <cx:pt idx="6705">-1.8705017779999999</cx:pt>
          <cx:pt idx="6706">-1.8709819009999999</cx:pt>
          <cx:pt idx="6707">-1.871026168</cx:pt>
          <cx:pt idx="6708">-1.871243768</cx:pt>
          <cx:pt idx="6709">-1.8712876860000001</cx:pt>
          <cx:pt idx="6710">-1.871330599</cx:pt>
          <cx:pt idx="6711">-1.871331276</cx:pt>
          <cx:pt idx="6712">-1.871418456</cx:pt>
          <cx:pt idx="6713">-1.871462722</cx:pt>
          <cx:pt idx="6714">-1.8715059629999999</cx:pt>
          <cx:pt idx="6715">-1.8716809780000001</cx:pt>
          <cx:pt idx="6716">-1.8721168340000001</cx:pt>
          <cx:pt idx="6717">-1.8725533889999999</cx:pt>
          <cx:pt idx="6718">-1.8725973060000001</cx:pt>
          <cx:pt idx="6719">-1.8726402200000001</cx:pt>
          <cx:pt idx="6720">-1.8726855120000001</cx:pt>
          <cx:pt idx="6721">-1.872728076</cx:pt>
          <cx:pt idx="6722">-1.872771645</cx:pt>
          <cx:pt idx="6723">-1.872815584</cx:pt>
          <cx:pt idx="6724">-1.872859174</cx:pt>
          <cx:pt idx="6725">-1.873252117</cx:pt>
          <cx:pt idx="6726">-1.873295707</cx:pt>
          <cx:pt idx="6727">-1.873339297</cx:pt>
          <cx:pt idx="6728">-1.8735558720000001</cx:pt>
          <cx:pt idx="6729">-1.873688671</cx:pt>
          <cx:pt idx="6730">-1.873731563</cx:pt>
          <cx:pt idx="6731">-1.874212384</cx:pt>
          <cx:pt idx="6732">-1.8743870499999999</cx:pt>
          <cx:pt idx="6733">-1.8745178199999999</cx:pt>
          <cx:pt idx="6734">-1.8747360749999999</cx:pt>
          <cx:pt idx="6735">-1.874780015</cx:pt>
          <cx:pt idx="6736">-1.8751733070000001</cx:pt>
          <cx:pt idx="6737">-1.8753908859999999</cx:pt>
          <cx:pt idx="6738">-1.875959215</cx:pt>
          <cx:pt idx="6739">-1.8765254920000001</cx:pt>
          <cx:pt idx="6740">-1.8765711119999999</cx:pt>
          <cx:pt idx="6741">-1.8766143740000001</cx:pt>
          <cx:pt idx="6742">-1.8766552359999999</cx:pt>
          <cx:pt idx="6743">-1.8767005059999999</cx:pt>
          <cx:pt idx="6744">-1.876743769</cx:pt>
          <cx:pt idx="6745">-1.876833306</cx:pt>
          <cx:pt idx="6746">-1.8768748660000001</cx:pt>
          <cx:pt idx="6747">-1.8770505580000001</cx:pt>
          <cx:pt idx="6748">-1.877093471</cx:pt>
          <cx:pt idx="6749">-1.877312425</cx:pt>
          <cx:pt idx="6750">-1.8773985790000001</cx:pt>
          <cx:pt idx="6751">-1.877441143</cx:pt>
          <cx:pt idx="6752">-1.8774871129999999</cx:pt>
          <cx:pt idx="6753">-1.877573943</cx:pt>
          <cx:pt idx="6754">-1.877616835</cx:pt>
          <cx:pt idx="6755">-1.877705041</cx:pt>
          <cx:pt idx="6756">-1.8777921989999999</cx:pt>
          <cx:pt idx="6757">-1.878054066</cx:pt>
          <cx:pt idx="6758">-1.8781848139999999</cx:pt>
          <cx:pt idx="6759">-1.878228754</cx:pt>
          <cx:pt idx="6760">-1.878272344</cx:pt>
          <cx:pt idx="6761">-1.878317287</cx:pt>
          <cx:pt idx="6762">-1.878360528</cx:pt>
          <cx:pt idx="6763">-1.8784030920000001</cx:pt>
          <cx:pt idx="6764">-1.8784470090000001</cx:pt>
          <cx:pt idx="6765">-1.8784899230000001</cx:pt>
          <cx:pt idx="6766">-1.8785788050000001</cx:pt>
          <cx:pt idx="6767">-1.878621697</cx:pt>
          <cx:pt idx="6768">-1.878665287</cx:pt>
          <cx:pt idx="6769">-1.878757574</cx:pt>
          <cx:pt idx="6770">-1.8787960349999999</cx:pt>
          <cx:pt idx="6771">-1.8789271320000001</cx:pt>
          <cx:pt idx="6772">-1.879058251</cx:pt>
          <cx:pt idx="6773">-1.8792765069999999</cx:pt>
          <cx:pt idx="6774">-1.8793200969999999</cx:pt>
          <cx:pt idx="6775">-1.8793636869999999</cx:pt>
          <cx:pt idx="6776">-1.8794116860000001</cx:pt>
          <cx:pt idx="6777">-1.879538374</cx:pt>
          <cx:pt idx="6778">-1.879670148</cx:pt>
          <cx:pt idx="6779">-1.8797995430000001</cx:pt>
          <cx:pt idx="6780">-1.8798002199999999</cx:pt>
          <cx:pt idx="6781">-1.8798884259999999</cx:pt>
          <cx:pt idx="6782">-1.879931317</cx:pt>
          <cx:pt idx="6783">-1.880149595</cx:pt>
          <cx:pt idx="6784">-1.8803246090000001</cx:pt>
          <cx:pt idx="6785">-1.8808476460000001</cx:pt>
          <cx:pt idx="6786">-1.880891563</cx:pt>
          <cx:pt idx="6787">-1.8809365280000001</cx:pt>
          <cx:pt idx="6788">-1.8809797690000001</cx:pt>
          <cx:pt idx="6789">-1.881198046</cx:pt>
          <cx:pt idx="6790">-1.881374087</cx:pt>
          <cx:pt idx="6791">-1.8814173279999999</cx:pt>
          <cx:pt idx="6792">-1.881633903</cx:pt>
          <cx:pt idx="6793">-1.8816771430000001</cx:pt>
          <cx:pt idx="6794">-1.8817639740000001</cx:pt>
          <cx:pt idx="6795">-1.881894046</cx:pt>
          <cx:pt idx="6796">-1.881939338</cx:pt>
          <cx:pt idx="6797">-1.881982928</cx:pt>
          <cx:pt idx="6798">-1.8821133489999999</cx:pt>
          <cx:pt idx="6799">-1.882157616</cx:pt>
          <cx:pt idx="6800">-1.8822011839999999</cx:pt>
          <cx:pt idx="6801">-1.8824201380000001</cx:pt>
          <cx:pt idx="6802">-1.8828566929999999</cx:pt>
          <cx:pt idx="6803">-1.8832925490000001</cx:pt>
          <cx:pt idx="6804">-1.883379707</cx:pt>
          <cx:pt idx="6805">-1.8834239740000001</cx:pt>
          <cx:pt idx="6806">-1.883467236</cx:pt>
          <cx:pt idx="6807">-1.8837730210000001</cx:pt>
          <cx:pt idx="6808">-1.883947359</cx:pt>
          <cx:pt idx="6809">-1.884034867</cx:pt>
          <cx:pt idx="6810">-1.8846021690000001</cx:pt>
          <cx:pt idx="6811">-1.8849515219999999</cx:pt>
          <cx:pt idx="6812">-1.8849934100000001</cx:pt>
          <cx:pt idx="6813">-1.885039052</cx:pt>
          <cx:pt idx="6814">-1.8850819430000001</cx:pt>
          <cx:pt idx="6815">-1.8851262099999999</cx:pt>
          <cx:pt idx="6816">-1.8851697999999999</cx:pt>
          <cx:pt idx="6817">-1.8852140660000001</cx:pt>
          <cx:pt idx="6818">-1.885344487</cx:pt>
          <cx:pt idx="6819">-1.8859577590000001</cx:pt>
          <cx:pt idx="6820">-1.886001</cx:pt>
          <cx:pt idx="6821">-1.8861753489999999</cx:pt>
          <cx:pt idx="6822">-1.8862611600000001</cx:pt>
          <cx:pt idx="6823">-1.886697743</cx:pt>
          <cx:pt idx="6824">-1.886784579</cx:pt>
          <cx:pt idx="6825">-1.886873118</cx:pt>
          <cx:pt idx="6826">-1.8869596049999999</cx:pt>
          <cx:pt idx="6827">-1.8870031979999999</cx:pt>
          <cx:pt idx="6828">-1.887132601</cx:pt>
          <cx:pt idx="6829">-1.887263707</cx:pt>
          <cx:pt idx="6830">-1.887307649</cx:pt>
          <cx:pt idx="6831">-1.887350893</cx:pt>
          <cx:pt idx="6832">-1.8873525950000001</cx:pt>
          <cx:pt idx="6833">-1.8874394320000001</cx:pt>
          <cx:pt idx="6834">-1.887485055</cx:pt>
          <cx:pt idx="6835">-1.8875279709999999</cx:pt>
          <cx:pt idx="6836">-1.8875691619999999</cx:pt>
          <cx:pt idx="6837">-1.887657701</cx:pt>
          <cx:pt idx="6838">-1.8876580510000001</cx:pt>
          <cx:pt idx="6839">-1.8877033459999999</cx:pt>
          <cx:pt idx="6840">-1.8877465899999999</cx:pt>
          <cx:pt idx="6841">-1.8877891570000001</cx:pt>
          <cx:pt idx="6842">-1.887832749</cx:pt>
          <cx:pt idx="6843">-1.8879250430000001</cx:pt>
          <cx:pt idx="6844">-1.8879655580000001</cx:pt>
          <cx:pt idx="6845">-1.888007448</cx:pt>
          <cx:pt idx="6846">-1.8880946119999999</cx:pt>
          <cx:pt idx="6847">-1.888313253</cx:pt>
          <cx:pt idx="6848">-1.8885791970000001</cx:pt>
          <cx:pt idx="6849">-1.8886623010000001</cx:pt>
          <cx:pt idx="6850">-1.8888380039999999</cx:pt>
          <cx:pt idx="6851">-1.8888812690000001</cx:pt>
          <cx:pt idx="6852">-1.8890130519999999</cx:pt>
          <cx:pt idx="6853">-1.8894039899999999</cx:pt>
          <cx:pt idx="6854">-1.8894475829999999</cx:pt>
          <cx:pt idx="6855">-1.8894918519999999</cx:pt>
          <cx:pt idx="6856">-1.8895354230000001</cx:pt>
          <cx:pt idx="6857">-1.8901048149999999</cx:pt>
          <cx:pt idx="6858">-1.890408917</cx:pt>
          <cx:pt idx="6859">-1.890409244</cx:pt>
          <cx:pt idx="6860">-1.8904518109999999</cx:pt>
          <cx:pt idx="6861">-1.8904960799999999</cx:pt>
          <cx:pt idx="6862">-1.8905389960000001</cx:pt>
          <cx:pt idx="6863">-1.8906704519999999</cx:pt>
          <cx:pt idx="6864">-1.8908022339999999</cx:pt>
          <cx:pt idx="6865">-1.890845128</cx:pt>
          <cx:pt idx="6866">-1.8908893980000001</cx:pt>
          <cx:pt idx="6867">-1.8909326630000001</cx:pt>
          <cx:pt idx="6868">-1.8909779369999999</cx:pt>
          <cx:pt idx="6869">-1.8910208529999999</cx:pt>
          <cx:pt idx="6870">-1.8910640970000001</cx:pt>
          <cx:pt idx="6871">-1.8911070130000001</cx:pt>
          <cx:pt idx="6872">-1.891194526</cx:pt>
          <cx:pt idx="6873">-1.8912381190000001</cx:pt>
          <cx:pt idx="6874">-1.891281711</cx:pt>
          <cx:pt idx="6875">-1.891325981</cx:pt>
          <cx:pt idx="6876">-1.8913695740000001</cx:pt>
          <cx:pt idx="6877">-1.891457414</cx:pt>
          <cx:pt idx="6878">-1.89150068</cx:pt>
          <cx:pt idx="6879">-1.8915435739999999</cx:pt>
          <cx:pt idx="6880">-1.8917189489999999</cx:pt>
          <cx:pt idx="6881">-1.8917618650000001</cx:pt>
          <cx:pt idx="6882">-1.891847676</cx:pt>
          <cx:pt idx="6883">-1.8920240770000001</cx:pt>
          <cx:pt idx="6884">-1.892548501</cx:pt>
          <cx:pt idx="6885">-1.892635686</cx:pt>
          <cx:pt idx="6886">-1.8927654169999999</cx:pt>
          <cx:pt idx="6887">-1.8928083330000001</cx:pt>
          <cx:pt idx="6888">-1.8928096860000001</cx:pt>
          <cx:pt idx="6889">-1.8928536279999999</cx:pt>
          <cx:pt idx="6890">-1.8928539559999999</cx:pt>
          <cx:pt idx="6891">-1.8928972209999999</cx:pt>
          <cx:pt idx="6892">-1.8929843850000001</cx:pt>
          <cx:pt idx="6893">-1.8937264229999999</cx:pt>
          <cx:pt idx="6894">-1.893814286</cx:pt>
          <cx:pt idx="6895">-1.8939443659999999</cx:pt>
          <cx:pt idx="6896">-1.894076825</cx:pt>
          <cx:pt idx="6897">-1.8941200899999999</cx:pt>
          <cx:pt idx="6898">-1.8943383600000001</cx:pt>
          <cx:pt idx="6899">-1.8944732200000001</cx:pt>
          <cx:pt idx="6900">-1.8945123820000001</cx:pt>
          <cx:pt idx="6901">-1.894949969</cx:pt>
          <cx:pt idx="6902">-1.8950800489999999</cx:pt>
          <cx:pt idx="6903">-1.8952115039999999</cx:pt>
          <cx:pt idx="6904">-1.8952983400000001</cx:pt>
          <cx:pt idx="6905">-1.8953855260000001</cx:pt>
          <cx:pt idx="6906">-1.895428093</cx:pt>
          <cx:pt idx="6907">-1.8954290970000001</cx:pt>
          <cx:pt idx="6908">-1.8955602030000001</cx:pt>
          <cx:pt idx="6909">-1.8956477380000001</cx:pt>
          <cx:pt idx="6910">-1.895822764</cx:pt>
          <cx:pt idx="6911">-1.8961265169999999</cx:pt>
          <cx:pt idx="6912">-1.896127892</cx:pt>
          <cx:pt idx="6913">-1.896172161</cx:pt>
          <cx:pt idx="6914">-1.8963008880000001</cx:pt>
          <cx:pt idx="6915">-1.8963461610000001</cx:pt>
          <cx:pt idx="6916">-1.896475565</cx:pt>
          <cx:pt idx="6917">-1.8964769400000001</cx:pt>
          <cx:pt idx="6918">-1.8965208600000001</cx:pt>
          <cx:pt idx="6919">-1.8965212090000001</cx:pt>
          <cx:pt idx="6920">-1.896563776</cx:pt>
          <cx:pt idx="6921">-1.8965644530000001</cx:pt>
          <cx:pt idx="6922">-1.896957094</cx:pt>
          <cx:pt idx="6923">-1.897001014</cx:pt>
          <cx:pt idx="6924">-1.8976562159999999</cx:pt>
          <cx:pt idx="6925">-1.897874158</cx:pt>
          <cx:pt idx="6926">-1.8982232059999999</cx:pt>
          <cx:pt idx="6927">-1.8983979049999999</cx:pt>
          <cx:pt idx="6928">-1.8984854179999999</cx:pt>
          <cx:pt idx="6929">-1.8985290109999999</cx:pt>
          <cx:pt idx="6930">-1.8985726039999999</cx:pt>
          <cx:pt idx="6931">-1.8987037099999999</cx:pt>
          <cx:pt idx="6932">-1.8988344660000001</cx:pt>
        </cx:lvl>
      </cx:numDim>
    </cx:data>
    <cx:data id="4">
      <cx:numDim type="val">
        <cx:f>'Desalination_Unit_Data (3)'!$E$3:$E$7000</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cx:pt>
          <cx:pt idx="414">0</cx:pt>
          <cx:pt idx="415">0</cx:pt>
          <cx:pt idx="416">0</cx:pt>
          <cx:pt idx="417">0</cx:pt>
          <cx:pt idx="418">0</cx:pt>
          <cx:pt idx="419">0</cx:pt>
          <cx:pt idx="420">-1.807418</cx:pt>
          <cx:pt idx="421">-1.8081017260000001</cx:pt>
          <cx:pt idx="422">-1.808143686</cx:pt>
          <cx:pt idx="423">-1.8083073199999999</cx:pt>
          <cx:pt idx="424">-1.8085126060000001</cx:pt>
          <cx:pt idx="425">-1.8090051490000001</cx:pt>
          <cx:pt idx="426">-1.80908712</cx:pt>
          <cx:pt idx="427">-1.809620987</cx:pt>
          <cx:pt idx="428">-1.8100321749999999</cx:pt>
          <cx:pt idx="429">-1.8103604280000001</cx:pt>
          <cx:pt idx="430">-1.8104420910000001</cx:pt>
          <cx:pt idx="431">-1.8118790520000001</cx:pt>
          <cx:pt idx="432">-1.8122486289999999</cx:pt>
          <cx:pt idx="433">-1.8124129200000001</cx:pt>
          <cx:pt idx="434">-1.8126591809999999</cx:pt>
          <cx:pt idx="435">-1.812741808</cx:pt>
          <cx:pt idx="436">-1.812946438</cx:pt>
          <cx:pt idx="437">-1.8133986419999999</cx:pt>
          <cx:pt idx="438">-1.8136036</cx:pt>
          <cx:pt idx="439">-1.814096143</cx:pt>
          <cx:pt idx="440">-1.814342404</cx:pt>
          <cx:pt idx="441">-1.8144663350000001</cx:pt>
          <cx:pt idx="442">-1.8147536129999999</cx:pt>
          <cx:pt idx="443">-1.8147942800000001</cx:pt>
          <cx:pt idx="444">-1.8148769069999999</cx:pt>
          <cx:pt idx="445">-1.816025955</cx:pt>
          <cx:pt idx="446">-1.8161079259999999</cx:pt>
          <cx:pt idx="447">-1.816189917</cx:pt>
          <cx:pt idx="448">-1.816395204</cx:pt>
          <cx:pt idx="449">-1.8165594940000001</cx:pt>
          <cx:pt idx="450">-1.8166004689999999</cx:pt>
          <cx:pt idx="451">-1.8166417930000001</cx:pt>
          <cx:pt idx="452">-1.8170933410000001</cx:pt>
          <cx:pt idx="453">-1.817216307</cx:pt>
          <cx:pt idx="454">-1.81795544</cx:pt>
          <cx:pt idx="455">-1.8181607259999999</cx:pt>
          <cx:pt idx="456">-1.8186122730000001</cx:pt>
          <cx:pt idx="457">-1.8186532689999999</cx:pt>
          <cx:pt idx="458">-1.8203368209999999</cx:pt>
          <cx:pt idx="459">-1.8203778159999999</cx:pt>
          <cx:pt idx="460">-1.820418791</cx:pt>
          <cx:pt idx="461">-1.8207480089999999</cx:pt>
          <cx:pt idx="462">-1.820829364</cx:pt>
          <cx:pt idx="463">-1.8212405519999999</cx:pt>
          <cx:pt idx="464">-1.8212809109999999</cx:pt>
          <cx:pt idx="465">-1.821527501</cx:pt>
          <cx:pt idx="466">-1.8218147579999999</cx:pt>
          <cx:pt idx="467">-1.822061039</cx:pt>
          <cx:pt idx="468">-1.82222533</cx:pt>
          <cx:pt idx="469">-1.8223073009999999</cx:pt>
          <cx:pt idx="470">-1.8223902569999999</cx:pt>
          <cx:pt idx="471">-1.823292715</cx:pt>
          <cx:pt idx="472">-1.823334019</cx:pt>
          <cx:pt idx="473">-1.823867557</cx:pt>
          <cx:pt idx="474">-1.8239908520000001</cx:pt>
          <cx:pt idx="475">-1.8258390019999999</cx:pt>
          <cx:pt idx="476">-1.826002656</cx:pt>
          <cx:pt idx="477">-1.826166618</cx:pt>
          <cx:pt idx="478">-1.8262088869999999</cx:pt>
          <cx:pt idx="479">-1.827439598</cx:pt>
          <cx:pt idx="480">-1.8278088459999999</cx:pt>
          <cx:pt idx="481">-1.8285070029999999</cx:pt>
          <cx:pt idx="482">-1.8289594950000001</cx:pt>
          <cx:pt idx="483">-1.829041178</cx:pt>
          <cx:pt idx="484">-1.8291644730000001</cx:pt>
          <cx:pt idx="485">-1.829370704</cx:pt>
          <cx:pt idx="486">-1.829575025</cx:pt>
          <cx:pt idx="487">-1.8297386790000001</cx:pt>
          <cx:pt idx="488">-1.8297812550000001</cx:pt>
          <cx:pt idx="489">-1.8298626099999999</cx:pt>
          <cx:pt idx="490">-1.8299029490000001</cx:pt>
          <cx:pt idx="491">-1.8305194440000001</cx:pt>
          <cx:pt idx="492">-1.8306840419999999</cx:pt>
          <cx:pt idx="493">-1.8308886710000001</cx:pt>
          <cx:pt idx="494">-1.8340508170000001</cx:pt>
          <cx:pt idx="495">-1.8355694419999999</cx:pt>
          <cx:pt idx="496">-1.835650776</cx:pt>
          <cx:pt idx="497">-1.8356930440000001</cx:pt>
          <cx:pt idx="498">-1.835733404</cx:pt>
          <cx:pt idx="499">-1.8362262549999999</cx:pt>
          <cx:pt idx="500">-1.8363076089999999</cx:pt>
          <cx:pt idx="501">-1.8365128749999999</cx:pt>
          <cx:pt idx="502">-1.837253609</cx:pt>
          <cx:pt idx="503">-1.837539593</cx:pt>
          <cx:pt idx="504">-1.837909478</cx:pt>
          <cx:pt idx="505">-1.838443345</cx:pt>
          <cx:pt idx="506">-1.83868897</cx:pt>
          <cx:pt idx="507">-1.838731238</cx:pt>
          <cx:pt idx="508">-1.8388948919999999</cx:pt>
          <cx:pt idx="509">-1.839018187</cx:pt>
          <cx:pt idx="510">-1.8396743840000001</cx:pt>
          <cx:pt idx="511">-1.8397973510000001</cx:pt>
          <cx:pt idx="512">-1.8400859009999999</cx:pt>
          <cx:pt idx="513">-1.8402902219999999</cx:pt>
          <cx:pt idx="514">-1.84123462</cx:pt>
          <cx:pt idx="515">-1.8435746770000001</cx:pt>
          <cx:pt idx="516">-1.843657305</cx:pt>
          <cx:pt idx="517">-1.843697972</cx:pt>
          <cx:pt idx="518">-1.843904859</cx:pt>
          <cx:pt idx="519">-1.8440685130000001</cx:pt>
          <cx:pt idx="520">-1.8441921160000001</cx:pt>
          <cx:pt idx="521">-1.8450132400000001</cx:pt>
          <cx:pt idx="522">-1.845177531</cx:pt>
          <cx:pt idx="523">-1.845300825</cx:pt>
          <cx:pt idx="524">-1.845464459</cx:pt>
          <cx:pt idx="525">-1.8455454849999999</cx:pt>
          <cx:pt idx="526">-1.845588411</cx:pt>
          <cx:pt idx="527">-1.845915698</cx:pt>
          <cx:pt idx="528">-1.8459986340000001</cx:pt>
          <cx:pt idx="529">-1.846614472</cx:pt>
          <cx:pt idx="530">-1.8468200859999999</cx:pt>
          <cx:pt idx="531">-1.8474762629999999</cx:pt>
          <cx:pt idx="532">-1.8478871429999999</cx:pt>
          <cx:pt idx="533">-1.849652686</cx:pt>
          <cx:pt idx="534">-1.849939615</cx:pt>
          <cx:pt idx="535">-1.85190915</cx:pt>
          <cx:pt idx="536">-1.852196736</cx:pt>
          <cx:pt idx="537">-1.852319702</cx:pt>
          <cx:pt idx="538">-1.852730274</cx:pt>
          <cx:pt idx="539">-1.8529771719999999</cx:pt>
          <cx:pt idx="540">-1.8530178390000001</cx:pt>
          <cx:pt idx="541">-1.855316921</cx:pt>
          <cx:pt idx="542">-1.8573293609999999</cx:pt>
          <cx:pt idx="543">-1.857615982</cx:pt>
          <cx:pt idx="544">-1.8580265330000001</cx:pt>
          <cx:pt idx="545">-1.858765666</cx:pt>
          <cx:pt idx="546">-1.8589725530000001</cx:pt>
          <cx:pt idx="547">-1.859012584</cx:pt>
          <cx:pt idx="548">-1.8590529229999999</cx:pt>
          <cx:pt idx="549">-1.8590955199999999</cx:pt>
          <cx:pt idx="550">-1.8592594819999999</cx:pt>
          <cx:pt idx="551">-1.85958679</cx:pt>
          <cx:pt idx="552">-1.860163233</cx:pt>
          <cx:pt idx="553">-1.8602032639999999</cx:pt>
          <cx:pt idx="554">-1.860490521</cx:pt>
          <cx:pt idx="555">-1.8610246960000001</cx:pt>
          <cx:pt idx="556">-1.861065363</cx:pt>
          <cx:pt idx="557">-1.8611479909999999</cx:pt>
          <cx:pt idx="558">-1.8615985740000001</cx:pt>
          <cx:pt idx="559">-1.861682166</cx:pt>
          <cx:pt idx="560">-1.861763192</cx:pt>
          <cx:pt idx="561">-1.8619268470000001</cx:pt>
          <cx:pt idx="562">-1.8622160130000001</cx:pt>
          <cx:pt idx="563">-1.862297675</cx:pt>
          <cx:pt idx="564">-1.862790875</cx:pt>
          <cx:pt idx="565">-1.862832179</cx:pt>
          <cx:pt idx="566">-1.863570983</cx:pt>
          <cx:pt idx="567">-1.8637346370000001</cx:pt>
          <cx:pt idx="568">-1.8637749969999999</cx:pt>
          <cx:pt idx="569">-1.867019113</cx:pt>
          <cx:pt idx="570">-1.867430301</cx:pt>
          <cx:pt idx="571">-1.8674706599999999</cx:pt>
          <cx:pt idx="572">-1.86820852</cx:pt>
          <cx:pt idx="573">-1.868251425</cx:pt>
          <cx:pt idx="574">-1.868415079</cx:pt>
          <cx:pt idx="575">-1.8687430030000001</cx:pt>
          <cx:pt idx="576">-1.868825631</cx:pt>
          <cx:pt idx="577">-1.8691125799999999</cx:pt>
          <cx:pt idx="578">-1.870385231</cx:pt>
          <cx:pt idx="579">-1.8708380710000001</cx:pt>
          <cx:pt idx="580">-1.870879067</cx:pt>
          <cx:pt idx="581">-1.871821556</cx:pt>
          <cx:pt idx="582">-1.8719864829999999</cx:pt>
          <cx:pt idx="583">-1.872150773</cx:pt>
          <cx:pt idx="584">-1.8721930419999999</cx:pt>
          <cx:pt idx="585">-1.872643624</cx:pt>
          <cx:pt idx="586">-1.8726855849999999</cx:pt>
          <cx:pt idx="587">-1.8728902140000001</cx:pt>
          <cx:pt idx="588">-1.8729305730000001</cx:pt>
          <cx:pt idx="589">-1.873013837</cx:pt>
          <cx:pt idx="590">-1.873137461</cx:pt>
          <cx:pt idx="591">-1.873301423</cx:pt>
          <cx:pt idx="592">-1.874080258</cx:pt>
          <cx:pt idx="593">-1.8749833730000001</cx:pt>
          <cx:pt idx="594">-1.875066637</cx:pt>
          <cx:pt idx="595">-1.8770367889999999</cx:pt>
          <cx:pt idx="596">-1.8778998730000001</cx:pt>
          <cx:pt idx="597">-1.878022203</cx:pt>
          <cx:pt idx="598">-1.8792128829999999</cx:pt>
          <cx:pt idx="599">-1.8804861909999999</cx:pt>
          <cx:pt idx="600">-1.880568182</cx:pt>
          <cx:pt idx="601">-1.8806488800000001</cx:pt>
          <cx:pt idx="602">-1.8811013919999999</cx:pt>
          <cx:pt idx="603">-1.881142388</cx:pt>
          <cx:pt idx="604">-1.8813076230000001</cx:pt>
          <cx:pt idx="605">-1.881716902</cx:pt>
          <cx:pt idx="606">-1.881757261</cx:pt>
          <cx:pt idx="607">-1.882497995</cx:pt>
          <cx:pt idx="608">-1.8827436200000001</cx:pt>
          <cx:pt idx="609">-1.8827852519999999</cx:pt>
          <cx:pt idx="610">-1.88348341</cx:pt>
          <cx:pt idx="611">-1.8877116469999999</cx:pt>
          <cx:pt idx="612">-1.8889833540000001</cx:pt>
          <cx:pt idx="613">-1.8890259300000001</cx:pt>
          <cx:pt idx="614">-1.8913240469999999</cx:pt>
          <cx:pt idx="615">-1.891365679</cx:pt>
          <cx:pt idx="616">-1.8927209570000001</cx:pt>
          <cx:pt idx="617">-1.89284651</cx:pt>
          <cx:pt idx="618">-1.892885248</cx:pt>
          <cx:pt idx="619">-1.8929662739999999</cx:pt>
          <cx:pt idx="620">-1.893089569</cx:pt>
          <cx:pt idx="621">-1.893255132</cx:pt>
          <cx:pt idx="622">-1.8954718939999999</cx:pt>
          <cx:pt idx="623">-1.8955529200000001</cx:pt>
          <cx:pt idx="624">-1.895595189</cx:pt>
          <cx:pt idx="625">-1.895881809</cx:pt>
          <cx:pt idx="626">-1.8962923810000001</cx:pt>
          <cx:pt idx="627">-1.8963333769999999</cx:pt>
          <cx:pt idx="628">-1.896416313</cx:pt>
          <cx:pt idx="629">-1.896497976</cx:pt>
          <cx:pt idx="630">-1.896538335</cx:pt>
          <cx:pt idx="631">-1.89662127</cx:pt>
          <cx:pt idx="632">-1.8967035699999999</cx:pt>
          <cx:pt idx="633">-1.897401399</cx:pt>
          <cx:pt idx="634">-1.897485936</cx:pt>
          <cx:pt idx="635">-1.8976479879999999</cx:pt>
          <cx:pt idx="636">-1.897852946</cx:pt>
          <cx:pt idx="637">-1.897935245</cx:pt>
          <cx:pt idx="638">-1.898016272</cx:pt>
          <cx:pt idx="639">-1.89830706</cx:pt>
          <cx:pt idx="640">-1.8985510830000001</cx:pt>
          <cx:pt idx="641">-1.898840906</cx:pt>
          <cx:pt idx="642">-1.8991246530000001</cx:pt>
          <cx:pt idx="643">-1.899207917</cx:pt>
          <cx:pt idx="644">-1.899247948</cx:pt>
          <cx:pt idx="645">-1.8992905440000001</cx:pt>
          <cx:pt idx="646">-1.901136457</cx:pt>
          <cx:pt idx="647">-1.9016306009999999</cx:pt>
          <cx:pt idx="648">-1.9017128999999999</cx:pt>
          <cx:pt idx="649">-1.9020020870000001</cx:pt>
          <cx:pt idx="650">-1.9024107290000001</cx:pt>
          <cx:pt idx="651">-1.9060634679999999</cx:pt>
          <cx:pt idx="652">-1.90663833</cx:pt>
          <cx:pt idx="653">-1.9066825080000001</cx:pt>
          <cx:pt idx="654">-1.9071318180000001</cx:pt>
          <cx:pt idx="655">-1.907295143</cx:pt>
          <cx:pt idx="656">-1.907377463</cx:pt>
          <cx:pt idx="657">-1.9102523309999999</cx:pt>
          <cx:pt idx="658">-1.91095014</cx:pt>
          <cx:pt idx="659">-1.9114016869999999</cx:pt>
          <cx:pt idx="660">-1.9114417180000001</cx:pt>
          <cx:pt idx="661">-1.912016581</cx:pt>
          <cx:pt idx="662">-1.912099845</cx:pt>
          <cx:pt idx="663">-1.912758916</cx:pt>
          <cx:pt idx="664">-1.913046501</cx:pt>
          <cx:pt idx="665">-1.913208534</cx:pt>
          <cx:pt idx="666">-1.9135771450000001</cx:pt>
          <cx:pt idx="667">-1.913824371</cx:pt>
          <cx:pt idx="668">-1.913990592</cx:pt>
          <cx:pt idx="669">-1.9140696880000001</cx:pt>
          <cx:pt idx="670">-1.9150137789999999</cx:pt>
          <cx:pt idx="671">-1.915260368</cx:pt>
          <cx:pt idx="672">-1.9154275329999999</cx:pt>
          <cx:pt idx="673">-1.9176004250000001</cx:pt>
          <cx:pt idx="674">-1.917642386</cx:pt>
          <cx:pt idx="675">-1.9176833609999999</cx:pt>
          <cx:pt idx="676">-1.918093933</cx:pt>
          <cx:pt idx="677">-1.9181765609999999</cx:pt>
          <cx:pt idx="678">-1.918301765</cx:pt>
          <cx:pt idx="679">-1.9184628530000001</cx:pt>
          <cx:pt idx="680">-1.919245855</cx:pt>
          <cx:pt idx="681">-1.9194902069999999</cx:pt>
          <cx:pt idx="682">-1.91957187</cx:pt>
          <cx:pt idx="683">-1.9196564270000001</cx:pt>
          <cx:pt idx="684">-1.91973616</cx:pt>
          <cx:pt idx="685">-1.9201057370000001</cx:pt>
          <cx:pt idx="686">-1.920641821</cx:pt>
          <cx:pt idx="687">-1.9211314900000001</cx:pt>
          <cx:pt idx="688">-1.9212954520000001</cx:pt>
          <cx:pt idx="689">-1.921380954</cx:pt>
          <cx:pt idx="690">-1.9219967920000001</cx:pt>
          <cx:pt idx="691">-1.9220762170000001</cx:pt>
          <cx:pt idx="692">-1.9222398709999999</cx:pt>
          <cx:pt idx="693">-1.9222840489999999</cx:pt>
          <cx:pt idx="694">-1.9224464299999999</cx:pt>
          <cx:pt idx="695">-1.922486769</cx:pt>
          <cx:pt idx="696">-1.922527128</cx:pt>
          <cx:pt idx="697">-1.9226126299999999</cx:pt>
          <cx:pt idx="698">-1.922773718</cx:pt>
          <cx:pt idx="699">-1.9228589110000001</cx:pt>
          <cx:pt idx="700">-1.922897649</cx:pt>
          <cx:pt idx="701">-1.922938008</cx:pt>
          <cx:pt idx="702">-1.9230209439999999</cx:pt>
          <cx:pt idx="703">-1.923228468</cx:pt>
          <cx:pt idx="704">-1.9233895560000001</cx:pt>
          <cx:pt idx="705">-1.9235538459999999</cx:pt>
          <cx:pt idx="706">-1.923594842</cx:pt>
          <cx:pt idx="707">-1.923842396</cx:pt>
          <cx:pt idx="708">-1.9239676000000001</cx:pt>
          <cx:pt idx="709">-1.9240053930000001</cx:pt>
          <cx:pt idx="710">-1.9245398970000001</cx:pt>
          <cx:pt idx="711">-1.924867493</cx:pt>
          <cx:pt idx="712">-1.924950449</cx:pt>
          <cx:pt idx="713">-1.9251970380000001</cx:pt>
          <cx:pt idx="714">-1.9253610000000001</cx:pt>
          <cx:pt idx="715">-1.9256918190000001</cx:pt>
          <cx:pt idx="716">-1.926715663</cx:pt>
          <cx:pt idx="717">-1.9269622529999999</cx:pt>
          <cx:pt idx="718">-1.9271262149999999</cx:pt>
          <cx:pt idx="719">-1.9285221809999999</cx:pt>
          <cx:pt idx="720">-1.9285625200000001</cx:pt>
          <cx:pt idx="721">-1.9286067179999999</cx:pt>
          <cx:pt idx="722">-1.9291793230000001</cx:pt>
          <cx:pt idx="723">-1.929219682</cx:pt>
          <cx:pt idx="724">-1.9292638799999999</cx:pt>
          <cx:pt idx="725">-1.9296744320000001</cx:pt>
          <cx:pt idx="726">-1.929753528</cx:pt>
          <cx:pt idx="727">-1.930002684</cx:pt>
          <cx:pt idx="728">-1.9309448650000001</cx:pt>
          <cx:pt idx="729">-1.931191127</cx:pt>
          <cx:pt idx="730">-1.931357655</cx:pt>
          <cx:pt idx="731">-1.9314809500000001</cx:pt>
          <cx:pt idx="732">-1.9315197079999999</cx:pt>
          <cx:pt idx="733">-1.9316430019999999</cx:pt>
          <cx:pt idx="734">-1.931806964</cx:pt>
          <cx:pt idx="735">-1.9318889560000001</cx:pt>
          <cx:pt idx="736">-1.9319734930000001</cx:pt>
          <cx:pt idx="737">-1.932052589</cx:pt>
          <cx:pt idx="738">-1.9332871599999999</cx:pt>
          <cx:pt idx="739">-1.9338594360000001</cx:pt>
          <cx:pt idx="740">-1.933900103</cx:pt>
          <cx:pt idx="741">-1.9339443009999999</cx:pt>
          <cx:pt idx="742">-1.934147021</cx:pt>
          <cx:pt idx="743">-1.9343548530000001</cx:pt>
          <cx:pt idx="744">-1.934968145</cx:pt>
          <cx:pt idx="745">-1.935050752</cx:pt>
          <cx:pt idx="746">-1.9351759770000001</cx:pt>
          <cx:pt idx="747">-1.935298943</cx:pt>
          <cx:pt idx="748">-1.9353780599999999</cx:pt>
          <cx:pt idx="749">-1.935706621</cx:pt>
          <cx:pt idx="750">-1.9357482530000001</cx:pt>
          <cx:pt idx="751">-1.935791815</cx:pt>
          <cx:pt idx="752">-1.937228776</cx:pt>
          <cx:pt idx="753">-1.937390809</cx:pt>
          <cx:pt idx="754">-1.9374750380000001</cx:pt>
          <cx:pt idx="755">-1.9378013810000001</cx:pt>
          <cx:pt idx="756">-1.938008905</cx:pt>
          <cx:pt idx="757">-1.9380498799999999</cx:pt>
          <cx:pt idx="758">-1.938131871</cx:pt>
          <cx:pt idx="759">-1.9382116039999999</cx:pt>
          <cx:pt idx="760">-1.9382961620000001</cx:pt>
          <cx:pt idx="761">-1.938334899</cx:pt>
          <cx:pt idx="762">-1.938375258</cx:pt>
          <cx:pt idx="763">-1.9400174859999999</cx:pt>
          <cx:pt idx="764">-1.9401026800000001</cx:pt>
          <cx:pt idx="765">-1.9403489410000001</cx:pt>
          <cx:pt idx="766">-1.940388027</cx:pt>
          <cx:pt idx="767">-1.9406775220000001</cx:pt>
          <cx:pt idx="768">-1.9414134519999999</cx:pt>
          <cx:pt idx="769">-1.94145765</cx:pt>
          <cx:pt idx="770">-1.942358179</cx:pt>
          <cx:pt idx="771">-1.9435514250000001</cx:pt>
          <cx:pt idx="772">-1.9436334159999999</cx:pt>
          <cx:pt idx="773">-1.944246688</cx:pt>
          <cx:pt idx="774">-1.9446188310000001</cx:pt>
          <cx:pt idx="775">-1.9447398680000001</cx:pt>
          <cx:pt idx="776">-1.944781192</cx:pt>
          <cx:pt idx="777">-1.9448650919999999</cx:pt>
          <cx:pt idx="778">-1.9462200629999999</cx:pt>
          <cx:pt idx="779">-1.9470001910000001</cx:pt>
          <cx:pt idx="780">-1.947161916</cx:pt>
          <cx:pt idx="781">-1.9472848819999999</cx:pt>
          <cx:pt idx="782">-1.9475750329999999</cx:pt>
          <cx:pt idx="783">-1.947655095</cx:pt>
          <cx:pt idx="784">-1.947819057</cx:pt>
          <cx:pt idx="785">-1.9485165579999999</cx:pt>
          <cx:pt idx="786">-1.9488067090000001</cx:pt>
          <cx:pt idx="787">-1.949504538</cx:pt>
          <cx:pt idx="788">-1.9498330989999999</cx:pt>
          <cx:pt idx="789">-1.949871857</cx:pt>
          <cx:pt idx="790">-1.9502824080000001</cx:pt>
          <cx:pt idx="791">-1.9503256419999999</cx:pt>
          <cx:pt idx="792">-1.9503666369999999</cx:pt>
          <cx:pt idx="793">-1.9506926520000001</cx:pt>
          <cx:pt idx="794">-1.9510237989999999</cx:pt>
          <cx:pt idx="795">-1.951803599</cx:pt>
          <cx:pt idx="796">-1.9526224649999999</cx:pt>
          <cx:pt idx="797">-1.9528690550000001</cx:pt>
          <cx:pt idx="798">-1.953076579</cx:pt>
          <cx:pt idx="799">-1.9531563320000001</cx:pt>
          <cx:pt idx="800">-1.9532818649999999</cx:pt>
          <cx:pt idx="801">-1.9536488750000001</cx:pt>
          <cx:pt idx="802">-1.953938698</cx:pt>
          <cx:pt idx="803">-1.9542259550000001</cx:pt>
          <cx:pt idx="804">-1.9543492499999999</cx:pt>
          <cx:pt idx="805">-1.95451354</cx:pt>
          <cx:pt idx="806">-1.95455197</cx:pt>
          <cx:pt idx="807">-1.9551293780000001</cx:pt>
          <cx:pt idx="808">-1.9559069410000001</cx:pt>
          <cx:pt idx="809">-1.955991477</cx:pt>
          <cx:pt idx="810">-1.956361054</cx:pt>
          <cx:pt idx="811">-1.9564020499999999</cx:pt>
          <cx:pt idx="812">-1.9565640820000001</cx:pt>
          <cx:pt idx="813">-1.956810672</cx:pt>
          <cx:pt idx="814">-1.9570153210000001</cx:pt>
          <cx:pt idx="815">-1.957631796</cx:pt>
          <cx:pt idx="816">-1.957672791</cx:pt>
          <cx:pt idx="817">-1.9587401769999999</cx:pt>
          <cx:pt idx="818">-1.9603023420000001</cx:pt>
          <cx:pt idx="819">-1.9607516519999999</cx:pt>
          <cx:pt idx="820">-1.9609595040000001</cx:pt>
          <cx:pt idx="821">-1.9610824710000001</cx:pt>
          <cx:pt idx="822">-1.9615753419999999</cx:pt>
          <cx:pt idx="823">-1.961613772</cx:pt>
          <cx:pt idx="824">-1.9619016650000001</cx:pt>
          <cx:pt idx="825">-1.962065956</cx:pt>
          <cx:pt idx="826">-1.9621498559999999</cx:pt>
          <cx:pt idx="827">-1.96219118</cx:pt>
          <cx:pt idx="828">-1.9622296100000001</cx:pt>
          <cx:pt idx="829">-1.9623141470000001</cx:pt>
          <cx:pt idx="830">-1.9624374410000001</cx:pt>
          <cx:pt idx="831">-1.962847993</cx:pt>
          <cx:pt idx="832">-1.9637075470000001</cx:pt>
          <cx:pt idx="833">-1.964325951</cx:pt>
          <cx:pt idx="834">-1.964818822</cx:pt>
          <cx:pt idx="835">-1.965147075</cx:pt>
          <cx:pt idx="836">-1.9651858120000001</cx:pt>
          <cx:pt idx="837">-1.965968178</cx:pt>
          <cx:pt idx="838">-1.966007244</cx:pt>
          <cx:pt idx="839">-1.9660914730000001</cx:pt>
          <cx:pt idx="840">-1.9679799819999999</cx:pt>
          <cx:pt idx="841">-1.96859582</cx:pt>
          <cx:pt idx="842">-1.968634886</cx:pt>
          <cx:pt idx="843">-1.968678119</cx:pt>
          <cx:pt idx="844">-1.9688830770000001</cx:pt>
          <cx:pt idx="845">-1.9690473669999999</cx:pt>
          <cx:pt idx="846">-1.9690886919999999</cx:pt>
          <cx:pt idx="847">-1.9697045289999999</cx:pt>
          <cx:pt idx="848">-1.970484329</cx:pt>
          <cx:pt idx="849">-1.970689615</cx:pt>
          <cx:pt idx="850">-1.9711414709999999</cx:pt>
          <cx:pt idx="851">-1.972044586</cx:pt>
          <cx:pt idx="852">-1.972329913</cx:pt>
          <cx:pt idx="853">-1.9724141420000001</cx:pt>
          <cx:pt idx="854">-1.9733172370000001</cx:pt>
          <cx:pt idx="855">-1.9734405319999999</cx:pt>
          <cx:pt idx="856">-1.9735205929999999</cx:pt>
          <cx:pt idx="857">-1.974382713</cx:pt>
          <cx:pt idx="858">-1.975614389</cx:pt>
          <cx:pt idx="859">-1.9756576219999999</cx:pt>
          <cx:pt idx="860">-1.975737684</cx:pt>
          <cx:pt idx="861">-1.975821912</cx:pt>
          <cx:pt idx="862">-1.9760271780000001</cx:pt>
          <cx:pt idx="863">-1.9761091690000001</cx:pt>
          <cx:pt idx="864">-1.976150165</cx:pt>
          <cx:pt idx="865">-1.9772178789999999</cx:pt>
          <cx:pt idx="866">-1.9777494879999999</cx:pt>
          <cx:pt idx="867">-1.977792392</cx:pt>
          <cx:pt idx="868">-1.977833717</cx:pt>
          <cx:pt idx="869">-1.979352649</cx:pt>
          <cx:pt idx="870">-1.9795579350000001</cx:pt>
          <cx:pt idx="871">-1.97959891</cx:pt>
          <cx:pt idx="872">-1.980050458</cx:pt>
          <cx:pt idx="873">-1.9800917819999999</cx:pt>
          <cx:pt idx="874">-1.9809948770000001</cx:pt>
          <cx:pt idx="875">-1.981241158</cx:pt>
          <cx:pt idx="876">-1.981282462</cx:pt>
          <cx:pt idx="877">-1.9814877479999999</cx:pt>
          <cx:pt idx="878">-1.9820622619999999</cx:pt>
          <cx:pt idx="879">-1.982185557</cx:pt>
          <cx:pt idx="880">-1.9822243150000001</cx:pt>
          <cx:pt idx="881">-1.982514138</cx:pt>
          <cx:pt idx="882">-1.9827604190000001</cx:pt>
          <cx:pt idx="883">-1.983252942</cx:pt>
          <cx:pt idx="884">-1.9833762370000001</cx:pt>
          <cx:pt idx="885">-1.9834582279999999</cx:pt>
          <cx:pt idx="886">-1.9836635140000001</cx:pt>
          <cx:pt idx="887">-1.983827805</cx:pt>
          <cx:pt idx="888">-1.984402647</cx:pt>
          <cx:pt idx="889">-1.984484618</cx:pt>
          <cx:pt idx="890">-1.984525613</cx:pt>
          <cx:pt idx="891">-1.984731228</cx:pt>
          <cx:pt idx="892">-1.9847722029999999</cx:pt>
          <cx:pt idx="893">-1.98514178</cx:pt>
          <cx:pt idx="894">-1.985182775</cx:pt>
          <cx:pt idx="895">-1.986617479</cx:pt>
          <cx:pt idx="896">-1.988015683</cx:pt>
          <cx:pt idx="897">-1.9882209689999999</cx:pt>
          <cx:pt idx="898">-1.9884262349999999</cx:pt>
          <cx:pt idx="899">-1.9884672299999999</cx:pt>
          <cx:pt idx="900">-1.9886315210000001</cx:pt>
          <cx:pt idx="901">-1.9892063630000001</cx:pt>
          <cx:pt idx="902">-1.989904192</cx:pt>
          <cx:pt idx="903">-1.990150453</cx:pt>
          <cx:pt idx="904">-1.990479034</cx:pt>
          <cx:pt idx="905">-1.9905200300000001</cx:pt>
          <cx:pt idx="906">-1.990561026</cx:pt>
          <cx:pt idx="907">-1.992037053</cx:pt>
          <cx:pt idx="908">-1.9920802870000001</cx:pt>
          <cx:pt idx="909">-1.9921622569999999</cx:pt>
          <cx:pt idx="910">-1.9925728300000001</cx:pt>
          <cx:pt idx="911">-1.992942386</cx:pt>
          <cx:pt idx="912">-1.993065681</cx:pt>
          <cx:pt idx="913">-1.993886805</cx:pt>
          <cx:pt idx="914">-1.9939278</cx:pt>
          <cx:pt idx="915">-1.9939668660000001</cx:pt>
          <cx:pt idx="916">-1.9940507670000001</cx:pt>
          <cx:pt idx="917">-1.9960215750000001</cx:pt>
          <cx:pt idx="918">-1.9967607080000001</cx:pt>
          <cx:pt idx="919">-1.99700699</cx:pt>
          <cx:pt idx="920">-1.997130284</cx:pt>
          <cx:pt idx="921">-1.9975411649999999</cx:pt>
          <cx:pt idx="922">-1.9980743750000001</cx:pt>
          <cx:pt idx="923">-1.998115678</cx:pt>
          <cx:pt idx="924">-1.99827964</cx:pt>
          <cx:pt idx="925">-1.9983206360000001</cx:pt>
          <cx:pt idx="926">-1.998893569</cx:pt>
          <cx:pt idx="927">-1.999018773</cx:pt>
          <cx:pt idx="928">-1.999100764</cx:pt>
          <cx:pt idx="929">-1.999265055</cx:pt>
          <cx:pt idx="930">-1.999429345</cx:pt>
          <cx:pt idx="931">-1.9995523120000001</cx:pt>
          <cx:pt idx="932">-1.9997166019999999</cx:pt>
          <cx:pt idx="933">-2.0000041880000001</cx:pt>
          <cx:pt idx="934">-2.0000451830000001</cx:pt>
          <cx:pt idx="935">-2.0003324400000002</cx:pt>
          <cx:pt idx="936">-2.0007429920000002</cx:pt>
          <cx:pt idx="937">-2.000907282</cx:pt>
          <cx:pt idx="938">-2.0009482780000001</cx:pt>
          <cx:pt idx="939">-2.001399825</cx:pt>
          <cx:pt idx="940">-2.0015231199999999</cx:pt>
          <cx:pt idx="941">-2.001564444</cx:pt>
          <cx:pt idx="942">-2.0018517010000001</cx:pt>
          <cx:pt idx="943">-2.0025495100000001</cx:pt>
          <cx:pt idx="944">-2.0025905060000002</cx:pt>
          <cx:pt idx="945">-2.0026318299999999</cx:pt>
          <cx:pt idx="946">-2.0027957920000001</cx:pt>
          <cx:pt idx="947">-2.002919087</cx:pt>
          <cx:pt idx="948">-2.00341163</cx:pt>
          <cx:pt idx="949">-2.0034939289999998</cx:pt>
          <cx:pt idx="950">-2.0037402110000002</cx:pt>
          <cx:pt idx="951">-2.0038221809999999</cx:pt>
          <cx:pt idx="952">-2.0048898949999998</cx:pt>
          <cx:pt idx="953">-2.0050538570000001</cx:pt>
          <cx:pt idx="954">-2.0051361559999998</cx:pt>
          <cx:pt idx="955">-2.0053004470000002</cx:pt>
          <cx:pt idx="956">-2.0053824379999998</cx:pt>
          <cx:pt idx="957">-2.0059162850000001</cx:pt>
          <cx:pt idx="958">-2.0062858609999998</cx:pt>
          <cx:pt idx="959">-2.0063268569999999</cx:pt>
          <cx:pt idx="960">-2.0073122510000001</cx:pt>
          <cx:pt idx="961">-2.007517537</cx:pt>
          <cx:pt idx="962">-2.0075995080000002</cx:pt>
          <cx:pt idx="963">-2.007763798</cx:pt>
          <cx:pt idx="964">-2.0092417560000002</cx:pt>
          <cx:pt idx="965">-2.0100218839999999</cx:pt>
          <cx:pt idx="966">-2.0104324359999999</cx:pt>
          <cx:pt idx="967">-2.0128137960000001</cx:pt>
          <cx:pt idx="968">-2.014415048</cx:pt>
          <cx:pt idx="969">-2.0148665960000001</cx:pt>
          <cx:pt idx="970">-2.015318143</cx:pt>
          <cx:pt idx="971">-2.0153594469999998</cx:pt>
          <cx:pt idx="972">-2.0158113229999999</cx:pt>
          <cx:pt idx="973">-2.0163445329999998</cx:pt>
          <cx:pt idx="974">-2.0168784</cx:pt>
          <cx:pt idx="975">-2.0169603710000001</cx:pt>
          <cx:pt idx="976">-2.0170423620000002</cx:pt>
          <cx:pt idx="977">-2.0170836649999999</cx:pt>
          <cx:pt idx="978">-2.0173299469999999</cx:pt>
          <cx:pt idx="979">-2.0184799600000001</cx:pt>
          <cx:pt idx="980">-2.018520627</cx:pt>
          <cx:pt idx="981">-2.0186436140000001</cx:pt>
          <cx:pt idx="982">-2.019423722</cx:pt>
          <cx:pt idx="983">-2.0201628550000001</cx:pt>
          <cx:pt idx="984">-2.020778693</cx:pt>
          <cx:pt idx="985">-2.0209429829999999</cx:pt>
          <cx:pt idx="986">-2.023981177</cx:pt>
          <cx:pt idx="987">-2.0244327449999999</cx:pt>
          <cx:pt idx="988">-2.02447372</cx:pt>
          <cx:pt idx="989">-2.024720002</cx:pt>
          <cx:pt idx="990">-2.0257053960000002</cx:pt>
          <cx:pt idx="991">-2.0266498140000002</cx:pt>
          <cx:pt idx="992">-2.0266908099999998</cx:pt>
          <cx:pt idx="993">-2.0268551010000002</cx:pt>
          <cx:pt idx="994">-2.0270193910000001</cx:pt>
          <cx:pt idx="995">-2.0270603660000002</cx:pt>
          <cx:pt idx="996">-2.02788149</cx:pt>
          <cx:pt idx="997">-2.028825581</cx:pt>
          <cx:pt idx="998">-2.0289488750000002</cx:pt>
          <cx:pt idx="999">-2.029401059</cx:pt>
          <cx:pt idx="1000">-2.0296880079999999</cx:pt>
          <cx:pt idx="1001">-2.029729004</cx:pt>
          <cx:pt idx="1002">-2.0300575850000002</cx:pt>
          <cx:pt idx="1003">-2.0316585090000001</cx:pt>
          <cx:pt idx="1004">-2.0318234359999998</cx:pt>
          <cx:pt idx="1005">-2.0318637740000001</cx:pt>
          <cx:pt idx="1006">-2.0338762149999998</cx:pt>
          <cx:pt idx="1007">-2.0342451549999998</cx:pt>
          <cx:pt idx="1008">-2.034327454</cx:pt>
          <cx:pt idx="1009">-2.034819997</cx:pt>
          <cx:pt idx="1010">-2.0356001259999998</cx:pt>
          <cx:pt idx="1011">-2.0358873819999999</cx:pt>
          <cx:pt idx="1012">-2.036011314</cx:pt>
          <cx:pt idx="1013">-2.0362575949999999</cx:pt>
          <cx:pt idx="1014">-2.0365442159999998</cx:pt>
          <cx:pt idx="1015">-2.0367091429999999</cx:pt>
          <cx:pt idx="1016">-2.0371196949999999</cx:pt>
          <cx:pt idx="1017">-2.0371600540000001</cx:pt>
          <cx:pt idx="1018">-2.0372013569999998</cx:pt>
          <cx:pt idx="1019">-2.0381050680000001</cx:pt>
          <cx:pt idx="1020">-2.0381871</cx:pt>
          <cx:pt idx="1021">-2.038269482</cx:pt>
          <cx:pt idx="1022">-2.0383925299999999</cx:pt>
          <cx:pt idx="1023">-2.038721357</cx:pt>
          <cx:pt idx="1024">-2.0389267869999999</cx:pt>
          <cx:pt idx="1025">-2.039173254</cx:pt>
          <cx:pt idx="1026">-2.0392145780000002</cx:pt>
          <cx:pt idx="1027">-2.0404446109999999</cx:pt>
          <cx:pt idx="1028">-2.0405292300000002</cx:pt>
          <cx:pt idx="1029">-2.040732094</cx:pt>
          <cx:pt idx="1030">-2.0413877989999998</cx:pt>
          <cx:pt idx="1031">-2.0427848119999998</cx:pt>
          <cx:pt idx="1032">-2.0434834620000002</cx:pt>
          <cx:pt idx="1033">-2.0435244579999998</cx:pt>
          <cx:pt idx="1034">-2.043729785</cx:pt>
          <cx:pt idx="1035">-2.0447154460000001</cx:pt>
          <cx:pt idx="1036">-2.0454134599999998</cx:pt>
          <cx:pt idx="1037">-2.046111781</cx:pt>
          <cx:pt idx="1038">-2.046193793</cx:pt>
          <cx:pt idx="1039">-2.0467687790000002</cx:pt>
          <cx:pt idx="1040">-2.0472614660000001</cx:pt>
          <cx:pt idx="1041">-2.0475491130000001</cx:pt>
          <cx:pt idx="1042">-2.0477134440000002</cx:pt>
          <cx:pt idx="1043">-2.0478364519999999</cx:pt>
          <cx:pt idx="1044">-2.0480417790000001</cx:pt>
          <cx:pt idx="1045">-2.0481625490000002</cx:pt>
          <cx:pt idx="1046">-2.0484088919999999</cx:pt>
          <cx:pt idx="1047">-2.0489021950000001</cx:pt>
          <cx:pt idx="1048">-2.04947911</cx:pt>
          <cx:pt idx="1049">-2.050215143</cx:pt>
          <cx:pt idx="1050">-2.0502980989999999</cx:pt>
          <cx:pt idx="1051">-2.0503384589999998</cx:pt>
          <cx:pt idx="1052">-2.0504620820000001</cx:pt>
          <cx:pt idx="1053">-2.0507086920000002</cx:pt>
          <cx:pt idx="1054">-2.0509553020000002</cx:pt>
          <cx:pt idx="1055">-2.0512426000000001</cx:pt>
          <cx:pt idx="1056">-2.0513268290000002</cx:pt>
          <cx:pt idx="1057">-2.051365916</cx:pt>
          <cx:pt idx="1058">-2.05152957</cx:pt>
          <cx:pt idx="1059">-2.0515734399999999</cx:pt>
          <cx:pt idx="1060">-2.0516528850000002</cx:pt>
          <cx:pt idx="1061">-2.052025048</cx:pt>
          <cx:pt idx="1062">-2.0524740709999998</cx:pt>
          <cx:pt idx="1063">-2.0525153949999999</cx:pt>
          <cx:pt idx="1064">-2.0528052379999999</cx:pt>
          <cx:pt idx="1065">-2.052843996</cx:pt>
          <cx:pt idx="1066">-2.0548957080000001</cx:pt>
          <cx:pt idx="1067">-2.055143283</cx:pt>
          <cx:pt idx="1068">-2.055347297</cx:pt>
          <cx:pt idx="1069">-2.0559225080000001</cx:pt>
          <cx:pt idx="1070">-2.057114194</cx:pt>
          <cx:pt idx="1071">-2.057442467</cx:pt>
          <cx:pt idx="1072">-2.0575270250000002</cx:pt>
          <cx:pt idx="1073">-2.0587155080000001</cx:pt>
          <cx:pt idx="1074">-2.0587962059999998</cx:pt>
          <cx:pt idx="1075">-2.0594136660000002</cx:pt>
          <cx:pt idx="1076">-2.05978197</cx:pt>
          <cx:pt idx="1077">-2.0598261679999998</cx:pt>
          <cx:pt idx="1078">-2.0598649259999999</cx:pt>
          <cx:pt idx="1079">-2.0599882209999998</cx:pt>
          <cx:pt idx="1080">-2.0601522029999999</cx:pt>
          <cx:pt idx="1081">-2.0602348309999998</cx:pt>
          <cx:pt idx="1082">-2.062492014</cx:pt>
          <cx:pt idx="1083">-2.0626982439999999</cx:pt>
          <cx:pt idx="1084">-2.0630261889999999</cx:pt>
          <cx:pt idx="1085">-2.063272778</cx:pt>
          <cx:pt idx="1086">-2.0634767919999999</cx:pt>
          <cx:pt idx="1087">-2.0635193680000001</cx:pt>
          <cx:pt idx="1088">-2.0636010310000001</cx:pt>
          <cx:pt idx="1089">-2.0636426829999999</cx:pt>
          <cx:pt idx="1090">-2.0639296119999999</cx:pt>
          <cx:pt idx="1091">-2.0644638070000001</cx:pt>
          <cx:pt idx="1092">-2.0645890109999998</cx:pt>
          <cx:pt idx="1093">-2.0648327270000002</cx:pt>
          <cx:pt idx="1094">-2.0649973460000002</cx:pt>
          <cx:pt idx="1095">-2.0650780439999998</cx:pt>
          <cx:pt idx="1096">-2.0652868409999998</cx:pt>
          <cx:pt idx="1097">-2.0654895610000001</cx:pt>
          <cx:pt idx="1098">-2.0656128759999999</cx:pt>
          <cx:pt idx="1099">-2.0661057270000001</cx:pt>
          <cx:pt idx="1100">-2.0666383210000001</cx:pt>
          <cx:pt idx="1101">-2.0666805899999998</cx:pt>
          <cx:pt idx="1102">-2.0669271789999999</cx:pt>
          <cx:pt idx="1103">-2.0674181210000002</cx:pt>
          <cx:pt idx="1104">-2.067541437</cx:pt>
          <cx:pt idx="1105">-2.0676247010000002</cx:pt>
          <cx:pt idx="1106">-2.0677502329999999</cx:pt>
          <cx:pt idx="1107">-2.067992984</cx:pt>
          <cx:pt idx="1108">-2.0690610060000001</cx:pt>
          <cx:pt idx="1109">-2.0693082519999999</cx:pt>
          <cx:pt idx="1110">-2.0695535490000001</cx:pt>
          <cx:pt idx="1111">-2.0696358680000002</cx:pt>
          <cx:pt idx="1112">-2.0698821299999999</cx:pt>
          <cx:pt idx="1113">-2.0700883810000001</cx:pt>
          <cx:pt idx="1114">-2.0701290480000001</cx:pt>
          <cx:pt idx="1115">-2.0702100739999998</cx:pt>
          <cx:pt idx="1116">-2.07025265</cx:pt>
          <cx:pt idx="1117">-2.0702933379999999</cx:pt>
          <cx:pt idx="1118">-2.07050117</cx:pt>
          <cx:pt idx="1119">-2.070539599</cx:pt>
          <cx:pt idx="1120">-2.0705799589999998</cx:pt>
          <cx:pt idx="1121">-2.0709085190000001</cx:pt>
          <cx:pt idx="1122">-2.0711554369999998</cx:pt>
          <cx:pt idx="1123">-2.0714843260000002</cx:pt>
          <cx:pt idx="1124">-2.0718523019999999</cx:pt>
          <cx:pt idx="1125">-2.0725923989999999</cx:pt>
          <cx:pt idx="1126">-2.0732898999999998</cx:pt>
          <cx:pt idx="1127">-2.0733340980000001</cx:pt>
          <cx:pt idx="1128">-2.0737446500000001</cx:pt>
          <cx:pt idx="1129">-2.073783079</cx:pt>
          <cx:pt idx="1130">-2.0739476780000001</cx:pt>
          <cx:pt idx="1131">-2.0750550940000001</cx:pt>
          <cx:pt idx="1132">-2.0750960890000001</cx:pt>
          <cx:pt idx="1133">-2.0752200410000001</cx:pt>
          <cx:pt idx="1134">-2.0757532510000001</cx:pt>
          <cx:pt idx="1135">-2.0758361870000002</cx:pt>
          <cx:pt idx="1136">-2.075959482</cx:pt>
          <cx:pt idx="1137">-2.0763277649999998</cx:pt>
          <cx:pt idx="1138">-2.0763722919999998</cx:pt>
          <cx:pt idx="1139">-2.0766979779999999</cx:pt>
          <cx:pt idx="1140">-2.0772318250000001</cx:pt>
          <cx:pt idx="1141">-2.0778892949999999</cx:pt>
          <cx:pt idx="1142">-2.0795315429999999</cx:pt>
          <cx:pt idx="1143">-2.0797797340000002</cx:pt>
          <cx:pt idx="1144">-2.0803103780000001</cx:pt>
          <cx:pt idx="1145">-2.080393334</cx:pt>
          <cx:pt idx="1146">-2.0804336729999999</cx:pt>
          <cx:pt idx="1147">-2.0812954640000001</cx:pt>
          <cx:pt idx="1148">-2.081501694</cx:pt>
          <cx:pt idx="1149">-2.0818328410000002</cx:pt>
          <cx:pt idx="1150">-2.082774058</cx:pt>
          <cx:pt idx="1151">-2.0833082329999999</cx:pt>
          <cx:pt idx="1152">-2.0838821099999998</cx:pt>
          <cx:pt idx="1153">-2.0849940220000001</cx:pt>
          <cx:pt idx="1154">-2.0850330879999999</cx:pt>
          <cx:pt idx="1155">-2.085853883</cx:pt>
          <cx:pt idx="1156">-2.0859384200000002</cx:pt>
          <cx:pt idx="1157">-2.0860614069999999</cx:pt>
          <cx:pt idx="1158">-2.0861814989999998</cx:pt>
          <cx:pt idx="1159">-2.0865920509999998</cx:pt>
          <cx:pt idx="1160">-2.086633355</cx:pt>
          <cx:pt idx="1161">-2.0867569779999999</cx:pt>
          <cx:pt idx="1162">-2.0881141859999999</cx:pt>
          <cx:pt idx="1163">-2.0885634959999999</cx:pt>
          <cx:pt idx="1164">-2.0896334470000002</cx:pt>
          <cx:pt idx="1165">-2.0908651229999999</cx:pt>
          <cx:pt idx="1166">-2.096322491</cx:pt>
          <cx:pt idx="1167">-2.096405426</cx:pt>
          <cx:pt idx="1168">-2.0964899629999998</cx:pt>
          <cx:pt idx="1169">-2.0981322109999998</cx:pt>
          <cx:pt idx="1170">-2.099610148</cx:pt>
          <cx:pt idx="1171">-2.0996899020000002</cx:pt>
          <cx:pt idx="1172">-2.1011262070000001</cx:pt>
          <cx:pt idx="1173">-2.1011678389999999</cx:pt>
          <cx:pt idx="1174">-2.10124983</cx:pt>
          <cx:pt idx="1175">-2.101496091</cx:pt>
          <cx:pt idx="1176">-2.1015396530000001</cx:pt>
          <cx:pt idx="1177">-2.101865976</cx:pt>
          <cx:pt idx="1178">-2.1029356190000001</cx:pt>
          <cx:pt idx="1179">-2.1030976520000002</cx:pt>
          <cx:pt idx="1180">-2.103138011</cx:pt>
          <cx:pt idx="1181">-2.1033849290000002</cx:pt>
          <cx:pt idx="1182">-2.1036311900000002</cx:pt>
          <cx:pt idx="1183">-2.103713489</cx:pt>
          <cx:pt idx="1184">-2.1055222659999999</cx:pt>
          <cx:pt idx="1185">-2.1062200739999999</cx:pt>
          <cx:pt idx="1186">-2.1090501079999999</cx:pt>
          <cx:pt idx="1187">-2.1102026870000001</cx:pt>
          <cx:pt idx="1188">-2.1103647400000001</cx:pt>
          <cx:pt idx="1189">-2.1105722629999999</cx:pt>
          <cx:pt idx="1190">-2.1134436000000001</cx:pt>
          <cx:pt idx="1191">-2.113526228</cx:pt>
          <cx:pt idx="1192">-2.1136104570000001</cx:pt>
          <cx:pt idx="1193">-2.1139364719999998</cx:pt>
          <cx:pt idx="1194">-2.1140597670000001</cx:pt>
          <cx:pt idx="1195">-2.1141007420000002</cx:pt>
          <cx:pt idx="1196">-2.1143905850000002</cx:pt>
          <cx:pt idx="1197">-2.1146346089999999</cx:pt>
          <cx:pt idx="1198">-2.1149215579999998</cx:pt>
          <cx:pt idx="1199">-2.1165231179999999</cx:pt>
          <cx:pt idx="1200">-2.116810375</cx:pt>
          <cx:pt idx="1201">-2.1171799309999999</cx:pt>
          <cx:pt idx="1202">-2.118167583</cx:pt>
          <cx:pt idx="1203">-2.118370632</cx:pt>
          <cx:pt idx="1204">-2.1184116070000001</cx:pt>
          <cx:pt idx="1205">-2.1193147219999999</cx:pt>
          <cx:pt idx="1206">-2.1193973499999998</cx:pt>
          <cx:pt idx="1207">-2.1195616199999998</cx:pt>
          <cx:pt idx="1208">-2.1213700680000001</cx:pt>
          <cx:pt idx="1209">-2.1231330439999998</cx:pt>
          <cx:pt idx="1210">-2.1232566469999998</cx:pt>
          <cx:pt idx="1211">-2.1237104530000002</cx:pt>
          <cx:pt idx="1212">-2.1241620000000001</cx:pt>
          <cx:pt idx="1213">-2.124818833</cx:pt>
          <cx:pt idx="1214">-2.1253936759999998</cx:pt>
          <cx:pt idx="1215">-2.1254756459999999</cx:pt>
          <cx:pt idx="1216">-2.1259685180000001</cx:pt>
          <cx:pt idx="1217">-2.1260505090000001</cx:pt>
          <cx:pt idx="1218">-2.1261302419999999</cx:pt>
          <cx:pt idx="1219">-2.1267073220000001</cx:pt>
          <cx:pt idx="1220">-2.1267486459999998</cx:pt>
          <cx:pt idx="1221">-2.1269923620000002</cx:pt>
          <cx:pt idx="1222">-2.12777247</cx:pt>
          <cx:pt idx="1223">-2.1278160320000001</cx:pt>
          <cx:pt idx="1224">-2.1281442840000002</cx:pt>
          <cx:pt idx="1225">-2.1290477069999998</cx:pt>
          <cx:pt idx="1226">-2.1294970169999998</cx:pt>
          <cx:pt idx="1227">-2.129540558</cx:pt>
          <cx:pt idx="1228">-2.1297023030000002</cx:pt>
          <cx:pt idx="1229">-2.1300740970000001</cx:pt>
          <cx:pt idx="1230">-2.1301973919999999</cx:pt>
          <cx:pt idx="1231">-2.1305644020000001</cx:pt>
          <cx:pt idx="1232">-2.1320423389999998</cx:pt>
          <cx:pt idx="1233">-2.132535539</cx:pt>
          <cx:pt idx="1234">-2.1327427339999998</cx:pt>
          <cx:pt idx="1235">-2.1333585720000001</cx:pt>
          <cx:pt idx="1236">-2.1335206250000001</cx:pt>
          <cx:pt idx="1237">-2.1338078820000002</cx:pt>
          <cx:pt idx="1238">-2.135983977</cx:pt>
          <cx:pt idx="1239">-2.1368870709999999</cx:pt>
          <cx:pt idx="1240">-2.1395560169999999</cx:pt>
          <cx:pt idx="1241">-2.1397222170000001</cx:pt>
          <cx:pt idx="1242">-2.1398868360000001</cx:pt>
          <cx:pt idx="1243">-2.139927503</cx:pt>
          <cx:pt idx="1244">-2.1400895559999999</cx:pt>
          <cx:pt idx="1245">-2.1401327889999999</cx:pt>
          <cx:pt idx="1246">-2.1402128500000002</cx:pt>
          <cx:pt idx="1247">-2.140582099</cx:pt>
          <cx:pt idx="1248">-2.141321231</cx:pt>
          <cx:pt idx="1249">-2.143540539</cx:pt>
          <cx:pt idx="1250">-2.1441154010000001</cx:pt>
          <cx:pt idx="1251">-2.144443962</cx:pt>
          <cx:pt idx="1252">-2.1448545339999998</cx:pt>
          <cx:pt idx="1253">-2.144936505</cx:pt>
          <cx:pt idx="1254">-2.1450162590000001</cx:pt>
          <cx:pt idx="1255">-2.1451395529999999</cx:pt>
          <cx:pt idx="1256">-2.1455523429999999</cx:pt>
          <cx:pt idx="1257">-2.1456346630000001</cx:pt>
          <cx:pt idx="1258">-2.1456756380000002</cx:pt>
          <cx:pt idx="1259">-2.1460452139999999</cx:pt>
          <cx:pt idx="1260">-2.1462914749999999</cx:pt>
          <cx:pt idx="1261">-2.146578753</cx:pt>
          <cx:pt idx="1262">-2.1468640799999998</cx:pt>
          <cx:pt idx="1263">-2.1469073129999998</cx:pt>
          <cx:pt idx="1264">-2.146989305</cx:pt>
          <cx:pt idx="1265">-2.1471513579999999</cx:pt>
          <cx:pt idx="1266">-2.1472746520000001</cx:pt>
          <cx:pt idx="1267">-2.1475231510000001</cx:pt>
          <cx:pt idx="1268">-2.148631532</cx:pt>
          <cx:pt idx="1269">-2.1487958229999999</cx:pt>
          <cx:pt idx="1270">-2.149039846</cx:pt>
          <cx:pt idx="1271">-2.1490834080000001</cx:pt>
          <cx:pt idx="1272">-2.1496582499999999</cx:pt>
          <cx:pt idx="1273">-2.1510129130000002</cx:pt>
          <cx:pt idx="1274">-2.1513001699999998</cx:pt>
          <cx:pt idx="1275">-2.151341473</cx:pt>
          <cx:pt idx="1276">-2.1517107210000002</cx:pt>
          <cx:pt idx="1277">-2.1519140779999999</cx:pt>
          <cx:pt idx="1278">-2.1519983069999999</cx:pt>
          <cx:pt idx="1279">-2.152285564</cx:pt>
          <cx:pt idx="1280">-2.15249085</cx:pt>
          <cx:pt idx="1281">-2.1525321530000001</cx:pt>
          <cx:pt idx="1282">-2.1528604260000002</cx:pt>
          <cx:pt idx="1283">-2.1530224590000002</cx:pt>
          <cx:pt idx="1284">-2.1532690479999999</cx:pt>
          <cx:pt idx="1285">-2.153884578</cx:pt>
          <cx:pt idx="1286">-2.1540101109999998</cx:pt>
          <cx:pt idx="1287">-2.154254135</cx:pt>
          <cx:pt idx="1288">-2.1545026539999999</cx:pt>
          <cx:pt idx="1289">-2.154790239</cx:pt>
          <cx:pt idx="1290">-2.1549132059999998</cx:pt>
          <cx:pt idx="1291">-2.1555290440000001</cx:pt>
          <cx:pt idx="1292">-2.1556113429999999</cx:pt>
          <cx:pt idx="1293">-2.1558166289999998</cx:pt>
          <cx:pt idx="1294">-2.1559396159999999</cx:pt>
          <cx:pt idx="1295">-2.1561019770000001</cx:pt>
          <cx:pt idx="1296">-2.1562271810000002</cx:pt>
          <cx:pt idx="1297">-2.1571302960000001</cx:pt>
          <cx:pt idx="1298">-2.1576231469999998</cx:pt>
          <cx:pt idx="1299">-2.1577051379999999</cx:pt>
          <cx:pt idx="1300">-2.1608253230000001</cx:pt>
          <cx:pt idx="1301">-2.1611129080000002</cx:pt>
          <cx:pt idx="1302">-2.1625088539999999</cx:pt>
          <cx:pt idx="1303">-2.162590845</cx:pt>
          <cx:pt idx="1304">-2.1627551359999999</cx:pt>
          <cx:pt idx="1305">-2.162796132</cx:pt>
          <cx:pt idx="1306">-2.1628784310000002</cx:pt>
          <cx:pt idx="1307">-2.1638225210000002</cx:pt>
          <cx:pt idx="1308">-2.1638635169999998</cx:pt>
          <cx:pt idx="1309">-2.1640687820000002</cx:pt>
          <cx:pt idx="1310">-2.164848911</cx:pt>
          <cx:pt idx="1311">-2.1651364960000001</cx:pt>
          <cx:pt idx="1312">-2.1652184870000002</cx:pt>
          <cx:pt idx="1313">-2.1655880430000001</cx:pt>
          <cx:pt idx="1314">-2.1656290390000001</cx:pt>
          <cx:pt idx="1315">-2.1677641379999999</cx:pt>
          <cx:pt idx="1316">-2.167846129</cx:pt>
          <cx:pt idx="1317">-2.1681333860000001</cx:pt>
          <cx:pt idx="1318">-2.1682156849999998</cx:pt>
          <cx:pt idx="1319">-2.1685029419999999</cx:pt>
          <cx:pt idx="1320">-2.1685852620000001</cx:pt>
          <cx:pt idx="1321">-2.1687082279999998</cx:pt>
          <cx:pt idx="1322">-2.1696116519999999</cx:pt>
          <cx:pt idx="1323">-2.1696526469999999</cx:pt>
          <cx:pt idx="1324">-2.1698169379999999</cx:pt>
          <cx:pt idx="1325">-2.169898909</cx:pt>
          <cx:pt idx="1326">-2.1712948750000001</cx:pt>
          <cx:pt idx="1327">-2.1713358700000001</cx:pt>
          <cx:pt idx="1328">-2.1717874180000001</cx:pt>
          <cx:pt idx="1329">-2.1719517079999999</cx:pt>
          <cx:pt idx="1330">-2.1722392940000002</cx:pt>
          <cx:pt idx="1331">-2.1728138069999998</cx:pt>
          <cx:pt idx="1332">-2.1735119649999999</cx:pt>
          <cx:pt idx="1333">-2.173840218</cx:pt>
          <cx:pt idx="1334">-2.1738815210000002</cx:pt>
          <cx:pt idx="1335">-2.1758110259999999</cx:pt>
          <cx:pt idx="1336">-2.1762215779999998</cx:pt>
          <cx:pt idx="1337">-2.1763038770000001</cx:pt>
          <cx:pt idx="1338">-2.1763858680000001</cx:pt>
          <cx:pt idx="1339">-2.1766734539999999</cx:pt>
          <cx:pt idx="1340">-2.1767964200000001</cx:pt>
          <cx:pt idx="1341">-2.1768784110000001</cx:pt>
          <cx:pt idx="1342">-2.177001706</cx:pt>
          <cx:pt idx="1343">-2.177083697</cx:pt>
          <cx:pt idx="1344">-2.1773302870000002</cx:pt>
          <cx:pt idx="1345">-2.1777818340000001</cx:pt>
          <cx:pt idx="1346">-2.1786849290000001</cx:pt>
          <cx:pt idx="1347">-2.178890215</cx:pt>
          <cx:pt idx="1348">-2.1791368050000002</cx:pt>
          <cx:pt idx="1349">-2.1797936390000001</cx:pt>
          <cx:pt idx="1350">-2.1798756090000002</cx:pt>
          <cx:pt idx="1351">-2.1799989040000001</cx:pt>
          <cx:pt idx="1352">-2.180163195</cx:pt>
          <cx:pt idx="1353">-2.180450451</cx:pt>
          <cx:pt idx="1354">-2.1805737459999999</cx:pt>
          <cx:pt idx="1355">-2.1806970410000002</cx:pt>
          <cx:pt idx="1356">-2.1807790319999998</cx:pt>
          <cx:pt idx="1357">-2.1808200279999999</cx:pt>
          <cx:pt idx="1358">-2.1821336950000001</cx:pt>
          <cx:pt idx="1359">-2.18225699</cx:pt>
          <cx:pt idx="1360">-2.1825855500000002</cx:pt>
          <cx:pt idx="1361">-2.1826675419999999</cx:pt>
          <cx:pt idx="1362">-2.1832833800000002</cx:pt>
          <cx:pt idx="1363">-2.183899217</cx:pt>
          <cx:pt idx="1364">-2.1850489020000001</cx:pt>
          <cx:pt idx="1365">-2.1859929920000001</cx:pt>
          <cx:pt idx="1366">-2.1860343160000002</cx:pt>
          <cx:pt idx="1367">-2.188456344</cx:pt>
          <cx:pt idx="1368">-2.189154501</cx:pt>
          <cx:pt idx="1369">-2.1892364720000002</cx:pt>
          <cx:pt idx="1370">-2.189606049</cx:pt>
          <cx:pt idx="1371">-2.189688656</cx:pt>
          <cx:pt idx="1372">-2.1900575959999999</cx:pt>
          <cx:pt idx="1373">-2.1902218869999999</cx:pt>
          <cx:pt idx="1374">-2.1903451810000001</cx:pt>
          <cx:pt idx="1375">-2.1903861569999998</cx:pt>
          <cx:pt idx="1376">-2.1904271519999998</cx:pt>
          <cx:pt idx="1377">-2.1921926950000001</cx:pt>
          <cx:pt idx="1378">-2.1937939270000002</cx:pt>
          <cx:pt idx="1379">-2.1940402090000002</cx:pt>
          <cx:pt idx="1380">-2.1941221789999998</cx:pt>
          <cx:pt idx="1381">-2.194533388</cx:pt>
          <cx:pt idx="1382">-2.1947793409999998</cx:pt>
          <cx:pt idx="1383">-2.1972013690000001</cx:pt>
          <cx:pt idx="1384">-2.1977762109999999</cx:pt>
          <cx:pt idx="1385">-2.198802621</cx:pt>
          <cx:pt idx="1386">-2.1992544760000001</cx:pt>
          <cx:pt idx="1387">-2.1992954720000002</cx:pt>
          <cx:pt idx="1388">-2.1993774629999998</cx:pt>
          <cx:pt idx="1389">-2.1999113100000001</cx:pt>
          <cx:pt idx="1390">-2.1999933010000001</cx:pt>
          <cx:pt idx="1391">-2.2001575920000001</cx:pt>
          <cx:pt idx="1392">-2.2003218819999999</cx:pt>
          <cx:pt idx="1393">-2.2003349999999999</cx:pt>
          <cx:pt idx="1394">-2.0919743230000001</cx:pt>
          <cx:pt idx="1395">-2.0710049239999999</cx:pt>
          <cx:pt idx="1396">-2.0431680000000001</cx:pt>
          <cx:pt idx="1397">-2.0431523739999999</cx:pt>
          <cx:pt idx="1398">-2.0430157420000001</cx:pt>
          <cx:pt idx="1399">-2.0429700830000002</cx:pt>
          <cx:pt idx="1400">-2.0426737319999999</cx:pt>
          <cx:pt idx="1401">-2.0421270420000002</cx:pt>
          <cx:pt idx="1402">-2.0421046629999999</cx:pt>
          <cx:pt idx="1403">-2.0416034590000001</cx:pt>
          <cx:pt idx="1404">-2.040965634</cx:pt>
          <cx:pt idx="1405">-2.0406696370000001</cx:pt>
          <cx:pt idx="1406">-2.040601235</cx:pt>
          <cx:pt idx="1407">-2.0405784910000002</cx:pt>
          <cx:pt idx="1408">-2.0403279799999998</cx:pt>
          <cx:pt idx="1409">-2.040236835</cx:pt>
          <cx:pt idx="1410">-2.039667412</cx:pt>
          <cx:pt idx="1411">-2.0396219250000001</cx:pt>
          <cx:pt idx="1412">-2.0394851209999998</cx:pt>
          <cx:pt idx="1413">-2.0394396339999998</cx:pt>
          <cx:pt idx="1414">-2.039303012</cx:pt>
          <cx:pt idx="1415">-2.0390976250000001</cx:pt>
          <cx:pt idx="1416">-2.0386879200000001</cx:pt>
          <cx:pt idx="1417">-2.0366379829999999</cx:pt>
          <cx:pt idx="1418">-2.0366152510000002</cx:pt>
          <cx:pt idx="1419">-2.0365695819999998</cx:pt>
          <cx:pt idx="1420">-2.0364786179999999</cx:pt>
          <cx:pt idx="1421">-2.03643296</cx:pt>
          <cx:pt idx="1422">-2.0353168469999998</cx:pt>
          <cx:pt idx="1423">-2.0352486270000001</cx:pt>
          <cx:pt idx="1424">-2.0352257009999999</cx:pt>
          <cx:pt idx="1425">-2.0348840450000001</cx:pt>
          <cx:pt idx="1426">-2.0342691350000002</cx:pt>
          <cx:pt idx="1427">-2.0315586300000001</cx:pt>
          <cx:pt idx="1428">-2.030237493</cx:pt>
          <cx:pt idx="1429">-2.0298046909999998</cx:pt>
          <cx:pt idx="1430">-2.029668059</cx:pt>
          <cx:pt idx="1431">-2.029235269</cx:pt>
          <cx:pt idx="1432">-2.0285974320000002</cx:pt>
          <cx:pt idx="1433">-2.0277089149999998</cx:pt>
          <cx:pt idx="1434">-2.0269799439999998</cx:pt>
          <cx:pt idx="1435">-2.0269348100000002</cx:pt>
          <cx:pt idx="1436">-2.0266158980000002</cx:pt>
          <cx:pt idx="1437">-2.0264105219999999</cx:pt>
          <cx:pt idx="1438">-2.0263652159999999</cx:pt>
          <cx:pt idx="1439">-2.0252489210000002</cx:pt>
          <cx:pt idx="1440">-2.0252036150000001</cx:pt>
          <cx:pt idx="1441">-2.025135031</cx:pt>
          <cx:pt idx="1442">-2.02506663</cx:pt>
          <cx:pt idx="1443">-2.0249987630000001</cx:pt>
          <cx:pt idx="1444">-2.0246571069999999</cx:pt>
          <cx:pt idx="1445">-2.0244975599999999</cx:pt>
          <cx:pt idx="1446">-2.0244748160000001</cx:pt>
          <cx:pt idx="1447">-2.0241559040000001</cx:pt>
          <cx:pt idx="1448">-2.0239965390000001</cx:pt>
          <cx:pt idx="1449">-2.0238826489999999</cx:pt>
          <cx:pt idx="1450">-2.0236545289999999</cx:pt>
          <cx:pt idx="1451">-2.0232448249999999</cx:pt>
          <cx:pt idx="1452">-2.0229486560000001</cx:pt>
          <cx:pt idx="1453">-2.0228804249999999</cx:pt>
          <cx:pt idx="1454">-2.022834767</cx:pt>
          <cx:pt idx="1455">-2.0214681419999998</cx:pt>
          <cx:pt idx="1456">-2.0210125969999999</cx:pt>
          <cx:pt idx="1457">-2.0198510079999998</cx:pt>
          <cx:pt idx="1458">-2.019828264</cx:pt>
          <cx:pt idx="1459">-2.019759509</cx:pt>
          <cx:pt idx="1460">-2.019144952</cx:pt>
          <cx:pt idx="1461">-2.0190992940000001</cx:pt>
          <cx:pt idx="1462">-2.0180743259999998</cx:pt>
          <cx:pt idx="1463">-2.0179376929999999</cx:pt>
          <cx:pt idx="1464">-2.0179149600000001</cx:pt>
          <cx:pt idx="1465">-2.0177554130000002</cx:pt>
          <cx:pt idx="1466">-2.017732316</cx:pt>
          <cx:pt idx="1467">-2.017163247</cx:pt>
          <cx:pt idx="1468">-2.0166162029999999</cx:pt>
          <cx:pt idx="1469">-2.0165934590000001</cx:pt>
          <cx:pt idx="1470">-2.01647957</cx:pt>
          <cx:pt idx="1471">-2.0159785490000002</cx:pt>
          <cx:pt idx="1472">-2.0159328909999998</cx:pt>
          <cx:pt idx="1473">-2.0155002710000001</cx:pt>
          <cx:pt idx="1474">-2.0154773449999999</cx:pt>
          <cx:pt idx="1475">-2.0154094790000001</cx:pt>
          <cx:pt idx="1476">-2.0140195759999999</cx:pt>
          <cx:pt idx="1477">-2.0118557620000002</cx:pt>
          <cx:pt idx="1478">-2.010967768</cx:pt>
          <cx:pt idx="1479">-2.009396121</cx:pt>
          <cx:pt idx="1480">-2.0083935429999999</cx:pt>
          <cx:pt idx="1481">-2.0083484089999999</cx:pt>
          <cx:pt idx="1482">-2.0081888609999998</cx:pt>
          <cx:pt idx="1483">-2.0079831210000001</cx:pt>
          <cx:pt idx="1484">-2.0079379980000001</cx:pt>
          <cx:pt idx="1485">-2.0074824530000002</cx:pt>
          <cx:pt idx="1486">-2.0065029719999998</cx:pt>
          <cx:pt idx="1487">-2.0063894470000001</cx:pt>
          <cx:pt idx="1488">-2.006275558</cx:pt>
          <cx:pt idx="1489">-2.0062073269999998</cx:pt>
          <cx:pt idx="1490">-2.0047268250000001</cx:pt>
          <cx:pt idx="1491">-2.0046580700000001</cx:pt>
          <cx:pt idx="1492">-2.0045214370000002</cx:pt>
          <cx:pt idx="1493">-2.0044761320000002</cx:pt>
          <cx:pt idx="1494">-2.004088989</cx:pt>
          <cx:pt idx="1495">-2.0040658919999998</cx:pt>
          <cx:pt idx="1496">-2.0028312769999999</cx:pt>
          <cx:pt idx="1497">-2.0027223639999998</cx:pt>
          <cx:pt idx="1498">-2.0026996320000001</cx:pt>
          <cx:pt idx="1499">-2.002471501</cx:pt>
          <cx:pt idx="1500">-2.0024030989999999</cx:pt>
          <cx:pt idx="1501">-2.002312307</cx:pt>
          <cx:pt idx="1502">-2.0014012280000002</cx:pt>
          <cx:pt idx="1503">-2.001264242</cx:pt>
          <cx:pt idx="1504">-2.001173461</cx:pt>
          <cx:pt idx="1505">-2.0009911699999998</cx:pt>
          <cx:pt idx="1506">-2.0009678910000002</cx:pt>
          <cx:pt idx="1507">-2.0005809299999999</cx:pt>
          <cx:pt idx="1508">-2.000489795</cx:pt>
          <cx:pt idx="1509">-2.0001026519999998</cx:pt>
          <cx:pt idx="1510">-1.9982351780000001</cx:pt>
          <cx:pt idx="1511">-1.9976657550000001</cx:pt>
          <cx:pt idx="1512">-1.9975060360000001</cx:pt>
          <cx:pt idx="1513">-1.9974596609999999</cx:pt>
          <cx:pt idx="1514">-1.9972102089999999</cx:pt>
          <cx:pt idx="1515">-1.9951373590000001</cx:pt>
          <cx:pt idx="1516">-1.99502241</cx:pt>
          <cx:pt idx="1517">-1.994999849</cx:pt>
          <cx:pt idx="1518">-1.9944309499999999</cx:pt>
          <cx:pt idx="1519">-1.994066903</cx:pt>
          <cx:pt idx="1520">-1.9937476380000001</cx:pt>
          <cx:pt idx="1521">-1.9936566739999999</cx:pt>
          <cx:pt idx="1522">-1.9929733620000001</cx:pt>
          <cx:pt idx="1523">-1.992949912</cx:pt>
          <cx:pt idx="1524">-1.992927522</cx:pt>
          <cx:pt idx="1525">-1.992517646</cx:pt>
          <cx:pt idx="1526">-1.9924257830000001</cx:pt>
          <cx:pt idx="1527">-1.991743542</cx:pt>
          <cx:pt idx="1528">-1.991287826</cx:pt>
          <cx:pt idx="1529">-1.9912652529999999</cx:pt>
          <cx:pt idx="1530">-1.991218889</cx:pt>
          <cx:pt idx="1531">-1.9911741190000001</cx:pt>
          <cx:pt idx="1532">-1.9900578229999999</cx:pt>
          <cx:pt idx="1533">-1.9900125179999999</cx:pt>
          <cx:pt idx="1534">-1.989419998</cx:pt>
          <cx:pt idx="1535">-1.9888274669999999</cx:pt>
          <cx:pt idx="1536">-1.988645005</cx:pt>
          <cx:pt idx="1537">-1.988075582</cx:pt>
          <cx:pt idx="1538">-1.9878705480000001</cx:pt>
          <cx:pt idx="1539">-1.987643134</cx:pt>
          <cx:pt idx="1540">-1.987597829</cx:pt>
          <cx:pt idx="1541">-1.9875292449999999</cx:pt>
          <cx:pt idx="1542">-1.987415014</cx:pt>
          <cx:pt idx="1543">-1.9873475</cx:pt>
          <cx:pt idx="1544">-1.9855230189999999</cx:pt>
          <cx:pt idx="1545">-1.9853883450000001</cx:pt>
          <cx:pt idx="1546">-1.9851378340000001</cx:pt>
          <cx:pt idx="1547">-1.9851142020000001</cx:pt>
          <cx:pt idx="1548">-1.9850012130000001</cx:pt>
          <cx:pt idx="1549">-1.9833137169999999</cx:pt>
          <cx:pt idx="1550">-1.9831790439999999</cx:pt>
          <cx:pt idx="1551">-1.982655096</cx:pt>
          <cx:pt idx="1552">-1.9826316470000001</cx:pt>
          <cx:pt idx="1553">-1.982586695</cx:pt>
          <cx:pt idx="1554">-1.982312734</cx:pt>
          <cx:pt idx="1555">-1.9816521659999999</cx:pt>
          <cx:pt idx="1556">-1.981425105</cx:pt>
          <cx:pt idx="1557">-1.981333424</cx:pt>
          <cx:pt idx="1558">-1.981264852</cx:pt>
          <cx:pt idx="1559">-1.9811964500000001</cx:pt>
          <cx:pt idx="1560">-1.980650112</cx:pt>
          <cx:pt idx="1561">-1.980536587</cx:pt>
          <cx:pt idx="1562">-1.9805131380000001</cx:pt>
          <cx:pt idx="1563">-1.98017237</cx:pt>
          <cx:pt idx="1564">-1.9800803360000001</cx:pt>
          <cx:pt idx="1565">-1.9800565219999999</cx:pt>
          <cx:pt idx="1566">-1.98001264</cx:pt>
          <cx:pt idx="1567">-1.978873965</cx:pt>
          <cx:pt idx="1568">-1.9788505160000001</cx:pt>
          <cx:pt idx="1569">-1.978577432</cx:pt>
          <cx:pt idx="1570">-1.97805385</cx:pt>
          <cx:pt idx="1571">-1.977893949</cx:pt>
          <cx:pt idx="1572">-1.9777104169999999</cx:pt>
          <cx:pt idx="1573">-1.9776889150000001</cx:pt>
          <cx:pt idx="1574">-1.977666535</cx:pt>
          <cx:pt idx="1575">-1.977620513</cx:pt>
          <cx:pt idx="1576">-1.977575208</cx:pt>
          <cx:pt idx="1577">-1.9761629249999999</cx:pt>
          <cx:pt idx="1578">-1.9749556660000001</cx:pt>
          <cx:pt idx="1579">-1.974477389</cx:pt>
          <cx:pt idx="1580">-1.974386596</cx:pt>
          <cx:pt idx="1581">-1.9742039520000001</cx:pt>
          <cx:pt idx="1582">-1.973634882</cx:pt>
          <cx:pt idx="1583">-1.972677963</cx:pt>
          <cx:pt idx="1584">-1.9726310629999999</cx:pt>
          <cx:pt idx="1585">-1.9725182450000001</cx:pt>
          <cx:pt idx="1586">-1.971926249</cx:pt>
          <cx:pt idx="1587">-1.97190387</cx:pt>
          <cx:pt idx="1588">-1.970992426</cx:pt>
          <cx:pt idx="1589">-1.9706964279999999</cx:pt>
          <cx:pt idx="1590">-1.970355125</cx:pt>
          <cx:pt idx="1591">-1.970218322</cx:pt>
          <cx:pt idx="1592">-1.969784996</cx:pt>
          <cx:pt idx="1593">-1.9696258019999999</cx:pt>
          <cx:pt idx="1594">-1.969603411</cx:pt>
          <cx:pt idx="1595">-1.96837342</cx:pt>
          <cx:pt idx="1596">-1.9677812530000001</cx:pt>
          <cx:pt idx="1597">-1.9677124989999999</cx:pt>
          <cx:pt idx="1598">-1.9676670110000001</cx:pt>
          <cx:pt idx="1599">-1.966938394</cx:pt>
          <cx:pt idx="1600">-1.9657977600000001</cx:pt>
          <cx:pt idx="1601">-1.9656625619999999</cx:pt>
          <cx:pt idx="1602">-1.965114448</cx:pt>
          <cx:pt idx="1603">-1.9649792500000001</cx:pt>
          <cx:pt idx="1604">-1.964585</cx:pt>
          <cx:pt idx="1605">1.7279753390000001</cx:pt>
          <cx:pt idx="1606">9.7224675690000009</cx:pt>
          <cx:pt idx="1607">10.917046859999999</cx:pt>
          <cx:pt idx="1608">11.596612739999999</cx:pt>
          <cx:pt idx="1609">13.12837991</cx:pt>
          <cx:pt idx="1610">19.423829820000002</cx:pt>
          <cx:pt idx="1611">24.016323580000002</cx:pt>
          <cx:pt idx="1612">24.199509410000001</cx:pt>
          <cx:pt idx="1613">30.311858569999998</cx:pt>
          <cx:pt idx="1614">32.358554089999998</cx:pt>
          <cx:pt idx="1615">36.441394709999997</cx:pt>
          <cx:pt idx="1616">39.330932279999999</cx:pt>
          <cx:pt idx="1617">39.514118109999998</cx:pt>
          <cx:pt idx="1618">40.025132589999998</cx:pt>
          <cx:pt idx="1619">45.980842129999999</cx:pt>
          <cx:pt idx="1620">49.884495829999999</cx:pt>
          <cx:pt idx="1621">51.757279650000001</cx:pt>
          <cx:pt idx="1622">52.61739378</cx:pt>
          <cx:pt idx="1623">53.127132000000003</cx:pt>
          <cx:pt idx="1624">55.50965403</cx:pt>
          <cx:pt idx="1625">57.030785700000003</cx:pt>
          <cx:pt idx="1626">57.54043884</cx:pt>
          <cx:pt idx="1627">57.892176079999999</cx:pt>
          <cx:pt idx="1628">58.401914290000001</cx:pt>
          <cx:pt idx="1629">58.912928770000001</cx:pt>
          <cx:pt idx="1630">59.082756430000003</cx:pt>
          <cx:pt idx="1631">65.379567690000002</cx:pt>
          <cx:pt idx="1632">65.719393170000004</cx:pt>
          <cx:pt idx="1633">68.952755179999997</cx:pt>
          <cx:pt idx="1634">69.794235880000002</cx:pt>
          <cx:pt idx="1635">73.887711999999993</cx:pt>
          <cx:pt idx="1636">74.727916460000003</cx:pt>
          <cx:pt idx="1637">74.908379620000005</cx:pt>
          <cx:pt idx="1638">75.589306829999998</cx:pt>
          <cx:pt idx="1639">76.770613030000007</cx:pt>
          <cx:pt idx="1640">78.4709316</cx:pt>
          <cx:pt idx="1641">94.137277539999999</cx:pt>
          <cx:pt idx="1642">95.147394739999996</cx:pt>
          <cx:pt idx="1643">95.327857899999998</cx:pt>
          <cx:pt idx="1644">96.000872290000004</cx:pt>
          <cx:pt idx="1645">108.43121859999999</cx:pt>
          <cx:pt idx="1646">117.6109309</cx:pt>
          <cx:pt idx="1647">118.2904968</cx:pt>
          <cx:pt idx="1648">122.7158005</cx:pt>
          <cx:pt idx="1649">123.0649001</cx:pt>
          <cx:pt idx="1650">143.1404689</cx:pt>
          <cx:pt idx="1651">152.66757910000001</cx:pt>
          <cx:pt idx="1652">158.45363119999999</cx:pt>
          <cx:pt idx="1653">159.31391540000001</cx:pt>
          <cx:pt idx="1654">159.82510009999999</cx:pt>
          <cx:pt idx="1655">159.98573870000001</cx:pt>
          <cx:pt idx="1656">160.49156300000001</cx:pt>
          <cx:pt idx="1657">160.8341112</cx:pt>
          <cx:pt idx="1658">161.00274769999999</cx:pt>
          <cx:pt idx="1659">161.17266040000001</cx:pt>
          <cx:pt idx="1660">161.41030000000001</cx:pt>
          <cx:pt idx="1661">161.50740630000001</cx:pt>
          <cx:pt idx="1662">161.67552029999999</cx:pt>
          <cx:pt idx="1663">161.73304659999999</cx:pt>
          <cx:pt idx="1664">161.7906017</cx:pt>
          <cx:pt idx="1665">161.90746920000001</cx:pt>
          <cx:pt idx="1666">161.96364159999999</cx:pt>
          <cx:pt idx="1667">162.07826209999999</cx:pt>
          <cx:pt idx="1668">162.1362494</cx:pt>
          <cx:pt idx="1669">162.19605139999999</cx:pt>
          <cx:pt idx="1670">162.2522238</cx:pt>
          <cx:pt idx="1671">162.30931810000001</cx:pt>
          <cx:pt idx="1672">162.36684439999999</cx:pt>
          <cx:pt idx="1673">162.4248316</cx:pt>
          <cx:pt idx="1674">162.48149369999999</cx:pt>
          <cx:pt idx="1675">162.59743940000001</cx:pt>
          <cx:pt idx="1676">162.65499449999999</cx:pt>
          <cx:pt idx="1677">162.76961510000001</cx:pt>
          <cx:pt idx="1678">162.8276023</cx:pt>
          <cx:pt idx="1679">162.82803440000001</cx:pt>
          <cx:pt idx="1680">162.88558950000001</cx:pt>
          <cx:pt idx="1681">162.9426838</cx:pt>
          <cx:pt idx="1682">163.0586294</cx:pt>
          <cx:pt idx="1683">163.17417180000001</cx:pt>
          <cx:pt idx="1684">163.2308051</cx:pt>
          <cx:pt idx="1685">163.2883314</cx:pt>
          <cx:pt idx="1686">163.6340079</cx:pt>
          <cx:pt idx="1687">163.7499823</cx:pt>
          <cx:pt idx="1688">163.86549590000001</cx:pt>
          <cx:pt idx="1689">164.0385646</cx:pt>
          <cx:pt idx="1690">164.09519789999999</cx:pt>
          <cx:pt idx="1691">164.21117229999999</cx:pt>
          <cx:pt idx="1692">164.32625379999999</cx:pt>
          <cx:pt idx="1693">164.38331919999999</cx:pt>
          <cx:pt idx="1694">164.44087429999999</cx:pt>
          <cx:pt idx="1695">164.55684880000001</cx:pt>
          <cx:pt idx="1696">164.61437509999999</cx:pt>
          <cx:pt idx="1697">164.86789999999999</cx:pt>
          <cx:pt idx="1698">165.19815</cx:pt>
          <cx:pt idx="1699">165.74755830000001</cx:pt>
          <cx:pt idx="1700">166.8417005</cx:pt>
          <cx:pt idx="1701">167.9487666</cx:pt>
          <cx:pt idx="1702">168.49350039999999</cx:pt>
          <cx:pt idx="1703">169.60056650000001</cx:pt>
          <cx:pt idx="1704">170.14997489999999</cx:pt>
          <cx:pt idx="1705">170.69910830000001</cx:pt>
          <cx:pt idx="1706">171.24411699999999</cx:pt>
          <cx:pt idx="1707">172.35118320000001</cx:pt>
          <cx:pt idx="1708">172.89179229999999</cx:pt>
          <cx:pt idx="1709">173.11920000000001</cx:pt>
          <cx:pt idx="1710">173.48001550000001</cx:pt>
          <cx:pt idx="1711">174.67542359999999</cx:pt>
          <cx:pt idx="1712">175.87563840000001</cx:pt>
          <cx:pt idx="1713">176.4804025</cx:pt>
          <cx:pt idx="1714">178.2898879</cx:pt>
          <cx:pt idx="1715">178.89014560000001</cx:pt>
          <cx:pt idx="1716">180.09006009999999</cx:pt>
          <cx:pt idx="1717">180.6948242</cx:pt>
          <cx:pt idx="1718">181.89954549999999</cx:pt>
          <cx:pt idx="1719">182.07769999999999</cx:pt>
          <cx:pt idx="1720">182.33757399999999</cx:pt>
          <cx:pt idx="1721">183.07684520000001</cx:pt>
          <cx:pt idx="1722">183.44074280000001</cx:pt>
          <cx:pt idx="1723">183.81037839999999</cx:pt>
          <cx:pt idx="1724">184.9250231</cx:pt>
          <cx:pt idx="1725">194.922583</cx:pt>
          <cx:pt idx="1726">196.40408690000001</cx:pt>
          <cx:pt idx="1727">196.77372249999999</cx:pt>
          <cx:pt idx="1728">197.1403966</cx:pt>
          <cx:pt idx="1729">197.51003209999999</cx:pt>
          <cx:pt idx="1730">197.88540570000001</cx:pt>
          <cx:pt idx="1731">198.25800280000001</cx:pt>
          <cx:pt idx="1732">198.6246769</cx:pt>
          <cx:pt idx="1733">198.73740000000001</cx:pt>
          <cx:pt idx="1734">198.75994069999999</cx:pt>
          <cx:pt idx="1735">198.7921278</cx:pt>
          <cx:pt idx="1736">199.01990570000001</cx:pt>
          <cx:pt idx="1737">199.05181669999999</cx:pt>
          <cx:pt idx="1738">199.08450719999999</cx:pt>
          <cx:pt idx="1739">199.11693779999999</cx:pt>
          <cx:pt idx="1740">199.14987189999999</cx:pt>
          <cx:pt idx="1741">199.1817992</cx:pt>
          <cx:pt idx="1742">199.21499309999999</cx:pt>
          <cx:pt idx="1743">199.24742380000001</cx:pt>
          <cx:pt idx="1744">199.2798544</cx:pt>
          <cx:pt idx="1745">199.3122851</cx:pt>
          <cx:pt idx="1746">199.34471579999999</cx:pt>
          <cx:pt idx="1747">199.37714639999999</cx:pt>
          <cx:pt idx="1748">199.4093173</cx:pt>
          <cx:pt idx="1749">199.4417479</cx:pt>
          <cx:pt idx="1750">199.474682</cx:pt>
          <cx:pt idx="1751">199.50660930000001</cx:pt>
          <cx:pt idx="1752">199.53954340000001</cx:pt>
          <cx:pt idx="1753">199.57197400000001</cx:pt>
          <cx:pt idx="1754">199.60466450000001</cx:pt>
          <cx:pt idx="1755">199.6370952</cx:pt>
          <cx:pt idx="1756">199.6695259</cx:pt>
          <cx:pt idx="1757">199.70195649999999</cx:pt>
          <cx:pt idx="1758">199.76707769999999</cx:pt>
          <cx:pt idx="1759">199.79950840000001</cx:pt>
          <cx:pt idx="1760">199.86410979999999</cx:pt>
          <cx:pt idx="1761">199.8968003</cx:pt>
          <cx:pt idx="1762">199.9614018</cx:pt>
          <cx:pt idx="1763">199.99433590000001</cx:pt>
          <cx:pt idx="1764">200.02626319999999</cx:pt>
          <cx:pt idx="1765">200.09188779999999</cx:pt>
          <cx:pt idx="1766">200.1562457</cx:pt>
          <cx:pt idx="1767">200.18968319999999</cx:pt>
          <cx:pt idx="1768">200.25454450000001</cx:pt>
          <cx:pt idx="1769">200.3186426</cx:pt>
          <cx:pt idx="1770">200.35159290000001</cx:pt>
          <cx:pt idx="1771">200.41619439999999</cx:pt>
          <cx:pt idx="1772">200.4491285</cx:pt>
          <cx:pt idx="1773">200.48105580000001</cx:pt>
          <cx:pt idx="1774">200.64346889999999</cx:pt>
          <cx:pt idx="1775">200.6766466</cx:pt>
          <cx:pt idx="1776">200.74150789999999</cx:pt>
          <cx:pt idx="1777">200.77393860000001</cx:pt>
          <cx:pt idx="1778">200.8063693</cx:pt>
          <cx:pt idx="1779">200.83855629999999</cx:pt>
          <cx:pt idx="1780">200.8714904</cx:pt>
          <cx:pt idx="1781">200.90392109999999</cx:pt>
          <cx:pt idx="1782">200.968279</cx:pt>
          <cx:pt idx="1783">201.0012131</cx:pt>
          <cx:pt idx="1784">201.06633429999999</cx:pt>
          <cx:pt idx="1785">201.09876489999999</cx:pt>
          <cx:pt idx="1786">201.1306922</cx:pt>
          <cx:pt idx="1787">201.17349999999999</cx:pt>
          <cx:pt idx="1788">201.5927251</cx:pt>
          <cx:pt idx="1789">202.1797598</cx:pt>
          <cx:pt idx="1790">203.37711949999999</cx:pt>
          <cx:pt idx="1791">203.9778895</cx:pt>
          <cx:pt idx="1792">205.1752491</cx:pt>
          <cx:pt idx="1793">205.7715402</cx:pt>
          <cx:pt idx="1794">206.35857490000001</cx:pt>
          <cx:pt idx="1795">206.96412230000001</cx:pt>
          <cx:pt idx="1796">207.5651909</cx:pt>
          <cx:pt idx="1797">208.151927</cx:pt>
          <cx:pt idx="1798">209.3445092</cx:pt>
          <cx:pt idx="1799">209.9548341</cx:pt>
          <cx:pt idx="1800">210.1319</cx:pt>
          <cx:pt idx="1801">210.4994648</cx:pt>
          <cx:pt idx="1802">211.01416040000001</cx:pt>
          <cx:pt idx="1803">211.54508730000001</cx:pt>
          <cx:pt idx="1804">212.05978279999999</cx:pt>
          <cx:pt idx="1805">212.59070980000001</cx:pt>
          <cx:pt idx="1806">213.10959399999999</cx:pt>
          <cx:pt idx="1807">213.64052100000001</cx:pt>
          <cx:pt idx="1808">214.15521649999999</cx:pt>
          <cx:pt idx="1809">215.20476600000001</cx:pt>
          <cx:pt idx="1810">215.72757720000001</cx:pt>
          <cx:pt idx="1811">216.25850410000001</cx:pt>
          <cx:pt idx="1812">216.77319969999999</cx:pt>
          <cx:pt idx="1813">217.30412670000001</cx:pt>
          <cx:pt idx="1814">217.82301090000001</cx:pt>
          <cx:pt idx="1815">217.99029999999999</cx:pt>
          <cx:pt idx="1816">223.87865830000001</cx:pt>
          <cx:pt idx="1817">227.31021569999999</cx:pt>
          <cx:pt idx="1818">230.76601210000001</cx:pt>
          <cx:pt idx="1819">234.19756910000001</cx:pt>
          <cx:pt idx="1820">237.6550967</cx:pt>
          <cx:pt idx="1821">241.1662967</cx:pt>
          <cx:pt idx="1822">244.56842069999999</cx:pt>
          <cx:pt idx="1823">248.07962069999999</cx:pt>
          <cx:pt idx="1824">251.51117769999999</cx:pt>
          <cx:pt idx="1825">255.04834790000001</cx:pt>
          <cx:pt idx="1826">261.88202919999998</cx:pt>
          <cx:pt idx="1827">265.36725869999998</cx:pt>
          <cx:pt idx="1828">268.87845870000001</cx:pt>
          <cx:pt idx="1829">270.01249999999999</cx:pt>
          <cx:pt idx="1830">270.01765210000002</cx:pt>
          <cx:pt idx="1831">270.02549629999999</cx:pt>
          <cx:pt idx="1832">270.03347009999999</cx:pt>
          <cx:pt idx="1833">270.04119250000002</cx:pt>
          <cx:pt idx="1834">270.04910339999998</cx:pt>
          <cx:pt idx="1835">270.05707330000001</cx:pt>
          <cx:pt idx="1836">270.06479569999999</cx:pt>
          <cx:pt idx="1837">270.07264370000001</cx:pt>
          <cx:pt idx="1838">270.08840279999998</cx:pt>
          <cx:pt idx="1839">270.09630979999997</cx:pt>
          <cx:pt idx="1840">270.09637270000002</cx:pt>
          <cx:pt idx="1841">270.10409499999997</cx:pt>
          <cx:pt idx="1842">270.11194310000002</cx:pt>
          <cx:pt idx="1843">270.1198541</cx:pt>
          <cx:pt idx="1844">270.13567210000002</cx:pt>
          <cx:pt idx="1845">270.14339439999998</cx:pt>
          <cx:pt idx="1846">270.17484960000002</cx:pt>
          <cx:pt idx="1847">270.18269379999998</cx:pt>
          <cx:pt idx="1848">270.19054180000001</cx:pt>
          <cx:pt idx="1849">270.20630089999997</cx:pt>
          <cx:pt idx="1850">270.21432970000001</cx:pt>
          <cx:pt idx="1851">270.2221189</cx:pt>
          <cx:pt idx="1852">270.23781109999999</cx:pt>
          <cx:pt idx="1853">270.24560020000001</cx:pt>
          <cx:pt idx="1854">270.25344439999998</cx:pt>
          <cx:pt idx="1855">270.2692624</cx:pt>
          <cx:pt idx="1856">270.27705150000003</cx:pt>
          <cx:pt idx="1857">270.28489960000002</cx:pt>
          <cx:pt idx="1858">270.29274379999998</cx:pt>
          <cx:pt idx="1859">270.30071759999998</cx:pt>
          <cx:pt idx="1860">270.3084399</cx:pt>
          <cx:pt idx="1861">270.31640979999997</cx:pt>
          <cx:pt idx="1862">270.33204310000002</cx:pt>
          <cx:pt idx="1863">270.34001699999999</cx:pt>
          <cx:pt idx="1864">270.34780219999999</cx:pt>
          <cx:pt idx="1865">270.35565020000001</cx:pt>
          <cx:pt idx="1866">270.37146819999998</cx:pt>
          <cx:pt idx="1867">270.37919060000002</cx:pt>
          <cx:pt idx="1868">270.38716049999999</cx:pt>
          <cx:pt idx="1869">270.40279770000001</cx:pt>
          <cx:pt idx="1870">270.41064180000001</cx:pt>
          <cx:pt idx="1871">270.41861569999998</cx:pt>
          <cx:pt idx="1872">270.42633799999999</cx:pt>
          <cx:pt idx="1873">270.44209710000001</cx:pt>
          <cx:pt idx="1874">270.45012589999999</cx:pt>
          <cx:pt idx="1875">270.45791109999999</cx:pt>
          <cx:pt idx="1876">270.46563739999999</cx:pt>
          <cx:pt idx="1877">270.49727339999998</cx:pt>
          <cx:pt idx="1878">270.50505859999998</cx:pt>
          <cx:pt idx="1879">270.51284770000001</cx:pt>
          <cx:pt idx="1880">270.52081759999999</cx:pt>
          <cx:pt idx="1881">270.5285399</cx:pt>
          <cx:pt idx="1882">270.54423609999998</cx:pt>
          <cx:pt idx="1883">270.55214710000001</cx:pt>
          <cx:pt idx="1884">270.56011699999999</cx:pt>
          <cx:pt idx="1885">270.5678393</cx:pt>
          <cx:pt idx="1886">270.58365730000003</cx:pt>
          <cx:pt idx="1887">270.5914464</cx:pt>
          <cx:pt idx="1888">270.59941629999997</cx:pt>
          <cx:pt idx="1889">270.61498669999997</cx:pt>
          <cx:pt idx="1890">270.62289770000001</cx:pt>
          <cx:pt idx="1891">270.63086759999999</cx:pt>
          <cx:pt idx="1892">270.64656380000002</cx:pt>
          <cx:pt idx="1893">270.65428609999998</cx:pt>
          <cx:pt idx="1894">270.66225600000001</cx:pt>
          <cx:pt idx="1895">270.6778893</cx:pt>
          <cx:pt idx="1896">270.68592210000003</cx:pt>
          <cx:pt idx="1897">270.69370730000003</cx:pt>
          <cx:pt idx="1898">270.70940350000001</cx:pt>
          <cx:pt idx="1899">270.71718870000001</cx:pt>
          <cx:pt idx="1900">270.72516250000001</cx:pt>
          <cx:pt idx="1901">270.73288480000002</cx:pt>
          <cx:pt idx="1902">270.76433609999998</cx:pt>
          <cx:pt idx="1903">270.77218420000003</cx:pt>
          <cx:pt idx="1904">270.7801541</cx:pt>
          <cx:pt idx="1905">270.79578739999999</cx:pt>
          <cx:pt idx="1906">270.80375729999997</cx:pt>
          <cx:pt idx="1907">270.81148359999997</cx:pt>
          <cx:pt idx="1908">270.81939449999999</cx:pt>
          <cx:pt idx="1909">270.82730149999998</cx:pt>
          <cx:pt idx="1910">270.8350868</cx:pt>
          <cx:pt idx="1911">270.84305669999998</cx:pt>
          <cx:pt idx="1912">270.85875279999999</cx:pt>
          <cx:pt idx="1913">270.86653799999999</cx:pt>
          <cx:pt idx="1914">270.87451190000002</cx:pt>
          <cx:pt idx="1915">270.88223420000003</cx:pt>
          <cx:pt idx="1916">270.89008230000002</cx:pt>
          <cx:pt idx="1917">270.89799319999997</cx:pt>
          <cx:pt idx="1918">270.9058374</cx:pt>
          <cx:pt idx="1919">270.91368549999999</cx:pt>
          <cx:pt idx="1920">270.92950350000001</cx:pt>
          <cx:pt idx="1921">270.93722969999999</cx:pt>
          <cx:pt idx="1922">270.94526250000001</cx:pt>
          <cx:pt idx="1923">270.95549999999997</cx:pt>
          <cx:pt idx="1924">270.97003960000001</cx:pt>
          <cx:pt idx="1925">270.99063389999998</cx:pt>
          <cx:pt idx="1926">271.01187759999999</cx:pt>
          <cx:pt idx="1927">271.09555369999998</cx:pt>
          <cx:pt idx="1928">271.26354470000001</cx:pt>
          <cx:pt idx="1929">271.28429610000001</cx:pt>
          <cx:pt idx="1930">271.30489039999998</cx:pt>
          <cx:pt idx="1931">271.34688549999998</cx:pt>
          <cx:pt idx="1932">271.36812930000002</cx:pt>
          <cx:pt idx="1933">271.38872359999999</cx:pt>
          <cx:pt idx="1934">271.40964259999998</cx:pt>
          <cx:pt idx="1935">271.45163769999999</cx:pt>
          <cx:pt idx="1936">271.47255669999998</cx:pt>
          <cx:pt idx="1937">271.49395759999999</cx:pt>
          <cx:pt idx="1938">271.53547090000001</cx:pt>
          <cx:pt idx="1939">271.55671460000002</cx:pt>
          <cx:pt idx="1940">271.57730889999999</cx:pt>
          <cx:pt idx="1941">271.61962879999999</cx:pt>
          <cx:pt idx="1942">271.64022299999999</cx:pt>
          <cx:pt idx="1943">271.66146680000003</cx:pt>
          <cx:pt idx="1944">271.70329429999998</cx:pt>
          <cx:pt idx="1945">271.72388860000001</cx:pt>
          <cx:pt idx="1946">271.74513230000002</cx:pt>
          <cx:pt idx="1947">271.78680279999998</cx:pt>
          <cx:pt idx="1948">271.80804649999999</cx:pt>
          <cx:pt idx="1949">271.82864080000002</cx:pt>
          <cx:pt idx="1950">271.87096070000001</cx:pt>
          <cx:pt idx="1951">271.89155490000002</cx:pt>
          <cx:pt idx="1952">271.91247390000001</cx:pt>
          <cx:pt idx="1953">271.95446909999998</cx:pt>
          <cx:pt idx="1954">271.9757128</cx:pt>
          <cx:pt idx="1955">272.01755079999998</cx:pt>
          <cx:pt idx="1956">272.03813459999998</cx:pt>
          <cx:pt idx="1957">272.08014029999998</cx:pt>
          <cx:pt idx="1958">272.10105929999997</cx:pt>
          <cx:pt idx="1959">272.12246010000001</cx:pt>
          <cx:pt idx="1960">272.16413060000002</cx:pt>
          <cx:pt idx="1961">272.20629330000003</cx:pt>
          <cx:pt idx="1962">272.22672</cx:pt>
          <cx:pt idx="1963">272.24796370000001</cx:pt>
          <cx:pt idx="1964">272.2896341</cx:pt>
          <cx:pt idx="1965">272.31087789999998</cx:pt>
          <cx:pt idx="1966">272.33147220000001</cx:pt>
          <cx:pt idx="1967">272.37346730000002</cx:pt>
          <cx:pt idx="1968">272.39438630000001</cx:pt>
          <cx:pt idx="1969">272.4153053</cx:pt>
          <cx:pt idx="1970">272.45714329999998</cx:pt>
          <cx:pt idx="1971">272.47838710000002</cx:pt>
          <cx:pt idx="1972">272.49913850000002</cx:pt>
          <cx:pt idx="1973">272.54130120000002</cx:pt>
          <cx:pt idx="1974">272.56205260000002</cx:pt>
          <cx:pt idx="1975">272.58297160000001</cx:pt>
          <cx:pt idx="1976">272.62480970000001</cx:pt>
          <cx:pt idx="1977">272.64571819999998</cx:pt>
          <cx:pt idx="1978">272.66680480000002</cx:pt>
          <cx:pt idx="1979">272.68804849999998</cx:pt>
          <cx:pt idx="1980">272.7717141</cx:pt>
          <cx:pt idx="1981">272.79280069999999</cx:pt>
          <cx:pt idx="1982">272.83479590000002</cx:pt>
          <cx:pt idx="1983">272.8415</cx:pt>
          <cx:pt idx="1984">272.84184329999999</cx:pt>
          <cx:pt idx="1985">272.84237050000002</cx:pt>
          <cx:pt idx="1986">272.84341710000001</cx:pt>
          <cx:pt idx="1987">272.84394040000001</cx:pt>
          <cx:pt idx="1988">272.84447189999997</cx:pt>
          <cx:pt idx="1989">272.84499099999999</cx:pt>
          <cx:pt idx="1990">272.84603759999999</cx:pt>
          <cx:pt idx="1991">272.84656899999999</cx:pt>
          <cx:pt idx="1992">272.84708419999998</cx:pt>
          <cx:pt idx="1993">272.84813480000003</cx:pt>
          <cx:pt idx="1994">272.84866620000003</cx:pt>
          <cx:pt idx="1995">272.84918140000002</cx:pt>
          <cx:pt idx="1996">272.85023189999998</cx:pt>
          <cx:pt idx="1997">272.85075519999998</cx:pt>
          <cx:pt idx="1998">272.8512867</cx:pt>
          <cx:pt idx="1999">272.85233299999999</cx:pt>
          <cx:pt idx="2000">272.85285240000002</cx:pt>
          <cx:pt idx="2001">272.85337550000003</cx:pt>
          <cx:pt idx="2002">272.85442210000002</cx:pt>
          <cx:pt idx="2003">272.8549577</cx:pt>
          <cx:pt idx="2004">272.85547259999998</cx:pt>
          <cx:pt idx="2005">272.85600399999998</cx:pt>
          <cx:pt idx="2006">272.85704249999998</cx:pt>
          <cx:pt idx="2007">272.85756579999997</cx:pt>
          <cx:pt idx="2008">272.85861640000002</cx:pt>
          <cx:pt idx="2009">272.86280649999998</cx:pt>
          <cx:pt idx="2010">272.863338</cx:pt>
          <cx:pt idx="2011">272.86385730000001</cx:pt>
          <cx:pt idx="2012">272.86490370000001</cx:pt>
          <cx:pt idx="2013">272.86543510000001</cx:pt>
          <cx:pt idx="2014">272.86595449999999</cx:pt>
          <cx:pt idx="2015">272.86647749999997</cx:pt>
          <cx:pt idx="2016">272.86700089999999</cx:pt>
          <cx:pt idx="2017">272.86752419999999</cx:pt>
          <cx:pt idx="2018">272.86805170000002</cx:pt>
          <cx:pt idx="2019">272.86857889999999</cx:pt>
          <cx:pt idx="2020">272.86909800000001</cx:pt>
          <cx:pt idx="2021">272.86962949999997</cx:pt>
          <cx:pt idx="2022">272.8701446</cx:pt>
          <cx:pt idx="2023">272.87119519999999</cx:pt>
          <cx:pt idx="2024">272.87171849999999</cx:pt>
          <cx:pt idx="2025">272.87224179999998</cx:pt>
          <cx:pt idx="2026">272.87329649999998</cx:pt>
          <cx:pt idx="2027">272.87381570000002</cx:pt>
          <cx:pt idx="2028">272.87433900000002</cx:pt>
          <cx:pt idx="2029">272.8753853</cx:pt>
          <cx:pt idx="2030">272.8759086</cx:pt>
          <cx:pt idx="2031">272.87644010000002</cx:pt>
          <cx:pt idx="2032">272.87695939999998</cx:pt>
          <cx:pt idx="2033">272.87748249999999</cx:pt>
          <cx:pt idx="2034">272.87801389999998</cx:pt>
          <cx:pt idx="2035">272.87853330000002</cx:pt>
          <cx:pt idx="2036">272.88062630000002</cx:pt>
          <cx:pt idx="2037">272.88114960000001</cx:pt>
          <cx:pt idx="2038">272.8832549</cx:pt>
          <cx:pt idx="2039">272.88377400000002</cx:pt>
          <cx:pt idx="2040">272.88430540000002</cx:pt>
          <cx:pt idx="2041">272.88535200000001</cx:pt>
          <cx:pt idx="2042">272.8858669</cx:pt>
          <cx:pt idx="2043">272.88639439999997</cx:pt>
          <cx:pt idx="2044">272.88848739999997</cx:pt>
          <cx:pt idx="2045">272.88953800000002</cx:pt>
          <cx:pt idx="2046">272.89006940000002</cx:pt>
          <cx:pt idx="2047">272.89058460000001</cx:pt>
          <cx:pt idx="2048">272.89163120000001</cx:pt>
          <cx:pt idx="2049">272.89215840000003</cx:pt>
          <cx:pt idx="2050">272.89268989999999</cx:pt>
          <cx:pt idx="2051">272.89373649999999</cx:pt>
          <cx:pt idx="2052">272.89425560000001</cx:pt>
          <cx:pt idx="2053">272.89477890000001</cx:pt>
          <cx:pt idx="2054">272.8953022</cx:pt>
          <cx:pt idx="2055">272.8958336</cx:pt>
          <cx:pt idx="2056">272.89634860000001</cx:pt>
          <cx:pt idx="2057">272.89688000000001</cx:pt>
          <cx:pt idx="2058">272.89793079999998</cx:pt>
          <cx:pt idx="2059">272.89844570000002</cx:pt>
          <cx:pt idx="2060">272.89897719999999</cx:pt>
          <cx:pt idx="2061">272.8994965</cx:pt>
          <cx:pt idx="2062">272.90001960000001</cx:pt>
          <cx:pt idx="2063">272.90421809999998</cx:pt>
          <cx:pt idx="2064">272.9047453</cx:pt>
          <cx:pt idx="2065">272.9052605</cx:pt>
          <cx:pt idx="2066">272.90579200000002</cx:pt>
          <cx:pt idx="2067">272.9063069</cx:pt>
          <cx:pt idx="2068">272.9068383</cx:pt>
          <cx:pt idx="2069">272.9073616</cx:pt>
          <cx:pt idx="2070">272.90788099999997</cx:pt>
          <cx:pt idx="2071">272.90840400000002</cx:pt>
          <cx:pt idx="2072">272.90892739999998</cx:pt>
          <cx:pt idx="2073">272.90945879999998</cx:pt>
          <cx:pt idx="2074">272.9105012</cx:pt>
          <cx:pt idx="2075">272.9110245</cx:pt>
          <cx:pt idx="2076">272.91154779999999</cx:pt>
          <cx:pt idx="2077">272.91259839999998</cx:pt>
          <cx:pt idx="2078">272.91312169999998</cx:pt>
          <cx:pt idx="2079">272.91365309999998</cx:pt>
          <cx:pt idx="2080">272.91416829999997</cx:pt>
          <cx:pt idx="2081">272.91469970000003</cx:pt>
          <cx:pt idx="2082">272.91521879999999</cx:pt>
          <cx:pt idx="2083">272.91574220000001</cx:pt>
          <cx:pt idx="2084">272.9167885</cx:pt>
          <cx:pt idx="2085">272.91731600000003</cx:pt>
          <cx:pt idx="2086">272.91784319999999</cx:pt>
          <cx:pt idx="2087">272.91993230000003</cx:pt>
          <cx:pt idx="2088">272.92009999999999</cx:pt>
          <cx:pt idx="2089">272.94046209999999</cx:pt>
          <cx:pt idx="2090">273.00019789999999</cx:pt>
          <cx:pt idx="2091">273.0293757</cx:pt>
          <cx:pt idx="2092">273.05947359999999</cx:pt>
          <cx:pt idx="2093">273.08887399999998</cx:pt>
          <cx:pt idx="2094">273.14814969999998</cx:pt>
          <cx:pt idx="2095">273.17824769999999</cx:pt>
          <cx:pt idx="2096">273.2074106</cx:pt>
          <cx:pt idx="2097">273.32664469999997</cx:pt>
          <cx:pt idx="2098">273.35605989999999</cx:pt>
          <cx:pt idx="2099">273.3856978</cx:pt>
          <cx:pt idx="2100">273.41532080000002</cx:pt>
          <cx:pt idx="2101">273.4454187</cx:pt>
          <cx:pt idx="2102">273.47459650000002</cx:pt>
          <cx:pt idx="2103">273.53455489999999</cx:pt>
          <cx:pt idx="2104">273.5637327</cx:pt>
          <cx:pt idx="2105">273.59383059999999</cx:pt>
          <cx:pt idx="2106">273.6230084</cx:pt>
          <cx:pt idx="2107">273.6825068</cx:pt>
          <cx:pt idx="2108">273.71260469999999</cx:pt>
          <cx:pt idx="2109">273.7417825</cx:pt>
          <cx:pt idx="2110">273.77188039999999</cx:pt>
          <cx:pt idx="2111">273.80128079999997</cx:pt>
          <cx:pt idx="2112">273.83137870000002</cx:pt>
          <cx:pt idx="2113">273.86055649999997</cx:pt>
          <cx:pt idx="2114">273.9198174</cx:pt>
          <cx:pt idx="2115">273.94969270000001</cx:pt>
          <cx:pt idx="2116">273.9797906</cx:pt>
          <cx:pt idx="2117">274.03905150000003</cx:pt>
          <cx:pt idx="2118">274.06822929999998</cx:pt>
          <cx:pt idx="2119">274.1578255</cx:pt>
          <cx:pt idx="2120">274.2171012</cx:pt>
          <cx:pt idx="2121">274.24673910000001</cx:pt>
          <cx:pt idx="2122">274.25599999999997</cx:pt>
          <cx:pt idx="2123">274.42280899999997</cx:pt>
          <cx:pt idx="2124">275.40657659999999</cx:pt>
          <cx:pt idx="2125">275.65586819999999</cx:pt>
          <cx:pt idx="2126">276.14289639999998</cx:pt>
          <cx:pt idx="2127">276.39218799999998</cx:pt>
          <cx:pt idx="2128">276.63963569999999</cx:pt>
          <cx:pt idx="2129">277.13047469999998</cx:pt>
          <cx:pt idx="2130">277.37214490000002</cx:pt>
          <cx:pt idx="2131">277.62143650000002</cx:pt>
          <cx:pt idx="2132">277.86876130000002</cx:pt>
          <cx:pt idx="2133">277.94940000000003</cx:pt>
          <cx:pt idx="2134">277.97474399999999</cx:pt>
          <cx:pt idx="2135">278.01337910000001</cx:pt>
          <cx:pt idx="2136">278.05261389999998</cx:pt>
          <cx:pt idx="2137">278.0906493</cx:pt>
          <cx:pt idx="2138">278.12988410000003</cx:pt>
          <cx:pt idx="2139">278.16820969999998</cx:pt>
          <cx:pt idx="2140">278.20744450000001</cx:pt>
          <cx:pt idx="2141">278.24546049999998</cx:pt>
          <cx:pt idx="2142">278.32304019999998</cx:pt>
          <cx:pt idx="2143">278.36227509999998</cx:pt>
          <cx:pt idx="2144">278.4002911</cx:pt>
          <cx:pt idx="2145">278.478161</cx:pt>
          <cx:pt idx="2146">278.51648649999998</cx:pt>
          <cx:pt idx="2147">278.55572139999998</cx:pt>
          <cx:pt idx="2148">278.67102690000002</cx:pt>
          <cx:pt idx="2149">278.71026180000001</cx:pt>
          <cx:pt idx="2150">278.7485873</cx:pt>
          <cx:pt idx="2151">278.82585749999998</cx:pt>
          <cx:pt idx="2152">278.86509230000001</cx:pt>
          <cx:pt idx="2153">278.90341790000002</cx:pt>
          <cx:pt idx="2154">278.94294289999999</cx:pt>
          <cx:pt idx="2155">279.01930379999999</cx:pt>
          <cx:pt idx="2156">279.05853860000002</cx:pt>
          <cx:pt idx="2157">279.09686420000003</cx:pt>
          <cx:pt idx="2158">279.13549929999999</cx:pt>
          <cx:pt idx="2159">279.21336919999999</cx:pt>
          <cx:pt idx="2160">279.25200430000001</cx:pt>
          <cx:pt idx="2161">279.29032979999999</cx:pt>
          <cx:pt idx="2162">279.36819980000001</cx:pt>
          <cx:pt idx="2163">279.4062351</cx:pt>
          <cx:pt idx="2164">279.44547</cx:pt>
          <cx:pt idx="2165">279.52243060000001</cx:pt>
          <cx:pt idx="2166">279.56104629999999</cx:pt>
          <cx:pt idx="2167">279.60028119999998</cx:pt>
          <cx:pt idx="2168">279.63862610000001</cx:pt>
          <cx:pt idx="2169">279.71647669999999</cx:pt>
          <cx:pt idx="2170">279.75451199999998</cx:pt>
          <cx:pt idx="2171">279.79374680000001</cx:pt>
          <cx:pt idx="2172">279.87070749999998</cx:pt>
          <cx:pt idx="2173">279.9093426</cx:pt>
          <cx:pt idx="2174">279.98661279999999</cx:pt>
          <cx:pt idx="2175">280.02584760000002</cx:pt>
          <cx:pt idx="2176">280.1806588</cx:pt>
          <cx:pt idx="2177">280.2962546</cx:pt>
          <cx:pt idx="2178">280.33579889999999</cx:pt>
          <cx:pt idx="2179">280.37412449999999</cx:pt>
          <cx:pt idx="2180">280.56759010000002</cx:pt>
          <cx:pt idx="2181">280.60591570000003</cx:pt>
          <cx:pt idx="2182">280.64455079999999</cx:pt>
          <cx:pt idx="2183">280.68378560000002</cx:pt>
          <cx:pt idx="2184">280.76043670000001</cx:pt>
          <cx:pt idx="2185">280.79967160000001</cx:pt>
          <cx:pt idx="2186">280.8379971</cx:pt>
          <cx:pt idx="2187">280.91526729999998</cx:pt>
          <cx:pt idx="2188">280.95450210000001</cx:pt>
          <cx:pt idx="2189">280.99282770000002</cx:pt>
          <cx:pt idx="2190">281.07009790000001</cx:pt>
          <cx:pt idx="2191">281.10933269999998</cx:pt>
          <cx:pt idx="2192">281.14736799999997</cx:pt>
          <cx:pt idx="2193">281.22492840000001</cx:pt>
          <cx:pt idx="2194">281.2644535</cx:pt>
          <cx:pt idx="2195">281.30279830000001</cx:pt>
          <cx:pt idx="2196">281.37975899999998</cx:pt>
          <cx:pt idx="2197">281.41899380000001</cx:pt>
          <cx:pt idx="2198">281.45760960000001</cx:pt>
          <cx:pt idx="2199">281.5348798</cx:pt>
          <cx:pt idx="2200">281.57320529999998</cx:pt>
          <cx:pt idx="2201">281.61244010000001</cx:pt>
          <cx:pt idx="2202">281.68911059999999</cx:pt>
          <cx:pt idx="2203">281.72834540000002</cx:pt>
          <cx:pt idx="2204">281.76667099999997</cx:pt>
          <cx:pt idx="2205">281.8053061</cx:pt>
          <cx:pt idx="2206">281.84454090000003</cx:pt>
          <cx:pt idx="2207">281.92179169999997</cx:pt>
          <cx:pt idx="2208">281.9601366</cx:pt>
          <cx:pt idx="2209">281.9987524</cx:pt>
          <cx:pt idx="2210">282.1535829</cx:pt>
          <cx:pt idx="2211">282.1928178</cx:pt>
          <cx:pt idx="2212">282.26948820000001</cx:pt>
          <cx:pt idx="2213">282.30872310000001</cx:pt>
          <cx:pt idx="2214">282.38568370000002</cx:pt>
          <cx:pt idx="2215">282.46355360000001</cx:pt>
          <cx:pt idx="2216">282.50216940000001</cx:pt>
          <cx:pt idx="2217">282.54051429999998</cx:pt>
          <cx:pt idx="2218">282.57974910000002</cx:pt>
          <cx:pt idx="2219">282.61836479999999</cx:pt>
          <cx:pt idx="2220">282.65640020000001</cx:pt>
          <cx:pt idx="2221">282.69563499999998</cx:pt>
          <cx:pt idx="2222">282.73396059999999</cx:pt>
          <cx:pt idx="2223">282.77259570000001</cx:pt>
          <cx:pt idx="2224">282.81183049999999</cx:pt>
          <cx:pt idx="2225">282.8498659</cx:pt>
          <cx:pt idx="2226">282.92773579999999</cx:pt>
          <cx:pt idx="2227">282.96606129999998</cx:pt>
          <cx:pt idx="2228">283.00529619999998</cx:pt>
          <cx:pt idx="2229">283.0433122</cx:pt>
          <cx:pt idx="2230">283.54703869999997</cx:pt>
          <cx:pt idx="2231">283.5856738</cx:pt>
          <cx:pt idx="2232">283.62430890000002</cx:pt>
          <cx:pt idx="2233">283.6626344</cx:pt>
          <cx:pt idx="2234">283.70126950000002</cx:pt>
          <cx:pt idx="2235">283.74050440000002</cx:pt>
          <cx:pt idx="2236">283.8180648</cx:pt>
          <cx:pt idx="2237">283.85608079999997</cx:pt>
          <cx:pt idx="2238">283.8953156</cx:pt>
          <cx:pt idx="2239">283.97258579999999</cx:pt>
          <cx:pt idx="2240">284.01122090000001</cx:pt>
          <cx:pt idx="2241">284.0495464</cx:pt>
          <cx:pt idx="2242">284.12681659999998</cx:pt>
          <cx:pt idx="2243">284.16605140000001</cx:pt>
          <cx:pt idx="2244">284.20468649999998</cx:pt>
          <cx:pt idx="2245">284.24301209999999</cx:pt>
          <cx:pt idx="2246">284.28224690000002</cx:pt>
          <cx:pt idx="2247">284.32026289999999</cx:pt>
          <cx:pt idx="2248">284.35889800000001</cx:pt>
          <cx:pt idx="2249">284.39844240000002</cx:pt>
          <cx:pt idx="2250">284.43645839999999</cx:pt>
          <cx:pt idx="2251">284.47569320000002</cx:pt>
          <cx:pt idx="2252">284.51372859999998</cx:pt>
          <cx:pt idx="2253">284.55296340000001</cx:pt>
          <cx:pt idx="2254">284.59099880000002</cx:pt>
          <cx:pt idx="2255">284.8236799</cx:pt>
          <cx:pt idx="2256">284.86202479999997</cx:pt>
          <cx:pt idx="2257">285.01714559999999</cx:pt>
          <cx:pt idx="2258">285.09470599999997</cx:pt>
          <cx:pt idx="2259">285.13274130000002</cx:pt>
          <cx:pt idx="2260">285.17197609999999</cx:pt>
          <cx:pt idx="2261">285.49340000000001</cx:pt>
          <cx:pt idx="2262">285.49340000000001</cx:pt>
          <cx:pt idx="2263">285.49340000000001</cx:pt>
          <cx:pt idx="2264">285.49340000000001</cx:pt>
          <cx:pt idx="2265">285.49340000000001</cx:pt>
          <cx:pt idx="2266">285.49340000000001</cx:pt>
          <cx:pt idx="2267">285.49340000000001</cx:pt>
          <cx:pt idx="2268">285.49340000000001</cx:pt>
          <cx:pt idx="2269">285.49340000000001</cx:pt>
          <cx:pt idx="2270">285.49340000000001</cx:pt>
          <cx:pt idx="2271">285.49340000000001</cx:pt>
          <cx:pt idx="2272">285.49340000000001</cx:pt>
          <cx:pt idx="2273">285.49340000000001</cx:pt>
          <cx:pt idx="2274">285.49340000000001</cx:pt>
          <cx:pt idx="2275">285.49340000000001</cx:pt>
          <cx:pt idx="2276">285.49340000000001</cx:pt>
          <cx:pt idx="2277">285.49340000000001</cx:pt>
          <cx:pt idx="2278">285.49340000000001</cx:pt>
          <cx:pt idx="2279">285.49340000000001</cx:pt>
          <cx:pt idx="2280">285.49340000000001</cx:pt>
          <cx:pt idx="2281">285.49340000000001</cx:pt>
          <cx:pt idx="2282">285.49340000000001</cx:pt>
          <cx:pt idx="2283">285.49340000000001</cx:pt>
          <cx:pt idx="2284">285.49340000000001</cx:pt>
          <cx:pt idx="2285">285.49340000000001</cx:pt>
          <cx:pt idx="2286">285.49340000000001</cx:pt>
          <cx:pt idx="2287">285.49340000000001</cx:pt>
          <cx:pt idx="2288">285.49340000000001</cx:pt>
          <cx:pt idx="2289">285.49340000000001</cx:pt>
          <cx:pt idx="2290">285.49340000000001</cx:pt>
          <cx:pt idx="2291">285.49340000000001</cx:pt>
          <cx:pt idx="2292">285.49340000000001</cx:pt>
          <cx:pt idx="2293">285.49340000000001</cx:pt>
          <cx:pt idx="2294">285.49340000000001</cx:pt>
          <cx:pt idx="2295">285.49340000000001</cx:pt>
          <cx:pt idx="2296">285.49340000000001</cx:pt>
          <cx:pt idx="2297">285.49340000000001</cx:pt>
          <cx:pt idx="2298">285.49340000000001</cx:pt>
          <cx:pt idx="2299">285.49340000000001</cx:pt>
          <cx:pt idx="2300">285.49340000000001</cx:pt>
          <cx:pt idx="2301">285.49340000000001</cx:pt>
          <cx:pt idx="2302">285.49340000000001</cx:pt>
          <cx:pt idx="2303">285.49340000000001</cx:pt>
          <cx:pt idx="2304">285.49340000000001</cx:pt>
          <cx:pt idx="2305">285.49340000000001</cx:pt>
          <cx:pt idx="2306">285.49340000000001</cx:pt>
          <cx:pt idx="2307">285.49340000000001</cx:pt>
          <cx:pt idx="2308">285.49340000000001</cx:pt>
          <cx:pt idx="2309">285.49340000000001</cx:pt>
          <cx:pt idx="2310">285.49340000000001</cx:pt>
          <cx:pt idx="2311">285.49340000000001</cx:pt>
          <cx:pt idx="2312">285.49340000000001</cx:pt>
          <cx:pt idx="2313">285.49340000000001</cx:pt>
          <cx:pt idx="2314">285.49340000000001</cx:pt>
          <cx:pt idx="2315">285.49340000000001</cx:pt>
          <cx:pt idx="2316">285.49340000000001</cx:pt>
          <cx:pt idx="2317">285.49340000000001</cx:pt>
          <cx:pt idx="2318">285.49340000000001</cx:pt>
          <cx:pt idx="2319">285.49340000000001</cx:pt>
          <cx:pt idx="2320">285.49340000000001</cx:pt>
          <cx:pt idx="2321">285.49340000000001</cx:pt>
          <cx:pt idx="2322">285.49340000000001</cx:pt>
          <cx:pt idx="2323">285.49340000000001</cx:pt>
          <cx:pt idx="2324">285.49340000000001</cx:pt>
          <cx:pt idx="2325">285.49340000000001</cx:pt>
          <cx:pt idx="2326">285.49340000000001</cx:pt>
          <cx:pt idx="2327">285.49340000000001</cx:pt>
          <cx:pt idx="2328">285.49340000000001</cx:pt>
          <cx:pt idx="2329">285.49340000000001</cx:pt>
          <cx:pt idx="2330">285.49340000000001</cx:pt>
          <cx:pt idx="2331">285.49340000000001</cx:pt>
          <cx:pt idx="2332">285.49340000000001</cx:pt>
          <cx:pt idx="2333">285.49340000000001</cx:pt>
          <cx:pt idx="2334">285.49340000000001</cx:pt>
          <cx:pt idx="2335">285.49340000000001</cx:pt>
          <cx:pt idx="2336">285.49340000000001</cx:pt>
          <cx:pt idx="2337">285.49340000000001</cx:pt>
          <cx:pt idx="2338">285.49340000000001</cx:pt>
          <cx:pt idx="2339">285.49340000000001</cx:pt>
          <cx:pt idx="2340">285.49340000000001</cx:pt>
          <cx:pt idx="2341">285.49340000000001</cx:pt>
          <cx:pt idx="2342">285.49340000000001</cx:pt>
          <cx:pt idx="2343">285.49340000000001</cx:pt>
          <cx:pt idx="2344">285.49340000000001</cx:pt>
          <cx:pt idx="2345">285.49340000000001</cx:pt>
          <cx:pt idx="2346">285.49340000000001</cx:pt>
          <cx:pt idx="2347">285.49340000000001</cx:pt>
          <cx:pt idx="2348">285.49340000000001</cx:pt>
          <cx:pt idx="2349">285.49340000000001</cx:pt>
          <cx:pt idx="2350">285.49340000000001</cx:pt>
          <cx:pt idx="2351">285.49340000000001</cx:pt>
          <cx:pt idx="2352">285.49340000000001</cx:pt>
          <cx:pt idx="2353">285.49340000000001</cx:pt>
          <cx:pt idx="2354">285.49340000000001</cx:pt>
          <cx:pt idx="2355">285.49340000000001</cx:pt>
          <cx:pt idx="2356">285.49340000000001</cx:pt>
          <cx:pt idx="2357">285.49340000000001</cx:pt>
          <cx:pt idx="2358">285.49340000000001</cx:pt>
          <cx:pt idx="2359">285.49340000000001</cx:pt>
          <cx:pt idx="2360">285.49340000000001</cx:pt>
          <cx:pt idx="2361">285.49340000000001</cx:pt>
          <cx:pt idx="2362">285.49340000000001</cx:pt>
          <cx:pt idx="2363">285.49340000000001</cx:pt>
          <cx:pt idx="2364">285.49340000000001</cx:pt>
          <cx:pt idx="2365">285.49340000000001</cx:pt>
          <cx:pt idx="2366">285.49340000000001</cx:pt>
          <cx:pt idx="2367">285.49340000000001</cx:pt>
          <cx:pt idx="2368">285.49340000000001</cx:pt>
          <cx:pt idx="2369">285.49340000000001</cx:pt>
          <cx:pt idx="2370">285.49340000000001</cx:pt>
          <cx:pt idx="2371">285.49340000000001</cx:pt>
          <cx:pt idx="2372">285.49340000000001</cx:pt>
          <cx:pt idx="2373">285.49340000000001</cx:pt>
          <cx:pt idx="2374">285.49340000000001</cx:pt>
          <cx:pt idx="2375">285.49340000000001</cx:pt>
          <cx:pt idx="2376">285.49340000000001</cx:pt>
          <cx:pt idx="2377">285.49340000000001</cx:pt>
          <cx:pt idx="2378">285.49340000000001</cx:pt>
          <cx:pt idx="2379">285.49340000000001</cx:pt>
          <cx:pt idx="2380">285.49340000000001</cx:pt>
          <cx:pt idx="2381">285.49340000000001</cx:pt>
          <cx:pt idx="2382">285.49340000000001</cx:pt>
          <cx:pt idx="2383">285.49340000000001</cx:pt>
          <cx:pt idx="2384">285.49340000000001</cx:pt>
          <cx:pt idx="2385">285.49340000000001</cx:pt>
          <cx:pt idx="2386">285.49340000000001</cx:pt>
          <cx:pt idx="2387">285.49340000000001</cx:pt>
          <cx:pt idx="2388">285.49340000000001</cx:pt>
          <cx:pt idx="2389">285.49340000000001</cx:pt>
          <cx:pt idx="2390">285.49340000000001</cx:pt>
          <cx:pt idx="2391">285.49340000000001</cx:pt>
          <cx:pt idx="2392">285.49340000000001</cx:pt>
          <cx:pt idx="2393">285.49340000000001</cx:pt>
          <cx:pt idx="2394">285.49340000000001</cx:pt>
          <cx:pt idx="2395">285.49340000000001</cx:pt>
          <cx:pt idx="2396">285.49340000000001</cx:pt>
          <cx:pt idx="2397">285.49340000000001</cx:pt>
          <cx:pt idx="2398">285.49340000000001</cx:pt>
          <cx:pt idx="2399">285.49340000000001</cx:pt>
          <cx:pt idx="2400">285.49340000000001</cx:pt>
          <cx:pt idx="2401">285.49340000000001</cx:pt>
          <cx:pt idx="2402">285.49340000000001</cx:pt>
          <cx:pt idx="2403">285.49340000000001</cx:pt>
          <cx:pt idx="2404">285.49340000000001</cx:pt>
          <cx:pt idx="2405">285.49340000000001</cx:pt>
          <cx:pt idx="2406">285.49340000000001</cx:pt>
          <cx:pt idx="2407">285.49340000000001</cx:pt>
          <cx:pt idx="2408">285.49340000000001</cx:pt>
          <cx:pt idx="2409">285.49340000000001</cx:pt>
          <cx:pt idx="2410">285.49340000000001</cx:pt>
          <cx:pt idx="2411">285.49340000000001</cx:pt>
          <cx:pt idx="2412">285.49340000000001</cx:pt>
          <cx:pt idx="2413">285.49340000000001</cx:pt>
          <cx:pt idx="2414">285.49340000000001</cx:pt>
          <cx:pt idx="2415">285.49340000000001</cx:pt>
          <cx:pt idx="2416">285.49340000000001</cx:pt>
          <cx:pt idx="2417">285.49340000000001</cx:pt>
          <cx:pt idx="2418">285.49340000000001</cx:pt>
          <cx:pt idx="2419">285.49340000000001</cx:pt>
          <cx:pt idx="2420">285.49340000000001</cx:pt>
          <cx:pt idx="2421">285.49340000000001</cx:pt>
          <cx:pt idx="2422">285.49340000000001</cx:pt>
          <cx:pt idx="2423">285.49340000000001</cx:pt>
          <cx:pt idx="2424">285.49340000000001</cx:pt>
          <cx:pt idx="2425">285.49340000000001</cx:pt>
          <cx:pt idx="2426">285.49340000000001</cx:pt>
          <cx:pt idx="2427">285.49340000000001</cx:pt>
          <cx:pt idx="2428">285.49340000000001</cx:pt>
          <cx:pt idx="2429">285.49340000000001</cx:pt>
          <cx:pt idx="2430">285.49340000000001</cx:pt>
          <cx:pt idx="2431">285.49340000000001</cx:pt>
          <cx:pt idx="2432">285.49340000000001</cx:pt>
          <cx:pt idx="2433">285.49340000000001</cx:pt>
          <cx:pt idx="2434">285.49340000000001</cx:pt>
          <cx:pt idx="2435">285.49340000000001</cx:pt>
          <cx:pt idx="2436">285.49340000000001</cx:pt>
          <cx:pt idx="2437">285.49340000000001</cx:pt>
          <cx:pt idx="2438">285.49340000000001</cx:pt>
          <cx:pt idx="2439">285.49340000000001</cx:pt>
          <cx:pt idx="2440">285.49340000000001</cx:pt>
          <cx:pt idx="2441">285.49340000000001</cx:pt>
          <cx:pt idx="2442">285.49340000000001</cx:pt>
          <cx:pt idx="2443">285.49340000000001</cx:pt>
          <cx:pt idx="2444">285.49340000000001</cx:pt>
          <cx:pt idx="2445">285.49340000000001</cx:pt>
          <cx:pt idx="2446">285.49340000000001</cx:pt>
          <cx:pt idx="2447">285.49340000000001</cx:pt>
          <cx:pt idx="2448">285.49340000000001</cx:pt>
          <cx:pt idx="2449">285.49340000000001</cx:pt>
          <cx:pt idx="2450">285.49340000000001</cx:pt>
          <cx:pt idx="2451">285.49340000000001</cx:pt>
          <cx:pt idx="2452">285.49340000000001</cx:pt>
          <cx:pt idx="2453">285.49340000000001</cx:pt>
          <cx:pt idx="2454">285.49340000000001</cx:pt>
          <cx:pt idx="2455">285.49340000000001</cx:pt>
          <cx:pt idx="2456">285.49340000000001</cx:pt>
          <cx:pt idx="2457">285.49340000000001</cx:pt>
          <cx:pt idx="2458">285.49340000000001</cx:pt>
          <cx:pt idx="2459">285.49340000000001</cx:pt>
          <cx:pt idx="2460">285.49340000000001</cx:pt>
          <cx:pt idx="2461">285.49340000000001</cx:pt>
          <cx:pt idx="2462">285.49340000000001</cx:pt>
          <cx:pt idx="2463">285.49340000000001</cx:pt>
          <cx:pt idx="2464">285.49340000000001</cx:pt>
          <cx:pt idx="2465">285.49340000000001</cx:pt>
          <cx:pt idx="2466">285.49340000000001</cx:pt>
          <cx:pt idx="2467">285.49340000000001</cx:pt>
          <cx:pt idx="2468">285.49340000000001</cx:pt>
          <cx:pt idx="2469">285.49340000000001</cx:pt>
          <cx:pt idx="2470">285.49340000000001</cx:pt>
          <cx:pt idx="2471">285.49340000000001</cx:pt>
          <cx:pt idx="2472">285.49340000000001</cx:pt>
          <cx:pt idx="2473">285.49340000000001</cx:pt>
          <cx:pt idx="2474">285.49340000000001</cx:pt>
          <cx:pt idx="2475">285.49340000000001</cx:pt>
          <cx:pt idx="2476">285.49340000000001</cx:pt>
          <cx:pt idx="2477">285.49340000000001</cx:pt>
          <cx:pt idx="2478">285.49340000000001</cx:pt>
          <cx:pt idx="2479">285.49340000000001</cx:pt>
          <cx:pt idx="2480">285.49340000000001</cx:pt>
          <cx:pt idx="2481">285.49340000000001</cx:pt>
          <cx:pt idx="2482">285.49340000000001</cx:pt>
          <cx:pt idx="2483">285.49340000000001</cx:pt>
          <cx:pt idx="2484">285.49340000000001</cx:pt>
          <cx:pt idx="2485">285.49340000000001</cx:pt>
          <cx:pt idx="2486">285.49340000000001</cx:pt>
          <cx:pt idx="2487">285.49340000000001</cx:pt>
          <cx:pt idx="2488">285.49340000000001</cx:pt>
          <cx:pt idx="2489">285.49340000000001</cx:pt>
          <cx:pt idx="2490">285.49340000000001</cx:pt>
          <cx:pt idx="2491">285.49340000000001</cx:pt>
          <cx:pt idx="2492">285.49340000000001</cx:pt>
          <cx:pt idx="2493">285.49340000000001</cx:pt>
          <cx:pt idx="2494">285.49340000000001</cx:pt>
          <cx:pt idx="2495">285.49340000000001</cx:pt>
          <cx:pt idx="2496">285.49340000000001</cx:pt>
          <cx:pt idx="2497">285.49340000000001</cx:pt>
          <cx:pt idx="2498">285.49340000000001</cx:pt>
          <cx:pt idx="2499">285.49340000000001</cx:pt>
          <cx:pt idx="2500">285.49340000000001</cx:pt>
          <cx:pt idx="2501">285.49340000000001</cx:pt>
          <cx:pt idx="2502">285.49340000000001</cx:pt>
          <cx:pt idx="2503">285.49340000000001</cx:pt>
          <cx:pt idx="2504">285.49340000000001</cx:pt>
          <cx:pt idx="2505">285.49340000000001</cx:pt>
          <cx:pt idx="2506">285.49340000000001</cx:pt>
          <cx:pt idx="2507">285.49340000000001</cx:pt>
          <cx:pt idx="2508">285.49340000000001</cx:pt>
          <cx:pt idx="2509">285.49340000000001</cx:pt>
          <cx:pt idx="2510">285.49340000000001</cx:pt>
          <cx:pt idx="2511">285.49340000000001</cx:pt>
          <cx:pt idx="2512">285.49340000000001</cx:pt>
          <cx:pt idx="2513">285.49340000000001</cx:pt>
          <cx:pt idx="2514">285.49340000000001</cx:pt>
          <cx:pt idx="2515">285.49340000000001</cx:pt>
          <cx:pt idx="2516">285.49340000000001</cx:pt>
          <cx:pt idx="2517">285.49340000000001</cx:pt>
          <cx:pt idx="2518">285.49340000000001</cx:pt>
          <cx:pt idx="2519">285.49340000000001</cx:pt>
          <cx:pt idx="2520">285.49340000000001</cx:pt>
          <cx:pt idx="2521">285.49340000000001</cx:pt>
          <cx:pt idx="2522">285.49340000000001</cx:pt>
          <cx:pt idx="2523">285.49340000000001</cx:pt>
          <cx:pt idx="2524">285.49340000000001</cx:pt>
          <cx:pt idx="2525">285.49340000000001</cx:pt>
          <cx:pt idx="2526">285.49340000000001</cx:pt>
          <cx:pt idx="2527">285.49340000000001</cx:pt>
          <cx:pt idx="2528">285.49340000000001</cx:pt>
          <cx:pt idx="2529">285.49340000000001</cx:pt>
          <cx:pt idx="2530">285.49340000000001</cx:pt>
          <cx:pt idx="2531">285.49340000000001</cx:pt>
          <cx:pt idx="2532">285.49340000000001</cx:pt>
          <cx:pt idx="2533">285.49340000000001</cx:pt>
          <cx:pt idx="2534">285.49340000000001</cx:pt>
          <cx:pt idx="2535">285.49340000000001</cx:pt>
          <cx:pt idx="2536">285.49340000000001</cx:pt>
          <cx:pt idx="2537">285.49340000000001</cx:pt>
          <cx:pt idx="2538">285.49340000000001</cx:pt>
          <cx:pt idx="2539">285.49340000000001</cx:pt>
          <cx:pt idx="2540">285.49340000000001</cx:pt>
          <cx:pt idx="2541">285.49340000000001</cx:pt>
          <cx:pt idx="2542">285.49340000000001</cx:pt>
          <cx:pt idx="2543">285.49340000000001</cx:pt>
          <cx:pt idx="2544">285.49340000000001</cx:pt>
          <cx:pt idx="2545">285.49340000000001</cx:pt>
          <cx:pt idx="2546">285.49340000000001</cx:pt>
          <cx:pt idx="2547">285.49340000000001</cx:pt>
          <cx:pt idx="2548">285.49340000000001</cx:pt>
          <cx:pt idx="2549">285.49340000000001</cx:pt>
          <cx:pt idx="2550">285.49340000000001</cx:pt>
          <cx:pt idx="2551">285.49340000000001</cx:pt>
          <cx:pt idx="2552">285.49340000000001</cx:pt>
          <cx:pt idx="2553">285.49340000000001</cx:pt>
          <cx:pt idx="2554">285.49340000000001</cx:pt>
          <cx:pt idx="2555">285.49340000000001</cx:pt>
          <cx:pt idx="2556">285.49340000000001</cx:pt>
          <cx:pt idx="2557">285.49340000000001</cx:pt>
          <cx:pt idx="2558">285.49340000000001</cx:pt>
          <cx:pt idx="2559">285.49340000000001</cx:pt>
          <cx:pt idx="2560">285.49340000000001</cx:pt>
          <cx:pt idx="2561">285.49340000000001</cx:pt>
          <cx:pt idx="2562">285.49340000000001</cx:pt>
          <cx:pt idx="2563">285.49340000000001</cx:pt>
          <cx:pt idx="2564">285.49340000000001</cx:pt>
          <cx:pt idx="2565">285.49340000000001</cx:pt>
          <cx:pt idx="2566">285.49340000000001</cx:pt>
          <cx:pt idx="2567">285.49340000000001</cx:pt>
          <cx:pt idx="2568">285.49340000000001</cx:pt>
          <cx:pt idx="2569">285.49340000000001</cx:pt>
          <cx:pt idx="2570">285.49340000000001</cx:pt>
          <cx:pt idx="2571">285.49340000000001</cx:pt>
          <cx:pt idx="2572">285.49340000000001</cx:pt>
          <cx:pt idx="2573">285.49340000000001</cx:pt>
          <cx:pt idx="2574">285.49340000000001</cx:pt>
          <cx:pt idx="2575">285.49340000000001</cx:pt>
          <cx:pt idx="2576">285.49340000000001</cx:pt>
          <cx:pt idx="2577">285.49340000000001</cx:pt>
          <cx:pt idx="2578">285.49340000000001</cx:pt>
          <cx:pt idx="2579">285.49340000000001</cx:pt>
          <cx:pt idx="2580">285.49340000000001</cx:pt>
          <cx:pt idx="2581">285.49340000000001</cx:pt>
          <cx:pt idx="2582">285.49340000000001</cx:pt>
          <cx:pt idx="2583">285.49340000000001</cx:pt>
          <cx:pt idx="2584">285.49340000000001</cx:pt>
          <cx:pt idx="2585">285.49340000000001</cx:pt>
          <cx:pt idx="2586">285.49340000000001</cx:pt>
          <cx:pt idx="2587">285.49340000000001</cx:pt>
          <cx:pt idx="2588">285.49340000000001</cx:pt>
          <cx:pt idx="2589">285.49340000000001</cx:pt>
          <cx:pt idx="2590">285.49340000000001</cx:pt>
          <cx:pt idx="2591">285.49340000000001</cx:pt>
          <cx:pt idx="2592">285.49340000000001</cx:pt>
          <cx:pt idx="2593">285.49340000000001</cx:pt>
          <cx:pt idx="2594">285.49340000000001</cx:pt>
          <cx:pt idx="2595">285.49340000000001</cx:pt>
          <cx:pt idx="2596">285.49340000000001</cx:pt>
          <cx:pt idx="2597">285.49340000000001</cx:pt>
          <cx:pt idx="2598">285.49340000000001</cx:pt>
          <cx:pt idx="2599">285.49340000000001</cx:pt>
          <cx:pt idx="2600">285.49340000000001</cx:pt>
          <cx:pt idx="2601">285.49340000000001</cx:pt>
          <cx:pt idx="2602">285.49340000000001</cx:pt>
          <cx:pt idx="2603">285.49340000000001</cx:pt>
          <cx:pt idx="2604">285.49340000000001</cx:pt>
          <cx:pt idx="2605">285.49340000000001</cx:pt>
          <cx:pt idx="2606">285.49340000000001</cx:pt>
          <cx:pt idx="2607">285.49340000000001</cx:pt>
          <cx:pt idx="2608">285.49340000000001</cx:pt>
          <cx:pt idx="2609">285.49340000000001</cx:pt>
          <cx:pt idx="2610">285.49340000000001</cx:pt>
          <cx:pt idx="2611">285.49340000000001</cx:pt>
          <cx:pt idx="2612">285.49340000000001</cx:pt>
          <cx:pt idx="2613">285.49340000000001</cx:pt>
          <cx:pt idx="2614">285.49340000000001</cx:pt>
          <cx:pt idx="2615">285.49340000000001</cx:pt>
          <cx:pt idx="2616">285.49340000000001</cx:pt>
          <cx:pt idx="2617">285.49340000000001</cx:pt>
          <cx:pt idx="2618">285.49340000000001</cx:pt>
          <cx:pt idx="2619">285.49340000000001</cx:pt>
          <cx:pt idx="2620">285.49340000000001</cx:pt>
          <cx:pt idx="2621">285.49340000000001</cx:pt>
          <cx:pt idx="2622">285.49340000000001</cx:pt>
          <cx:pt idx="2623">285.49340000000001</cx:pt>
          <cx:pt idx="2624">285.49340000000001</cx:pt>
          <cx:pt idx="2625">285.49340000000001</cx:pt>
          <cx:pt idx="2626">285.49340000000001</cx:pt>
          <cx:pt idx="2627">285.49340000000001</cx:pt>
          <cx:pt idx="2628">285.49340000000001</cx:pt>
          <cx:pt idx="2629">285.49340000000001</cx:pt>
          <cx:pt idx="2630">285.49340000000001</cx:pt>
          <cx:pt idx="2631">285.49340000000001</cx:pt>
          <cx:pt idx="2632">285.49340000000001</cx:pt>
          <cx:pt idx="2633">285.49340000000001</cx:pt>
          <cx:pt idx="2634">285.49340000000001</cx:pt>
          <cx:pt idx="2635">285.49340000000001</cx:pt>
          <cx:pt idx="2636">285.49340000000001</cx:pt>
          <cx:pt idx="2637">285.49340000000001</cx:pt>
          <cx:pt idx="2638">285.49340000000001</cx:pt>
          <cx:pt idx="2639">285.49340000000001</cx:pt>
          <cx:pt idx="2640">285.49340000000001</cx:pt>
          <cx:pt idx="2641">285.49340000000001</cx:pt>
          <cx:pt idx="2642">285.49340000000001</cx:pt>
          <cx:pt idx="2643">285.49340000000001</cx:pt>
          <cx:pt idx="2644">285.49340000000001</cx:pt>
          <cx:pt idx="2645">285.49340000000001</cx:pt>
          <cx:pt idx="2646">285.49340000000001</cx:pt>
          <cx:pt idx="2647">285.49340000000001</cx:pt>
          <cx:pt idx="2648">285.49340000000001</cx:pt>
          <cx:pt idx="2649">285.49340000000001</cx:pt>
          <cx:pt idx="2650">285.49340000000001</cx:pt>
          <cx:pt idx="2651">285.49340000000001</cx:pt>
          <cx:pt idx="2652">285.49340000000001</cx:pt>
          <cx:pt idx="2653">285.49340000000001</cx:pt>
          <cx:pt idx="2654">285.49340000000001</cx:pt>
          <cx:pt idx="2655">285.49340000000001</cx:pt>
          <cx:pt idx="2656">285.49340000000001</cx:pt>
          <cx:pt idx="2657">285.49340000000001</cx:pt>
          <cx:pt idx="2658">285.49340000000001</cx:pt>
          <cx:pt idx="2659">285.49340000000001</cx:pt>
          <cx:pt idx="2660">285.49340000000001</cx:pt>
          <cx:pt idx="2661">285.49340000000001</cx:pt>
          <cx:pt idx="2662">285.49340000000001</cx:pt>
          <cx:pt idx="2663">285.49340000000001</cx:pt>
          <cx:pt idx="2664">285.49340000000001</cx:pt>
          <cx:pt idx="2665">285.49340000000001</cx:pt>
          <cx:pt idx="2666">285.49340000000001</cx:pt>
          <cx:pt idx="2667">285.49340000000001</cx:pt>
          <cx:pt idx="2668">285.49340000000001</cx:pt>
          <cx:pt idx="2669">285.49340000000001</cx:pt>
          <cx:pt idx="2670">285.49340000000001</cx:pt>
          <cx:pt idx="2671">285.49340000000001</cx:pt>
          <cx:pt idx="2672">285.49340000000001</cx:pt>
          <cx:pt idx="2673">285.49340000000001</cx:pt>
          <cx:pt idx="2674">285.49340000000001</cx:pt>
          <cx:pt idx="2675">285.49340000000001</cx:pt>
          <cx:pt idx="2676">285.49340000000001</cx:pt>
          <cx:pt idx="2677">285.49340000000001</cx:pt>
          <cx:pt idx="2678">285.49340000000001</cx:pt>
          <cx:pt idx="2679">285.49340000000001</cx:pt>
          <cx:pt idx="2680">285.49340000000001</cx:pt>
          <cx:pt idx="2681">285.49340000000001</cx:pt>
          <cx:pt idx="2682">285.49340000000001</cx:pt>
          <cx:pt idx="2683">285.49340000000001</cx:pt>
          <cx:pt idx="2684">285.49340000000001</cx:pt>
          <cx:pt idx="2685">285.49340000000001</cx:pt>
          <cx:pt idx="2686">285.49340000000001</cx:pt>
          <cx:pt idx="2687">285.49340000000001</cx:pt>
          <cx:pt idx="2688">285.49340000000001</cx:pt>
          <cx:pt idx="2689">285.49340000000001</cx:pt>
          <cx:pt idx="2690">285.49340000000001</cx:pt>
          <cx:pt idx="2691">285.49340000000001</cx:pt>
          <cx:pt idx="2692">285.49340000000001</cx:pt>
          <cx:pt idx="2693">285.49340000000001</cx:pt>
          <cx:pt idx="2694">285.49340000000001</cx:pt>
          <cx:pt idx="2695">285.49340000000001</cx:pt>
          <cx:pt idx="2696">285.49340000000001</cx:pt>
          <cx:pt idx="2697">285.49340000000001</cx:pt>
          <cx:pt idx="2698">285.49340000000001</cx:pt>
          <cx:pt idx="2699">285.49340000000001</cx:pt>
          <cx:pt idx="2700">285.49340000000001</cx:pt>
          <cx:pt idx="2701">285.49340000000001</cx:pt>
          <cx:pt idx="2702">285.49340000000001</cx:pt>
          <cx:pt idx="2703">285.49340000000001</cx:pt>
          <cx:pt idx="2704">285.49340000000001</cx:pt>
          <cx:pt idx="2705">285.49340000000001</cx:pt>
          <cx:pt idx="2706">285.49340000000001</cx:pt>
          <cx:pt idx="2707">285.49340000000001</cx:pt>
          <cx:pt idx="2708">285.49340000000001</cx:pt>
          <cx:pt idx="2709">285.49340000000001</cx:pt>
          <cx:pt idx="2710">285.49340000000001</cx:pt>
          <cx:pt idx="2711">285.49340000000001</cx:pt>
          <cx:pt idx="2712">285.49340000000001</cx:pt>
          <cx:pt idx="2713">285.49340000000001</cx:pt>
          <cx:pt idx="2714">285.49340000000001</cx:pt>
          <cx:pt idx="2715">285.49340000000001</cx:pt>
          <cx:pt idx="2716">285.49340000000001</cx:pt>
          <cx:pt idx="2717">285.49340000000001</cx:pt>
          <cx:pt idx="2718">285.49340000000001</cx:pt>
          <cx:pt idx="2719">285.49340000000001</cx:pt>
          <cx:pt idx="2720">285.49340000000001</cx:pt>
          <cx:pt idx="2721">285.49340000000001</cx:pt>
          <cx:pt idx="2722">285.49340000000001</cx:pt>
          <cx:pt idx="2723">285.49340000000001</cx:pt>
          <cx:pt idx="2724">285.49340000000001</cx:pt>
          <cx:pt idx="2725">285.49340000000001</cx:pt>
          <cx:pt idx="2726">285.49340000000001</cx:pt>
          <cx:pt idx="2727">285.49340000000001</cx:pt>
          <cx:pt idx="2728">285.49340000000001</cx:pt>
          <cx:pt idx="2729">285.49340000000001</cx:pt>
          <cx:pt idx="2730">285.49340000000001</cx:pt>
          <cx:pt idx="2731">285.49340000000001</cx:pt>
          <cx:pt idx="2732">285.49340000000001</cx:pt>
          <cx:pt idx="2733">285.49340000000001</cx:pt>
          <cx:pt idx="2734">285.49340000000001</cx:pt>
          <cx:pt idx="2735">285.49340000000001</cx:pt>
          <cx:pt idx="2736">285.49340000000001</cx:pt>
          <cx:pt idx="2737">285.49340000000001</cx:pt>
          <cx:pt idx="2738">285.49340000000001</cx:pt>
          <cx:pt idx="2739">285.49340000000001</cx:pt>
          <cx:pt idx="2740">285.49340000000001</cx:pt>
          <cx:pt idx="2741">285.49340000000001</cx:pt>
          <cx:pt idx="2742">285.49340000000001</cx:pt>
          <cx:pt idx="2743">285.49340000000001</cx:pt>
          <cx:pt idx="2744">285.49340000000001</cx:pt>
          <cx:pt idx="2745">285.49340000000001</cx:pt>
          <cx:pt idx="2746">285.49340000000001</cx:pt>
          <cx:pt idx="2747">285.49340000000001</cx:pt>
          <cx:pt idx="2748">285.49340000000001</cx:pt>
          <cx:pt idx="2749">285.49340000000001</cx:pt>
          <cx:pt idx="2750">285.49340000000001</cx:pt>
          <cx:pt idx="2751">285.49340000000001</cx:pt>
          <cx:pt idx="2752">285.49340000000001</cx:pt>
          <cx:pt idx="2753">285.49340000000001</cx:pt>
          <cx:pt idx="2754">285.49340000000001</cx:pt>
          <cx:pt idx="2755">285.49340000000001</cx:pt>
          <cx:pt idx="2756">285.49340000000001</cx:pt>
          <cx:pt idx="2757">285.49340000000001</cx:pt>
          <cx:pt idx="2758">285.49340000000001</cx:pt>
          <cx:pt idx="2759">285.49340000000001</cx:pt>
          <cx:pt idx="2760">285.49340000000001</cx:pt>
          <cx:pt idx="2761">285.49340000000001</cx:pt>
          <cx:pt idx="2762">285.49340000000001</cx:pt>
          <cx:pt idx="2763">285.49340000000001</cx:pt>
          <cx:pt idx="2764">285.49340000000001</cx:pt>
          <cx:pt idx="2765">285.49340000000001</cx:pt>
          <cx:pt idx="2766">285.49340000000001</cx:pt>
          <cx:pt idx="2767">285.49340000000001</cx:pt>
          <cx:pt idx="2768">285.49340000000001</cx:pt>
          <cx:pt idx="2769">285.49340000000001</cx:pt>
          <cx:pt idx="2770">285.49340000000001</cx:pt>
          <cx:pt idx="2771">285.49340000000001</cx:pt>
          <cx:pt idx="2772">285.49340000000001</cx:pt>
          <cx:pt idx="2773">285.49340000000001</cx:pt>
          <cx:pt idx="2774">285.49340000000001</cx:pt>
          <cx:pt idx="2775">285.49340000000001</cx:pt>
          <cx:pt idx="2776">285.49340000000001</cx:pt>
          <cx:pt idx="2777">285.49340000000001</cx:pt>
          <cx:pt idx="2778">285.49340000000001</cx:pt>
          <cx:pt idx="2779">285.49340000000001</cx:pt>
          <cx:pt idx="2780">285.49340000000001</cx:pt>
          <cx:pt idx="2781">285.49340000000001</cx:pt>
          <cx:pt idx="2782">285.49340000000001</cx:pt>
          <cx:pt idx="2783">285.49340000000001</cx:pt>
          <cx:pt idx="2784">285.49340000000001</cx:pt>
          <cx:pt idx="2785">285.49340000000001</cx:pt>
          <cx:pt idx="2786">285.49340000000001</cx:pt>
          <cx:pt idx="2787">285.49340000000001</cx:pt>
          <cx:pt idx="2788">285.49340000000001</cx:pt>
          <cx:pt idx="2789">285.49340000000001</cx:pt>
          <cx:pt idx="2790">285.49340000000001</cx:pt>
          <cx:pt idx="2791">285.49340000000001</cx:pt>
          <cx:pt idx="2792">285.49340000000001</cx:pt>
          <cx:pt idx="2793">285.49340000000001</cx:pt>
          <cx:pt idx="2794">285.49340000000001</cx:pt>
          <cx:pt idx="2795">285.49340000000001</cx:pt>
          <cx:pt idx="2796">285.49340000000001</cx:pt>
          <cx:pt idx="2797">285.49340000000001</cx:pt>
          <cx:pt idx="2798">285.49340000000001</cx:pt>
          <cx:pt idx="2799">285.49340000000001</cx:pt>
          <cx:pt idx="2800">285.49340000000001</cx:pt>
          <cx:pt idx="2801">285.49340000000001</cx:pt>
          <cx:pt idx="2802">285.49340000000001</cx:pt>
          <cx:pt idx="2803">285.49340000000001</cx:pt>
          <cx:pt idx="2804">285.49340000000001</cx:pt>
          <cx:pt idx="2805">285.49340000000001</cx:pt>
          <cx:pt idx="2806">285.49340000000001</cx:pt>
          <cx:pt idx="2807">285.49340000000001</cx:pt>
          <cx:pt idx="2808">285.49340000000001</cx:pt>
          <cx:pt idx="2809">285.49340000000001</cx:pt>
          <cx:pt idx="2810">285.49340000000001</cx:pt>
          <cx:pt idx="2811">285.49340000000001</cx:pt>
          <cx:pt idx="2812">285.49340000000001</cx:pt>
          <cx:pt idx="2813">285.49340000000001</cx:pt>
          <cx:pt idx="2814">285.49340000000001</cx:pt>
          <cx:pt idx="2815">285.49340000000001</cx:pt>
          <cx:pt idx="2816">285.49340000000001</cx:pt>
          <cx:pt idx="2817">285.49340000000001</cx:pt>
          <cx:pt idx="2818">285.49340000000001</cx:pt>
          <cx:pt idx="2819">285.49340000000001</cx:pt>
          <cx:pt idx="2820">285.49340000000001</cx:pt>
          <cx:pt idx="2821">285.49340000000001</cx:pt>
          <cx:pt idx="2822">285.49340000000001</cx:pt>
          <cx:pt idx="2823">285.49340000000001</cx:pt>
          <cx:pt idx="2824">285.49340000000001</cx:pt>
          <cx:pt idx="2825">285.49340000000001</cx:pt>
          <cx:pt idx="2826">285.49340000000001</cx:pt>
          <cx:pt idx="2827">285.49340000000001</cx:pt>
          <cx:pt idx="2828">285.49340000000001</cx:pt>
          <cx:pt idx="2829">285.49340000000001</cx:pt>
          <cx:pt idx="2830">285.49340000000001</cx:pt>
          <cx:pt idx="2831">285.49340000000001</cx:pt>
          <cx:pt idx="2832">285.49340000000001</cx:pt>
          <cx:pt idx="2833">285.49340000000001</cx:pt>
          <cx:pt idx="2834">285.49340000000001</cx:pt>
          <cx:pt idx="2835">285.49340000000001</cx:pt>
          <cx:pt idx="2836">285.49340000000001</cx:pt>
          <cx:pt idx="2837">285.49340000000001</cx:pt>
          <cx:pt idx="2838">285.49340000000001</cx:pt>
          <cx:pt idx="2839">285.49340000000001</cx:pt>
          <cx:pt idx="2840">285.49340000000001</cx:pt>
          <cx:pt idx="2841">285.49340000000001</cx:pt>
          <cx:pt idx="2842">285.49340000000001</cx:pt>
          <cx:pt idx="2843">285.49340000000001</cx:pt>
          <cx:pt idx="2844">285.49340000000001</cx:pt>
          <cx:pt idx="2845">285.49340000000001</cx:pt>
          <cx:pt idx="2846">285.49340000000001</cx:pt>
          <cx:pt idx="2847">285.49340000000001</cx:pt>
          <cx:pt idx="2848">285.49340000000001</cx:pt>
          <cx:pt idx="2849">285.49340000000001</cx:pt>
          <cx:pt idx="2850">285.49340000000001</cx:pt>
          <cx:pt idx="2851">285.49340000000001</cx:pt>
          <cx:pt idx="2852">285.49340000000001</cx:pt>
          <cx:pt idx="2853">285.49340000000001</cx:pt>
          <cx:pt idx="2854">285.49340000000001</cx:pt>
          <cx:pt idx="2855">285.49340000000001</cx:pt>
          <cx:pt idx="2856">285.49340000000001</cx:pt>
          <cx:pt idx="2857">285.49340000000001</cx:pt>
          <cx:pt idx="2858">285.49340000000001</cx:pt>
          <cx:pt idx="2859">285.49340000000001</cx:pt>
          <cx:pt idx="2860">285.49340000000001</cx:pt>
          <cx:pt idx="2861">285.49340000000001</cx:pt>
          <cx:pt idx="2862">285.49340000000001</cx:pt>
          <cx:pt idx="2863">285.49340000000001</cx:pt>
          <cx:pt idx="2864">285.49340000000001</cx:pt>
          <cx:pt idx="2865">285.49340000000001</cx:pt>
          <cx:pt idx="2866">285.49340000000001</cx:pt>
          <cx:pt idx="2867">285.49340000000001</cx:pt>
          <cx:pt idx="2868">285.49340000000001</cx:pt>
          <cx:pt idx="2869">285.49340000000001</cx:pt>
          <cx:pt idx="2870">285.49340000000001</cx:pt>
          <cx:pt idx="2871">285.49340000000001</cx:pt>
          <cx:pt idx="2872">285.49340000000001</cx:pt>
          <cx:pt idx="2873">285.49340000000001</cx:pt>
          <cx:pt idx="2874">285.49340000000001</cx:pt>
          <cx:pt idx="2875">285.49340000000001</cx:pt>
          <cx:pt idx="2876">285.49340000000001</cx:pt>
          <cx:pt idx="2877">285.49340000000001</cx:pt>
          <cx:pt idx="2878">285.49340000000001</cx:pt>
          <cx:pt idx="2879">285.49340000000001</cx:pt>
          <cx:pt idx="2880">285.49340000000001</cx:pt>
          <cx:pt idx="2881">285.49340000000001</cx:pt>
          <cx:pt idx="2882">285.49340000000001</cx:pt>
          <cx:pt idx="2883">285.49340000000001</cx:pt>
          <cx:pt idx="2884">285.49340000000001</cx:pt>
          <cx:pt idx="2885">285.49340000000001</cx:pt>
          <cx:pt idx="2886">285.49340000000001</cx:pt>
          <cx:pt idx="2887">285.49340000000001</cx:pt>
          <cx:pt idx="2888">285.49340000000001</cx:pt>
          <cx:pt idx="2889">285.49340000000001</cx:pt>
          <cx:pt idx="2890">285.49340000000001</cx:pt>
          <cx:pt idx="2891">285.49340000000001</cx:pt>
          <cx:pt idx="2892">285.49340000000001</cx:pt>
          <cx:pt idx="2893">285.49340000000001</cx:pt>
          <cx:pt idx="2894">285.49340000000001</cx:pt>
          <cx:pt idx="2895">285.49340000000001</cx:pt>
          <cx:pt idx="2896">285.49340000000001</cx:pt>
          <cx:pt idx="2897">285.49340000000001</cx:pt>
          <cx:pt idx="2898">285.49340000000001</cx:pt>
          <cx:pt idx="2899">285.49340000000001</cx:pt>
          <cx:pt idx="2900">285.49340000000001</cx:pt>
          <cx:pt idx="2901">285.49340000000001</cx:pt>
          <cx:pt idx="2902">285.49340000000001</cx:pt>
          <cx:pt idx="2903">285.49340000000001</cx:pt>
          <cx:pt idx="2904">285.49340000000001</cx:pt>
          <cx:pt idx="2905">285.49340000000001</cx:pt>
          <cx:pt idx="2906">285.49340000000001</cx:pt>
          <cx:pt idx="2907">285.49340000000001</cx:pt>
          <cx:pt idx="2908">285.49340000000001</cx:pt>
          <cx:pt idx="2909">285.49340000000001</cx:pt>
          <cx:pt idx="2910">285.49340000000001</cx:pt>
          <cx:pt idx="2911">285.49340000000001</cx:pt>
          <cx:pt idx="2912">285.49340000000001</cx:pt>
          <cx:pt idx="2913">285.49340000000001</cx:pt>
          <cx:pt idx="2914">285.49340000000001</cx:pt>
          <cx:pt idx="2915">285.49340000000001</cx:pt>
          <cx:pt idx="2916">285.49340000000001</cx:pt>
          <cx:pt idx="2917">285.49340000000001</cx:pt>
          <cx:pt idx="2918">285.49340000000001</cx:pt>
          <cx:pt idx="2919">285.49340000000001</cx:pt>
          <cx:pt idx="2920">285.49340000000001</cx:pt>
          <cx:pt idx="2921">285.49340000000001</cx:pt>
          <cx:pt idx="2922">285.49340000000001</cx:pt>
          <cx:pt idx="2923">285.49340000000001</cx:pt>
          <cx:pt idx="2924">285.49340000000001</cx:pt>
          <cx:pt idx="2925">285.49340000000001</cx:pt>
          <cx:pt idx="2926">285.49340000000001</cx:pt>
          <cx:pt idx="2927">285.49340000000001</cx:pt>
          <cx:pt idx="2928">285.49340000000001</cx:pt>
          <cx:pt idx="2929">285.49340000000001</cx:pt>
          <cx:pt idx="2930">285.49340000000001</cx:pt>
          <cx:pt idx="2931">285.49340000000001</cx:pt>
          <cx:pt idx="2932">285.49340000000001</cx:pt>
          <cx:pt idx="2933">285.49340000000001</cx:pt>
          <cx:pt idx="2934">285.49340000000001</cx:pt>
          <cx:pt idx="2935">285.49340000000001</cx:pt>
          <cx:pt idx="2936">285.49340000000001</cx:pt>
          <cx:pt idx="2937">285.49340000000001</cx:pt>
          <cx:pt idx="2938">285.49340000000001</cx:pt>
          <cx:pt idx="2939">285.49340000000001</cx:pt>
          <cx:pt idx="2940">285.49340000000001</cx:pt>
          <cx:pt idx="2941">285.49340000000001</cx:pt>
          <cx:pt idx="2942">285.49340000000001</cx:pt>
          <cx:pt idx="2943">285.49340000000001</cx:pt>
          <cx:pt idx="2944">285.49340000000001</cx:pt>
          <cx:pt idx="2945">285.49340000000001</cx:pt>
          <cx:pt idx="2946">285.49340000000001</cx:pt>
          <cx:pt idx="2947">285.49340000000001</cx:pt>
          <cx:pt idx="2948">285.49340000000001</cx:pt>
          <cx:pt idx="2949">285.49340000000001</cx:pt>
          <cx:pt idx="2950">285.49340000000001</cx:pt>
          <cx:pt idx="2951">285.49340000000001</cx:pt>
          <cx:pt idx="2952">285.49340000000001</cx:pt>
          <cx:pt idx="2953">285.49340000000001</cx:pt>
          <cx:pt idx="2954">285.49340000000001</cx:pt>
          <cx:pt idx="2955">285.49340000000001</cx:pt>
          <cx:pt idx="2956">285.49340000000001</cx:pt>
          <cx:pt idx="2957">285.49340000000001</cx:pt>
          <cx:pt idx="2958">285.49340000000001</cx:pt>
          <cx:pt idx="2959">285.49340000000001</cx:pt>
          <cx:pt idx="2960">285.49340000000001</cx:pt>
          <cx:pt idx="2961">285.49340000000001</cx:pt>
          <cx:pt idx="2962">285.49340000000001</cx:pt>
          <cx:pt idx="2963">285.49340000000001</cx:pt>
          <cx:pt idx="2964">285.49340000000001</cx:pt>
          <cx:pt idx="2965">285.49340000000001</cx:pt>
          <cx:pt idx="2966">285.49340000000001</cx:pt>
          <cx:pt idx="2967">285.49340000000001</cx:pt>
          <cx:pt idx="2968">285.49340000000001</cx:pt>
          <cx:pt idx="2969">285.49340000000001</cx:pt>
          <cx:pt idx="2970">285.49340000000001</cx:pt>
          <cx:pt idx="2971">285.49340000000001</cx:pt>
          <cx:pt idx="2972">285.49340000000001</cx:pt>
          <cx:pt idx="2973">285.49340000000001</cx:pt>
          <cx:pt idx="2974">285.49340000000001</cx:pt>
          <cx:pt idx="2975">285.49340000000001</cx:pt>
          <cx:pt idx="2976">285.49340000000001</cx:pt>
          <cx:pt idx="2977">285.49340000000001</cx:pt>
          <cx:pt idx="2978">285.49340000000001</cx:pt>
          <cx:pt idx="2979">285.49340000000001</cx:pt>
          <cx:pt idx="2980">285.49340000000001</cx:pt>
          <cx:pt idx="2981">285.49340000000001</cx:pt>
          <cx:pt idx="2982">285.49340000000001</cx:pt>
          <cx:pt idx="2983">285.49340000000001</cx:pt>
          <cx:pt idx="2984">285.49340000000001</cx:pt>
          <cx:pt idx="2985">285.49340000000001</cx:pt>
          <cx:pt idx="2986">285.49340000000001</cx:pt>
          <cx:pt idx="2987">285.49340000000001</cx:pt>
          <cx:pt idx="2988">285.49340000000001</cx:pt>
          <cx:pt idx="2989">285.49340000000001</cx:pt>
          <cx:pt idx="2990">285.49340000000001</cx:pt>
          <cx:pt idx="2991">285.49340000000001</cx:pt>
          <cx:pt idx="2992">285.49340000000001</cx:pt>
          <cx:pt idx="2993">285.49340000000001</cx:pt>
          <cx:pt idx="2994">285.49340000000001</cx:pt>
          <cx:pt idx="2995">285.49340000000001</cx:pt>
          <cx:pt idx="2996">285.49340000000001</cx:pt>
          <cx:pt idx="2997">285.49340000000001</cx:pt>
          <cx:pt idx="2998">285.49340000000001</cx:pt>
          <cx:pt idx="2999">285.49340000000001</cx:pt>
          <cx:pt idx="3000">285.49340000000001</cx:pt>
          <cx:pt idx="3001">285.49340000000001</cx:pt>
          <cx:pt idx="3002">285.49340000000001</cx:pt>
          <cx:pt idx="3003">285.49340000000001</cx:pt>
          <cx:pt idx="3004">285.49340000000001</cx:pt>
          <cx:pt idx="3005">285.49340000000001</cx:pt>
          <cx:pt idx="3006">285.49340000000001</cx:pt>
          <cx:pt idx="3007">285.49340000000001</cx:pt>
          <cx:pt idx="3008">285.49340000000001</cx:pt>
          <cx:pt idx="3009">285.49340000000001</cx:pt>
          <cx:pt idx="3010">285.49340000000001</cx:pt>
          <cx:pt idx="3011">285.49340000000001</cx:pt>
          <cx:pt idx="3012">285.49340000000001</cx:pt>
          <cx:pt idx="3013">285.49340000000001</cx:pt>
          <cx:pt idx="3014">285.49340000000001</cx:pt>
          <cx:pt idx="3015">285.49340000000001</cx:pt>
          <cx:pt idx="3016">285.49340000000001</cx:pt>
          <cx:pt idx="3017">285.49340000000001</cx:pt>
          <cx:pt idx="3018">285.49340000000001</cx:pt>
          <cx:pt idx="3019">285.49340000000001</cx:pt>
          <cx:pt idx="3020">285.49340000000001</cx:pt>
          <cx:pt idx="3021">285.49340000000001</cx:pt>
          <cx:pt idx="3022">285.49340000000001</cx:pt>
          <cx:pt idx="3023">285.49340000000001</cx:pt>
          <cx:pt idx="3024">285.49340000000001</cx:pt>
          <cx:pt idx="3025">285.49340000000001</cx:pt>
          <cx:pt idx="3026">285.49340000000001</cx:pt>
          <cx:pt idx="3027">285.49340000000001</cx:pt>
          <cx:pt idx="3028">285.49340000000001</cx:pt>
          <cx:pt idx="3029">285.49340000000001</cx:pt>
          <cx:pt idx="3030">285.49340000000001</cx:pt>
          <cx:pt idx="3031">285.49340000000001</cx:pt>
          <cx:pt idx="3032">285.49340000000001</cx:pt>
          <cx:pt idx="3033">285.49340000000001</cx:pt>
          <cx:pt idx="3034">285.49340000000001</cx:pt>
          <cx:pt idx="3035">285.49340000000001</cx:pt>
          <cx:pt idx="3036">285.49340000000001</cx:pt>
          <cx:pt idx="3037">285.49340000000001</cx:pt>
          <cx:pt idx="3038">285.49340000000001</cx:pt>
          <cx:pt idx="3039">285.49340000000001</cx:pt>
          <cx:pt idx="3040">285.49340000000001</cx:pt>
          <cx:pt idx="3041">285.49340000000001</cx:pt>
          <cx:pt idx="3042">285.49340000000001</cx:pt>
          <cx:pt idx="3043">285.49340000000001</cx:pt>
          <cx:pt idx="3044">285.49340000000001</cx:pt>
          <cx:pt idx="3045">285.49340000000001</cx:pt>
          <cx:pt idx="3046">285.49340000000001</cx:pt>
          <cx:pt idx="3047">285.49340000000001</cx:pt>
          <cx:pt idx="3048">285.49340000000001</cx:pt>
          <cx:pt idx="3049">285.49340000000001</cx:pt>
          <cx:pt idx="3050">285.49340000000001</cx:pt>
          <cx:pt idx="3051">285.49340000000001</cx:pt>
          <cx:pt idx="3052">285.49340000000001</cx:pt>
          <cx:pt idx="3053">285.49340000000001</cx:pt>
          <cx:pt idx="3054">285.49340000000001</cx:pt>
          <cx:pt idx="3055">285.49340000000001</cx:pt>
          <cx:pt idx="3056">285.49340000000001</cx:pt>
          <cx:pt idx="3057">285.49340000000001</cx:pt>
          <cx:pt idx="3058">285.49340000000001</cx:pt>
          <cx:pt idx="3059">285.49340000000001</cx:pt>
          <cx:pt idx="3060">285.49340000000001</cx:pt>
          <cx:pt idx="3061">285.49340000000001</cx:pt>
          <cx:pt idx="3062">285.49340000000001</cx:pt>
          <cx:pt idx="3063">285.49340000000001</cx:pt>
          <cx:pt idx="3064">285.49340000000001</cx:pt>
          <cx:pt idx="3065">285.49340000000001</cx:pt>
          <cx:pt idx="3066">285.49340000000001</cx:pt>
          <cx:pt idx="3067">285.49340000000001</cx:pt>
          <cx:pt idx="3068">285.49340000000001</cx:pt>
          <cx:pt idx="3069">285.49340000000001</cx:pt>
          <cx:pt idx="3070">285.49340000000001</cx:pt>
          <cx:pt idx="3071">285.49340000000001</cx:pt>
          <cx:pt idx="3072">285.49340000000001</cx:pt>
          <cx:pt idx="3073">285.49340000000001</cx:pt>
          <cx:pt idx="3074">285.49340000000001</cx:pt>
          <cx:pt idx="3075">285.49340000000001</cx:pt>
          <cx:pt idx="3076">285.49340000000001</cx:pt>
          <cx:pt idx="3077">285.49340000000001</cx:pt>
          <cx:pt idx="3078">285.49340000000001</cx:pt>
          <cx:pt idx="3079">285.49340000000001</cx:pt>
          <cx:pt idx="3080">285.49340000000001</cx:pt>
          <cx:pt idx="3081">285.49340000000001</cx:pt>
          <cx:pt idx="3082">285.49340000000001</cx:pt>
          <cx:pt idx="3083">285.49340000000001</cx:pt>
          <cx:pt idx="3084">285.49340000000001</cx:pt>
          <cx:pt idx="3085">285.49340000000001</cx:pt>
          <cx:pt idx="3086">285.49340000000001</cx:pt>
          <cx:pt idx="3087">285.49340000000001</cx:pt>
          <cx:pt idx="3088">285.49340000000001</cx:pt>
          <cx:pt idx="3089">285.49340000000001</cx:pt>
          <cx:pt idx="3090">285.49340000000001</cx:pt>
          <cx:pt idx="3091">285.49340000000001</cx:pt>
          <cx:pt idx="3092">285.49340000000001</cx:pt>
          <cx:pt idx="3093">285.49340000000001</cx:pt>
          <cx:pt idx="3094">285.49340000000001</cx:pt>
          <cx:pt idx="3095">285.49340000000001</cx:pt>
          <cx:pt idx="3096">285.49340000000001</cx:pt>
          <cx:pt idx="3097">285.49340000000001</cx:pt>
          <cx:pt idx="3098">285.49340000000001</cx:pt>
          <cx:pt idx="3099">285.49340000000001</cx:pt>
          <cx:pt idx="3100">285.49340000000001</cx:pt>
          <cx:pt idx="3101">285.49340000000001</cx:pt>
          <cx:pt idx="3102">285.49340000000001</cx:pt>
          <cx:pt idx="3103">285.49340000000001</cx:pt>
          <cx:pt idx="3104">285.49340000000001</cx:pt>
          <cx:pt idx="3105">285.49340000000001</cx:pt>
          <cx:pt idx="3106">285.49340000000001</cx:pt>
          <cx:pt idx="3107">285.49340000000001</cx:pt>
          <cx:pt idx="3108">285.49340000000001</cx:pt>
          <cx:pt idx="3109">285.49340000000001</cx:pt>
          <cx:pt idx="3110">285.49340000000001</cx:pt>
          <cx:pt idx="3111">285.49340000000001</cx:pt>
          <cx:pt idx="3112">285.49340000000001</cx:pt>
          <cx:pt idx="3113">285.49340000000001</cx:pt>
          <cx:pt idx="3114">285.49340000000001</cx:pt>
          <cx:pt idx="3115">285.49340000000001</cx:pt>
          <cx:pt idx="3116">285.49340000000001</cx:pt>
          <cx:pt idx="3117">285.49340000000001</cx:pt>
          <cx:pt idx="3118">285.49340000000001</cx:pt>
          <cx:pt idx="3119">285.49340000000001</cx:pt>
          <cx:pt idx="3120">285.49340000000001</cx:pt>
          <cx:pt idx="3121">285.49340000000001</cx:pt>
          <cx:pt idx="3122">285.49340000000001</cx:pt>
          <cx:pt idx="3123">285.49340000000001</cx:pt>
          <cx:pt idx="3124">285.49340000000001</cx:pt>
          <cx:pt idx="3125">285.49340000000001</cx:pt>
          <cx:pt idx="3126">285.49340000000001</cx:pt>
          <cx:pt idx="3127">285.49340000000001</cx:pt>
          <cx:pt idx="3128">285.49340000000001</cx:pt>
          <cx:pt idx="3129">285.49340000000001</cx:pt>
          <cx:pt idx="3130">285.49340000000001</cx:pt>
          <cx:pt idx="3131">285.49340000000001</cx:pt>
          <cx:pt idx="3132">285.49340000000001</cx:pt>
          <cx:pt idx="3133">285.49340000000001</cx:pt>
          <cx:pt idx="3134">285.49340000000001</cx:pt>
          <cx:pt idx="3135">285.49340000000001</cx:pt>
          <cx:pt idx="3136">285.49340000000001</cx:pt>
          <cx:pt idx="3137">285.49340000000001</cx:pt>
          <cx:pt idx="3138">285.49340000000001</cx:pt>
          <cx:pt idx="3139">285.49340000000001</cx:pt>
          <cx:pt idx="3140">285.49340000000001</cx:pt>
          <cx:pt idx="3141">285.49340000000001</cx:pt>
          <cx:pt idx="3142">285.49340000000001</cx:pt>
          <cx:pt idx="3143">285.49340000000001</cx:pt>
          <cx:pt idx="3144">285.49340000000001</cx:pt>
          <cx:pt idx="3145">285.49340000000001</cx:pt>
          <cx:pt idx="3146">285.49340000000001</cx:pt>
          <cx:pt idx="3147">285.49340000000001</cx:pt>
          <cx:pt idx="3148">285.49340000000001</cx:pt>
          <cx:pt idx="3149">285.49340000000001</cx:pt>
          <cx:pt idx="3150">285.49340000000001</cx:pt>
          <cx:pt idx="3151">285.49340000000001</cx:pt>
          <cx:pt idx="3152">285.49340000000001</cx:pt>
          <cx:pt idx="3153">285.49340000000001</cx:pt>
          <cx:pt idx="3154">285.49340000000001</cx:pt>
          <cx:pt idx="3155">285.49340000000001</cx:pt>
          <cx:pt idx="3156">285.49340000000001</cx:pt>
          <cx:pt idx="3157">285.49340000000001</cx:pt>
          <cx:pt idx="3158">285.49340000000001</cx:pt>
          <cx:pt idx="3159">285.49340000000001</cx:pt>
          <cx:pt idx="3160">285.49340000000001</cx:pt>
          <cx:pt idx="3161">285.49340000000001</cx:pt>
          <cx:pt idx="3162">285.49340000000001</cx:pt>
          <cx:pt idx="3163">285.49340000000001</cx:pt>
          <cx:pt idx="3164">285.49340000000001</cx:pt>
          <cx:pt idx="3165">285.49340000000001</cx:pt>
          <cx:pt idx="3166">285.49340000000001</cx:pt>
          <cx:pt idx="3167">285.49340000000001</cx:pt>
          <cx:pt idx="3168">285.49340000000001</cx:pt>
          <cx:pt idx="3169">285.49340000000001</cx:pt>
          <cx:pt idx="3170">285.49340000000001</cx:pt>
          <cx:pt idx="3171">285.49340000000001</cx:pt>
          <cx:pt idx="3172">285.49340000000001</cx:pt>
          <cx:pt idx="3173">285.49340000000001</cx:pt>
          <cx:pt idx="3174">285.49340000000001</cx:pt>
          <cx:pt idx="3175">285.49340000000001</cx:pt>
          <cx:pt idx="3176">285.49340000000001</cx:pt>
          <cx:pt idx="3177">285.49340000000001</cx:pt>
          <cx:pt idx="3178">285.49340000000001</cx:pt>
          <cx:pt idx="3179">285.49340000000001</cx:pt>
          <cx:pt idx="3180">285.49340000000001</cx:pt>
          <cx:pt idx="3181">285.49340000000001</cx:pt>
          <cx:pt idx="3182">285.49340000000001</cx:pt>
          <cx:pt idx="3183">285.49340000000001</cx:pt>
          <cx:pt idx="3184">285.49340000000001</cx:pt>
          <cx:pt idx="3185">285.49340000000001</cx:pt>
          <cx:pt idx="3186">285.49340000000001</cx:pt>
          <cx:pt idx="3187">285.49340000000001</cx:pt>
          <cx:pt idx="3188">285.49340000000001</cx:pt>
          <cx:pt idx="3189">285.49340000000001</cx:pt>
          <cx:pt idx="3190">285.49340000000001</cx:pt>
          <cx:pt idx="3191">285.49340000000001</cx:pt>
          <cx:pt idx="3192">285.49340000000001</cx:pt>
          <cx:pt idx="3193">285.49340000000001</cx:pt>
          <cx:pt idx="3194">285.49340000000001</cx:pt>
          <cx:pt idx="3195">285.49340000000001</cx:pt>
          <cx:pt idx="3196">285.49340000000001</cx:pt>
          <cx:pt idx="3197">285.49340000000001</cx:pt>
          <cx:pt idx="3198">285.49340000000001</cx:pt>
          <cx:pt idx="3199">285.49340000000001</cx:pt>
          <cx:pt idx="3200">285.49340000000001</cx:pt>
          <cx:pt idx="3201">285.49340000000001</cx:pt>
          <cx:pt idx="3202">285.49340000000001</cx:pt>
          <cx:pt idx="3203">285.49340000000001</cx:pt>
          <cx:pt idx="3204">285.49340000000001</cx:pt>
          <cx:pt idx="3205">285.49340000000001</cx:pt>
          <cx:pt idx="3206">285.49340000000001</cx:pt>
          <cx:pt idx="3207">285.49340000000001</cx:pt>
          <cx:pt idx="3208">285.49340000000001</cx:pt>
          <cx:pt idx="3209">285.49340000000001</cx:pt>
          <cx:pt idx="3210">285.49340000000001</cx:pt>
          <cx:pt idx="3211">285.49340000000001</cx:pt>
          <cx:pt idx="3212">285.49340000000001</cx:pt>
          <cx:pt idx="3213">285.49340000000001</cx:pt>
          <cx:pt idx="3214">285.49340000000001</cx:pt>
          <cx:pt idx="3215">285.49340000000001</cx:pt>
          <cx:pt idx="3216">285.49340000000001</cx:pt>
          <cx:pt idx="3217">285.49340000000001</cx:pt>
          <cx:pt idx="3218">285.49340000000001</cx:pt>
          <cx:pt idx="3219">285.49340000000001</cx:pt>
          <cx:pt idx="3220">285.49340000000001</cx:pt>
          <cx:pt idx="3221">285.49340000000001</cx:pt>
          <cx:pt idx="3222">285.49340000000001</cx:pt>
          <cx:pt idx="3223">285.49340000000001</cx:pt>
          <cx:pt idx="3224">285.49340000000001</cx:pt>
          <cx:pt idx="3225">285.49340000000001</cx:pt>
          <cx:pt idx="3226">285.49340000000001</cx:pt>
          <cx:pt idx="3227">285.49340000000001</cx:pt>
          <cx:pt idx="3228">285.49340000000001</cx:pt>
          <cx:pt idx="3229">285.49340000000001</cx:pt>
          <cx:pt idx="3230">285.49340000000001</cx:pt>
          <cx:pt idx="3231">285.49340000000001</cx:pt>
          <cx:pt idx="3232">285.49340000000001</cx:pt>
          <cx:pt idx="3233">285.49340000000001</cx:pt>
          <cx:pt idx="3234">285.49340000000001</cx:pt>
          <cx:pt idx="3235">285.49340000000001</cx:pt>
          <cx:pt idx="3236">285.49340000000001</cx:pt>
          <cx:pt idx="3237">285.49340000000001</cx:pt>
          <cx:pt idx="3238">285.49340000000001</cx:pt>
          <cx:pt idx="3239">285.49340000000001</cx:pt>
          <cx:pt idx="3240">285.49340000000001</cx:pt>
          <cx:pt idx="3241">285.49340000000001</cx:pt>
          <cx:pt idx="3242">285.49340000000001</cx:pt>
          <cx:pt idx="3243">285.49340000000001</cx:pt>
          <cx:pt idx="3244">285.49340000000001</cx:pt>
          <cx:pt idx="3245">285.49340000000001</cx:pt>
          <cx:pt idx="3246">285.49340000000001</cx:pt>
          <cx:pt idx="3247">285.49340000000001</cx:pt>
          <cx:pt idx="3248">285.49340000000001</cx:pt>
          <cx:pt idx="3249">285.49340000000001</cx:pt>
          <cx:pt idx="3250">285.49340000000001</cx:pt>
          <cx:pt idx="3251">285.49340000000001</cx:pt>
          <cx:pt idx="3252">285.49340000000001</cx:pt>
          <cx:pt idx="3253">285.49340000000001</cx:pt>
          <cx:pt idx="3254">285.49340000000001</cx:pt>
          <cx:pt idx="3255">285.49340000000001</cx:pt>
          <cx:pt idx="3256">285.49340000000001</cx:pt>
          <cx:pt idx="3257">285.49340000000001</cx:pt>
          <cx:pt idx="3258">285.49340000000001</cx:pt>
          <cx:pt idx="3259">285.49340000000001</cx:pt>
          <cx:pt idx="3260">285.49340000000001</cx:pt>
          <cx:pt idx="3261">285.49340000000001</cx:pt>
          <cx:pt idx="3262">285.49340000000001</cx:pt>
          <cx:pt idx="3263">285.49340000000001</cx:pt>
          <cx:pt idx="3264">285.49340000000001</cx:pt>
          <cx:pt idx="3265">285.49340000000001</cx:pt>
          <cx:pt idx="3266">285.49340000000001</cx:pt>
          <cx:pt idx="3267">285.49340000000001</cx:pt>
          <cx:pt idx="3268">285.49340000000001</cx:pt>
          <cx:pt idx="3269">285.49340000000001</cx:pt>
          <cx:pt idx="3270">285.49340000000001</cx:pt>
          <cx:pt idx="3271">285.49340000000001</cx:pt>
          <cx:pt idx="3272">285.49340000000001</cx:pt>
          <cx:pt idx="3273">285.49340000000001</cx:pt>
          <cx:pt idx="3274">285.49340000000001</cx:pt>
          <cx:pt idx="3275">285.49340000000001</cx:pt>
          <cx:pt idx="3276">285.49340000000001</cx:pt>
          <cx:pt idx="3277">285.49340000000001</cx:pt>
          <cx:pt idx="3278">285.49340000000001</cx:pt>
          <cx:pt idx="3279">285.49340000000001</cx:pt>
          <cx:pt idx="3280">285.49340000000001</cx:pt>
          <cx:pt idx="3281">285.49340000000001</cx:pt>
          <cx:pt idx="3282">285.49340000000001</cx:pt>
          <cx:pt idx="3283">285.49340000000001</cx:pt>
          <cx:pt idx="3284">285.49340000000001</cx:pt>
          <cx:pt idx="3285">285.49340000000001</cx:pt>
          <cx:pt idx="3286">285.49340000000001</cx:pt>
          <cx:pt idx="3287">285.49340000000001</cx:pt>
          <cx:pt idx="3288">285.49340000000001</cx:pt>
          <cx:pt idx="3289">285.49340000000001</cx:pt>
          <cx:pt idx="3290">285.49340000000001</cx:pt>
          <cx:pt idx="3291">285.49340000000001</cx:pt>
          <cx:pt idx="3292">285.49340000000001</cx:pt>
          <cx:pt idx="3293">285.49340000000001</cx:pt>
          <cx:pt idx="3294">285.49340000000001</cx:pt>
          <cx:pt idx="3295">285.49340000000001</cx:pt>
          <cx:pt idx="3296">285.49340000000001</cx:pt>
          <cx:pt idx="3297">285.49340000000001</cx:pt>
          <cx:pt idx="3298">285.49340000000001</cx:pt>
          <cx:pt idx="3299">285.49340000000001</cx:pt>
          <cx:pt idx="3300">285.49340000000001</cx:pt>
          <cx:pt idx="3301">285.49340000000001</cx:pt>
          <cx:pt idx="3302">285.49340000000001</cx:pt>
          <cx:pt idx="3303">285.49340000000001</cx:pt>
          <cx:pt idx="3304">285.49340000000001</cx:pt>
          <cx:pt idx="3305">285.49340000000001</cx:pt>
          <cx:pt idx="3306">285.49340000000001</cx:pt>
          <cx:pt idx="3307">285.49340000000001</cx:pt>
          <cx:pt idx="3308">285.49340000000001</cx:pt>
          <cx:pt idx="3309">285.49340000000001</cx:pt>
          <cx:pt idx="3310">285.49340000000001</cx:pt>
          <cx:pt idx="3311">285.49340000000001</cx:pt>
          <cx:pt idx="3312">285.49340000000001</cx:pt>
          <cx:pt idx="3313">285.49340000000001</cx:pt>
          <cx:pt idx="3314">285.49340000000001</cx:pt>
          <cx:pt idx="3315">285.49340000000001</cx:pt>
          <cx:pt idx="3316">285.49340000000001</cx:pt>
          <cx:pt idx="3317">285.49340000000001</cx:pt>
          <cx:pt idx="3318">285.49340000000001</cx:pt>
          <cx:pt idx="3319">285.49340000000001</cx:pt>
          <cx:pt idx="3320">285.49340000000001</cx:pt>
          <cx:pt idx="3321">285.49340000000001</cx:pt>
          <cx:pt idx="3322">285.49340000000001</cx:pt>
          <cx:pt idx="3323">285.49340000000001</cx:pt>
          <cx:pt idx="3324">285.49340000000001</cx:pt>
          <cx:pt idx="3325">285.49340000000001</cx:pt>
          <cx:pt idx="3326">285.49340000000001</cx:pt>
          <cx:pt idx="3327">285.49340000000001</cx:pt>
          <cx:pt idx="3328">285.49340000000001</cx:pt>
          <cx:pt idx="3329">285.49340000000001</cx:pt>
          <cx:pt idx="3330">285.49340000000001</cx:pt>
          <cx:pt idx="3331">285.49340000000001</cx:pt>
          <cx:pt idx="3332">285.49340000000001</cx:pt>
          <cx:pt idx="3333">285.49340000000001</cx:pt>
          <cx:pt idx="3334">285.49340000000001</cx:pt>
          <cx:pt idx="3335">285.49340000000001</cx:pt>
          <cx:pt idx="3336">285.49340000000001</cx:pt>
          <cx:pt idx="3337">285.49340000000001</cx:pt>
          <cx:pt idx="3338">285.49340000000001</cx:pt>
          <cx:pt idx="3339">285.49340000000001</cx:pt>
          <cx:pt idx="3340">285.49340000000001</cx:pt>
          <cx:pt idx="3341">285.49340000000001</cx:pt>
          <cx:pt idx="3342">285.49340000000001</cx:pt>
          <cx:pt idx="3343">285.49340000000001</cx:pt>
          <cx:pt idx="3344">285.49340000000001</cx:pt>
          <cx:pt idx="3345">285.49340000000001</cx:pt>
          <cx:pt idx="3346">285.49340000000001</cx:pt>
          <cx:pt idx="3347">285.49340000000001</cx:pt>
          <cx:pt idx="3348">285.49340000000001</cx:pt>
          <cx:pt idx="3349">285.49340000000001</cx:pt>
          <cx:pt idx="3350">285.49340000000001</cx:pt>
          <cx:pt idx="3351">285.49340000000001</cx:pt>
          <cx:pt idx="3352">285.49340000000001</cx:pt>
          <cx:pt idx="3353">285.49340000000001</cx:pt>
          <cx:pt idx="3354">285.49340000000001</cx:pt>
          <cx:pt idx="3355">285.49340000000001</cx:pt>
          <cx:pt idx="3356">285.49340000000001</cx:pt>
          <cx:pt idx="3357">285.49340000000001</cx:pt>
          <cx:pt idx="3358">285.49340000000001</cx:pt>
          <cx:pt idx="3359">285.49340000000001</cx:pt>
          <cx:pt idx="3360">285.49340000000001</cx:pt>
          <cx:pt idx="3361">285.49340000000001</cx:pt>
          <cx:pt idx="3362">285.49340000000001</cx:pt>
          <cx:pt idx="3363">285.49340000000001</cx:pt>
          <cx:pt idx="3364">285.49340000000001</cx:pt>
          <cx:pt idx="3365">285.49340000000001</cx:pt>
          <cx:pt idx="3366">285.49340000000001</cx:pt>
          <cx:pt idx="3367">285.49340000000001</cx:pt>
          <cx:pt idx="3368">285.49340000000001</cx:pt>
          <cx:pt idx="3369">285.49340000000001</cx:pt>
          <cx:pt idx="3370">285.49340000000001</cx:pt>
          <cx:pt idx="3371">285.49340000000001</cx:pt>
          <cx:pt idx="3372">285.49340000000001</cx:pt>
          <cx:pt idx="3373">285.49340000000001</cx:pt>
          <cx:pt idx="3374">285.49340000000001</cx:pt>
          <cx:pt idx="3375">285.49340000000001</cx:pt>
          <cx:pt idx="3376">285.49340000000001</cx:pt>
          <cx:pt idx="3377">285.49340000000001</cx:pt>
          <cx:pt idx="3378">285.49340000000001</cx:pt>
          <cx:pt idx="3379">285.49340000000001</cx:pt>
          <cx:pt idx="3380">285.49340000000001</cx:pt>
          <cx:pt idx="3381">285.49340000000001</cx:pt>
          <cx:pt idx="3382">285.49340000000001</cx:pt>
          <cx:pt idx="3383">285.49340000000001</cx:pt>
          <cx:pt idx="3384">285.49340000000001</cx:pt>
          <cx:pt idx="3385">285.49340000000001</cx:pt>
          <cx:pt idx="3386">285.49340000000001</cx:pt>
          <cx:pt idx="3387">285.49340000000001</cx:pt>
          <cx:pt idx="3388">285.49340000000001</cx:pt>
          <cx:pt idx="3389">285.49340000000001</cx:pt>
          <cx:pt idx="3390">285.49340000000001</cx:pt>
          <cx:pt idx="3391">285.49340000000001</cx:pt>
          <cx:pt idx="3392">285.49340000000001</cx:pt>
          <cx:pt idx="3393">285.49340000000001</cx:pt>
          <cx:pt idx="3394">285.49340000000001</cx:pt>
          <cx:pt idx="3395">285.49340000000001</cx:pt>
          <cx:pt idx="3396">285.49340000000001</cx:pt>
          <cx:pt idx="3397">285.49340000000001</cx:pt>
          <cx:pt idx="3398">285.49340000000001</cx:pt>
          <cx:pt idx="3399">285.49340000000001</cx:pt>
          <cx:pt idx="3400">285.49340000000001</cx:pt>
          <cx:pt idx="3401">285.49340000000001</cx:pt>
          <cx:pt idx="3402">285.49340000000001</cx:pt>
          <cx:pt idx="3403">285.49340000000001</cx:pt>
          <cx:pt idx="3404">285.49340000000001</cx:pt>
          <cx:pt idx="3405">285.49340000000001</cx:pt>
          <cx:pt idx="3406">285.49340000000001</cx:pt>
          <cx:pt idx="3407">285.49340000000001</cx:pt>
          <cx:pt idx="3408">285.49340000000001</cx:pt>
          <cx:pt idx="3409">285.49340000000001</cx:pt>
          <cx:pt idx="3410">285.49340000000001</cx:pt>
          <cx:pt idx="3411">285.49340000000001</cx:pt>
          <cx:pt idx="3412">285.49340000000001</cx:pt>
          <cx:pt idx="3413">285.49340000000001</cx:pt>
          <cx:pt idx="3414">285.49340000000001</cx:pt>
          <cx:pt idx="3415">285.49340000000001</cx:pt>
          <cx:pt idx="3416">285.49340000000001</cx:pt>
          <cx:pt idx="3417">285.49340000000001</cx:pt>
          <cx:pt idx="3418">285.49340000000001</cx:pt>
          <cx:pt idx="3419">285.49340000000001</cx:pt>
          <cx:pt idx="3420">285.49340000000001</cx:pt>
          <cx:pt idx="3421">285.49340000000001</cx:pt>
          <cx:pt idx="3422">285.49340000000001</cx:pt>
          <cx:pt idx="3423">285.49340000000001</cx:pt>
          <cx:pt idx="3424">285.49340000000001</cx:pt>
          <cx:pt idx="3425">285.49340000000001</cx:pt>
          <cx:pt idx="3426">285.49340000000001</cx:pt>
          <cx:pt idx="3427">285.49340000000001</cx:pt>
          <cx:pt idx="3428">285.49340000000001</cx:pt>
          <cx:pt idx="3429">285.49340000000001</cx:pt>
          <cx:pt idx="3430">285.49340000000001</cx:pt>
          <cx:pt idx="3431">285.49340000000001</cx:pt>
          <cx:pt idx="3432">285.49340000000001</cx:pt>
          <cx:pt idx="3433">285.49340000000001</cx:pt>
          <cx:pt idx="3434">285.49340000000001</cx:pt>
          <cx:pt idx="3435">285.49340000000001</cx:pt>
          <cx:pt idx="3436">285.49340000000001</cx:pt>
          <cx:pt idx="3437">285.49340000000001</cx:pt>
          <cx:pt idx="3438">285.49340000000001</cx:pt>
          <cx:pt idx="3439">285.49340000000001</cx:pt>
          <cx:pt idx="3440">285.49340000000001</cx:pt>
          <cx:pt idx="3441">285.49340000000001</cx:pt>
          <cx:pt idx="3442">285.49340000000001</cx:pt>
          <cx:pt idx="3443">285.49340000000001</cx:pt>
          <cx:pt idx="3444">285.49340000000001</cx:pt>
          <cx:pt idx="3445">285.49340000000001</cx:pt>
          <cx:pt idx="3446">285.49340000000001</cx:pt>
          <cx:pt idx="3447">285.49340000000001</cx:pt>
          <cx:pt idx="3448">285.49340000000001</cx:pt>
          <cx:pt idx="3449">285.49340000000001</cx:pt>
          <cx:pt idx="3450">285.49340000000001</cx:pt>
          <cx:pt idx="3451">285.49340000000001</cx:pt>
          <cx:pt idx="3452">285.49340000000001</cx:pt>
          <cx:pt idx="3453">285.49340000000001</cx:pt>
          <cx:pt idx="3454">285.49340000000001</cx:pt>
          <cx:pt idx="3455">285.49340000000001</cx:pt>
          <cx:pt idx="3456">285.49340000000001</cx:pt>
          <cx:pt idx="3457">285.49340000000001</cx:pt>
          <cx:pt idx="3458">285.49340000000001</cx:pt>
          <cx:pt idx="3459">285.49340000000001</cx:pt>
          <cx:pt idx="3460">285.49340000000001</cx:pt>
          <cx:pt idx="3461">285.49340000000001</cx:pt>
          <cx:pt idx="3462">285.49340000000001</cx:pt>
          <cx:pt idx="3463">285.49340000000001</cx:pt>
          <cx:pt idx="3464">285.49340000000001</cx:pt>
          <cx:pt idx="3465">285.49340000000001</cx:pt>
          <cx:pt idx="3466">285.49340000000001</cx:pt>
          <cx:pt idx="3467">285.49340000000001</cx:pt>
          <cx:pt idx="3468">285.49340000000001</cx:pt>
          <cx:pt idx="3469">285.49340000000001</cx:pt>
          <cx:pt idx="3470">285.49340000000001</cx:pt>
          <cx:pt idx="3471">285.49340000000001</cx:pt>
          <cx:pt idx="3472">285.49340000000001</cx:pt>
          <cx:pt idx="3473">285.49340000000001</cx:pt>
          <cx:pt idx="3474">285.49340000000001</cx:pt>
          <cx:pt idx="3475">285.49340000000001</cx:pt>
          <cx:pt idx="3476">285.49340000000001</cx:pt>
          <cx:pt idx="3477">285.49340000000001</cx:pt>
          <cx:pt idx="3478">285.49340000000001</cx:pt>
          <cx:pt idx="3479">285.49340000000001</cx:pt>
          <cx:pt idx="3480">285.49340000000001</cx:pt>
          <cx:pt idx="3481">285.49340000000001</cx:pt>
          <cx:pt idx="3482">285.49340000000001</cx:pt>
          <cx:pt idx="3483">285.49340000000001</cx:pt>
          <cx:pt idx="3484">285.49340000000001</cx:pt>
          <cx:pt idx="3485">285.49340000000001</cx:pt>
          <cx:pt idx="3486">285.49340000000001</cx:pt>
          <cx:pt idx="3487">285.49340000000001</cx:pt>
          <cx:pt idx="3488">285.49340000000001</cx:pt>
          <cx:pt idx="3489">285.49340000000001</cx:pt>
          <cx:pt idx="3490">285.49340000000001</cx:pt>
          <cx:pt idx="3491">285.49340000000001</cx:pt>
          <cx:pt idx="3492">285.49340000000001</cx:pt>
          <cx:pt idx="3493">285.49340000000001</cx:pt>
          <cx:pt idx="3494">285.49340000000001</cx:pt>
          <cx:pt idx="3495">285.49340000000001</cx:pt>
          <cx:pt idx="3496">285.49340000000001</cx:pt>
          <cx:pt idx="3497">285.49340000000001</cx:pt>
          <cx:pt idx="3498">285.49340000000001</cx:pt>
          <cx:pt idx="3499">285.49340000000001</cx:pt>
          <cx:pt idx="3500">285.49340000000001</cx:pt>
          <cx:pt idx="3501">285.49340000000001</cx:pt>
          <cx:pt idx="3502">285.49340000000001</cx:pt>
          <cx:pt idx="3503">285.49340000000001</cx:pt>
          <cx:pt idx="3504">285.49340000000001</cx:pt>
          <cx:pt idx="3505">285.49340000000001</cx:pt>
          <cx:pt idx="3506">285.49340000000001</cx:pt>
          <cx:pt idx="3507">285.49340000000001</cx:pt>
          <cx:pt idx="3508">285.49340000000001</cx:pt>
          <cx:pt idx="3509">285.49340000000001</cx:pt>
          <cx:pt idx="3510">285.49340000000001</cx:pt>
          <cx:pt idx="3511">285.49340000000001</cx:pt>
          <cx:pt idx="3512">285.49340000000001</cx:pt>
          <cx:pt idx="3513">285.49340000000001</cx:pt>
          <cx:pt idx="3514">285.49340000000001</cx:pt>
          <cx:pt idx="3515">285.49340000000001</cx:pt>
          <cx:pt idx="3516">285.49340000000001</cx:pt>
          <cx:pt idx="3517">285.49340000000001</cx:pt>
          <cx:pt idx="3518">285.49340000000001</cx:pt>
          <cx:pt idx="3519">285.49340000000001</cx:pt>
          <cx:pt idx="3520">285.49340000000001</cx:pt>
          <cx:pt idx="3521">285.49340000000001</cx:pt>
          <cx:pt idx="3522">285.49340000000001</cx:pt>
          <cx:pt idx="3523">285.49340000000001</cx:pt>
          <cx:pt idx="3524">285.49340000000001</cx:pt>
          <cx:pt idx="3525">285.49340000000001</cx:pt>
          <cx:pt idx="3526">285.49340000000001</cx:pt>
          <cx:pt idx="3527">285.49340000000001</cx:pt>
          <cx:pt idx="3528">285.49340000000001</cx:pt>
          <cx:pt idx="3529">285.49340000000001</cx:pt>
          <cx:pt idx="3530">285.49340000000001</cx:pt>
          <cx:pt idx="3531">285.49340000000001</cx:pt>
          <cx:pt idx="3532">285.49340000000001</cx:pt>
          <cx:pt idx="3533">285.49340000000001</cx:pt>
          <cx:pt idx="3534">285.49340000000001</cx:pt>
          <cx:pt idx="3535">285.49340000000001</cx:pt>
          <cx:pt idx="3536">285.49340000000001</cx:pt>
          <cx:pt idx="3537">285.49340000000001</cx:pt>
          <cx:pt idx="3538">285.49340000000001</cx:pt>
          <cx:pt idx="3539">285.49340000000001</cx:pt>
          <cx:pt idx="3540">285.49340000000001</cx:pt>
          <cx:pt idx="3541">285.49340000000001</cx:pt>
          <cx:pt idx="3542">285.49340000000001</cx:pt>
          <cx:pt idx="3543">285.49340000000001</cx:pt>
          <cx:pt idx="3544">285.49340000000001</cx:pt>
          <cx:pt idx="3545">285.49340000000001</cx:pt>
          <cx:pt idx="3546">285.49340000000001</cx:pt>
          <cx:pt idx="3547">285.49340000000001</cx:pt>
          <cx:pt idx="3548">285.49340000000001</cx:pt>
          <cx:pt idx="3549">285.49340000000001</cx:pt>
          <cx:pt idx="3550">285.49340000000001</cx:pt>
          <cx:pt idx="3551">285.49340000000001</cx:pt>
          <cx:pt idx="3552">285.49340000000001</cx:pt>
          <cx:pt idx="3553">285.49340000000001</cx:pt>
          <cx:pt idx="3554">285.49340000000001</cx:pt>
          <cx:pt idx="3555">285.49340000000001</cx:pt>
          <cx:pt idx="3556">285.49340000000001</cx:pt>
          <cx:pt idx="3557">285.49340000000001</cx:pt>
          <cx:pt idx="3558">285.49340000000001</cx:pt>
          <cx:pt idx="3559">285.49340000000001</cx:pt>
          <cx:pt idx="3560">285.49340000000001</cx:pt>
          <cx:pt idx="3561">285.49340000000001</cx:pt>
          <cx:pt idx="3562">285.49340000000001</cx:pt>
          <cx:pt idx="3563">285.49340000000001</cx:pt>
          <cx:pt idx="3564">285.49340000000001</cx:pt>
          <cx:pt idx="3565">285.49340000000001</cx:pt>
          <cx:pt idx="3566">285.49340000000001</cx:pt>
          <cx:pt idx="3567">285.49340000000001</cx:pt>
          <cx:pt idx="3568">285.49340000000001</cx:pt>
          <cx:pt idx="3569">285.49340000000001</cx:pt>
          <cx:pt idx="3570">285.49340000000001</cx:pt>
          <cx:pt idx="3571">285.49340000000001</cx:pt>
          <cx:pt idx="3572">285.49340000000001</cx:pt>
          <cx:pt idx="3573">285.49340000000001</cx:pt>
          <cx:pt idx="3574">285.49340000000001</cx:pt>
          <cx:pt idx="3575">285.49340000000001</cx:pt>
          <cx:pt idx="3576">285.49340000000001</cx:pt>
          <cx:pt idx="3577">285.49340000000001</cx:pt>
          <cx:pt idx="3578">285.49340000000001</cx:pt>
          <cx:pt idx="3579">285.49340000000001</cx:pt>
          <cx:pt idx="3580">285.49340000000001</cx:pt>
          <cx:pt idx="3581">285.49340000000001</cx:pt>
          <cx:pt idx="3582">285.49340000000001</cx:pt>
          <cx:pt idx="3583">285.49340000000001</cx:pt>
          <cx:pt idx="3584">285.49340000000001</cx:pt>
          <cx:pt idx="3585">285.49340000000001</cx:pt>
          <cx:pt idx="3586">285.49340000000001</cx:pt>
          <cx:pt idx="3587">285.49340000000001</cx:pt>
          <cx:pt idx="3588">285.49340000000001</cx:pt>
          <cx:pt idx="3589">285.49340000000001</cx:pt>
          <cx:pt idx="3590">285.49340000000001</cx:pt>
          <cx:pt idx="3591">285.49340000000001</cx:pt>
          <cx:pt idx="3592">285.49340000000001</cx:pt>
          <cx:pt idx="3593">285.49340000000001</cx:pt>
          <cx:pt idx="3594">285.49340000000001</cx:pt>
          <cx:pt idx="3595">285.49340000000001</cx:pt>
          <cx:pt idx="3596">285.49340000000001</cx:pt>
          <cx:pt idx="3597">285.49340000000001</cx:pt>
          <cx:pt idx="3598">285.49340000000001</cx:pt>
          <cx:pt idx="3599">285.49340000000001</cx:pt>
          <cx:pt idx="3600">285.49340000000001</cx:pt>
          <cx:pt idx="3601">285.49340000000001</cx:pt>
          <cx:pt idx="3602">285.49340000000001</cx:pt>
          <cx:pt idx="3603">285.49340000000001</cx:pt>
          <cx:pt idx="3604">285.49340000000001</cx:pt>
          <cx:pt idx="3605">285.49340000000001</cx:pt>
          <cx:pt idx="3606">285.49340000000001</cx:pt>
          <cx:pt idx="3607">285.49340000000001</cx:pt>
          <cx:pt idx="3608">285.49340000000001</cx:pt>
          <cx:pt idx="3609">285.49340000000001</cx:pt>
          <cx:pt idx="3610">285.49340000000001</cx:pt>
          <cx:pt idx="3611">285.49340000000001</cx:pt>
          <cx:pt idx="3612">285.49340000000001</cx:pt>
          <cx:pt idx="3613">285.49340000000001</cx:pt>
          <cx:pt idx="3614">285.49340000000001</cx:pt>
          <cx:pt idx="3615">285.49340000000001</cx:pt>
          <cx:pt idx="3616">285.49340000000001</cx:pt>
          <cx:pt idx="3617">285.49340000000001</cx:pt>
          <cx:pt idx="3618">285.49340000000001</cx:pt>
          <cx:pt idx="3619">285.49340000000001</cx:pt>
          <cx:pt idx="3620">285.49340000000001</cx:pt>
          <cx:pt idx="3621">285.49340000000001</cx:pt>
          <cx:pt idx="3622">285.49340000000001</cx:pt>
          <cx:pt idx="3623">285.49340000000001</cx:pt>
          <cx:pt idx="3624">285.49340000000001</cx:pt>
          <cx:pt idx="3625">285.49340000000001</cx:pt>
          <cx:pt idx="3626">285.49340000000001</cx:pt>
          <cx:pt idx="3627">285.49340000000001</cx:pt>
          <cx:pt idx="3628">285.49340000000001</cx:pt>
          <cx:pt idx="3629">285.49340000000001</cx:pt>
          <cx:pt idx="3630">285.49340000000001</cx:pt>
          <cx:pt idx="3631">285.49340000000001</cx:pt>
          <cx:pt idx="3632">285.49340000000001</cx:pt>
          <cx:pt idx="3633">285.49340000000001</cx:pt>
          <cx:pt idx="3634">285.49340000000001</cx:pt>
          <cx:pt idx="3635">285.49340000000001</cx:pt>
          <cx:pt idx="3636">285.49340000000001</cx:pt>
          <cx:pt idx="3637">285.49340000000001</cx:pt>
          <cx:pt idx="3638">285.49340000000001</cx:pt>
          <cx:pt idx="3639">285.49340000000001</cx:pt>
          <cx:pt idx="3640">285.49340000000001</cx:pt>
          <cx:pt idx="3641">285.49340000000001</cx:pt>
          <cx:pt idx="3642">285.49340000000001</cx:pt>
          <cx:pt idx="3643">285.49340000000001</cx:pt>
          <cx:pt idx="3644">285.49340000000001</cx:pt>
          <cx:pt idx="3645">285.49340000000001</cx:pt>
          <cx:pt idx="3646">285.49340000000001</cx:pt>
          <cx:pt idx="3647">285.49340000000001</cx:pt>
          <cx:pt idx="3648">285.49340000000001</cx:pt>
          <cx:pt idx="3649">285.49340000000001</cx:pt>
          <cx:pt idx="3650">285.49340000000001</cx:pt>
          <cx:pt idx="3651">285.49340000000001</cx:pt>
          <cx:pt idx="3652">285.49340000000001</cx:pt>
          <cx:pt idx="3653">285.49340000000001</cx:pt>
          <cx:pt idx="3654">285.49340000000001</cx:pt>
          <cx:pt idx="3655">285.49340000000001</cx:pt>
          <cx:pt idx="3656">285.49340000000001</cx:pt>
          <cx:pt idx="3657">285.49340000000001</cx:pt>
          <cx:pt idx="3658">285.49340000000001</cx:pt>
          <cx:pt idx="3659">285.49340000000001</cx:pt>
          <cx:pt idx="3660">285.49340000000001</cx:pt>
          <cx:pt idx="3661">285.49340000000001</cx:pt>
          <cx:pt idx="3662">285.49340000000001</cx:pt>
          <cx:pt idx="3663">285.49340000000001</cx:pt>
          <cx:pt idx="3664">285.49340000000001</cx:pt>
          <cx:pt idx="3665">285.49340000000001</cx:pt>
          <cx:pt idx="3666">285.49340000000001</cx:pt>
          <cx:pt idx="3667">285.49340000000001</cx:pt>
          <cx:pt idx="3668">285.49340000000001</cx:pt>
          <cx:pt idx="3669">285.49340000000001</cx:pt>
          <cx:pt idx="3670">285.49340000000001</cx:pt>
          <cx:pt idx="3671">285.49340000000001</cx:pt>
          <cx:pt idx="3672">285.49340000000001</cx:pt>
          <cx:pt idx="3673">285.49340000000001</cx:pt>
          <cx:pt idx="3674">285.49340000000001</cx:pt>
          <cx:pt idx="3675">285.49340000000001</cx:pt>
          <cx:pt idx="3676">285.49340000000001</cx:pt>
          <cx:pt idx="3677">285.49340000000001</cx:pt>
          <cx:pt idx="3678">285.49340000000001</cx:pt>
          <cx:pt idx="3679">285.49340000000001</cx:pt>
          <cx:pt idx="3680">285.49340000000001</cx:pt>
          <cx:pt idx="3681">285.49340000000001</cx:pt>
          <cx:pt idx="3682">285.49340000000001</cx:pt>
          <cx:pt idx="3683">285.49340000000001</cx:pt>
          <cx:pt idx="3684">285.49340000000001</cx:pt>
          <cx:pt idx="3685">285.49340000000001</cx:pt>
          <cx:pt idx="3686">285.49340000000001</cx:pt>
          <cx:pt idx="3687">285.49340000000001</cx:pt>
          <cx:pt idx="3688">285.49340000000001</cx:pt>
          <cx:pt idx="3689">285.49340000000001</cx:pt>
          <cx:pt idx="3690">285.49340000000001</cx:pt>
          <cx:pt idx="3691">285.49340000000001</cx:pt>
          <cx:pt idx="3692">285.49340000000001</cx:pt>
          <cx:pt idx="3693">285.49340000000001</cx:pt>
          <cx:pt idx="3694">285.49340000000001</cx:pt>
          <cx:pt idx="3695">285.49340000000001</cx:pt>
          <cx:pt idx="3696">285.49340000000001</cx:pt>
          <cx:pt idx="3697">285.49340000000001</cx:pt>
          <cx:pt idx="3698">285.49340000000001</cx:pt>
          <cx:pt idx="3699">285.49340000000001</cx:pt>
          <cx:pt idx="3700">285.49340000000001</cx:pt>
          <cx:pt idx="3701">285.49340000000001</cx:pt>
          <cx:pt idx="3702">285.49340000000001</cx:pt>
          <cx:pt idx="3703">285.49340000000001</cx:pt>
          <cx:pt idx="3704">285.49340000000001</cx:pt>
          <cx:pt idx="3705">285.49340000000001</cx:pt>
          <cx:pt idx="3706">285.49340000000001</cx:pt>
          <cx:pt idx="3707">285.49340000000001</cx:pt>
          <cx:pt idx="3708">285.49340000000001</cx:pt>
          <cx:pt idx="3709">285.49340000000001</cx:pt>
          <cx:pt idx="3710">285.49340000000001</cx:pt>
          <cx:pt idx="3711">285.49340000000001</cx:pt>
          <cx:pt idx="3712">285.49340000000001</cx:pt>
          <cx:pt idx="3713">285.49340000000001</cx:pt>
          <cx:pt idx="3714">285.49340000000001</cx:pt>
          <cx:pt idx="3715">285.49340000000001</cx:pt>
          <cx:pt idx="3716">285.49340000000001</cx:pt>
          <cx:pt idx="3717">285.49340000000001</cx:pt>
          <cx:pt idx="3718">285.49340000000001</cx:pt>
          <cx:pt idx="3719">285.49340000000001</cx:pt>
          <cx:pt idx="3720">285.49340000000001</cx:pt>
          <cx:pt idx="3721">285.49340000000001</cx:pt>
          <cx:pt idx="3722">285.49340000000001</cx:pt>
          <cx:pt idx="3723">285.49340000000001</cx:pt>
          <cx:pt idx="3724">285.49340000000001</cx:pt>
          <cx:pt idx="3725">285.49340000000001</cx:pt>
          <cx:pt idx="3726">285.49340000000001</cx:pt>
          <cx:pt idx="3727">285.49340000000001</cx:pt>
          <cx:pt idx="3728">285.49340000000001</cx:pt>
          <cx:pt idx="3729">285.49340000000001</cx:pt>
          <cx:pt idx="3730">285.49340000000001</cx:pt>
          <cx:pt idx="3731">285.49340000000001</cx:pt>
          <cx:pt idx="3732">285.49340000000001</cx:pt>
          <cx:pt idx="3733">285.49340000000001</cx:pt>
          <cx:pt idx="3734">285.49340000000001</cx:pt>
          <cx:pt idx="3735">285.49340000000001</cx:pt>
          <cx:pt idx="3736">285.49340000000001</cx:pt>
          <cx:pt idx="3737">285.49340000000001</cx:pt>
          <cx:pt idx="3738">285.49340000000001</cx:pt>
          <cx:pt idx="3739">285.49340000000001</cx:pt>
          <cx:pt idx="3740">285.49340000000001</cx:pt>
          <cx:pt idx="3741">285.49340000000001</cx:pt>
          <cx:pt idx="3742">285.49340000000001</cx:pt>
          <cx:pt idx="3743">285.49340000000001</cx:pt>
          <cx:pt idx="3744">285.49340000000001</cx:pt>
          <cx:pt idx="3745">285.49340000000001</cx:pt>
          <cx:pt idx="3746">285.49340000000001</cx:pt>
          <cx:pt idx="3747">285.49340000000001</cx:pt>
          <cx:pt idx="3748">285.49340000000001</cx:pt>
          <cx:pt idx="3749">285.49340000000001</cx:pt>
          <cx:pt idx="3750">285.49340000000001</cx:pt>
          <cx:pt idx="3751">285.49340000000001</cx:pt>
          <cx:pt idx="3752">285.49340000000001</cx:pt>
          <cx:pt idx="3753">285.49340000000001</cx:pt>
          <cx:pt idx="3754">285.49340000000001</cx:pt>
          <cx:pt idx="3755">285.49340000000001</cx:pt>
          <cx:pt idx="3756">285.49340000000001</cx:pt>
          <cx:pt idx="3757">285.49340000000001</cx:pt>
          <cx:pt idx="3758">285.49340000000001</cx:pt>
          <cx:pt idx="3759">285.49340000000001</cx:pt>
          <cx:pt idx="3760">285.49340000000001</cx:pt>
          <cx:pt idx="3761">285.49340000000001</cx:pt>
          <cx:pt idx="3762">285.49340000000001</cx:pt>
          <cx:pt idx="3763">285.49340000000001</cx:pt>
          <cx:pt idx="3764">285.49340000000001</cx:pt>
          <cx:pt idx="3765">285.49340000000001</cx:pt>
          <cx:pt idx="3766">285.49340000000001</cx:pt>
          <cx:pt idx="3767">285.49340000000001</cx:pt>
          <cx:pt idx="3768">285.49340000000001</cx:pt>
          <cx:pt idx="3769">285.49340000000001</cx:pt>
          <cx:pt idx="3770">285.49340000000001</cx:pt>
          <cx:pt idx="3771">285.49340000000001</cx:pt>
          <cx:pt idx="3772">285.49340000000001</cx:pt>
          <cx:pt idx="3773">285.49340000000001</cx:pt>
          <cx:pt idx="3774">285.49340000000001</cx:pt>
          <cx:pt idx="3775">285.49340000000001</cx:pt>
          <cx:pt idx="3776">285.49340000000001</cx:pt>
          <cx:pt idx="3777">285.49340000000001</cx:pt>
          <cx:pt idx="3778">285.49340000000001</cx:pt>
          <cx:pt idx="3779">285.49340000000001</cx:pt>
          <cx:pt idx="3780">285.49340000000001</cx:pt>
          <cx:pt idx="3781">285.49340000000001</cx:pt>
          <cx:pt idx="3782">285.49340000000001</cx:pt>
          <cx:pt idx="3783">285.49340000000001</cx:pt>
          <cx:pt idx="3784">285.49340000000001</cx:pt>
          <cx:pt idx="3785">285.49340000000001</cx:pt>
          <cx:pt idx="3786">285.49340000000001</cx:pt>
          <cx:pt idx="3787">285.49340000000001</cx:pt>
          <cx:pt idx="3788">285.49340000000001</cx:pt>
          <cx:pt idx="3789">285.49340000000001</cx:pt>
          <cx:pt idx="3790">285.49340000000001</cx:pt>
          <cx:pt idx="3791">285.49340000000001</cx:pt>
          <cx:pt idx="3792">285.49340000000001</cx:pt>
          <cx:pt idx="3793">285.49340000000001</cx:pt>
          <cx:pt idx="3794">285.49340000000001</cx:pt>
          <cx:pt idx="3795">285.49340000000001</cx:pt>
          <cx:pt idx="3796">285.49340000000001</cx:pt>
          <cx:pt idx="3797">285.49340000000001</cx:pt>
          <cx:pt idx="3798">285.49340000000001</cx:pt>
          <cx:pt idx="3799">285.49340000000001</cx:pt>
          <cx:pt idx="3800">285.49340000000001</cx:pt>
          <cx:pt idx="3801">285.49340000000001</cx:pt>
          <cx:pt idx="3802">285.49340000000001</cx:pt>
          <cx:pt idx="3803">285.49340000000001</cx:pt>
          <cx:pt idx="3804">285.49340000000001</cx:pt>
          <cx:pt idx="3805">285.49340000000001</cx:pt>
          <cx:pt idx="3806">285.49340000000001</cx:pt>
          <cx:pt idx="3807">285.49340000000001</cx:pt>
          <cx:pt idx="3808">285.49340000000001</cx:pt>
          <cx:pt idx="3809">285.49340000000001</cx:pt>
          <cx:pt idx="3810">285.49340000000001</cx:pt>
          <cx:pt idx="3811">285.49340000000001</cx:pt>
          <cx:pt idx="3812">285.49340000000001</cx:pt>
          <cx:pt idx="3813">285.49340000000001</cx:pt>
          <cx:pt idx="3814">285.49340000000001</cx:pt>
          <cx:pt idx="3815">285.49340000000001</cx:pt>
          <cx:pt idx="3816">285.49340000000001</cx:pt>
          <cx:pt idx="3817">285.49340000000001</cx:pt>
          <cx:pt idx="3818">285.49340000000001</cx:pt>
          <cx:pt idx="3819">285.49340000000001</cx:pt>
          <cx:pt idx="3820">285.49340000000001</cx:pt>
          <cx:pt idx="3821">285.49340000000001</cx:pt>
          <cx:pt idx="3822">285.49340000000001</cx:pt>
          <cx:pt idx="3823">285.49340000000001</cx:pt>
          <cx:pt idx="3824">285.49340000000001</cx:pt>
          <cx:pt idx="3825">285.49340000000001</cx:pt>
          <cx:pt idx="3826">285.49340000000001</cx:pt>
          <cx:pt idx="3827">285.49340000000001</cx:pt>
          <cx:pt idx="3828">285.49340000000001</cx:pt>
          <cx:pt idx="3829">285.49340000000001</cx:pt>
          <cx:pt idx="3830">285.49340000000001</cx:pt>
          <cx:pt idx="3831">285.49340000000001</cx:pt>
          <cx:pt idx="3832">285.49340000000001</cx:pt>
          <cx:pt idx="3833">285.49340000000001</cx:pt>
          <cx:pt idx="3834">285.49340000000001</cx:pt>
          <cx:pt idx="3835">285.49340000000001</cx:pt>
          <cx:pt idx="3836">285.49340000000001</cx:pt>
          <cx:pt idx="3837">285.49340000000001</cx:pt>
          <cx:pt idx="3838">285.49340000000001</cx:pt>
          <cx:pt idx="3839">285.49340000000001</cx:pt>
          <cx:pt idx="3840">285.49340000000001</cx:pt>
          <cx:pt idx="3841">285.49340000000001</cx:pt>
          <cx:pt idx="3842">285.49340000000001</cx:pt>
          <cx:pt idx="3843">285.49340000000001</cx:pt>
          <cx:pt idx="3844">285.49340000000001</cx:pt>
          <cx:pt idx="3845">285.49340000000001</cx:pt>
          <cx:pt idx="3846">285.49340000000001</cx:pt>
          <cx:pt idx="3847">285.49340000000001</cx:pt>
          <cx:pt idx="3848">285.49340000000001</cx:pt>
          <cx:pt idx="3849">285.49340000000001</cx:pt>
          <cx:pt idx="3850">285.49340000000001</cx:pt>
          <cx:pt idx="3851">285.49340000000001</cx:pt>
          <cx:pt idx="3852">285.49340000000001</cx:pt>
          <cx:pt idx="3853">285.49340000000001</cx:pt>
          <cx:pt idx="3854">285.49340000000001</cx:pt>
          <cx:pt idx="3855">285.49340000000001</cx:pt>
          <cx:pt idx="3856">285.49340000000001</cx:pt>
          <cx:pt idx="3857">285.49340000000001</cx:pt>
          <cx:pt idx="3858">285.49340000000001</cx:pt>
          <cx:pt idx="3859">285.49340000000001</cx:pt>
          <cx:pt idx="3860">285.49340000000001</cx:pt>
          <cx:pt idx="3861">285.49340000000001</cx:pt>
          <cx:pt idx="3862">285.49340000000001</cx:pt>
          <cx:pt idx="3863">285.49340000000001</cx:pt>
          <cx:pt idx="3864">285.49340000000001</cx:pt>
          <cx:pt idx="3865">285.49340000000001</cx:pt>
          <cx:pt idx="3866">285.49340000000001</cx:pt>
          <cx:pt idx="3867">285.49340000000001</cx:pt>
          <cx:pt idx="3868">285.49340000000001</cx:pt>
          <cx:pt idx="3869">285.49340000000001</cx:pt>
          <cx:pt idx="3870">285.49340000000001</cx:pt>
          <cx:pt idx="3871">285.49340000000001</cx:pt>
          <cx:pt idx="3872">285.49340000000001</cx:pt>
          <cx:pt idx="3873">285.49340000000001</cx:pt>
          <cx:pt idx="3874">285.49340000000001</cx:pt>
          <cx:pt idx="3875">285.49340000000001</cx:pt>
          <cx:pt idx="3876">285.49340000000001</cx:pt>
          <cx:pt idx="3877">285.49340000000001</cx:pt>
          <cx:pt idx="3878">285.49340000000001</cx:pt>
          <cx:pt idx="3879">285.49340000000001</cx:pt>
          <cx:pt idx="3880">285.49340000000001</cx:pt>
          <cx:pt idx="3881">285.49340000000001</cx:pt>
          <cx:pt idx="3882">285.49340000000001</cx:pt>
          <cx:pt idx="3883">285.49340000000001</cx:pt>
          <cx:pt idx="3884">285.49340000000001</cx:pt>
          <cx:pt idx="3885">285.49340000000001</cx:pt>
          <cx:pt idx="3886">285.49340000000001</cx:pt>
          <cx:pt idx="3887">285.49340000000001</cx:pt>
          <cx:pt idx="3888">285.49340000000001</cx:pt>
          <cx:pt idx="3889">285.49340000000001</cx:pt>
          <cx:pt idx="3890">285.49340000000001</cx:pt>
          <cx:pt idx="3891">285.49340000000001</cx:pt>
          <cx:pt idx="3892">285.49340000000001</cx:pt>
          <cx:pt idx="3893">285.49340000000001</cx:pt>
          <cx:pt idx="3894">285.49340000000001</cx:pt>
          <cx:pt idx="3895">285.49340000000001</cx:pt>
          <cx:pt idx="3896">285.49340000000001</cx:pt>
          <cx:pt idx="3897">285.49340000000001</cx:pt>
          <cx:pt idx="3898">285.49340000000001</cx:pt>
          <cx:pt idx="3899">285.49340000000001</cx:pt>
          <cx:pt idx="3900">285.49340000000001</cx:pt>
          <cx:pt idx="3901">285.49340000000001</cx:pt>
          <cx:pt idx="3902">285.49340000000001</cx:pt>
          <cx:pt idx="3903">285.49340000000001</cx:pt>
          <cx:pt idx="3904">285.49340000000001</cx:pt>
          <cx:pt idx="3905">285.49340000000001</cx:pt>
          <cx:pt idx="3906">285.49340000000001</cx:pt>
          <cx:pt idx="3907">285.49340000000001</cx:pt>
          <cx:pt idx="3908">285.49340000000001</cx:pt>
          <cx:pt idx="3909">285.49340000000001</cx:pt>
          <cx:pt idx="3910">285.49340000000001</cx:pt>
          <cx:pt idx="3911">285.49340000000001</cx:pt>
          <cx:pt idx="3912">285.49340000000001</cx:pt>
          <cx:pt idx="3913">285.49340000000001</cx:pt>
          <cx:pt idx="3914">285.49340000000001</cx:pt>
          <cx:pt idx="3915">285.49340000000001</cx:pt>
          <cx:pt idx="3916">285.49340000000001</cx:pt>
          <cx:pt idx="3917">285.49340000000001</cx:pt>
          <cx:pt idx="3918">285.49340000000001</cx:pt>
          <cx:pt idx="3919">285.49340000000001</cx:pt>
          <cx:pt idx="3920">285.49340000000001</cx:pt>
          <cx:pt idx="3921">285.49340000000001</cx:pt>
          <cx:pt idx="3922">285.49340000000001</cx:pt>
          <cx:pt idx="3923">285.49340000000001</cx:pt>
          <cx:pt idx="3924">285.49340000000001</cx:pt>
          <cx:pt idx="3925">285.49340000000001</cx:pt>
          <cx:pt idx="3926">285.49340000000001</cx:pt>
          <cx:pt idx="3927">285.49340000000001</cx:pt>
          <cx:pt idx="3928">285.49340000000001</cx:pt>
          <cx:pt idx="3929">285.49340000000001</cx:pt>
          <cx:pt idx="3930">285.49340000000001</cx:pt>
          <cx:pt idx="3931">285.49340000000001</cx:pt>
          <cx:pt idx="3932">285.49340000000001</cx:pt>
          <cx:pt idx="3933">285.49340000000001</cx:pt>
          <cx:pt idx="3934">285.49340000000001</cx:pt>
          <cx:pt idx="3935">285.49340000000001</cx:pt>
          <cx:pt idx="3936">285.49340000000001</cx:pt>
          <cx:pt idx="3937">285.49340000000001</cx:pt>
          <cx:pt idx="3938">285.49340000000001</cx:pt>
          <cx:pt idx="3939">285.49340000000001</cx:pt>
          <cx:pt idx="3940">285.49340000000001</cx:pt>
          <cx:pt idx="3941">285.49340000000001</cx:pt>
          <cx:pt idx="3942">285.49340000000001</cx:pt>
          <cx:pt idx="3943">285.49340000000001</cx:pt>
          <cx:pt idx="3944">285.49340000000001</cx:pt>
          <cx:pt idx="3945">285.49340000000001</cx:pt>
          <cx:pt idx="3946">285.49340000000001</cx:pt>
          <cx:pt idx="3947">285.49340000000001</cx:pt>
          <cx:pt idx="3948">285.49340000000001</cx:pt>
          <cx:pt idx="3949">285.49340000000001</cx:pt>
          <cx:pt idx="3950">285.49340000000001</cx:pt>
          <cx:pt idx="3951">285.49340000000001</cx:pt>
          <cx:pt idx="3952">285.49340000000001</cx:pt>
          <cx:pt idx="3953">285.49340000000001</cx:pt>
          <cx:pt idx="3954">285.49340000000001</cx:pt>
          <cx:pt idx="3955">285.49340000000001</cx:pt>
          <cx:pt idx="3956">285.49340000000001</cx:pt>
          <cx:pt idx="3957">285.49340000000001</cx:pt>
          <cx:pt idx="3958">285.49340000000001</cx:pt>
          <cx:pt idx="3959">285.49340000000001</cx:pt>
          <cx:pt idx="3960">285.49340000000001</cx:pt>
          <cx:pt idx="3961">285.49340000000001</cx:pt>
          <cx:pt idx="3962">285.49340000000001</cx:pt>
          <cx:pt idx="3963">285.49340000000001</cx:pt>
          <cx:pt idx="3964">285.49340000000001</cx:pt>
          <cx:pt idx="3965">285.49340000000001</cx:pt>
          <cx:pt idx="3966">285.49340000000001</cx:pt>
          <cx:pt idx="3967">285.49340000000001</cx:pt>
          <cx:pt idx="3968">285.49340000000001</cx:pt>
          <cx:pt idx="3969">285.49340000000001</cx:pt>
          <cx:pt idx="3970">285.49340000000001</cx:pt>
          <cx:pt idx="3971">285.49340000000001</cx:pt>
          <cx:pt idx="3972">285.49340000000001</cx:pt>
          <cx:pt idx="3973">285.49340000000001</cx:pt>
          <cx:pt idx="3974">285.49340000000001</cx:pt>
          <cx:pt idx="3975">285.49340000000001</cx:pt>
          <cx:pt idx="3976">285.49340000000001</cx:pt>
          <cx:pt idx="3977">285.49340000000001</cx:pt>
          <cx:pt idx="3978">285.49340000000001</cx:pt>
          <cx:pt idx="3979">285.49340000000001</cx:pt>
          <cx:pt idx="3980">285.49340000000001</cx:pt>
          <cx:pt idx="3981">285.49340000000001</cx:pt>
          <cx:pt idx="3982">285.49340000000001</cx:pt>
          <cx:pt idx="3983">285.49340000000001</cx:pt>
          <cx:pt idx="3984">285.49340000000001</cx:pt>
          <cx:pt idx="3985">285.49340000000001</cx:pt>
          <cx:pt idx="3986">285.49340000000001</cx:pt>
          <cx:pt idx="3987">285.49340000000001</cx:pt>
          <cx:pt idx="3988">285.49340000000001</cx:pt>
          <cx:pt idx="3989">285.49340000000001</cx:pt>
          <cx:pt idx="3990">285.49340000000001</cx:pt>
          <cx:pt idx="3991">285.49340000000001</cx:pt>
          <cx:pt idx="3992">285.49340000000001</cx:pt>
          <cx:pt idx="3993">285.49340000000001</cx:pt>
          <cx:pt idx="3994">285.49340000000001</cx:pt>
          <cx:pt idx="3995">285.49340000000001</cx:pt>
          <cx:pt idx="3996">285.49340000000001</cx:pt>
          <cx:pt idx="3997">285.49340000000001</cx:pt>
          <cx:pt idx="3998">285.49340000000001</cx:pt>
          <cx:pt idx="3999">285.49340000000001</cx:pt>
          <cx:pt idx="4000">285.49340000000001</cx:pt>
          <cx:pt idx="4001">285.49340000000001</cx:pt>
          <cx:pt idx="4002">285.49340000000001</cx:pt>
          <cx:pt idx="4003">285.49340000000001</cx:pt>
          <cx:pt idx="4004">285.49340000000001</cx:pt>
          <cx:pt idx="4005">285.49340000000001</cx:pt>
          <cx:pt idx="4006">285.49340000000001</cx:pt>
          <cx:pt idx="4007">285.49340000000001</cx:pt>
          <cx:pt idx="4008">285.49340000000001</cx:pt>
          <cx:pt idx="4009">285.49340000000001</cx:pt>
          <cx:pt idx="4010">285.49340000000001</cx:pt>
          <cx:pt idx="4011">285.49340000000001</cx:pt>
          <cx:pt idx="4012">285.49340000000001</cx:pt>
          <cx:pt idx="4013">285.49340000000001</cx:pt>
          <cx:pt idx="4014">285.49340000000001</cx:pt>
          <cx:pt idx="4015">285.49340000000001</cx:pt>
          <cx:pt idx="4016">285.49340000000001</cx:pt>
          <cx:pt idx="4017">285.49340000000001</cx:pt>
          <cx:pt idx="4018">285.49340000000001</cx:pt>
          <cx:pt idx="4019">285.49340000000001</cx:pt>
          <cx:pt idx="4020">285.49340000000001</cx:pt>
          <cx:pt idx="4021">285.49340000000001</cx:pt>
          <cx:pt idx="4022">285.49340000000001</cx:pt>
          <cx:pt idx="4023">285.49340000000001</cx:pt>
          <cx:pt idx="4024">285.49340000000001</cx:pt>
          <cx:pt idx="4025">285.49340000000001</cx:pt>
          <cx:pt idx="4026">285.49340000000001</cx:pt>
          <cx:pt idx="4027">285.49340000000001</cx:pt>
          <cx:pt idx="4028">285.49340000000001</cx:pt>
          <cx:pt idx="4029">285.49340000000001</cx:pt>
          <cx:pt idx="4030">285.49340000000001</cx:pt>
          <cx:pt idx="4031">285.49340000000001</cx:pt>
          <cx:pt idx="4032">285.49340000000001</cx:pt>
          <cx:pt idx="4033">285.49340000000001</cx:pt>
          <cx:pt idx="4034">285.49340000000001</cx:pt>
          <cx:pt idx="4035">285.49340000000001</cx:pt>
          <cx:pt idx="4036">285.49340000000001</cx:pt>
          <cx:pt idx="4037">285.49340000000001</cx:pt>
          <cx:pt idx="4038">285.49340000000001</cx:pt>
          <cx:pt idx="4039">285.49340000000001</cx:pt>
          <cx:pt idx="4040">285.49340000000001</cx:pt>
          <cx:pt idx="4041">285.49340000000001</cx:pt>
          <cx:pt idx="4042">285.49340000000001</cx:pt>
          <cx:pt idx="4043">285.49340000000001</cx:pt>
          <cx:pt idx="4044">285.49340000000001</cx:pt>
          <cx:pt idx="4045">285.49340000000001</cx:pt>
          <cx:pt idx="4046">285.49340000000001</cx:pt>
          <cx:pt idx="4047">285.49340000000001</cx:pt>
          <cx:pt idx="4048">285.49340000000001</cx:pt>
          <cx:pt idx="4049">285.49340000000001</cx:pt>
          <cx:pt idx="4050">285.49340000000001</cx:pt>
          <cx:pt idx="4051">285.49340000000001</cx:pt>
          <cx:pt idx="4052">285.49340000000001</cx:pt>
          <cx:pt idx="4053">285.49340000000001</cx:pt>
          <cx:pt idx="4054">285.49340000000001</cx:pt>
          <cx:pt idx="4055">285.49340000000001</cx:pt>
          <cx:pt idx="4056">285.49340000000001</cx:pt>
          <cx:pt idx="4057">285.49340000000001</cx:pt>
          <cx:pt idx="4058">285.49340000000001</cx:pt>
          <cx:pt idx="4059">285.49340000000001</cx:pt>
          <cx:pt idx="4060">285.49340000000001</cx:pt>
          <cx:pt idx="4061">285.49340000000001</cx:pt>
          <cx:pt idx="4062">285.49340000000001</cx:pt>
          <cx:pt idx="4063">285.49340000000001</cx:pt>
          <cx:pt idx="4064">285.49340000000001</cx:pt>
          <cx:pt idx="4065">285.49340000000001</cx:pt>
          <cx:pt idx="4066">285.49340000000001</cx:pt>
          <cx:pt idx="4067">285.49340000000001</cx:pt>
          <cx:pt idx="4068">285.49340000000001</cx:pt>
          <cx:pt idx="4069">285.49340000000001</cx:pt>
          <cx:pt idx="4070">285.49340000000001</cx:pt>
          <cx:pt idx="4071">285.49340000000001</cx:pt>
          <cx:pt idx="4072">285.49340000000001</cx:pt>
          <cx:pt idx="4073">285.49340000000001</cx:pt>
          <cx:pt idx="4074">285.49340000000001</cx:pt>
          <cx:pt idx="4075">285.49340000000001</cx:pt>
          <cx:pt idx="4076">285.49340000000001</cx:pt>
          <cx:pt idx="4077">285.49340000000001</cx:pt>
          <cx:pt idx="4078">285.49340000000001</cx:pt>
          <cx:pt idx="4079">285.49340000000001</cx:pt>
          <cx:pt idx="4080">285.49340000000001</cx:pt>
          <cx:pt idx="4081">285.49340000000001</cx:pt>
          <cx:pt idx="4082">285.49340000000001</cx:pt>
          <cx:pt idx="4083">285.49340000000001</cx:pt>
          <cx:pt idx="4084">285.49340000000001</cx:pt>
          <cx:pt idx="4085">285.49340000000001</cx:pt>
          <cx:pt idx="4086">285.49340000000001</cx:pt>
          <cx:pt idx="4087">285.49340000000001</cx:pt>
          <cx:pt idx="4088">285.49340000000001</cx:pt>
          <cx:pt idx="4089">285.49340000000001</cx:pt>
          <cx:pt idx="4090">285.49340000000001</cx:pt>
          <cx:pt idx="4091">285.49340000000001</cx:pt>
          <cx:pt idx="4092">285.49340000000001</cx:pt>
          <cx:pt idx="4093">285.49340000000001</cx:pt>
          <cx:pt idx="4094">285.49340000000001</cx:pt>
          <cx:pt idx="4095">285.49340000000001</cx:pt>
          <cx:pt idx="4096">285.49340000000001</cx:pt>
          <cx:pt idx="4097">285.49340000000001</cx:pt>
          <cx:pt idx="4098">285.49340000000001</cx:pt>
          <cx:pt idx="4099">285.49340000000001</cx:pt>
          <cx:pt idx="4100">285.49340000000001</cx:pt>
          <cx:pt idx="4101">285.49340000000001</cx:pt>
          <cx:pt idx="4102">285.49340000000001</cx:pt>
          <cx:pt idx="4103">285.49340000000001</cx:pt>
          <cx:pt idx="4104">285.49340000000001</cx:pt>
          <cx:pt idx="4105">285.49340000000001</cx:pt>
          <cx:pt idx="4106">285.49340000000001</cx:pt>
          <cx:pt idx="4107">285.49340000000001</cx:pt>
          <cx:pt idx="4108">285.49340000000001</cx:pt>
          <cx:pt idx="4109">285.49340000000001</cx:pt>
          <cx:pt idx="4110">285.49340000000001</cx:pt>
          <cx:pt idx="4111">285.49340000000001</cx:pt>
          <cx:pt idx="4112">285.49340000000001</cx:pt>
          <cx:pt idx="4113">285.49340000000001</cx:pt>
          <cx:pt idx="4114">285.49340000000001</cx:pt>
          <cx:pt idx="4115">285.49340000000001</cx:pt>
          <cx:pt idx="4116">285.49340000000001</cx:pt>
          <cx:pt idx="4117">285.49340000000001</cx:pt>
          <cx:pt idx="4118">285.49340000000001</cx:pt>
          <cx:pt idx="4119">285.49340000000001</cx:pt>
          <cx:pt idx="4120">285.49340000000001</cx:pt>
          <cx:pt idx="4121">285.49340000000001</cx:pt>
          <cx:pt idx="4122">285.49340000000001</cx:pt>
          <cx:pt idx="4123">285.49340000000001</cx:pt>
          <cx:pt idx="4124">285.49340000000001</cx:pt>
          <cx:pt idx="4125">285.49340000000001</cx:pt>
          <cx:pt idx="4126">285.49340000000001</cx:pt>
          <cx:pt idx="4127">285.49340000000001</cx:pt>
          <cx:pt idx="4128">285.49340000000001</cx:pt>
          <cx:pt idx="4129">285.49340000000001</cx:pt>
          <cx:pt idx="4130">285.49340000000001</cx:pt>
          <cx:pt idx="4131">285.49340000000001</cx:pt>
          <cx:pt idx="4132">285.49340000000001</cx:pt>
          <cx:pt idx="4133">285.49340000000001</cx:pt>
          <cx:pt idx="4134">285.49340000000001</cx:pt>
          <cx:pt idx="4135">285.49340000000001</cx:pt>
          <cx:pt idx="4136">285.49340000000001</cx:pt>
          <cx:pt idx="4137">285.49340000000001</cx:pt>
          <cx:pt idx="4138">285.49340000000001</cx:pt>
          <cx:pt idx="4139">285.49340000000001</cx:pt>
          <cx:pt idx="4140">285.49340000000001</cx:pt>
          <cx:pt idx="4141">285.49340000000001</cx:pt>
          <cx:pt idx="4142">285.49340000000001</cx:pt>
          <cx:pt idx="4143">285.49340000000001</cx:pt>
          <cx:pt idx="4144">285.49340000000001</cx:pt>
          <cx:pt idx="4145">285.49340000000001</cx:pt>
          <cx:pt idx="4146">285.49340000000001</cx:pt>
          <cx:pt idx="4147">285.49340000000001</cx:pt>
          <cx:pt idx="4148">285.49340000000001</cx:pt>
          <cx:pt idx="4149">285.49340000000001</cx:pt>
          <cx:pt idx="4150">285.49340000000001</cx:pt>
          <cx:pt idx="4151">285.49340000000001</cx:pt>
          <cx:pt idx="4152">285.49340000000001</cx:pt>
          <cx:pt idx="4153">285.49340000000001</cx:pt>
          <cx:pt idx="4154">285.49340000000001</cx:pt>
          <cx:pt idx="4155">285.49340000000001</cx:pt>
          <cx:pt idx="4156">285.49340000000001</cx:pt>
          <cx:pt idx="4157">285.49340000000001</cx:pt>
          <cx:pt idx="4158">285.49340000000001</cx:pt>
          <cx:pt idx="4159">285.49340000000001</cx:pt>
          <cx:pt idx="4160">285.49340000000001</cx:pt>
          <cx:pt idx="4161">285.49340000000001</cx:pt>
          <cx:pt idx="4162">285.49340000000001</cx:pt>
          <cx:pt idx="4163">285.49340000000001</cx:pt>
          <cx:pt idx="4164">285.49340000000001</cx:pt>
          <cx:pt idx="4165">285.49340000000001</cx:pt>
          <cx:pt idx="4166">285.49340000000001</cx:pt>
          <cx:pt idx="4167">285.49340000000001</cx:pt>
          <cx:pt idx="4168">285.49340000000001</cx:pt>
          <cx:pt idx="4169">285.49340000000001</cx:pt>
          <cx:pt idx="4170">285.49340000000001</cx:pt>
          <cx:pt idx="4171">285.49340000000001</cx:pt>
          <cx:pt idx="4172">285.49340000000001</cx:pt>
          <cx:pt idx="4173">285.49340000000001</cx:pt>
          <cx:pt idx="4174">285.49340000000001</cx:pt>
          <cx:pt idx="4175">285.49340000000001</cx:pt>
          <cx:pt idx="4176">285.49340000000001</cx:pt>
          <cx:pt idx="4177">285.49340000000001</cx:pt>
          <cx:pt idx="4178">285.49340000000001</cx:pt>
          <cx:pt idx="4179">285.49340000000001</cx:pt>
          <cx:pt idx="4180">285.49340000000001</cx:pt>
          <cx:pt idx="4181">285.49340000000001</cx:pt>
          <cx:pt idx="4182">285.49340000000001</cx:pt>
          <cx:pt idx="4183">285.49340000000001</cx:pt>
          <cx:pt idx="4184">285.49340000000001</cx:pt>
          <cx:pt idx="4185">285.49340000000001</cx:pt>
          <cx:pt idx="4186">285.49340000000001</cx:pt>
          <cx:pt idx="4187">285.49340000000001</cx:pt>
          <cx:pt idx="4188">285.49340000000001</cx:pt>
          <cx:pt idx="4189">285.49340000000001</cx:pt>
          <cx:pt idx="4190">285.49340000000001</cx:pt>
          <cx:pt idx="4191">285.49340000000001</cx:pt>
          <cx:pt idx="4192">285.49340000000001</cx:pt>
          <cx:pt idx="4193">285.49340000000001</cx:pt>
          <cx:pt idx="4194">285.49340000000001</cx:pt>
          <cx:pt idx="4195">285.49340000000001</cx:pt>
          <cx:pt idx="4196">285.49340000000001</cx:pt>
          <cx:pt idx="4197">285.49340000000001</cx:pt>
          <cx:pt idx="4198">285.49340000000001</cx:pt>
          <cx:pt idx="4199">285.49340000000001</cx:pt>
          <cx:pt idx="4200">285.49340000000001</cx:pt>
          <cx:pt idx="4201">285.49340000000001</cx:pt>
          <cx:pt idx="4202">285.49340000000001</cx:pt>
          <cx:pt idx="4203">285.49340000000001</cx:pt>
          <cx:pt idx="4204">285.49340000000001</cx:pt>
          <cx:pt idx="4205">285.49340000000001</cx:pt>
          <cx:pt idx="4206">285.49340000000001</cx:pt>
          <cx:pt idx="4207">285.49340000000001</cx:pt>
          <cx:pt idx="4208">285.49340000000001</cx:pt>
          <cx:pt idx="4209">285.49340000000001</cx:pt>
          <cx:pt idx="4210">285.49340000000001</cx:pt>
          <cx:pt idx="4211">285.49340000000001</cx:pt>
          <cx:pt idx="4212">285.49340000000001</cx:pt>
          <cx:pt idx="4213">285.49340000000001</cx:pt>
          <cx:pt idx="4214">285.49340000000001</cx:pt>
          <cx:pt idx="4215">285.49340000000001</cx:pt>
          <cx:pt idx="4216">285.49340000000001</cx:pt>
          <cx:pt idx="4217">285.49340000000001</cx:pt>
          <cx:pt idx="4218">285.49340000000001</cx:pt>
          <cx:pt idx="4219">285.49340000000001</cx:pt>
          <cx:pt idx="4220">285.49340000000001</cx:pt>
          <cx:pt idx="4221">285.49340000000001</cx:pt>
          <cx:pt idx="4222">285.49340000000001</cx:pt>
          <cx:pt idx="4223">285.49340000000001</cx:pt>
          <cx:pt idx="4224">285.49340000000001</cx:pt>
          <cx:pt idx="4225">285.49340000000001</cx:pt>
          <cx:pt idx="4226">285.49340000000001</cx:pt>
          <cx:pt idx="4227">285.49340000000001</cx:pt>
          <cx:pt idx="4228">285.49340000000001</cx:pt>
          <cx:pt idx="4229">285.49340000000001</cx:pt>
          <cx:pt idx="4230">285.49340000000001</cx:pt>
          <cx:pt idx="4231">285.49340000000001</cx:pt>
          <cx:pt idx="4232">285.49340000000001</cx:pt>
          <cx:pt idx="4233">285.49340000000001</cx:pt>
          <cx:pt idx="4234">285.49340000000001</cx:pt>
          <cx:pt idx="4235">285.49340000000001</cx:pt>
          <cx:pt idx="4236">285.49340000000001</cx:pt>
          <cx:pt idx="4237">285.49340000000001</cx:pt>
          <cx:pt idx="4238">285.49340000000001</cx:pt>
          <cx:pt idx="4239">285.49340000000001</cx:pt>
          <cx:pt idx="4240">285.49340000000001</cx:pt>
          <cx:pt idx="4241">285.49340000000001</cx:pt>
          <cx:pt idx="4242">285.49340000000001</cx:pt>
          <cx:pt idx="4243">285.49340000000001</cx:pt>
          <cx:pt idx="4244">285.49340000000001</cx:pt>
          <cx:pt idx="4245">285.49340000000001</cx:pt>
          <cx:pt idx="4246">285.49340000000001</cx:pt>
          <cx:pt idx="4247">285.49340000000001</cx:pt>
          <cx:pt idx="4248">285.49340000000001</cx:pt>
          <cx:pt idx="4249">285.49340000000001</cx:pt>
          <cx:pt idx="4250">285.49340000000001</cx:pt>
          <cx:pt idx="4251">285.49340000000001</cx:pt>
          <cx:pt idx="4252">285.49340000000001</cx:pt>
          <cx:pt idx="4253">285.49340000000001</cx:pt>
          <cx:pt idx="4254">285.49340000000001</cx:pt>
          <cx:pt idx="4255">285.49340000000001</cx:pt>
          <cx:pt idx="4256">285.49340000000001</cx:pt>
          <cx:pt idx="4257">285.49340000000001</cx:pt>
          <cx:pt idx="4258">285.49340000000001</cx:pt>
          <cx:pt idx="4259">285.49340000000001</cx:pt>
          <cx:pt idx="4260">285.49340000000001</cx:pt>
          <cx:pt idx="4261">285.49340000000001</cx:pt>
          <cx:pt idx="4262">285.49340000000001</cx:pt>
          <cx:pt idx="4263">285.49340000000001</cx:pt>
          <cx:pt idx="4264">285.49340000000001</cx:pt>
          <cx:pt idx="4265">285.49340000000001</cx:pt>
          <cx:pt idx="4266">285.49340000000001</cx:pt>
          <cx:pt idx="4267">285.49340000000001</cx:pt>
          <cx:pt idx="4268">285.49340000000001</cx:pt>
          <cx:pt idx="4269">285.49340000000001</cx:pt>
          <cx:pt idx="4270">285.49340000000001</cx:pt>
          <cx:pt idx="4271">285.49340000000001</cx:pt>
          <cx:pt idx="4272">285.49340000000001</cx:pt>
          <cx:pt idx="4273">285.49340000000001</cx:pt>
          <cx:pt idx="4274">285.49340000000001</cx:pt>
          <cx:pt idx="4275">285.49340000000001</cx:pt>
          <cx:pt idx="4276">285.49340000000001</cx:pt>
          <cx:pt idx="4277">285.49340000000001</cx:pt>
          <cx:pt idx="4278">285.49340000000001</cx:pt>
          <cx:pt idx="4279">285.49340000000001</cx:pt>
          <cx:pt idx="4280">285.49340000000001</cx:pt>
          <cx:pt idx="4281">285.49340000000001</cx:pt>
          <cx:pt idx="4282">285.49340000000001</cx:pt>
          <cx:pt idx="4283">285.49340000000001</cx:pt>
          <cx:pt idx="4284">285.49340000000001</cx:pt>
          <cx:pt idx="4285">285.49340000000001</cx:pt>
          <cx:pt idx="4286">285.49340000000001</cx:pt>
          <cx:pt idx="4287">285.49340000000001</cx:pt>
          <cx:pt idx="4288">285.49340000000001</cx:pt>
          <cx:pt idx="4289">285.49340000000001</cx:pt>
          <cx:pt idx="4290">285.49340000000001</cx:pt>
          <cx:pt idx="4291">285.49340000000001</cx:pt>
          <cx:pt idx="4292">285.49340000000001</cx:pt>
          <cx:pt idx="4293">285.49340000000001</cx:pt>
          <cx:pt idx="4294">285.49340000000001</cx:pt>
          <cx:pt idx="4295">285.49340000000001</cx:pt>
          <cx:pt idx="4296">285.49340000000001</cx:pt>
          <cx:pt idx="4297">285.49340000000001</cx:pt>
          <cx:pt idx="4298">285.49340000000001</cx:pt>
          <cx:pt idx="4299">285.49340000000001</cx:pt>
          <cx:pt idx="4300">285.49340000000001</cx:pt>
          <cx:pt idx="4301">285.49340000000001</cx:pt>
          <cx:pt idx="4302">285.49340000000001</cx:pt>
          <cx:pt idx="4303">285.49340000000001</cx:pt>
          <cx:pt idx="4304">285.49340000000001</cx:pt>
          <cx:pt idx="4305">285.49340000000001</cx:pt>
          <cx:pt idx="4306">285.49340000000001</cx:pt>
          <cx:pt idx="4307">285.49340000000001</cx:pt>
          <cx:pt idx="4308">285.49340000000001</cx:pt>
          <cx:pt idx="4309">285.49340000000001</cx:pt>
          <cx:pt idx="4310">285.49340000000001</cx:pt>
          <cx:pt idx="4311">285.49340000000001</cx:pt>
          <cx:pt idx="4312">285.49340000000001</cx:pt>
          <cx:pt idx="4313">285.49340000000001</cx:pt>
          <cx:pt idx="4314">285.49340000000001</cx:pt>
          <cx:pt idx="4315">285.49340000000001</cx:pt>
          <cx:pt idx="4316">285.49340000000001</cx:pt>
          <cx:pt idx="4317">285.49340000000001</cx:pt>
          <cx:pt idx="4318">285.49340000000001</cx:pt>
          <cx:pt idx="4319">285.49340000000001</cx:pt>
          <cx:pt idx="4320">285.49340000000001</cx:pt>
          <cx:pt idx="4321">285.49340000000001</cx:pt>
          <cx:pt idx="4322">285.49340000000001</cx:pt>
          <cx:pt idx="4323">285.49340000000001</cx:pt>
          <cx:pt idx="4324">285.49340000000001</cx:pt>
          <cx:pt idx="4325">285.49340000000001</cx:pt>
          <cx:pt idx="4326">285.49340000000001</cx:pt>
          <cx:pt idx="4327">285.49340000000001</cx:pt>
          <cx:pt idx="4328">285.49340000000001</cx:pt>
          <cx:pt idx="4329">285.49340000000001</cx:pt>
          <cx:pt idx="4330">285.49340000000001</cx:pt>
          <cx:pt idx="4331">285.49340000000001</cx:pt>
          <cx:pt idx="4332">285.49340000000001</cx:pt>
          <cx:pt idx="4333">285.49340000000001</cx:pt>
          <cx:pt idx="4334">285.49340000000001</cx:pt>
          <cx:pt idx="4335">285.49340000000001</cx:pt>
          <cx:pt idx="4336">285.49340000000001</cx:pt>
          <cx:pt idx="4337">285.49340000000001</cx:pt>
          <cx:pt idx="4338">285.49340000000001</cx:pt>
          <cx:pt idx="4339">285.49340000000001</cx:pt>
          <cx:pt idx="4340">285.49340000000001</cx:pt>
          <cx:pt idx="4341">285.49340000000001</cx:pt>
          <cx:pt idx="4342">285.49340000000001</cx:pt>
          <cx:pt idx="4343">285.49340000000001</cx:pt>
          <cx:pt idx="4344">285.49340000000001</cx:pt>
          <cx:pt idx="4345">285.49340000000001</cx:pt>
          <cx:pt idx="4346">285.49340000000001</cx:pt>
          <cx:pt idx="4347">285.49340000000001</cx:pt>
          <cx:pt idx="4348">285.49340000000001</cx:pt>
          <cx:pt idx="4349">285.49340000000001</cx:pt>
          <cx:pt idx="4350">285.49340000000001</cx:pt>
          <cx:pt idx="4351">285.49340000000001</cx:pt>
          <cx:pt idx="4352">285.49340000000001</cx:pt>
          <cx:pt idx="4353">285.49340000000001</cx:pt>
          <cx:pt idx="4354">285.49340000000001</cx:pt>
          <cx:pt idx="4355">285.49340000000001</cx:pt>
          <cx:pt idx="4356">285.49340000000001</cx:pt>
          <cx:pt idx="4357">285.49340000000001</cx:pt>
          <cx:pt idx="4358">285.49340000000001</cx:pt>
          <cx:pt idx="4359">285.49340000000001</cx:pt>
          <cx:pt idx="4360">285.49340000000001</cx:pt>
          <cx:pt idx="4361">285.49340000000001</cx:pt>
          <cx:pt idx="4362">285.49340000000001</cx:pt>
          <cx:pt idx="4363">285.49340000000001</cx:pt>
          <cx:pt idx="4364">285.49340000000001</cx:pt>
          <cx:pt idx="4365">285.49340000000001</cx:pt>
          <cx:pt idx="4366">285.49340000000001</cx:pt>
          <cx:pt idx="4367">285.49340000000001</cx:pt>
          <cx:pt idx="4368">285.49340000000001</cx:pt>
          <cx:pt idx="4369">285.49340000000001</cx:pt>
          <cx:pt idx="4370">285.49340000000001</cx:pt>
          <cx:pt idx="4371">285.49340000000001</cx:pt>
          <cx:pt idx="4372">285.49340000000001</cx:pt>
          <cx:pt idx="4373">285.49340000000001</cx:pt>
          <cx:pt idx="4374">285.49340000000001</cx:pt>
          <cx:pt idx="4375">285.49340000000001</cx:pt>
          <cx:pt idx="4376">285.49340000000001</cx:pt>
          <cx:pt idx="4377">285.49340000000001</cx:pt>
          <cx:pt idx="4378">285.49340000000001</cx:pt>
          <cx:pt idx="4379">285.49340000000001</cx:pt>
          <cx:pt idx="4380">285.49340000000001</cx:pt>
          <cx:pt idx="4381">285.49340000000001</cx:pt>
          <cx:pt idx="4382">285.49340000000001</cx:pt>
          <cx:pt idx="4383">285.49340000000001</cx:pt>
          <cx:pt idx="4384">285.49340000000001</cx:pt>
          <cx:pt idx="4385">285.49340000000001</cx:pt>
          <cx:pt idx="4386">285.49340000000001</cx:pt>
          <cx:pt idx="4387">285.49340000000001</cx:pt>
          <cx:pt idx="4388">285.49340000000001</cx:pt>
          <cx:pt idx="4389">285.49340000000001</cx:pt>
          <cx:pt idx="4390">285.49340000000001</cx:pt>
          <cx:pt idx="4391">285.49340000000001</cx:pt>
          <cx:pt idx="4392">285.49340000000001</cx:pt>
          <cx:pt idx="4393">285.49340000000001</cx:pt>
          <cx:pt idx="4394">285.49340000000001</cx:pt>
          <cx:pt idx="4395">285.49340000000001</cx:pt>
          <cx:pt idx="4396">285.49340000000001</cx:pt>
          <cx:pt idx="4397">285.49340000000001</cx:pt>
          <cx:pt idx="4398">285.49340000000001</cx:pt>
          <cx:pt idx="4399">285.49340000000001</cx:pt>
          <cx:pt idx="4400">285.49340000000001</cx:pt>
          <cx:pt idx="4401">285.49340000000001</cx:pt>
          <cx:pt idx="4402">285.49340000000001</cx:pt>
          <cx:pt idx="4403">285.49340000000001</cx:pt>
          <cx:pt idx="4404">285.49340000000001</cx:pt>
          <cx:pt idx="4405">285.49340000000001</cx:pt>
          <cx:pt idx="4406">285.49340000000001</cx:pt>
          <cx:pt idx="4407">285.49340000000001</cx:pt>
          <cx:pt idx="4408">285.49340000000001</cx:pt>
          <cx:pt idx="4409">285.49340000000001</cx:pt>
          <cx:pt idx="4410">285.49340000000001</cx:pt>
          <cx:pt idx="4411">285.49340000000001</cx:pt>
          <cx:pt idx="4412">285.49340000000001</cx:pt>
          <cx:pt idx="4413">285.49340000000001</cx:pt>
          <cx:pt idx="4414">285.49340000000001</cx:pt>
          <cx:pt idx="4415">285.49340000000001</cx:pt>
          <cx:pt idx="4416">285.49340000000001</cx:pt>
          <cx:pt idx="4417">285.49340000000001</cx:pt>
          <cx:pt idx="4418">285.49340000000001</cx:pt>
          <cx:pt idx="4419">285.49340000000001</cx:pt>
          <cx:pt idx="4420">285.49340000000001</cx:pt>
          <cx:pt idx="4421">285.49340000000001</cx:pt>
          <cx:pt idx="4422">285.49340000000001</cx:pt>
          <cx:pt idx="4423">285.49340000000001</cx:pt>
          <cx:pt idx="4424">285.49340000000001</cx:pt>
          <cx:pt idx="4425">285.49340000000001</cx:pt>
          <cx:pt idx="4426">285.49340000000001</cx:pt>
          <cx:pt idx="4427">285.49340000000001</cx:pt>
          <cx:pt idx="4428">285.49340000000001</cx:pt>
          <cx:pt idx="4429">285.49340000000001</cx:pt>
          <cx:pt idx="4430">285.49340000000001</cx:pt>
          <cx:pt idx="4431">285.49340000000001</cx:pt>
          <cx:pt idx="4432">285.49340000000001</cx:pt>
          <cx:pt idx="4433">285.49340000000001</cx:pt>
          <cx:pt idx="4434">285.49340000000001</cx:pt>
          <cx:pt idx="4435">285.49340000000001</cx:pt>
          <cx:pt idx="4436">285.49340000000001</cx:pt>
          <cx:pt idx="4437">285.49340000000001</cx:pt>
          <cx:pt idx="4438">285.49340000000001</cx:pt>
          <cx:pt idx="4439">285.49340000000001</cx:pt>
          <cx:pt idx="4440">285.49340000000001</cx:pt>
          <cx:pt idx="4441">285.49340000000001</cx:pt>
          <cx:pt idx="4442">285.49340000000001</cx:pt>
          <cx:pt idx="4443">285.49340000000001</cx:pt>
          <cx:pt idx="4444">285.49340000000001</cx:pt>
          <cx:pt idx="4445">285.49340000000001</cx:pt>
          <cx:pt idx="4446">285.49340000000001</cx:pt>
          <cx:pt idx="4447">285.49340000000001</cx:pt>
          <cx:pt idx="4448">285.49340000000001</cx:pt>
          <cx:pt idx="4449">285.49340000000001</cx:pt>
          <cx:pt idx="4450">285.49340000000001</cx:pt>
          <cx:pt idx="4451">285.49340000000001</cx:pt>
          <cx:pt idx="4452">285.49340000000001</cx:pt>
          <cx:pt idx="4453">285.49340000000001</cx:pt>
          <cx:pt idx="4454">285.49340000000001</cx:pt>
          <cx:pt idx="4455">285.49340000000001</cx:pt>
          <cx:pt idx="4456">285.49340000000001</cx:pt>
          <cx:pt idx="4457">285.49340000000001</cx:pt>
          <cx:pt idx="4458">285.49340000000001</cx:pt>
          <cx:pt idx="4459">285.49340000000001</cx:pt>
          <cx:pt idx="4460">285.49340000000001</cx:pt>
          <cx:pt idx="4461">285.49340000000001</cx:pt>
          <cx:pt idx="4462">285.49340000000001</cx:pt>
          <cx:pt idx="4463">285.49340000000001</cx:pt>
          <cx:pt idx="4464">285.49340000000001</cx:pt>
          <cx:pt idx="4465">285.49340000000001</cx:pt>
          <cx:pt idx="4466">285.49340000000001</cx:pt>
          <cx:pt idx="4467">285.49340000000001</cx:pt>
          <cx:pt idx="4468">285.49340000000001</cx:pt>
          <cx:pt idx="4469">285.49340000000001</cx:pt>
          <cx:pt idx="4470">285.49340000000001</cx:pt>
          <cx:pt idx="4471">285.49340000000001</cx:pt>
          <cx:pt idx="4472">285.49340000000001</cx:pt>
          <cx:pt idx="4473">285.49340000000001</cx:pt>
          <cx:pt idx="4474">285.49340000000001</cx:pt>
          <cx:pt idx="4475">285.49340000000001</cx:pt>
          <cx:pt idx="4476">285.49340000000001</cx:pt>
          <cx:pt idx="4477">285.49340000000001</cx:pt>
          <cx:pt idx="4478">285.49340000000001</cx:pt>
          <cx:pt idx="4479">285.49340000000001</cx:pt>
          <cx:pt idx="4480">285.49340000000001</cx:pt>
          <cx:pt idx="4481">285.49340000000001</cx:pt>
          <cx:pt idx="4482">285.49340000000001</cx:pt>
          <cx:pt idx="4483">285.49340000000001</cx:pt>
          <cx:pt idx="4484">285.49340000000001</cx:pt>
          <cx:pt idx="4485">285.49340000000001</cx:pt>
          <cx:pt idx="4486">285.49340000000001</cx:pt>
          <cx:pt idx="4487">285.49340000000001</cx:pt>
          <cx:pt idx="4488">285.49340000000001</cx:pt>
          <cx:pt idx="4489">285.49340000000001</cx:pt>
          <cx:pt idx="4490">285.49340000000001</cx:pt>
          <cx:pt idx="4491">285.49340000000001</cx:pt>
          <cx:pt idx="4492">285.49340000000001</cx:pt>
          <cx:pt idx="4493">285.49340000000001</cx:pt>
          <cx:pt idx="4494">285.49340000000001</cx:pt>
          <cx:pt idx="4495">285.49340000000001</cx:pt>
          <cx:pt idx="4496">285.49340000000001</cx:pt>
          <cx:pt idx="4497">285.49340000000001</cx:pt>
          <cx:pt idx="4498">285.49340000000001</cx:pt>
          <cx:pt idx="4499">285.49340000000001</cx:pt>
          <cx:pt idx="4500">285.49340000000001</cx:pt>
          <cx:pt idx="4501">285.49340000000001</cx:pt>
          <cx:pt idx="4502">285.49340000000001</cx:pt>
          <cx:pt idx="4503">285.49340000000001</cx:pt>
          <cx:pt idx="4504">285.49340000000001</cx:pt>
          <cx:pt idx="4505">285.49340000000001</cx:pt>
          <cx:pt idx="4506">285.49340000000001</cx:pt>
          <cx:pt idx="4507">285.49340000000001</cx:pt>
          <cx:pt idx="4508">285.49340000000001</cx:pt>
          <cx:pt idx="4509">285.49340000000001</cx:pt>
          <cx:pt idx="4510">285.49340000000001</cx:pt>
          <cx:pt idx="4511">285.49340000000001</cx:pt>
          <cx:pt idx="4512">285.49340000000001</cx:pt>
          <cx:pt idx="4513">285.49340000000001</cx:pt>
          <cx:pt idx="4514">285.49340000000001</cx:pt>
          <cx:pt idx="4515">285.49340000000001</cx:pt>
          <cx:pt idx="4516">285.49340000000001</cx:pt>
          <cx:pt idx="4517">285.49340000000001</cx:pt>
          <cx:pt idx="4518">285.49340000000001</cx:pt>
          <cx:pt idx="4519">285.49340000000001</cx:pt>
          <cx:pt idx="4520">285.49340000000001</cx:pt>
          <cx:pt idx="4521">285.49340000000001</cx:pt>
          <cx:pt idx="4522">285.49340000000001</cx:pt>
          <cx:pt idx="4523">285.49340000000001</cx:pt>
          <cx:pt idx="4524">285.49340000000001</cx:pt>
          <cx:pt idx="4525">285.49340000000001</cx:pt>
          <cx:pt idx="4526">285.49340000000001</cx:pt>
          <cx:pt idx="4527">285.49340000000001</cx:pt>
          <cx:pt idx="4528">285.49340000000001</cx:pt>
          <cx:pt idx="4529">285.49340000000001</cx:pt>
          <cx:pt idx="4530">285.49340000000001</cx:pt>
          <cx:pt idx="4531">285.49340000000001</cx:pt>
          <cx:pt idx="4532">285.49340000000001</cx:pt>
          <cx:pt idx="4533">285.49340000000001</cx:pt>
          <cx:pt idx="4534">285.49340000000001</cx:pt>
          <cx:pt idx="4535">285.49340000000001</cx:pt>
          <cx:pt idx="4536">285.49340000000001</cx:pt>
          <cx:pt idx="4537">285.49340000000001</cx:pt>
          <cx:pt idx="4538">285.49340000000001</cx:pt>
          <cx:pt idx="4539">285.49340000000001</cx:pt>
          <cx:pt idx="4540">285.49340000000001</cx:pt>
          <cx:pt idx="4541">285.49340000000001</cx:pt>
          <cx:pt idx="4542">285.49340000000001</cx:pt>
          <cx:pt idx="4543">285.49340000000001</cx:pt>
          <cx:pt idx="4544">285.49340000000001</cx:pt>
          <cx:pt idx="4545">285.49340000000001</cx:pt>
          <cx:pt idx="4546">285.49340000000001</cx:pt>
          <cx:pt idx="4547">285.49340000000001</cx:pt>
          <cx:pt idx="4548">285.49340000000001</cx:pt>
          <cx:pt idx="4549">285.49340000000001</cx:pt>
          <cx:pt idx="4550">285.49340000000001</cx:pt>
          <cx:pt idx="4551">285.49340000000001</cx:pt>
          <cx:pt idx="4552">285.49340000000001</cx:pt>
          <cx:pt idx="4553">285.49340000000001</cx:pt>
          <cx:pt idx="4554">285.49340000000001</cx:pt>
          <cx:pt idx="4555">285.49340000000001</cx:pt>
          <cx:pt idx="4556">285.49340000000001</cx:pt>
          <cx:pt idx="4557">285.49340000000001</cx:pt>
          <cx:pt idx="4558">285.49340000000001</cx:pt>
          <cx:pt idx="4559">285.49340000000001</cx:pt>
          <cx:pt idx="4560">285.49340000000001</cx:pt>
          <cx:pt idx="4561">285.49340000000001</cx:pt>
          <cx:pt idx="4562">285.49340000000001</cx:pt>
          <cx:pt idx="4563">285.49340000000001</cx:pt>
          <cx:pt idx="4564">285.49340000000001</cx:pt>
          <cx:pt idx="4565">285.49340000000001</cx:pt>
          <cx:pt idx="4566">285.49340000000001</cx:pt>
          <cx:pt idx="4567">285.49340000000001</cx:pt>
          <cx:pt idx="4568">285.49340000000001</cx:pt>
          <cx:pt idx="4569">285.49340000000001</cx:pt>
          <cx:pt idx="4570">285.49340000000001</cx:pt>
          <cx:pt idx="4571">285.49340000000001</cx:pt>
          <cx:pt idx="4572">285.49340000000001</cx:pt>
          <cx:pt idx="4573">285.49340000000001</cx:pt>
          <cx:pt idx="4574">285.49340000000001</cx:pt>
          <cx:pt idx="4575">285.49340000000001</cx:pt>
          <cx:pt idx="4576">285.49340000000001</cx:pt>
          <cx:pt idx="4577">285.49340000000001</cx:pt>
          <cx:pt idx="4578">285.49340000000001</cx:pt>
          <cx:pt idx="4579">285.49340000000001</cx:pt>
          <cx:pt idx="4580">285.49340000000001</cx:pt>
          <cx:pt idx="4581">285.49340000000001</cx:pt>
          <cx:pt idx="4582">285.49340000000001</cx:pt>
          <cx:pt idx="4583">285.49340000000001</cx:pt>
          <cx:pt idx="4584">285.49340000000001</cx:pt>
          <cx:pt idx="4585">285.49340000000001</cx:pt>
          <cx:pt idx="4586">285.49340000000001</cx:pt>
          <cx:pt idx="4587">285.49340000000001</cx:pt>
          <cx:pt idx="4588">285.49340000000001</cx:pt>
          <cx:pt idx="4589">285.49340000000001</cx:pt>
          <cx:pt idx="4590">285.49340000000001</cx:pt>
          <cx:pt idx="4591">285.49340000000001</cx:pt>
          <cx:pt idx="4592">285.49340000000001</cx:pt>
          <cx:pt idx="4593">285.49340000000001</cx:pt>
          <cx:pt idx="4594">285.49340000000001</cx:pt>
          <cx:pt idx="4595">285.49340000000001</cx:pt>
          <cx:pt idx="4596">285.49340000000001</cx:pt>
          <cx:pt idx="4597">285.49340000000001</cx:pt>
          <cx:pt idx="4598">285.49340000000001</cx:pt>
          <cx:pt idx="4599">285.49340000000001</cx:pt>
          <cx:pt idx="4600">285.49340000000001</cx:pt>
          <cx:pt idx="4601">285.49340000000001</cx:pt>
          <cx:pt idx="4602">285.49340000000001</cx:pt>
          <cx:pt idx="4603">285.49340000000001</cx:pt>
          <cx:pt idx="4604">285.49340000000001</cx:pt>
          <cx:pt idx="4605">285.49340000000001</cx:pt>
          <cx:pt idx="4606">285.49340000000001</cx:pt>
          <cx:pt idx="4607">285.49340000000001</cx:pt>
          <cx:pt idx="4608">285.49340000000001</cx:pt>
          <cx:pt idx="4609">285.49340000000001</cx:pt>
          <cx:pt idx="4610">285.49340000000001</cx:pt>
          <cx:pt idx="4611">285.49340000000001</cx:pt>
          <cx:pt idx="4612">285.49340000000001</cx:pt>
          <cx:pt idx="4613">285.49340000000001</cx:pt>
          <cx:pt idx="4614">285.49340000000001</cx:pt>
          <cx:pt idx="4615">285.49340000000001</cx:pt>
          <cx:pt idx="4616">285.49340000000001</cx:pt>
          <cx:pt idx="4617">285.49340000000001</cx:pt>
          <cx:pt idx="4618">285.49340000000001</cx:pt>
          <cx:pt idx="4619">285.49340000000001</cx:pt>
          <cx:pt idx="4620">285.49340000000001</cx:pt>
          <cx:pt idx="4621">285.49340000000001</cx:pt>
          <cx:pt idx="4622">285.49340000000001</cx:pt>
          <cx:pt idx="4623">285.49340000000001</cx:pt>
          <cx:pt idx="4624">285.49340000000001</cx:pt>
          <cx:pt idx="4625">285.49340000000001</cx:pt>
          <cx:pt idx="4626">285.49340000000001</cx:pt>
          <cx:pt idx="4627">285.49340000000001</cx:pt>
          <cx:pt idx="4628">285.49340000000001</cx:pt>
          <cx:pt idx="4629">285.49340000000001</cx:pt>
          <cx:pt idx="4630">285.49340000000001</cx:pt>
          <cx:pt idx="4631">285.49340000000001</cx:pt>
          <cx:pt idx="4632">285.49340000000001</cx:pt>
          <cx:pt idx="4633">285.49340000000001</cx:pt>
          <cx:pt idx="4634">285.49340000000001</cx:pt>
          <cx:pt idx="4635">285.49340000000001</cx:pt>
          <cx:pt idx="4636">285.49340000000001</cx:pt>
          <cx:pt idx="4637">285.49340000000001</cx:pt>
          <cx:pt idx="4638">285.49340000000001</cx:pt>
          <cx:pt idx="4639">285.49340000000001</cx:pt>
          <cx:pt idx="4640">285.49340000000001</cx:pt>
          <cx:pt idx="4641">285.49340000000001</cx:pt>
          <cx:pt idx="4642">285.49340000000001</cx:pt>
          <cx:pt idx="4643">285.49340000000001</cx:pt>
          <cx:pt idx="4644">285.49340000000001</cx:pt>
          <cx:pt idx="4645">285.49340000000001</cx:pt>
          <cx:pt idx="4646">285.49340000000001</cx:pt>
          <cx:pt idx="4647">285.49340000000001</cx:pt>
          <cx:pt idx="4648">285.49340000000001</cx:pt>
          <cx:pt idx="4649">285.49340000000001</cx:pt>
          <cx:pt idx="4650">285.49340000000001</cx:pt>
          <cx:pt idx="4651">285.49340000000001</cx:pt>
          <cx:pt idx="4652">285.49340000000001</cx:pt>
          <cx:pt idx="4653">285.49340000000001</cx:pt>
          <cx:pt idx="4654">285.49340000000001</cx:pt>
          <cx:pt idx="4655">285.49340000000001</cx:pt>
          <cx:pt idx="4656">285.49340000000001</cx:pt>
          <cx:pt idx="4657">285.49340000000001</cx:pt>
          <cx:pt idx="4658">285.49340000000001</cx:pt>
          <cx:pt idx="4659">285.49340000000001</cx:pt>
          <cx:pt idx="4660">285.49340000000001</cx:pt>
          <cx:pt idx="4661">285.49340000000001</cx:pt>
          <cx:pt idx="4662">285.49340000000001</cx:pt>
          <cx:pt idx="4663">285.49340000000001</cx:pt>
          <cx:pt idx="4664">285.49340000000001</cx:pt>
          <cx:pt idx="4665">285.49340000000001</cx:pt>
          <cx:pt idx="4666">285.49340000000001</cx:pt>
          <cx:pt idx="4667">285.49340000000001</cx:pt>
          <cx:pt idx="4668">285.49340000000001</cx:pt>
          <cx:pt idx="4669">285.49340000000001</cx:pt>
          <cx:pt idx="4670">285.49340000000001</cx:pt>
          <cx:pt idx="4671">285.49340000000001</cx:pt>
          <cx:pt idx="4672">285.49340000000001</cx:pt>
          <cx:pt idx="4673">285.49340000000001</cx:pt>
          <cx:pt idx="4674">285.49340000000001</cx:pt>
          <cx:pt idx="4675">285.49340000000001</cx:pt>
          <cx:pt idx="4676">285.49340000000001</cx:pt>
          <cx:pt idx="4677">285.49340000000001</cx:pt>
          <cx:pt idx="4678">285.49340000000001</cx:pt>
          <cx:pt idx="4679">285.49340000000001</cx:pt>
          <cx:pt idx="4680">285.49340000000001</cx:pt>
          <cx:pt idx="4681">285.49340000000001</cx:pt>
          <cx:pt idx="4682">285.49340000000001</cx:pt>
          <cx:pt idx="4683">285.49340000000001</cx:pt>
          <cx:pt idx="4684">285.49340000000001</cx:pt>
          <cx:pt idx="4685">285.49340000000001</cx:pt>
          <cx:pt idx="4686">285.49340000000001</cx:pt>
          <cx:pt idx="4687">285.49340000000001</cx:pt>
          <cx:pt idx="4688">285.49340000000001</cx:pt>
          <cx:pt idx="4689">285.49340000000001</cx:pt>
          <cx:pt idx="4690">285.49340000000001</cx:pt>
          <cx:pt idx="4691">285.49340000000001</cx:pt>
          <cx:pt idx="4692">285.49340000000001</cx:pt>
          <cx:pt idx="4693">285.49340000000001</cx:pt>
          <cx:pt idx="4694">285.49340000000001</cx:pt>
          <cx:pt idx="4695">285.49340000000001</cx:pt>
          <cx:pt idx="4696">285.49340000000001</cx:pt>
          <cx:pt idx="4697">285.49340000000001</cx:pt>
          <cx:pt idx="4698">285.49340000000001</cx:pt>
          <cx:pt idx="4699">285.49340000000001</cx:pt>
          <cx:pt idx="4700">285.49340000000001</cx:pt>
          <cx:pt idx="4701">285.49340000000001</cx:pt>
          <cx:pt idx="4702">285.49340000000001</cx:pt>
          <cx:pt idx="4703">285.49340000000001</cx:pt>
          <cx:pt idx="4704">285.49340000000001</cx:pt>
          <cx:pt idx="4705">285.49340000000001</cx:pt>
          <cx:pt idx="4706">285.49340000000001</cx:pt>
          <cx:pt idx="4707">285.49340000000001</cx:pt>
          <cx:pt idx="4708">285.49340000000001</cx:pt>
          <cx:pt idx="4709">285.49340000000001</cx:pt>
          <cx:pt idx="4710">285.49340000000001</cx:pt>
          <cx:pt idx="4711">285.49340000000001</cx:pt>
          <cx:pt idx="4712">285.49340000000001</cx:pt>
          <cx:pt idx="4713">285.49340000000001</cx:pt>
          <cx:pt idx="4714">285.49340000000001</cx:pt>
          <cx:pt idx="4715">285.49340000000001</cx:pt>
          <cx:pt idx="4716">285.49340000000001</cx:pt>
          <cx:pt idx="4717">285.49340000000001</cx:pt>
          <cx:pt idx="4718">285.49340000000001</cx:pt>
          <cx:pt idx="4719">285.49340000000001</cx:pt>
          <cx:pt idx="4720">285.49340000000001</cx:pt>
          <cx:pt idx="4721">285.49340000000001</cx:pt>
          <cx:pt idx="4722">285.49340000000001</cx:pt>
          <cx:pt idx="4723">285.49340000000001</cx:pt>
          <cx:pt idx="4724">285.49340000000001</cx:pt>
          <cx:pt idx="4725">285.49340000000001</cx:pt>
          <cx:pt idx="4726">285.49340000000001</cx:pt>
          <cx:pt idx="4727">285.49340000000001</cx:pt>
          <cx:pt idx="4728">285.49340000000001</cx:pt>
          <cx:pt idx="4729">285.49340000000001</cx:pt>
          <cx:pt idx="4730">285.49340000000001</cx:pt>
          <cx:pt idx="4731">285.49340000000001</cx:pt>
          <cx:pt idx="4732">285.49340000000001</cx:pt>
          <cx:pt idx="4733">285.49340000000001</cx:pt>
          <cx:pt idx="4734">285.49340000000001</cx:pt>
          <cx:pt idx="4735">285.49340000000001</cx:pt>
          <cx:pt idx="4736">285.49340000000001</cx:pt>
          <cx:pt idx="4737">285.49340000000001</cx:pt>
          <cx:pt idx="4738">285.49340000000001</cx:pt>
          <cx:pt idx="4739">285.49340000000001</cx:pt>
          <cx:pt idx="4740">285.49340000000001</cx:pt>
          <cx:pt idx="4741">285.49340000000001</cx:pt>
          <cx:pt idx="4742">285.49340000000001</cx:pt>
          <cx:pt idx="4743">285.49340000000001</cx:pt>
          <cx:pt idx="4744">285.49340000000001</cx:pt>
          <cx:pt idx="4745">285.49340000000001</cx:pt>
          <cx:pt idx="4746">285.49340000000001</cx:pt>
          <cx:pt idx="4747">285.49340000000001</cx:pt>
          <cx:pt idx="4748">285.49340000000001</cx:pt>
          <cx:pt idx="4749">285.49340000000001</cx:pt>
          <cx:pt idx="4750">282.76324840000001</cx:pt>
          <cx:pt idx="4751">282.57940910000002</cx:pt>
          <cx:pt idx="4752">280.50982429999999</cx:pt>
          <cx:pt idx="4753">279.96065129999999</cx:pt>
          <cx:pt idx="4754">279.83881250000002</cx:pt>
          <cx:pt idx="4755">279.74736489999998</cx:pt>
          <cx:pt idx="4756">279.29059869999998</cx:pt>
          <cx:pt idx="4757">278.9252803</cx:pt>
          <cx:pt idx="4758">276.09323599999999</cx:pt>
          <cx:pt idx="4759">275.88135030000001</cx:pt>
          <cx:pt idx="4760">273.93195989999998</cx:pt>
          <cx:pt idx="4761">273.23150090000001</cx:pt>
          <cx:pt idx="4762">271.40443649999997</cx:pt>
          <cx:pt idx="4763">271.34290800000002</cx:pt>
          <cx:pt idx="4764">268.90634499999999</cx:pt>
          <cx:pt idx="4765">267.87144599999999</cx:pt>
          <cx:pt idx="4766">265.86195830000003</cx:pt>
          <cx:pt idx="4767">265.34390739999998</cx:pt>
          <cx:pt idx="4768">263.76077939999999</cx:pt>
          <cx:pt idx="4769">263.45651729999997</cx:pt>
          <cx:pt idx="4770">262.84677520000002</cx:pt>
          <cx:pt idx="4771">262.02493420000002</cx:pt>
          <cx:pt idx="4772">261.5679245</cx:pt>
          <cx:pt idx="4773">257.7002655</cx:pt>
          <cx:pt idx="4774">253.65112740000001</cx:pt>
          <cx:pt idx="4775">253.132848</cx:pt>
          <cx:pt idx="4776">250.30031650000001</cx:pt>
          <cx:pt idx="4777">249.35686509999999</cx:pt>
          <cx:pt idx="4778">249.2939207</cx:pt>
          <cx:pt idx="4779">245.27613289999999</cx:pt>
          <cx:pt idx="4780">243.17496919999999</cx:pt>
          <cx:pt idx="4781">242.38376299999999</cx:pt>
          <cx:pt idx="4782">242.3220062</cx:pt>
          <cx:pt idx="4783">241.6830453</cx:pt>
          <cx:pt idx="4784">241.65263880000001</cx:pt>
          <cx:pt idx="4785">241.46785560000001</cx:pt>
          <cx:pt idx="4786">237.81610190000001</cx:pt>
          <cx:pt idx="4787">237.75457349999999</cx:pt>
          <cx:pt idx="4788">237.50920579999999</cx:pt>
          <cx:pt idx="4789">237.4196614</cx:pt>
          <cx:pt idx="4790">236.96289530000001</cx:pt>
          <cx:pt idx="4791">234.67716150000001</cx:pt>
          <cx:pt idx="4792">233.94652450000001</cx:pt>
          <cx:pt idx="4793">233.64367849999999</cx:pt>
          <cx:pt idx="4794">232.48645339999999</cx:pt>
          <cx:pt idx="4795">232.09072850000001</cx:pt>
          <cx:pt idx="4796">231.5729212</cx:pt>
          <cx:pt idx="4797">231.11615509999999</cx:pt>
          <cx:pt idx="4798">230.53753499999999</cx:pt>
          <cx:pt idx="4799">230.23301409999999</cx:pt>
          <cx:pt idx="4800">228.9522753</cx:pt>
          <cx:pt idx="4801">228.80001490000001</cx:pt>
          <cx:pt idx="4802">227.6430182</cx:pt>
          <cx:pt idx="4803">226.79171479999999</cx:pt>
          <cx:pt idx="4804">224.5672659</cx:pt>
          <cx:pt idx="4805">224.14114979999999</cx:pt>
          <cx:pt idx="4806">221.06539739999999</cx:pt>
          <cx:pt idx="4807">218.84426769999999</cx:pt>
          <cx:pt idx="4808">218.81387659999999</cx:pt>
          <cx:pt idx="4809">218.47896449999999</cx:pt>
          <cx:pt idx="4810">215.2796984</cx:pt>
          <cx:pt idx="4811">212.8146323</cx:pt>
          <cx:pt idx="4812">211.04694939999999</cx:pt>
          <cx:pt idx="4813">210.65288419999999</cx:pt>
          <cx:pt idx="4814">210.5899397</cx:pt>
          <cx:pt idx="4815">210.1027824</cx:pt>
          <cx:pt idx="4816">205.86551119999999</cx:pt>
          <cx:pt idx="4817">205.34628789999999</cx:pt>
          <cx:pt idx="4818">200.5653251</cx:pt>
          <cx:pt idx="4819">196.08863959999999</cx:pt>
          <cx:pt idx="4820">191.61265460000001</cx:pt>
          <cx:pt idx="4821">191.0644408</cx:pt>
          <cx:pt idx="4822">189.6333449</cx:pt>
          <cx:pt idx="4823">188.71981270000001</cx:pt>
          <cx:pt idx="4824">187.31910790000001</cx:pt>
          <cx:pt idx="4825">183.2079693</cx:pt>
          <cx:pt idx="4826">182.41581909999999</cx:pt>
          <cx:pt idx="4827">182.29443710000001</cx:pt>
          <cx:pt idx="4828">179.7669137</cx:pt>
          <cx:pt idx="4829">179.24933480000001</cx:pt>
          <cx:pt idx="4830">178.91395069999999</cx:pt>
          <cx:pt idx="4831">177.45267670000001</cx:pt>
          <cx:pt idx="4832">176.41729050000001</cx:pt>
          <cx:pt idx="4833">176.2042324</cx:pt>
          <cx:pt idx="4834">176.0210936</cx:pt>
          <cx:pt idx="4835">174.83393409999999</cx:pt>
          <cx:pt idx="4836">172.6705264</cx:pt>
          <cx:pt idx="4837">169.99217379999999</cx:pt>
          <cx:pt idx="4838">167.1292511</cx:pt>
          <cx:pt idx="4839">166.61190049999999</cx:pt>
          <cx:pt idx="4840">162.50053349999999</cx:pt>
          <cx:pt idx="4841">161.8919942</cx:pt>
          <cx:pt idx="4842">160.58250870000001</cx:pt>
          <cx:pt idx="4843">158.99913710000001</cx:pt>
          <cx:pt idx="4844">158.45923680000001</cx:pt>
          <cx:pt idx="4845">156.62338690000001</cx:pt>
          <cx:pt idx="4846">155.95331909999999</cx:pt>
          <cx:pt idx="4847">153.21296609999999</cx:pt>
          <cx:pt idx="4848">152.90868879999999</cx:pt>
          <cx:pt idx="4849">152.7953918</cx:pt>
          <cx:pt idx="4850">149.40538910000001</cx:pt>
          <cx:pt idx="4851">149.01085190000001</cx:pt>
          <cx:pt idx="4852">147.3044538</cx:pt>
          <cx:pt idx="4853">147.2141938</cx:pt>
          <cx:pt idx="4854">145.1123145</cx:pt>
          <cx:pt idx="4855">144.65602039999999</cx:pt>
          <cx:pt idx="4856">144.62561400000001</cx:pt>
          <cx:pt idx="4857">144.41161199999999</cx:pt>
          <cx:pt idx="4858">144.35079909999999</cx:pt>
          <cx:pt idx="4859">144.1386851</cx:pt>
          <cx:pt idx="4860">144.07740029999999</cx:pt>
          <cx:pt idx="4861">140.78907709999999</cx:pt>
          <cx:pt idx="4862">139.81426010000001</cx:pt>
          <cx:pt idx="4863">137.895748</cx:pt>
          <cx:pt idx="4864">137.3772251</cx:pt>
          <cx:pt idx="4865">136.5254497</cx:pt>
          <cx:pt idx="4866">136.49504329999999</cx:pt>
          <cx:pt idx="4867">134.72807599999999</cx:pt>
          <cx:pt idx="4868">132.26206579999999</cx:pt>
          <cx:pt idx="4869">129.82644680000001</cx:pt>
          <cx:pt idx="4870">129.765162</cx:pt>
          <cx:pt idx="4871">129.7340552</cx:pt>
          <cx:pt idx="4872">123.88729979999999</cx:pt>
          <cx:pt idx="4873">123.735755</cx:pt>
          <cx:pt idx="4874">123.7041761</cx:pt>
          <cx:pt idx="4875">120.6296114</cx:pt>
          <cx:pt idx="4876">116.365512</cx:pt>
          <cx:pt idx="4877">116.1838044</cx:pt>
          <cx:pt idx="4878">114.4168371</cx:pt>
          <cx:pt idx="4879">114.35673989999999</cx:pt>
          <cx:pt idx="4880">113.198312</cx:pt>
          <cx:pt idx="4881">112.6505703</cx:pt>
          <cx:pt idx="4882">112.3156582</cx:pt>
          <cx:pt idx="4883">108.1140312</cx:pt>
          <cx:pt idx="4884">107.9617708</cx:pt>
          <cx:pt idx="4885">107.9007295</cx:pt>
          <cx:pt idx="4886">107.26059619999999</cx:pt>
          <cx:pt idx="4887">106.7130981</cx:pt>
          <cx:pt idx="4888">106.6515696</cx:pt>
          <cx:pt idx="4889">106.46701469999999</cx:pt>
          <cx:pt idx="4890">104.4596739</cx:pt>
          <cx:pt idx="4891">101.6575488</cx:pt>
          <cx:pt idx="4892">101.5052884</cx:pt>
          <cx:pt idx="4893">101.4444908</cx:pt>
          <cx:pt idx="4894">100.1967621</cx:pt>
          <cx:pt idx="4895">99.892241209999995</cx:pt>
          <cx:pt idx="4896">97.089887719999993</cx:pt>
          <cx:pt idx="4897">96.298209529999994</cx:pt>
          <cx:pt idx="4898">96.267803119999996</cx:pt>
          <cx:pt idx="4899">95.780158589999999</cx:pt>
          <cx:pt idx="4900">95.019130430000004</cx:pt>
          <cx:pt idx="4901">94.197045829999993</cx:pt>
          <cx:pt idx="4902">93.435758829999997</cx:pt>
          <cx:pt idx="4903">91.425799150000003</cx:pt>
          <cx:pt idx="4904">89.842442770000005</cx:pt>
          <cx:pt idx="4905">88.13698875</cx:pt>
          <cx:pt idx="4906">86.401143540000007</cx:pt>
          <cx:pt idx="4907">86.279517900000002</cx:pt>
          <cx:pt idx="4908">85.274781669999996</cx:pt>
          <cx:pt idx="4909">84.056500170000007</cx:pt>
          <cx:pt idx="4910">80.980991430000003</cx:pt>
          <cx:pt idx="4911">80.706892179999997</cx:pt>
          <cx:pt idx="4912">79.549880279999996</cx:pt>
          <cx:pt idx="4913">78.423061630000007</cx:pt>
          <cx:pt idx="4914">77.479123000000001</cx:pt>
          <cx:pt idx="4915">77.083154480000005</cx:pt>
          <cx:pt idx="4916">75.408350479999996</cx:pt>
          <cx:pt idx="4917">70.049011199999995</cx:pt>
          <cx:pt idx="4918">69.805303129999999</cx:pt>
          <cx:pt idx="4919">69.500797460000001</cx:pt>
          <cx:pt idx="4920">69.409349840000004</cx:pt>
          <cx:pt idx="4921">67.764708639999995</cx:pt>
          <cx:pt idx="4922">67.155925699999997</cx:pt>
          <cx:pt idx="4923">64.291815369999995</cx:pt>
          <cx:pt idx="4924">61.429121049999999</cx:pt>
          <cx:pt idx="4925">58.598980019999999</cx:pt>
          <cx:pt idx="4926">58.538182429999999</cx:pt>
          <cx:pt idx="4927">57.137477689999997</cx:pt>
          <cx:pt idx="4928">55.887130130000003</cx:pt>
          <cx:pt idx="4929">52.539166549999997</cx:pt>
          <cx:pt idx="4930">52.204026089999999</cx:pt>
          <cx:pt idx="4931">50.681710930000001</cx:pt>
          <cx:pt idx="4932">49.950830340000003</cx:pt>
          <cx:pt idx="4933">47.969617419999999</cx:pt>
          <cx:pt idx="4934">47.423306949999997</cx:pt>
          <cx:pt idx="4935">46.447058650000002</cx:pt>
          <cx:pt idx="4936">46.142552979999998</cx:pt>
          <cx:pt idx="4937">46.11214657</cx:pt>
          <cx:pt idx="4938">44.406936160000001</cx:pt>
          <cx:pt idx="4939">43.584135940000003</cx:pt>
          <cx:pt idx="4940">42.427382889999997</cx:pt>
          <cx:pt idx="4941">42.366098059999999</cx:pt>
          <cx:pt idx="4942">41.544485469999998</cx:pt>
          <cx:pt idx="4943">37.402955669999997</cx:pt>
          <cx:pt idx="4944">34.570911389999999</cx:pt>
          <cx:pt idx="4945">34.083738869999998</cx:pt>
          <cx:pt idx="4946">31.831730749999998</cx:pt>
          <cx:pt idx="4947">31.525793839999999</cx:pt>
          <cx:pt idx="4948">28.754805990000001</cx:pt>
          <cx:pt idx="4949">28.724155960000001</cx:pt>
          <cx:pt idx="4950">28.358837470000001</cx:pt>
          <cx:pt idx="4951">27.018945550000002</cx:pt>
          <cx:pt idx="4952">24.095210030000001</cx:pt>
          <cx:pt idx="4953">24.004249640000001</cx:pt>
          <cx:pt idx="4954">22.419690410000001</cx:pt>
          <cx:pt idx="4955">22.146778789999999</cx:pt>
          <cx:pt idx="4956">22.116372380000001</cx:pt>
          <cx:pt idx="4957">20.350120759999999</cx:pt>
          <cx:pt idx="4958">20.319242339999999</cx:pt>
          <cx:pt idx="4959">16.390998979999999</cx:pt>
          <cx:pt idx="4960">13.65064593</cx:pt>
          <cx:pt idx="4961">13.071782170000001</cx:pt>
          <cx:pt idx="4962">12.462999229999999</cx:pt>
          <cx:pt idx="4963">9.1426100199999993</cx:pt>
          <cx:pt idx="4964">7.7723116890000004</cx:pt>
          <cx:pt idx="4965">6.7074630400000004</cx:pt>
          <cx:pt idx="4966">2.0792327300000002</cx:pt>
          <cx:pt idx="4967">1.7440922649999999</cx:pt>
          <cx:pt idx="4968">1.713685854</cx:pt>
          <cx:pt idx="4969">0.069273043000000006</cx:pt>
          <cx:pt idx="4970">-0.17419140899999999</cx:pt>
          <cx:pt idx="4971">-1.3630105159999999</cx:pt>
          <cx:pt idx="4972">-2.278918</cx:pt>
          <cx:pt idx="4973">-2.2687451850000002</cx:pt>
          <cx:pt idx="4974">-2.263474805</cx:pt>
          <cx:pt idx="4975">-2.2003349999999999</cx:pt>
          <cx:pt idx="4976">-2.183110385</cx:pt>
          <cx:pt idx="4977">-2.1217510000000002</cx:pt>
          <cx:pt idx="4978">-2.12100643</cx:pt>
          <cx:pt idx="4979">-2.1174896639999998</cx:pt>
          <cx:pt idx="4980">-2.116965456</cx:pt>
          <cx:pt idx="4981">-2.1141593969999999</cx:pt>
          <cx:pt idx="4982">-2.1140840910000001</cx:pt>
          <cx:pt idx="4983">-2.113635489</cx:pt>
          <cx:pt idx="4984">-2.1135607620000001</cx:pt>
          <cx:pt idx="4985">-2.1111279980000002</cx:pt>
          <cx:pt idx="4986">-2.1082472129999998</cx:pt>
          <cx:pt idx="4987">-2.1069002280000002</cx:pt>
          <cx:pt idx="4988">-2.1046551409999998</cx:pt>
          <cx:pt idx="4989">-2.102484182</cx:pt>
          <cx:pt idx="4990">-2.1023341680000001</cx:pt>
          <cx:pt idx="4991">-2.0990791880000002</cx:pt>
          <cx:pt idx="4992">-2.0906974759999999</cx:pt>
          <cx:pt idx="4993">-2.0895005050000002</cx:pt>
          <cx:pt idx="4994">-2.085682233</cx:pt>
          <cx:pt idx="4995">-2.0856083860000001</cx:pt>
          <cx:pt idx="4996">-2.085571603</cx:pt>
          <cx:pt idx="4997">-2.0834371460000001</cx:pt>
          <cx:pt idx="4998">-2.0829882450000001</cx:pt>
          <cx:pt idx="4999">-2.08044457</cx:pt>
          <cx:pt idx="5000">-2.0781994830000001</cx:pt>
          <cx:pt idx="5001">-2.0778632520000002</cx:pt>
          <cx:pt idx="5002">-2.0778244290000001</cx:pt>
          <cx:pt idx="5003">-2.0762162009999998</cx:pt>
          <cx:pt idx="5004">-2.0748318530000001</cx:pt>
          <cx:pt idx="5005">-2.0726991360000002</cx:pt>
          <cx:pt idx="5006">-2.067833609</cx:pt>
          <cx:pt idx="5007">-2.067497677</cx:pt>
          <cx:pt idx="5008">-2.0673450240000002</cx:pt>
          <cx:pt idx="5009">-2.062520658</cx:pt>
          <cx:pt idx="5010">-2.0622961979999999</cx:pt>
          <cx:pt idx="5011">-2.0611363100000002</cx:pt>
          <cx:pt idx="5012">-2.0595636869999998</cx:pt>
          <cx:pt idx="5013">-2.0572815360000001</cx:pt>
          <cx:pt idx="5014">-2.055111175</cx:pt>
          <cx:pt idx="5015">-2.053502741</cx:pt>
          <cx:pt idx="5016">-2.0534644609999999</cx:pt>
          <cx:pt idx="5017">-2.0511826100000001</cx:pt>
          <cx:pt idx="5018">-2.0501337830000002</cx:pt>
          <cx:pt idx="5019">-2.047552558</cx:pt>
          <cx:pt idx="5020">-2.0431680000000001</cx:pt>
          <cx:pt idx="5021">-2.0429281239999999</cx:pt>
          <cx:pt idx="5022">-2.022569469</cx:pt>
          <cx:pt idx="5023">-2.022319988</cx:pt>
          <cx:pt idx="5024">-2.019973893</cx:pt>
          <cx:pt idx="5025">-2.0157328140000002</cx:pt>
          <cx:pt idx="5026">-2.011991471</cx:pt>
          <cx:pt idx="5027">-2.0084988359999998</cx:pt>
          <cx:pt idx="5028">-2.0083984199999998</cx:pt>
          <cx:pt idx="5029">-2.007750417</cx:pt>
          <cx:pt idx="5030">-1.9947268309999999</cx:pt>
          <cx:pt idx="5031">-1.994227894</cx:pt>
          <cx:pt idx="5032">-1.9940780549999999</cx:pt>
          <cx:pt idx="5033">-1.9929307169999999</cx:pt>
          <cx:pt idx="5034">-1.982502682</cx:pt>
          <cx:pt idx="5035">-1.980506509</cx:pt>
          <cx:pt idx="5036">-1.9762654799999999</cx:pt>
          <cx:pt idx="5037">-1.975418192</cx:pt>
          <cx:pt idx="5038">-1.974269681</cx:pt>
          <cx:pt idx="5039">-1.96768338</cx:pt>
          <cx:pt idx="5040">-1.9671353949999999</cx:pt>
          <cx:pt idx="5041">-1.964585</cx:pt>
          <cx:pt idx="5042">-1.964556494</cx:pt>
          <cx:pt idx="5043">-1.9644916720000001</cx:pt>
          <cx:pt idx="5044">-1.9633275889999999</cx:pt>
          <cx:pt idx="5045">-1.962907094</cx:pt>
          <cx:pt idx="5046">-1.9628425309999999</cx:pt>
          <cx:pt idx="5047">-1.9607068110000001</cx:pt>
          <cx:pt idx="5048">-1.959835067</cx:pt>
          <cx:pt idx="5049">-1.9595757620000001</cx:pt>
          <cx:pt idx="5050">-1.9588967230000001</cx:pt>
          <cx:pt idx="5051">-1.956601349</cx:pt>
          <cx:pt idx="5052">-1.951168075</cx:pt>
          <cx:pt idx="5053">-1.9486126370000001</cx:pt>
          <cx:pt idx="5054">-1.945508821</cx:pt>
          <cx:pt idx="5055">-1.9412086180000001</cx:pt>
          <cx:pt idx="5056">-1.940949313</cx:pt>
          <cx:pt idx="5057">-1.9400437749999999</cx:pt>
          <cx:pt idx="5058">-1.936357272</cx:pt>
          <cx:pt idx="5059">-1.929598742</cx:pt>
          <cx:pt idx="5060">-1.9218693339999999</cx:pt>
          <cx:pt idx="5061">-1.9200915519999999</cx:pt>
          <cx:pt idx="5062">-1.918054205</cx:pt>
          <cx:pt idx="5063">-1.917891754</cx:pt>
          <cx:pt idx="5064">-1.91727731</cx:pt>
          <cx:pt idx="5065">-1.916953425</cx:pt>
          <cx:pt idx="5066">-1.915919747</cx:pt>
          <cx:pt idx="5067">-1.915725766</cx:pt>
          <cx:pt idx="5068">-1.9123626460000001</cx:pt>
          <cx:pt idx="5069">-1.9122332440000001</cx:pt>
          <cx:pt idx="5070">-1.912136391</cx:pt>
          <cx:pt idx="5071">-1.910066754</cx:pt>
          <cx:pt idx="5072">-1.9099696429999999</cx:pt>
          <cx:pt idx="5073">-1.9099373529999999</cx:pt>
          <cx:pt idx="5074">-1.907867717</cx:pt>
          <cx:pt idx="5075">-1.9070267590000001</cx:pt>
          <cx:pt idx="5076">-1.9051190570000001</cx:pt>
          <cx:pt idx="5077">-1.9048917830000001</cx:pt>
          <cx:pt idx="5078">-1.901625532</cx:pt>
          <cx:pt idx="5079">-1.9008503990000001</cx:pt>
          <cx:pt idx="5080">-1.900461191</cx:pt>
          <cx:pt idx="5081">-1.897259746</cx:pt>
          <cx:pt idx="5082">-1.8972277150000001</cx:pt>
          <cx:pt idx="5083">-1.896451321</cx:pt>
          <cx:pt idx="5084">-1.8943821860000001</cx:pt>
          <cx:pt idx="5085">-1.8942205110000001</cx:pt>
          <cx:pt idx="5086">-1.8941536670000001</cx:pt>
          <cx:pt idx="5087">-1.892668223</cx:pt>
          <cx:pt idx="5088">-1.887397902</cx:pt>
          <cx:pt idx="5089">-1.886001</cx:pt>
          <cx:pt idx="5090">-1.8844433730000001</cx:pt>
          <cx:pt idx="5091">-1.87230743</cx:pt>
          <cx:pt idx="5092">-1.8710801619999999</cx:pt>
          <cx:pt idx="5093">-1.870911948</cx:pt>
          <cx:pt idx="5094">-1.867854627</cx:pt>
          <cx:pt idx="5095">-1.8614804819999999</cx:pt>
          <cx:pt idx="5096">-1.861387884</cx:pt>
          <cx:pt idx="5097">-1.856672828</cx:pt>
          <cx:pt idx="5098">-1.8452349750000001</cx:pt>
          <cx:pt idx="5099">-1.821310432</cx:pt>
          <cx:pt idx="5100">-1.8158142049999999</cx:pt>
          <cx:pt idx="5101">-1.8142430000000001</cx:pt>
          <cx:pt idx="5102">-1.807418</cx:pt>
          <cx:pt idx="5103">-1.1329350540000001</cx:pt>
          <cx:pt idx="5104">-0.268634382</cx:pt>
          <cx:pt idx="5105">4.5073535040000001</cx:pt>
          <cx:pt idx="5106">9.1016658540000002</cx:pt>
          <cx:pt idx="5107">9.2836825449999996</cx:pt>
          <cx:pt idx="5108">10.706451270000001</cx:pt>
          <cx:pt idx="5109">13.698479989999999</cx:pt>
          <cx:pt idx="5110">16.382197040000001</cx:pt>
          <cx:pt idx="5111">16.837068200000001</cx:pt>
          <cx:pt idx="5112">21.974587669999998</cx:pt>
          <cx:pt idx="5113">22.065061539999999</cx:pt>
          <cx:pt idx="5114">25.115291020000001</cx:pt>
          <cx:pt idx="5115">29.388532569999999</cx:pt>
          <cx:pt idx="5116">31.43572567</cx:pt>
          <cx:pt idx="5117">34.80422849</cx:pt>
          <cx:pt idx="5118">37.394628730000001</cx:pt>
          <cx:pt idx="5119">37.66959834</cx:pt>
          <cx:pt idx="5120">40.03506479</cx:pt>
          <cx:pt idx="5121">44.899752550000002</cx:pt>
          <cx:pt idx="5122">46.082303830000001</cx:pt>
          <cx:pt idx="5123">46.90332351</cx:pt>
          <cx:pt idx="5124">49.542690620000002</cx:pt>
          <cx:pt idx="5125">53.863807360000003</cx:pt>
          <cx:pt idx="5126">56.546478200000003</cx:pt>
          <cx:pt idx="5127">57.226624289999997</cx:pt>
          <cx:pt idx="5128">58.002225090000003</cx:pt>
          <cx:pt idx="5129">58.138822900000001</cx:pt>
          <cx:pt idx="5130">60.094495930000001</cx:pt>
          <cx:pt idx="5131">61.186937229999998</cx:pt>
          <cx:pt idx="5132">61.502344880000003</cx:pt>
          <cx:pt idx="5133">62.594081129999999</cx:pt>
          <cx:pt idx="5134">65.189098310000006</cx:pt>
          <cx:pt idx="5135">65.914663279999999</cx:pt>
          <cx:pt idx="5136">65.962197320000001</cx:pt>
          <cx:pt idx="5137">67.645379779999999</cx:pt>
          <cx:pt idx="5138">70.467468640000007</cx:pt>
          <cx:pt idx="5139">73.196604570000005</cx:pt>
          <cx:pt idx="5140">73.831354520000005</cx:pt>
          <cx:pt idx="5141">74.14996902</cx:pt>
          <cx:pt idx="5142">81.701216770000002</cx:pt>
          <cx:pt idx="5143">83.156258609999995</cx:pt>
          <cx:pt idx="5144">83.611107020000006</cx:pt>
          <cx:pt idx="5145">85.658322859999998</cx:pt>
          <cx:pt idx="5146">85.749842939999994</cx:pt>
          <cx:pt idx="5147">91.661917020000004</cx:pt>
          <cx:pt idx="5148">94.119267440000002</cx:pt>
          <cx:pt idx="5149">97.030056169999995</cx:pt>
          <cx:pt idx="5150">99.258219760000003</cx:pt>
          <cx:pt idx="5151">103.6705382</cx:pt>
          <cx:pt idx="5152">104.6263817</cx:pt>
          <cx:pt idx="5153">106.40074300000001</cx:pt>
          <cx:pt idx="5154">108.85668339999999</cx:pt>
          <cx:pt idx="5155">110.2205235</cx:pt>
          <cx:pt idx="5156">110.5398431</cx:pt>
          <cx:pt idx="5157">116.2266195</cx:pt>
          <cx:pt idx="5158">118.1350996</cx:pt>
          <cx:pt idx="5159">122.729412</cx:pt>
          <cx:pt idx="5160">128.73443900000001</cx:pt>
          <cx:pt idx="5161">130.5545831</cx:pt>
          <cx:pt idx="5162">131.96313710000001</cx:pt>
          <cx:pt idx="5163">133.3277051</cx:pt>
          <cx:pt idx="5164">136.37509159999999</cx:pt>
          <cx:pt idx="5165">137.42140900000001</cx:pt>
          <cx:pt idx="5166">140.05970719999999</cx:pt>
          <cx:pt idx="5167">140.56104339999999</cx:pt>
          <cx:pt idx="5168">141.6517107</cx:pt>
          <cx:pt idx="5169">141.69819849999999</cx:pt>
          <cx:pt idx="5170">141.74325350000001</cx:pt>
          <cx:pt idx="5171">141.7879446</cx:pt>
          <cx:pt idx="5172">141.8791463</cx:pt>
          <cx:pt idx="5173">142.15729999999999</cx:pt>
          <cx:pt idx="5174">142.19651519999999</cx:pt>
          <cx:pt idx="5175">142.5196808</cx:pt>
          <cx:pt idx="5176">142.53976030000001</cx:pt>
          <cx:pt idx="5177">142.8426091</cx:pt>
          <cx:pt idx="5178">144.03384410000001</cx:pt>
          <cx:pt idx="5179">144.61930570000001</cx:pt>
          <cx:pt idx="5180">145.3461873</cx:pt>
          <cx:pt idx="5181">146.17402179999999</cx:pt>
          <cx:pt idx="5182">146.68885169999999</cx:pt>
          <cx:pt idx="5183">146.91106429999999</cx:pt>
          <cx:pt idx="5184">147.41581400000001</cx:pt>
          <cx:pt idx="5185">147.63779450000001</cx:pt>
          <cx:pt idx="5186">148.41530900000001</cx:pt>
          <cx:pt idx="5187">149.04100539999999</cx:pt>
          <cx:pt idx="5188">150.02042080000001</cx:pt>
          <cx:pt idx="5189">150.28311059999999</cx:pt>
          <cx:pt idx="5190">150.31342670000001</cx:pt>
          <cx:pt idx="5191">151.31237150000001</cx:pt>
          <cx:pt idx="5192">151.46387669999999</cx:pt>
          <cx:pt idx="5193">151.51434810000001</cx:pt>
          <cx:pt idx="5194">152.0396519</cx:pt>
          <cx:pt idx="5195">152.7763764</cx:pt>
          <cx:pt idx="5196">153.4933393</cx:pt>
          <cx:pt idx="5197">153.80587460000001</cx:pt>
          <cx:pt idx="5198">154.13903959999999</cx:pt>
          <cx:pt idx="5199">156.02700139999999</cx:pt>
          <cx:pt idx="5200">156.13811029999999</cx:pt>
          <cx:pt idx="5201">156.32000729999999</cx:pt>
          <cx:pt idx="5202">156.3296938</cx:pt>
          <cx:pt idx="5203">156.34000610000001</cx:pt>
          <cx:pt idx="5204">156.35001059999999</cx:pt>
          <cx:pt idx="5205">156.3604794</cx:pt>
          <cx:pt idx="5206">156.37048379999999</cx:pt>
          <cx:pt idx="5207">156.38032670000001</cx:pt>
          <cx:pt idx="5208">156.4007192</cx:pt>
          <cx:pt idx="5209">156.4106429</cx:pt>
          <cx:pt idx="5210">156.43111619999999</cx:pt>
          <cx:pt idx="5211">156.44095909999999</cx:pt>
          <cx:pt idx="5212">156.45095850000001</cx:pt>
          <cx:pt idx="5213">156.46143230000001</cx:pt>
          <cx:pt idx="5214">156.4812747</cx:pt>
          <cx:pt idx="5215">156.50143499999999</cx:pt>
          <cx:pt idx="5216">156.5119038</cx:pt>
          <cx:pt idx="5217">156.5522244</cx:pt>
          <cx:pt idx="5218">156.57198589999999</cx:pt>
          <cx:pt idx="5219">156.58254059999999</cx:pt>
          <cx:pt idx="5220">156.59238350000001</cx:pt>
          <cx:pt idx="5221">156.6633282</cx:pt>
          <cx:pt idx="5222">156.67333260000001</cx:pt>
          <cx:pt idx="5223">156.6831755</cx:pt>
          <cx:pt idx="5224">156.69348790000001</cx:pt>
          <cx:pt idx="5225">156.6953</cx:pt>
          <cx:pt idx="5226">157.84346790000001</cx:pt>
          <cx:pt idx="5227">159.1971121</cx:pt>
          <cx:pt idx="5228">160.56116879999999</cx:pt>
          <cx:pt idx="5229">162.0126918</cx:pt>
          <cx:pt idx="5230">163.36633599999999</cx:pt>
          <cx:pt idx="5231">164.7414995</cx:pt>
          <cx:pt idx="5232">166.18191569999999</cx:pt>
          <cx:pt idx="5233">167.5570793</cx:pt>
          <cx:pt idx="5234">168.92183030000001</cx:pt>
          <cx:pt idx="5235">173.12298620000001</cx:pt>
          <cx:pt idx="5236">174.49884399999999</cx:pt>
          <cx:pt idx="5237">175.85248820000001</cx:pt>
          <cx:pt idx="5238">177.51990000000001</cx:pt>
          <cx:pt idx="5239">178.3412429</cx:pt>
          <cx:pt idx="5240">178.78906169999999</cx:pt>
          <cx:pt idx="5241">182.44385539999999</cx:pt>
          <cx:pt idx="5242">183.36478969999999</cx:pt>
          <cx:pt idx="5243">183.81260839999999</cx:pt>
          <cx:pt idx="5244">184.35659999999999</cx:pt>
          <cx:pt idx="5245">190.01278149999999</cx:pt>
          <cx:pt idx="5246">196.77279999999999</cx:pt>
          <cx:pt idx="5247">201.49633360000001</cx:pt>
          <cx:pt idx="5248">204.87872089999999</cx:pt>
          <cx:pt idx="5249">208.22062070000001</cx:pt>
          <cx:pt idx="5250">220.06319379999999</cx:pt>
          <cx:pt idx="5251">222.07660000000001</cx:pt>
          <cx:pt idx="5252">229.58597090000001</cx:pt>
          <cx:pt idx="5253">230.85802200000001</cx:pt>
          <cx:pt idx="5254">232.20059860000001</cx:pt>
          <cx:pt idx="5255">233.47264949999999</cx:pt>
          <cx:pt idx="5256">234.7641112</cx:pt>
          <cx:pt idx="5257">236.0562199</cx:pt>
          <cx:pt idx="5258">237.32827090000001</cx:pt>
          <cx:pt idx="5259">241.48670000000001</cx:pt>
          <cx:pt idx="5260">245.56483940000001</cx:pt>
          <cx:pt idx="5261">249.80805659999999</cx:pt>
          <cx:pt idx="5262">250.6555118</cx:pt>
          <cx:pt idx="5263">251.57595760000001</cx:pt>
          <cx:pt idx="5264">254.07164309999999</cx:pt>
          <cx:pt idx="5265">254.21719999999999</cx:pt>
          <cx:pt idx="5266">255.3653679</cx:pt>
          <cx:pt idx="5267">258.15873399999998</cx:pt>
          <cx:pt idx="5268">260.89864849999998</cx:pt>
          <cx:pt idx="5269">266.44303600000001</cx:pt>
          <cx:pt idx="5270">274.8036975</cx:pt>
          <cx:pt idx="5271">275.04180000000002</cx:pt>
          <cx:pt idx="5272">279.6388053</cx:pt>
          <cx:pt idx="5273">285.10018059999999</cx:pt>
          <cx:pt idx="5274">296.33143719999998</cx:pt>
          <cx:pt idx="5275">301.75112230000002</cx:pt>
          <cx:pt idx="5276">307.29865710000001</cx:pt>
          <cx:pt idx="5277">313.06575859999998</cx:pt>
          <cx:pt idx="5278">318.52991370000001</cx:pt>
          <cx:pt idx="5279">323.99128899999999</cx:pt>
          <cx:pt idx="5280">329.54160289999999</cx:pt>
          <cx:pt idx="5281">335.09191679999998</cx:pt>
          <cx:pt idx="5282">351.78454870000002</cx:pt>
          <cx:pt idx="5283">357.46549069999998</cx:pt>
          <cx:pt idx="5284">358.41879999999998</cx:pt>
          <cx:pt idx="5285">358.61299709999997</cx:pt>
          <cx:pt idx="5286">358.65333190000001</cx:pt>
          <cx:pt idx="5287">358.97710160000003</cx:pt>
          <cx:pt idx="5288">359.01808299999999</cx:pt>
          <cx:pt idx="5289">359.05843800000002</cx:pt>
          <cx:pt idx="5290">359.09784330000002</cx:pt>
          <cx:pt idx="5291">359.25954619999999</cx:pt>
          <cx:pt idx="5292">359.341206</cx:pt>
          <cx:pt idx="5293">359.38091429999997</cx:pt>
          <cx:pt idx="5294">359.6646523</cx:pt>
          <cx:pt idx="5295">359.70405749999998</cx:pt>
          <cx:pt idx="5296">359.78602039999998</cx:pt>
          <cx:pt idx="5297">359.82542569999998</cx:pt>
          <cx:pt idx="5298">359.86576050000002</cx:pt>
          <cx:pt idx="5299">359.90769169999999</cx:pt>
          <cx:pt idx="5300">359.98712860000001</cx:pt>
          <cx:pt idx="5301">360.06783869999998</cx:pt>
          <cx:pt idx="5302">360.2305116</cx:pt>
          <cx:pt idx="5303">360.27086659999998</cx:pt>
          <cx:pt idx="5304">360.31057490000001</cx:pt>
          <cx:pt idx="5305">360.35060659999999</cx:pt>
          <cx:pt idx="5306">360.43164000000002</cx:pt>
          <cx:pt idx="5307">360.71440790000003</cx:pt>
          <cx:pt idx="5308">360.7560158</cx:pt>
          <cx:pt idx="5309">360.87708090000001</cx:pt>
          <cx:pt idx="5310">360.95682090000003</cx:pt>
          <cx:pt idx="5311">360.99844899999999</cx:pt>
          <cx:pt idx="5312">361.03815739999999</cx:pt>
          <cx:pt idx="5313">361.07818909999997</cx:pt>
          <cx:pt idx="5314">361.11854410000001</cx:pt>
          <cx:pt idx="5315">361.16015199999998</cx:pt>
          <cx:pt idx="5316">361.19988050000001</cx:pt>
          <cx:pt idx="5317">361.48329519999999</cx:pt>
          <cx:pt idx="5318">361.52270040000002</cx:pt>
          <cx:pt idx="5319">361.64437170000002</cx:pt>
          <cx:pt idx="5320">361.72475839999998</cx:pt>
          <cx:pt idx="5321">361.76636619999999</cx:pt>
          <cx:pt idx="5322">361.80609479999998</cx:pt>
          <cx:pt idx="5323">361.84644980000002</cx:pt>
          <cx:pt idx="5324">361.8864815</cx:pt>
          <cx:pt idx="5325">362.00784970000001</cx:pt>
          <cx:pt idx="5326">362.04915440000002</cx:pt>
          <cx:pt idx="5327">362.0895094</cx:pt>
          <cx:pt idx="5328">362.2108776</cx:pt>
          <cx:pt idx="5329">362.29061760000002</cx:pt>
          <cx:pt idx="5330">362.37227739999997</cx:pt>
          <cx:pt idx="5331">362.49269579999998</cx:pt>
          <cx:pt idx="5332">362.61406390000002</cx:pt>
          <cx:pt idx="5333">362.6553687</cx:pt>
          <cx:pt idx="5334">362.66230000000002</cx:pt>
          <cx:pt idx="5335">371.79217519999997</cx:pt>
          <cx:pt idx="5336">374.13423870000003</cx:pt>
          <cx:pt idx="5337">376.49537220000002</cx:pt>
          <cx:pt idx="5338">378.96854350000001</cx:pt>
          <cx:pt idx="5339">381.31179850000001</cx:pt>
          <cx:pt idx="5340">398.00898189999998</cx:pt>
          <cx:pt idx="5341">398.4178</cx:pt>
          <cx:pt idx="5342">398.91580750000003</cx:pt>
          <cx:pt idx="5343">399.50293859999999</cx:pt>
          <cx:pt idx="5344">401.91228330000001</cx:pt>
          <cx:pt idx="5345">402.5370509</cx:pt>
          <cx:pt idx="5346">403.1335158</cx:pt>
          <cx:pt idx="5347">403.7206468</cx:pt>
          <cx:pt idx="5348">405.54797910000002</cx:pt>
          <cx:pt idx="5349">406.14444400000002</cx:pt>
          <cx:pt idx="5350">406.73157500000002</cx:pt>
          <cx:pt idx="5351">407.34700880000003</cx:pt>
          <cx:pt idx="5352">407.45479999999998</cx:pt>
          <cx:pt idx="5353">408.30962290000002</cx:pt>
          <cx:pt idx="5354">409.32664829999999</cx:pt>
          <cx:pt idx="5355">410.35984180000003</cx:pt>
          <cx:pt idx="5356">411.44206120000001</cx:pt>
          <cx:pt idx="5357">412.4669098</cx:pt>
          <cx:pt idx="5358">413.50010329999998</cx:pt>
          <cx:pt idx="5359">414.58232270000002</cx:pt>
          <cx:pt idx="5360">415.6155162</cx:pt>
          <cx:pt idx="5361">416.63254160000002</cx:pt>
          <cx:pt idx="5362">417.68242479999998</cx:pt>
          <cx:pt idx="5363">418.71561819999999</cx:pt>
          <cx:pt idx="5364">419.79783759999998</cx:pt>
          <cx:pt idx="5365">420.83103110000002</cx:pt>
          <cx:pt idx="5366">421.84805649999998</cx:pt>
          <cx:pt idx="5367">422.91410769999999</cx:pt>
          <cx:pt idx="5368">423.09300000000002</cx:pt>
          <cx:pt idx="5369">424.55151050000001</cx:pt>
          <cx:pt idx="5370">426.27295889999999</cx:pt>
          <cx:pt idx="5371">428.10293539999998</cx:pt>
          <cx:pt idx="5372">429.85173630000003</cx:pt>
          <cx:pt idx="5373">431.58553769999997</cx:pt>
          <cx:pt idx="5374">433.33345630000002</cx:pt>
          <cx:pt idx="5375">435.16431510000001</cx:pt>
          <cx:pt idx="5376">436.9122337</cx:pt>
          <cx:pt idx="5377">438.63279979999999</cx:pt>
          <cx:pt idx="5378">440.40895339999997</cx:pt>
          <cx:pt idx="5379">442.15687200000002</cx:pt>
          <cx:pt idx="5380">443.98773080000001</cx:pt>
          <cx:pt idx="5381">445.73564950000002</cx:pt>
          <cx:pt idx="5382">447.45621560000001</cx:pt>
          <cx:pt idx="5383">449.2597217</cx:pt>
          <cx:pt idx="5384">449.57560000000001</cx:pt>
          <cx:pt idx="5385">449.82014249999997</cx:pt>
          <cx:pt idx="5386">450.43518710000001</cx:pt>
          <cx:pt idx="5387">450.71708749999999</cx:pt>
          <cx:pt idx="5388">451.01048489999999</cx:pt>
          <cx:pt idx="5389">451.30627129999999</cx:pt>
          <cx:pt idx="5390">451.61609290000001</cx:pt>
          <cx:pt idx="5391">451.91187930000001</cx:pt>
          <cx:pt idx="5392">452.20303699999999</cx:pt>
          <cx:pt idx="5393">452.50360130000001</cx:pt>
          <cx:pt idx="5394">452.79938770000001</cx:pt>
          <cx:pt idx="5395">453.10920929999997</cx:pt>
          <cx:pt idx="5396">453.40499569999997</cx:pt>
          <cx:pt idx="5397">453.69615340000001</cx:pt>
          <cx:pt idx="5398">454.00134639999999</cx:pt>
          <cx:pt idx="5399">454.0548</cx:pt>
          <cx:pt idx="5400">470.28688390000002</cx:pt>
          <cx:pt idx="5401">489.76934670000003</cx:pt>
          <cx:pt idx="5402">511.26348109999998</cx:pt>
          <cx:pt idx="5403">529.8144337</cx:pt>
          <cx:pt idx="5404">549.28698759999997</cx:pt>
          <cx:pt idx="5405">568.91809690000002</cx:pt>
          <cx:pt idx="5406">589.48071870000001</cx:pt>
          <cx:pt idx="5407">609.11182799999995</cx:pt>
          <cx:pt idx="5408">628.4357377</cx:pt>
          <cx:pt idx="5409">648.38395800000001</cx:pt>
          <cx:pt idx="5410">668.01506730000006</cx:pt>
          <cx:pt idx="5411">688.57768920000001</cx:pt>
          <cx:pt idx="5412">708.20879849999994</cx:pt>
          <cx:pt idx="5413">1200.2390740000001</cx:pt>
          <cx:pt idx="5414">1211.8975829999999</cx:pt>
          <cx:pt idx="5415">1223.9327519999999</cx:pt>
          <cx:pt idx="5416">1235.776601</cx:pt>
          <cx:pt idx="5417">1248.1824509999999</cx:pt>
          <cx:pt idx="5418">1259.9306409999999</cx:pt>
          <cx:pt idx="5419">1260.0263</cx:pt>
          <cx:pt idx="5420">1271.68481</cx:pt>
          <cx:pt idx="5421">1283.9949999999999</cx:pt>
          <cx:pt idx="5422">1284.838</cx:pt>
          <cx:pt idx="5423">1284.838</cx:pt>
          <cx:pt idx="5424">1284.838</cx:pt>
          <cx:pt idx="5425">1284.838</cx:pt>
          <cx:pt idx="5426">1284.838</cx:pt>
          <cx:pt idx="5427">1284.838</cx:pt>
          <cx:pt idx="5428">1284.838</cx:pt>
          <cx:pt idx="5429">1284.838</cx:pt>
          <cx:pt idx="5430">1284.838</cx:pt>
          <cx:pt idx="5431">1284.838</cx:pt>
          <cx:pt idx="5432">1284.838</cx:pt>
          <cx:pt idx="5433">1284.838</cx:pt>
          <cx:pt idx="5434">1284.838</cx:pt>
          <cx:pt idx="5435">1284.838</cx:pt>
          <cx:pt idx="5436">1284.838</cx:pt>
          <cx:pt idx="5437">1284.838</cx:pt>
          <cx:pt idx="5438">1284.838</cx:pt>
          <cx:pt idx="5439">1284.838</cx:pt>
          <cx:pt idx="5440">1284.838</cx:pt>
          <cx:pt idx="5441">1284.838</cx:pt>
          <cx:pt idx="5442">1284.838</cx:pt>
          <cx:pt idx="5443">1284.838</cx:pt>
          <cx:pt idx="5444">1284.838</cx:pt>
          <cx:pt idx="5445">1284.838</cx:pt>
          <cx:pt idx="5446">1284.838</cx:pt>
          <cx:pt idx="5447">1284.838</cx:pt>
          <cx:pt idx="5448">1284.838</cx:pt>
          <cx:pt idx="5449">1284.838</cx:pt>
          <cx:pt idx="5450">1284.838</cx:pt>
          <cx:pt idx="5451">1284.838</cx:pt>
          <cx:pt idx="5452">1284.838</cx:pt>
          <cx:pt idx="5453">1284.838</cx:pt>
          <cx:pt idx="5454">1284.838</cx:pt>
          <cx:pt idx="5455">1284.838</cx:pt>
          <cx:pt idx="5456">1284.838</cx:pt>
          <cx:pt idx="5457">1284.838</cx:pt>
          <cx:pt idx="5458">1284.838</cx:pt>
          <cx:pt idx="5459">1284.838</cx:pt>
          <cx:pt idx="5460">1284.838</cx:pt>
          <cx:pt idx="5461">1284.838</cx:pt>
          <cx:pt idx="5462">1284.838</cx:pt>
          <cx:pt idx="5463">1284.838</cx:pt>
          <cx:pt idx="5464">1284.838</cx:pt>
          <cx:pt idx="5465">1284.838</cx:pt>
          <cx:pt idx="5466">1284.838</cx:pt>
          <cx:pt idx="5467">1284.838</cx:pt>
          <cx:pt idx="5468">1284.838</cx:pt>
          <cx:pt idx="5469">1284.838</cx:pt>
          <cx:pt idx="5470">1284.838</cx:pt>
          <cx:pt idx="5471">1284.838</cx:pt>
          <cx:pt idx="5472">1284.838</cx:pt>
          <cx:pt idx="5473">1284.838</cx:pt>
          <cx:pt idx="5474">1284.838</cx:pt>
          <cx:pt idx="5475">1284.838</cx:pt>
          <cx:pt idx="5476">1284.838</cx:pt>
          <cx:pt idx="5477">1284.838</cx:pt>
          <cx:pt idx="5478">1284.838</cx:pt>
          <cx:pt idx="5479">1284.838</cx:pt>
          <cx:pt idx="5480">1284.838</cx:pt>
          <cx:pt idx="5481">1284.838</cx:pt>
          <cx:pt idx="5482">1284.838</cx:pt>
          <cx:pt idx="5483">1284.838</cx:pt>
          <cx:pt idx="5484">1284.838</cx:pt>
          <cx:pt idx="5485">1284.838</cx:pt>
          <cx:pt idx="5486">1284.838</cx:pt>
          <cx:pt idx="5487">1284.838</cx:pt>
          <cx:pt idx="5488">1284.838</cx:pt>
          <cx:pt idx="5489">1284.838</cx:pt>
          <cx:pt idx="5490">1284.838</cx:pt>
          <cx:pt idx="5491">1284.838</cx:pt>
          <cx:pt idx="5492">1284.838</cx:pt>
          <cx:pt idx="5493">1284.838</cx:pt>
          <cx:pt idx="5494">1284.838</cx:pt>
          <cx:pt idx="5495">1284.838</cx:pt>
          <cx:pt idx="5496">1284.838</cx:pt>
          <cx:pt idx="5497">1284.838</cx:pt>
          <cx:pt idx="5498">1284.838</cx:pt>
          <cx:pt idx="5499">1284.838</cx:pt>
          <cx:pt idx="5500">1284.838</cx:pt>
          <cx:pt idx="5501">1284.838</cx:pt>
          <cx:pt idx="5502">1284.838</cx:pt>
          <cx:pt idx="5503">1284.838</cx:pt>
          <cx:pt idx="5504">1284.838</cx:pt>
          <cx:pt idx="5505">1284.838</cx:pt>
          <cx:pt idx="5506">1284.838</cx:pt>
          <cx:pt idx="5507">1284.838</cx:pt>
          <cx:pt idx="5508">1284.838</cx:pt>
          <cx:pt idx="5509">1284.838</cx:pt>
          <cx:pt idx="5510">1284.838</cx:pt>
          <cx:pt idx="5511">1284.838</cx:pt>
          <cx:pt idx="5512">1284.838</cx:pt>
          <cx:pt idx="5513">1284.838</cx:pt>
          <cx:pt idx="5514">1284.838</cx:pt>
          <cx:pt idx="5515">1284.838</cx:pt>
          <cx:pt idx="5516">1284.838</cx:pt>
          <cx:pt idx="5517">1284.838</cx:pt>
          <cx:pt idx="5518">1284.838</cx:pt>
          <cx:pt idx="5519">1284.838</cx:pt>
          <cx:pt idx="5520">1284.838</cx:pt>
          <cx:pt idx="5521">1284.838</cx:pt>
          <cx:pt idx="5522">1284.838</cx:pt>
          <cx:pt idx="5523">1284.838</cx:pt>
          <cx:pt idx="5524">1284.838</cx:pt>
          <cx:pt idx="5525">1284.838</cx:pt>
          <cx:pt idx="5526">1284.838</cx:pt>
          <cx:pt idx="5527">1284.838</cx:pt>
          <cx:pt idx="5528">1284.838</cx:pt>
          <cx:pt idx="5529">1284.838</cx:pt>
          <cx:pt idx="5530">1284.838</cx:pt>
          <cx:pt idx="5531">1284.838</cx:pt>
          <cx:pt idx="5532">1284.838</cx:pt>
          <cx:pt idx="5533">1284.838</cx:pt>
          <cx:pt idx="5534">1284.838</cx:pt>
          <cx:pt idx="5535">1284.838</cx:pt>
          <cx:pt idx="5536">1284.838</cx:pt>
          <cx:pt idx="5537">1284.838</cx:pt>
          <cx:pt idx="5538">1284.838</cx:pt>
          <cx:pt idx="5539">1284.838</cx:pt>
          <cx:pt idx="5540">1284.838</cx:pt>
          <cx:pt idx="5541">1284.838</cx:pt>
          <cx:pt idx="5542">1284.838</cx:pt>
          <cx:pt idx="5543">1284.838</cx:pt>
          <cx:pt idx="5544">1284.838</cx:pt>
          <cx:pt idx="5545">1284.838</cx:pt>
          <cx:pt idx="5546">1284.838</cx:pt>
          <cx:pt idx="5547">1284.838</cx:pt>
          <cx:pt idx="5548">1284.838</cx:pt>
          <cx:pt idx="5549">1284.838</cx:pt>
          <cx:pt idx="5550">1284.838</cx:pt>
          <cx:pt idx="5551">1284.838</cx:pt>
          <cx:pt idx="5552">1284.838</cx:pt>
          <cx:pt idx="5553">1284.838</cx:pt>
          <cx:pt idx="5554">1284.838</cx:pt>
          <cx:pt idx="5555">1284.838</cx:pt>
          <cx:pt idx="5556">1284.838</cx:pt>
          <cx:pt idx="5557">1284.838</cx:pt>
          <cx:pt idx="5558">1284.838</cx:pt>
          <cx:pt idx="5559">1284.838</cx:pt>
          <cx:pt idx="5560">1284.838</cx:pt>
          <cx:pt idx="5561">1284.838</cx:pt>
          <cx:pt idx="5562">1284.838</cx:pt>
          <cx:pt idx="5563">1284.838</cx:pt>
          <cx:pt idx="5564">1284.838</cx:pt>
          <cx:pt idx="5565">1284.838</cx:pt>
          <cx:pt idx="5566">1284.838</cx:pt>
          <cx:pt idx="5567">1284.838</cx:pt>
          <cx:pt idx="5568">1284.838</cx:pt>
          <cx:pt idx="5569">1284.838</cx:pt>
          <cx:pt idx="5570">1284.838</cx:pt>
          <cx:pt idx="5571">1284.838</cx:pt>
          <cx:pt idx="5572">1284.838</cx:pt>
          <cx:pt idx="5573">1284.838</cx:pt>
          <cx:pt idx="5574">1284.838</cx:pt>
          <cx:pt idx="5575">1284.838</cx:pt>
          <cx:pt idx="5576">1284.838</cx:pt>
          <cx:pt idx="5577">1284.838</cx:pt>
          <cx:pt idx="5578">1284.838</cx:pt>
          <cx:pt idx="5579">1284.838</cx:pt>
          <cx:pt idx="5580">1284.838</cx:pt>
          <cx:pt idx="5581">1284.838</cx:pt>
          <cx:pt idx="5582">1284.838</cx:pt>
          <cx:pt idx="5583">1284.838</cx:pt>
          <cx:pt idx="5584">1284.838</cx:pt>
          <cx:pt idx="5585">1284.838</cx:pt>
          <cx:pt idx="5586">1284.838</cx:pt>
          <cx:pt idx="5587">1284.838</cx:pt>
          <cx:pt idx="5588">1284.838</cx:pt>
          <cx:pt idx="5589">1284.838</cx:pt>
          <cx:pt idx="5590">1284.838</cx:pt>
          <cx:pt idx="5591">1284.838</cx:pt>
          <cx:pt idx="5592">1284.838</cx:pt>
          <cx:pt idx="5593">1284.838</cx:pt>
          <cx:pt idx="5594">1284.838</cx:pt>
          <cx:pt idx="5595">1284.838</cx:pt>
          <cx:pt idx="5596">1284.838</cx:pt>
          <cx:pt idx="5597">1284.838</cx:pt>
          <cx:pt idx="5598">1284.838</cx:pt>
          <cx:pt idx="5599">1284.838</cx:pt>
          <cx:pt idx="5600">1284.838</cx:pt>
          <cx:pt idx="5601">1284.838</cx:pt>
          <cx:pt idx="5602">1284.838</cx:pt>
          <cx:pt idx="5603">1284.838</cx:pt>
          <cx:pt idx="5604">1284.838</cx:pt>
          <cx:pt idx="5605">1284.838</cx:pt>
          <cx:pt idx="5606">1284.838</cx:pt>
          <cx:pt idx="5607">1284.838</cx:pt>
          <cx:pt idx="5608">1284.838</cx:pt>
          <cx:pt idx="5609">1284.838</cx:pt>
          <cx:pt idx="5610">1284.838</cx:pt>
          <cx:pt idx="5611">1284.838</cx:pt>
          <cx:pt idx="5612">1284.838</cx:pt>
          <cx:pt idx="5613">1284.838</cx:pt>
          <cx:pt idx="5614">1284.838</cx:pt>
          <cx:pt idx="5615">1284.838</cx:pt>
          <cx:pt idx="5616">1284.838</cx:pt>
          <cx:pt idx="5617">1284.838</cx:pt>
          <cx:pt idx="5618">1284.838</cx:pt>
          <cx:pt idx="5619">1284.838</cx:pt>
          <cx:pt idx="5620">1284.838</cx:pt>
          <cx:pt idx="5621">1284.838</cx:pt>
          <cx:pt idx="5622">1284.838</cx:pt>
          <cx:pt idx="5623">1284.838</cx:pt>
          <cx:pt idx="5624">1284.838</cx:pt>
          <cx:pt idx="5625">1284.838</cx:pt>
          <cx:pt idx="5626">1284.838</cx:pt>
          <cx:pt idx="5627">1284.838</cx:pt>
          <cx:pt idx="5628">1284.838</cx:pt>
          <cx:pt idx="5629">1284.838</cx:pt>
          <cx:pt idx="5630">1284.838</cx:pt>
          <cx:pt idx="5631">1284.838</cx:pt>
          <cx:pt idx="5632">1284.838</cx:pt>
          <cx:pt idx="5633">1284.838</cx:pt>
          <cx:pt idx="5634">1284.838</cx:pt>
          <cx:pt idx="5635">1284.838</cx:pt>
          <cx:pt idx="5636">1284.838</cx:pt>
          <cx:pt idx="5637">1284.838</cx:pt>
          <cx:pt idx="5638">1284.838</cx:pt>
          <cx:pt idx="5639">1284.838</cx:pt>
          <cx:pt idx="5640">1284.838</cx:pt>
          <cx:pt idx="5641">1284.838</cx:pt>
          <cx:pt idx="5642">1284.838</cx:pt>
          <cx:pt idx="5643">1284.838</cx:pt>
          <cx:pt idx="5644">1284.838</cx:pt>
          <cx:pt idx="5645">1284.838</cx:pt>
          <cx:pt idx="5646">1284.838</cx:pt>
          <cx:pt idx="5647">1284.838</cx:pt>
          <cx:pt idx="5648">1284.838</cx:pt>
          <cx:pt idx="5649">1284.838</cx:pt>
          <cx:pt idx="5650">1284.838</cx:pt>
          <cx:pt idx="5651">1284.838</cx:pt>
          <cx:pt idx="5652">1284.838</cx:pt>
          <cx:pt idx="5653">1284.838</cx:pt>
          <cx:pt idx="5654">1284.838</cx:pt>
          <cx:pt idx="5655">1284.838</cx:pt>
          <cx:pt idx="5656">1284.838</cx:pt>
          <cx:pt idx="5657">1284.838</cx:pt>
          <cx:pt idx="5658">1284.838</cx:pt>
          <cx:pt idx="5659">1284.838</cx:pt>
          <cx:pt idx="5660">1284.838</cx:pt>
          <cx:pt idx="5661">1284.838</cx:pt>
          <cx:pt idx="5662">1284.838</cx:pt>
          <cx:pt idx="5663">1284.838</cx:pt>
          <cx:pt idx="5664">1284.838</cx:pt>
          <cx:pt idx="5665">1284.838</cx:pt>
          <cx:pt idx="5666">1284.838</cx:pt>
          <cx:pt idx="5667">1284.838</cx:pt>
          <cx:pt idx="5668">1284.838</cx:pt>
          <cx:pt idx="5669">1284.838</cx:pt>
          <cx:pt idx="5670">1284.838</cx:pt>
          <cx:pt idx="5671">1284.838</cx:pt>
          <cx:pt idx="5672">1284.838</cx:pt>
          <cx:pt idx="5673">1284.838</cx:pt>
          <cx:pt idx="5674">1284.838</cx:pt>
          <cx:pt idx="5675">1284.838</cx:pt>
          <cx:pt idx="5676">1284.838</cx:pt>
          <cx:pt idx="5677">1284.838</cx:pt>
          <cx:pt idx="5678">1284.838</cx:pt>
          <cx:pt idx="5679">1284.838</cx:pt>
          <cx:pt idx="5680">1284.838</cx:pt>
          <cx:pt idx="5681">1284.838</cx:pt>
          <cx:pt idx="5682">1284.838</cx:pt>
          <cx:pt idx="5683">1284.838</cx:pt>
          <cx:pt idx="5684">1284.838</cx:pt>
          <cx:pt idx="5685">1284.838</cx:pt>
          <cx:pt idx="5686">1284.838</cx:pt>
          <cx:pt idx="5687">1284.838</cx:pt>
          <cx:pt idx="5688">1284.838</cx:pt>
          <cx:pt idx="5689">1284.838</cx:pt>
          <cx:pt idx="5690">1284.838</cx:pt>
          <cx:pt idx="5691">1284.838</cx:pt>
          <cx:pt idx="5692">1284.838</cx:pt>
          <cx:pt idx="5693">1284.838</cx:pt>
          <cx:pt idx="5694">1284.838</cx:pt>
          <cx:pt idx="5695">1284.838</cx:pt>
          <cx:pt idx="5696">1284.838</cx:pt>
          <cx:pt idx="5697">1284.838</cx:pt>
          <cx:pt idx="5698">1284.838</cx:pt>
          <cx:pt idx="5699">1284.838</cx:pt>
          <cx:pt idx="5700">1284.838</cx:pt>
          <cx:pt idx="5701">1284.838</cx:pt>
          <cx:pt idx="5702">1284.838</cx:pt>
          <cx:pt idx="5703">1284.838</cx:pt>
          <cx:pt idx="5704">1284.838</cx:pt>
          <cx:pt idx="5705">1284.838</cx:pt>
          <cx:pt idx="5706">1284.838</cx:pt>
          <cx:pt idx="5707">1284.838</cx:pt>
          <cx:pt idx="5708">1284.838</cx:pt>
          <cx:pt idx="5709">1284.838</cx:pt>
          <cx:pt idx="5710">1284.838</cx:pt>
          <cx:pt idx="5711">1284.838</cx:pt>
          <cx:pt idx="5712">1284.838</cx:pt>
          <cx:pt idx="5713">1284.838</cx:pt>
          <cx:pt idx="5714">1284.838</cx:pt>
          <cx:pt idx="5715">1284.838</cx:pt>
          <cx:pt idx="5716">1284.838</cx:pt>
          <cx:pt idx="5717">1284.838</cx:pt>
          <cx:pt idx="5718">1284.838</cx:pt>
          <cx:pt idx="5719">1284.838</cx:pt>
          <cx:pt idx="5720">1284.838</cx:pt>
          <cx:pt idx="5721">1284.838</cx:pt>
          <cx:pt idx="5722">1284.838</cx:pt>
          <cx:pt idx="5723">1284.838</cx:pt>
          <cx:pt idx="5724">1284.838</cx:pt>
          <cx:pt idx="5725">1284.838</cx:pt>
          <cx:pt idx="5726">1284.838</cx:pt>
          <cx:pt idx="5727">1284.838</cx:pt>
          <cx:pt idx="5728">1284.838</cx:pt>
          <cx:pt idx="5729">1284.838</cx:pt>
          <cx:pt idx="5730">1284.838</cx:pt>
          <cx:pt idx="5731">1284.838</cx:pt>
          <cx:pt idx="5732">1284.838</cx:pt>
          <cx:pt idx="5733">1284.838</cx:pt>
          <cx:pt idx="5734">1284.838</cx:pt>
          <cx:pt idx="5735">1284.838</cx:pt>
          <cx:pt idx="5736">1284.838</cx:pt>
          <cx:pt idx="5737">1284.838</cx:pt>
          <cx:pt idx="5738">1284.838</cx:pt>
          <cx:pt idx="5739">1284.838</cx:pt>
          <cx:pt idx="5740">1284.838</cx:pt>
          <cx:pt idx="5741">1284.838</cx:pt>
          <cx:pt idx="5742">1284.838</cx:pt>
          <cx:pt idx="5743">1284.838</cx:pt>
          <cx:pt idx="5744">1284.838</cx:pt>
          <cx:pt idx="5745">1284.838</cx:pt>
          <cx:pt idx="5746">1284.838</cx:pt>
          <cx:pt idx="5747">1284.838</cx:pt>
          <cx:pt idx="5748">1284.838</cx:pt>
          <cx:pt idx="5749">1284.838</cx:pt>
          <cx:pt idx="5750">1284.838</cx:pt>
          <cx:pt idx="5751">1284.838</cx:pt>
          <cx:pt idx="5752">1284.838</cx:pt>
          <cx:pt idx="5753">1284.838</cx:pt>
          <cx:pt idx="5754">1284.838</cx:pt>
          <cx:pt idx="5755">1284.838</cx:pt>
          <cx:pt idx="5756">1284.838</cx:pt>
          <cx:pt idx="5757">1284.838</cx:pt>
          <cx:pt idx="5758">1284.838</cx:pt>
          <cx:pt idx="5759">1284.838</cx:pt>
          <cx:pt idx="5760">1284.838</cx:pt>
          <cx:pt idx="5761">1284.838</cx:pt>
          <cx:pt idx="5762">1284.838</cx:pt>
          <cx:pt idx="5763">1284.838</cx:pt>
          <cx:pt idx="5764">1284.838</cx:pt>
          <cx:pt idx="5765">1284.838</cx:pt>
          <cx:pt idx="5766">1284.838</cx:pt>
          <cx:pt idx="5767">1284.838</cx:pt>
          <cx:pt idx="5768">1284.838</cx:pt>
          <cx:pt idx="5769">1284.838</cx:pt>
          <cx:pt idx="5770">1284.838</cx:pt>
          <cx:pt idx="5771">1284.838</cx:pt>
          <cx:pt idx="5772">1284.838</cx:pt>
          <cx:pt idx="5773">1284.838</cx:pt>
          <cx:pt idx="5774">1284.838</cx:pt>
          <cx:pt idx="5775">1284.838</cx:pt>
          <cx:pt idx="5776">1284.838</cx:pt>
          <cx:pt idx="5777">1284.838</cx:pt>
          <cx:pt idx="5778">1284.838</cx:pt>
          <cx:pt idx="5779">1284.838</cx:pt>
          <cx:pt idx="5780">1284.838</cx:pt>
          <cx:pt idx="5781">1284.838</cx:pt>
          <cx:pt idx="5782">1284.838</cx:pt>
          <cx:pt idx="5783">1284.838</cx:pt>
          <cx:pt idx="5784">1284.838</cx:pt>
          <cx:pt idx="5785">1284.838</cx:pt>
          <cx:pt idx="5786">1284.838</cx:pt>
          <cx:pt idx="5787">1284.838</cx:pt>
          <cx:pt idx="5788">1284.838</cx:pt>
          <cx:pt idx="5789">1284.838</cx:pt>
          <cx:pt idx="5790">1284.838</cx:pt>
          <cx:pt idx="5791">1284.838</cx:pt>
          <cx:pt idx="5792">1284.838</cx:pt>
          <cx:pt idx="5793">1284.838</cx:pt>
          <cx:pt idx="5794">1284.838</cx:pt>
          <cx:pt idx="5795">1284.838</cx:pt>
          <cx:pt idx="5796">1284.838</cx:pt>
          <cx:pt idx="5797">1284.838</cx:pt>
          <cx:pt idx="5798">1284.838</cx:pt>
          <cx:pt idx="5799">1284.838</cx:pt>
          <cx:pt idx="5800">1284.838</cx:pt>
          <cx:pt idx="5801">1284.838</cx:pt>
          <cx:pt idx="5802">1284.838</cx:pt>
          <cx:pt idx="5803">1284.838</cx:pt>
          <cx:pt idx="5804">1284.838</cx:pt>
          <cx:pt idx="5805">1284.838</cx:pt>
          <cx:pt idx="5806">1284.838</cx:pt>
          <cx:pt idx="5807">1284.838</cx:pt>
          <cx:pt idx="5808">1284.838</cx:pt>
          <cx:pt idx="5809">1284.838</cx:pt>
          <cx:pt idx="5810">1284.838</cx:pt>
          <cx:pt idx="5811">1284.838</cx:pt>
          <cx:pt idx="5812">1284.838</cx:pt>
          <cx:pt idx="5813">1284.838</cx:pt>
          <cx:pt idx="5814">1284.838</cx:pt>
          <cx:pt idx="5815">1284.838</cx:pt>
          <cx:pt idx="5816">1284.838</cx:pt>
          <cx:pt idx="5817">1284.838</cx:pt>
          <cx:pt idx="5818">1284.838</cx:pt>
          <cx:pt idx="5819">1284.838</cx:pt>
          <cx:pt idx="5820">1284.838</cx:pt>
          <cx:pt idx="5821">1284.838</cx:pt>
          <cx:pt idx="5822">1284.838</cx:pt>
          <cx:pt idx="5823">1284.838</cx:pt>
          <cx:pt idx="5824">1284.838</cx:pt>
          <cx:pt idx="5825">1284.838</cx:pt>
          <cx:pt idx="5826">1284.838</cx:pt>
          <cx:pt idx="5827">1284.838</cx:pt>
          <cx:pt idx="5828">1284.838</cx:pt>
          <cx:pt idx="5829">1284.838</cx:pt>
          <cx:pt idx="5830">1284.838</cx:pt>
          <cx:pt idx="5831">1284.838</cx:pt>
          <cx:pt idx="5832">1284.838</cx:pt>
          <cx:pt idx="5833">1284.838</cx:pt>
          <cx:pt idx="5834">1284.838</cx:pt>
          <cx:pt idx="5835">1284.838</cx:pt>
          <cx:pt idx="5836">1284.838</cx:pt>
          <cx:pt idx="5837">1284.838</cx:pt>
          <cx:pt idx="5838">1284.838</cx:pt>
          <cx:pt idx="5839">1284.838</cx:pt>
          <cx:pt idx="5840">1284.838</cx:pt>
          <cx:pt idx="5841">1284.838</cx:pt>
          <cx:pt idx="5842">1284.838</cx:pt>
          <cx:pt idx="5843">1284.838</cx:pt>
          <cx:pt idx="5844">1284.838</cx:pt>
          <cx:pt idx="5845">1284.838</cx:pt>
          <cx:pt idx="5846">1284.838</cx:pt>
          <cx:pt idx="5847">1284.838</cx:pt>
          <cx:pt idx="5848">1284.838</cx:pt>
          <cx:pt idx="5849">1284.838</cx:pt>
          <cx:pt idx="5850">1284.838</cx:pt>
          <cx:pt idx="5851">1284.838</cx:pt>
          <cx:pt idx="5852">1284.838</cx:pt>
          <cx:pt idx="5853">1284.838</cx:pt>
          <cx:pt idx="5854">1284.838</cx:pt>
          <cx:pt idx="5855">1284.838</cx:pt>
          <cx:pt idx="5856">1284.838</cx:pt>
          <cx:pt idx="5857">1284.838</cx:pt>
          <cx:pt idx="5858">1284.838</cx:pt>
          <cx:pt idx="5859">1284.838</cx:pt>
          <cx:pt idx="5860">1284.838</cx:pt>
          <cx:pt idx="5861">1284.838</cx:pt>
          <cx:pt idx="5862">1284.838</cx:pt>
          <cx:pt idx="5863">1284.838</cx:pt>
          <cx:pt idx="5864">1284.838</cx:pt>
          <cx:pt idx="5865">1284.838</cx:pt>
          <cx:pt idx="5866">1284.838</cx:pt>
          <cx:pt idx="5867">1284.838</cx:pt>
          <cx:pt idx="5868">1284.838</cx:pt>
          <cx:pt idx="5869">1284.838</cx:pt>
          <cx:pt idx="5870">1284.838</cx:pt>
          <cx:pt idx="5871">1284.838</cx:pt>
          <cx:pt idx="5872">1284.838</cx:pt>
          <cx:pt idx="5873">1284.838</cx:pt>
          <cx:pt idx="5874">1284.838</cx:pt>
          <cx:pt idx="5875">1284.838</cx:pt>
          <cx:pt idx="5876">1284.838</cx:pt>
          <cx:pt idx="5877">1284.838</cx:pt>
          <cx:pt idx="5878">1284.838</cx:pt>
          <cx:pt idx="5879">1284.838</cx:pt>
          <cx:pt idx="5880">1284.838</cx:pt>
          <cx:pt idx="5881">1284.838</cx:pt>
          <cx:pt idx="5882">1284.838</cx:pt>
          <cx:pt idx="5883">1284.838</cx:pt>
          <cx:pt idx="5884">1284.838</cx:pt>
          <cx:pt idx="5885">1284.838</cx:pt>
          <cx:pt idx="5886">1284.838</cx:pt>
          <cx:pt idx="5887">1284.838</cx:pt>
          <cx:pt idx="5888">1284.838</cx:pt>
          <cx:pt idx="5889">1284.838</cx:pt>
          <cx:pt idx="5890">1284.838</cx:pt>
          <cx:pt idx="5891">1284.838</cx:pt>
          <cx:pt idx="5892">1284.838</cx:pt>
          <cx:pt idx="5893">1284.838</cx:pt>
          <cx:pt idx="5894">1284.838</cx:pt>
          <cx:pt idx="5895">1284.838</cx:pt>
          <cx:pt idx="5896">1284.838</cx:pt>
          <cx:pt idx="5897">1284.838</cx:pt>
          <cx:pt idx="5898">1284.838</cx:pt>
          <cx:pt idx="5899">1284.838</cx:pt>
          <cx:pt idx="5900">1284.838</cx:pt>
          <cx:pt idx="5901">1284.838</cx:pt>
          <cx:pt idx="5902">1284.838</cx:pt>
          <cx:pt idx="5903">1284.838</cx:pt>
          <cx:pt idx="5904">1284.838</cx:pt>
          <cx:pt idx="5905">1284.838</cx:pt>
          <cx:pt idx="5906">1284.838</cx:pt>
          <cx:pt idx="5907">1284.838</cx:pt>
          <cx:pt idx="5908">1284.838</cx:pt>
          <cx:pt idx="5909">1284.838</cx:pt>
          <cx:pt idx="5910">1284.838</cx:pt>
          <cx:pt idx="5911">1284.838</cx:pt>
          <cx:pt idx="5912">1284.838</cx:pt>
          <cx:pt idx="5913">1284.838</cx:pt>
          <cx:pt idx="5914">1284.838</cx:pt>
          <cx:pt idx="5915">1284.838</cx:pt>
          <cx:pt idx="5916">1284.838</cx:pt>
          <cx:pt idx="5917">1284.838</cx:pt>
          <cx:pt idx="5918">1284.838</cx:pt>
          <cx:pt idx="5919">1284.838</cx:pt>
          <cx:pt idx="5920">1284.838</cx:pt>
          <cx:pt idx="5921">1284.838</cx:pt>
          <cx:pt idx="5922">1284.838</cx:pt>
          <cx:pt idx="5923">1284.838</cx:pt>
          <cx:pt idx="5924">1284.838</cx:pt>
          <cx:pt idx="5925">1284.838</cx:pt>
          <cx:pt idx="5926">1284.838</cx:pt>
          <cx:pt idx="5927">1284.838</cx:pt>
          <cx:pt idx="5928">1284.838</cx:pt>
          <cx:pt idx="5929">1284.838</cx:pt>
          <cx:pt idx="5930">1284.838</cx:pt>
          <cx:pt idx="5931">1284.838</cx:pt>
          <cx:pt idx="5932">1284.838</cx:pt>
          <cx:pt idx="5933">1284.838</cx:pt>
          <cx:pt idx="5934">1284.838</cx:pt>
          <cx:pt idx="5935">1284.838</cx:pt>
          <cx:pt idx="5936">1284.838</cx:pt>
          <cx:pt idx="5937">1284.838</cx:pt>
          <cx:pt idx="5938">1284.838</cx:pt>
          <cx:pt idx="5939">1284.838</cx:pt>
          <cx:pt idx="5940">1284.838</cx:pt>
          <cx:pt idx="5941">1284.838</cx:pt>
          <cx:pt idx="5942">1284.838</cx:pt>
          <cx:pt idx="5943">1284.838</cx:pt>
          <cx:pt idx="5944">1284.838</cx:pt>
          <cx:pt idx="5945">1284.838</cx:pt>
          <cx:pt idx="5946">1284.838</cx:pt>
          <cx:pt idx="5947">1284.838</cx:pt>
          <cx:pt idx="5948">1284.838</cx:pt>
          <cx:pt idx="5949">1284.838</cx:pt>
          <cx:pt idx="5950">1284.838</cx:pt>
          <cx:pt idx="5951">1284.838</cx:pt>
          <cx:pt idx="5952">1284.838</cx:pt>
          <cx:pt idx="5953">1284.838</cx:pt>
          <cx:pt idx="5954">1284.838</cx:pt>
          <cx:pt idx="5955">1284.838</cx:pt>
          <cx:pt idx="5956">1284.838</cx:pt>
          <cx:pt idx="5957">1284.838</cx:pt>
          <cx:pt idx="5958">1284.838</cx:pt>
          <cx:pt idx="5959">1284.838</cx:pt>
          <cx:pt idx="5960">1284.838</cx:pt>
          <cx:pt idx="5961">1284.838</cx:pt>
          <cx:pt idx="5962">1284.838</cx:pt>
          <cx:pt idx="5963">1284.838</cx:pt>
          <cx:pt idx="5964">1284.838</cx:pt>
          <cx:pt idx="5965">1284.838</cx:pt>
          <cx:pt idx="5966">1284.838</cx:pt>
          <cx:pt idx="5967">1284.838</cx:pt>
          <cx:pt idx="5968">1284.838</cx:pt>
          <cx:pt idx="5969">1284.838</cx:pt>
          <cx:pt idx="5970">1284.838</cx:pt>
          <cx:pt idx="5971">1284.838</cx:pt>
          <cx:pt idx="5972">1284.838</cx:pt>
          <cx:pt idx="5973">1284.838</cx:pt>
          <cx:pt idx="5974">1284.838</cx:pt>
          <cx:pt idx="5975">1284.838</cx:pt>
          <cx:pt idx="5976">1284.838</cx:pt>
          <cx:pt idx="5977">1284.838</cx:pt>
          <cx:pt idx="5978">1284.838</cx:pt>
          <cx:pt idx="5979">1284.838</cx:pt>
          <cx:pt idx="5980">1284.838</cx:pt>
          <cx:pt idx="5981">1284.838</cx:pt>
          <cx:pt idx="5982">1284.838</cx:pt>
          <cx:pt idx="5983">1284.838</cx:pt>
          <cx:pt idx="5984">1284.838</cx:pt>
          <cx:pt idx="5985">1284.838</cx:pt>
          <cx:pt idx="5986">1284.838</cx:pt>
          <cx:pt idx="5987">1284.838</cx:pt>
          <cx:pt idx="5988">1284.838</cx:pt>
          <cx:pt idx="5989">1284.838</cx:pt>
          <cx:pt idx="5990">1284.838</cx:pt>
          <cx:pt idx="5991">1284.838</cx:pt>
          <cx:pt idx="5992">1284.838</cx:pt>
          <cx:pt idx="5993">1284.838</cx:pt>
          <cx:pt idx="5994">1284.838</cx:pt>
          <cx:pt idx="5995">1284.838</cx:pt>
          <cx:pt idx="5996">1284.838</cx:pt>
          <cx:pt idx="5997">1284.838</cx:pt>
          <cx:pt idx="5998">1284.838</cx:pt>
          <cx:pt idx="5999">1284.838</cx:pt>
          <cx:pt idx="6000">1284.838</cx:pt>
          <cx:pt idx="6001">1284.838</cx:pt>
          <cx:pt idx="6002">1284.838</cx:pt>
          <cx:pt idx="6003">1284.838</cx:pt>
          <cx:pt idx="6004">1284.838</cx:pt>
          <cx:pt idx="6005">1284.838</cx:pt>
          <cx:pt idx="6006">1284.838</cx:pt>
          <cx:pt idx="6007">1284.838</cx:pt>
          <cx:pt idx="6008">1284.838</cx:pt>
          <cx:pt idx="6009">1284.838</cx:pt>
          <cx:pt idx="6010">1284.838</cx:pt>
          <cx:pt idx="6011">1284.838</cx:pt>
          <cx:pt idx="6012">1284.838</cx:pt>
          <cx:pt idx="6013">1284.838</cx:pt>
          <cx:pt idx="6014">1284.838</cx:pt>
          <cx:pt idx="6015">1284.838</cx:pt>
          <cx:pt idx="6016">1284.838</cx:pt>
          <cx:pt idx="6017">1284.838</cx:pt>
          <cx:pt idx="6018">1284.838</cx:pt>
          <cx:pt idx="6019">1284.838</cx:pt>
          <cx:pt idx="6020">1284.838</cx:pt>
          <cx:pt idx="6021">1284.838</cx:pt>
          <cx:pt idx="6022">1284.838</cx:pt>
          <cx:pt idx="6023">1284.838</cx:pt>
          <cx:pt idx="6024">1284.838</cx:pt>
          <cx:pt idx="6025">1284.838</cx:pt>
          <cx:pt idx="6026">1284.838</cx:pt>
          <cx:pt idx="6027">1284.838</cx:pt>
          <cx:pt idx="6028">1284.838</cx:pt>
          <cx:pt idx="6029">1284.838</cx:pt>
          <cx:pt idx="6030">1284.838</cx:pt>
          <cx:pt idx="6031">1284.838</cx:pt>
          <cx:pt idx="6032">1284.838</cx:pt>
          <cx:pt idx="6033">1284.838</cx:pt>
          <cx:pt idx="6034">1284.838</cx:pt>
          <cx:pt idx="6035">1284.838</cx:pt>
          <cx:pt idx="6036">1284.838</cx:pt>
          <cx:pt idx="6037">1284.838</cx:pt>
          <cx:pt idx="6038">1284.838</cx:pt>
          <cx:pt idx="6039">1284.838</cx:pt>
          <cx:pt idx="6040">1284.838</cx:pt>
          <cx:pt idx="6041">1284.838</cx:pt>
          <cx:pt idx="6042">1284.838</cx:pt>
          <cx:pt idx="6043">1284.838</cx:pt>
          <cx:pt idx="6044">1284.838</cx:pt>
          <cx:pt idx="6045">1284.838</cx:pt>
          <cx:pt idx="6046">1284.838</cx:pt>
          <cx:pt idx="6047">1284.838</cx:pt>
          <cx:pt idx="6048">1284.838</cx:pt>
          <cx:pt idx="6049">1284.838</cx:pt>
          <cx:pt idx="6050">1284.838</cx:pt>
          <cx:pt idx="6051">1284.838</cx:pt>
          <cx:pt idx="6052">1284.838</cx:pt>
          <cx:pt idx="6053">1284.838</cx:pt>
          <cx:pt idx="6054">1284.838</cx:pt>
          <cx:pt idx="6055">1284.838</cx:pt>
          <cx:pt idx="6056">1284.838</cx:pt>
          <cx:pt idx="6057">1284.838</cx:pt>
          <cx:pt idx="6058">1284.838</cx:pt>
          <cx:pt idx="6059">1284.838</cx:pt>
          <cx:pt idx="6060">1284.838</cx:pt>
          <cx:pt idx="6061">1284.838</cx:pt>
          <cx:pt idx="6062">1284.838</cx:pt>
          <cx:pt idx="6063">1284.838</cx:pt>
          <cx:pt idx="6064">1284.838</cx:pt>
          <cx:pt idx="6065">1284.838</cx:pt>
          <cx:pt idx="6066">1284.838</cx:pt>
          <cx:pt idx="6067">1284.838</cx:pt>
          <cx:pt idx="6068">1284.838</cx:pt>
          <cx:pt idx="6069">1284.838</cx:pt>
          <cx:pt idx="6070">1284.838</cx:pt>
          <cx:pt idx="6071">1284.838</cx:pt>
          <cx:pt idx="6072">1284.838</cx:pt>
          <cx:pt idx="6073">1284.838</cx:pt>
          <cx:pt idx="6074">1284.838</cx:pt>
          <cx:pt idx="6075">1284.838</cx:pt>
          <cx:pt idx="6076">1284.838</cx:pt>
          <cx:pt idx="6077">1284.838</cx:pt>
          <cx:pt idx="6078">1284.838</cx:pt>
          <cx:pt idx="6079">1284.838</cx:pt>
          <cx:pt idx="6080">1284.838</cx:pt>
          <cx:pt idx="6081">1284.838</cx:pt>
          <cx:pt idx="6082">1284.838</cx:pt>
          <cx:pt idx="6083">1284.838</cx:pt>
          <cx:pt idx="6084">1284.838</cx:pt>
          <cx:pt idx="6085">1284.838</cx:pt>
          <cx:pt idx="6086">1284.838</cx:pt>
          <cx:pt idx="6087">1284.838</cx:pt>
          <cx:pt idx="6088">1284.838</cx:pt>
          <cx:pt idx="6089">1284.838</cx:pt>
          <cx:pt idx="6090">1284.838</cx:pt>
          <cx:pt idx="6091">1284.838</cx:pt>
          <cx:pt idx="6092">1284.838</cx:pt>
          <cx:pt idx="6093">1284.838</cx:pt>
          <cx:pt idx="6094">1284.838</cx:pt>
          <cx:pt idx="6095">1284.838</cx:pt>
          <cx:pt idx="6096">1284.838</cx:pt>
          <cx:pt idx="6097">1284.838</cx:pt>
          <cx:pt idx="6098">1284.838</cx:pt>
          <cx:pt idx="6099">1284.838</cx:pt>
          <cx:pt idx="6100">1284.838</cx:pt>
          <cx:pt idx="6101">1284.838</cx:pt>
          <cx:pt idx="6102">1284.838</cx:pt>
          <cx:pt idx="6103">1284.838</cx:pt>
          <cx:pt idx="6104">1284.838</cx:pt>
          <cx:pt idx="6105">1284.838</cx:pt>
          <cx:pt idx="6106">1284.838</cx:pt>
          <cx:pt idx="6107">1284.838</cx:pt>
          <cx:pt idx="6108">1284.838</cx:pt>
          <cx:pt idx="6109">1284.838</cx:pt>
          <cx:pt idx="6110">1284.838</cx:pt>
          <cx:pt idx="6111">1284.838</cx:pt>
          <cx:pt idx="6112">1284.838</cx:pt>
          <cx:pt idx="6113">1284.838</cx:pt>
          <cx:pt idx="6114">1284.838</cx:pt>
          <cx:pt idx="6115">1284.838</cx:pt>
          <cx:pt idx="6116">1284.838</cx:pt>
          <cx:pt idx="6117">1284.838</cx:pt>
          <cx:pt idx="6118">1284.838</cx:pt>
          <cx:pt idx="6119">1284.838</cx:pt>
          <cx:pt idx="6120">1284.838</cx:pt>
          <cx:pt idx="6121">1284.838</cx:pt>
          <cx:pt idx="6122">1284.838</cx:pt>
          <cx:pt idx="6123">1284.838</cx:pt>
          <cx:pt idx="6124">1284.838</cx:pt>
          <cx:pt idx="6125">1284.838</cx:pt>
          <cx:pt idx="6126">1284.838</cx:pt>
          <cx:pt idx="6127">1284.838</cx:pt>
          <cx:pt idx="6128">1284.838</cx:pt>
          <cx:pt idx="6129">1284.838</cx:pt>
          <cx:pt idx="6130">1284.838</cx:pt>
          <cx:pt idx="6131">1284.838</cx:pt>
          <cx:pt idx="6132">1284.838</cx:pt>
          <cx:pt idx="6133">1284.838</cx:pt>
          <cx:pt idx="6134">1284.838</cx:pt>
          <cx:pt idx="6135">1284.838</cx:pt>
          <cx:pt idx="6136">1284.838</cx:pt>
          <cx:pt idx="6137">1284.838</cx:pt>
          <cx:pt idx="6138">1284.838</cx:pt>
          <cx:pt idx="6139">1284.838</cx:pt>
          <cx:pt idx="6140">1284.838</cx:pt>
          <cx:pt idx="6141">1284.838</cx:pt>
          <cx:pt idx="6142">1284.838</cx:pt>
          <cx:pt idx="6143">1284.838</cx:pt>
          <cx:pt idx="6144">1284.838</cx:pt>
          <cx:pt idx="6145">1284.838</cx:pt>
          <cx:pt idx="6146">1284.838</cx:pt>
          <cx:pt idx="6147">1284.838</cx:pt>
          <cx:pt idx="6148">1284.838</cx:pt>
          <cx:pt idx="6149">1284.838</cx:pt>
          <cx:pt idx="6150">1284.838</cx:pt>
          <cx:pt idx="6151">1284.838</cx:pt>
          <cx:pt idx="6152">1284.838</cx:pt>
          <cx:pt idx="6153">1284.838</cx:pt>
          <cx:pt idx="6154">1284.838</cx:pt>
          <cx:pt idx="6155">1284.838</cx:pt>
          <cx:pt idx="6156">1284.838</cx:pt>
          <cx:pt idx="6157">1284.838</cx:pt>
          <cx:pt idx="6158">1284.838</cx:pt>
          <cx:pt idx="6159">1284.838</cx:pt>
          <cx:pt idx="6160">1284.838</cx:pt>
          <cx:pt idx="6161">1284.838</cx:pt>
          <cx:pt idx="6162">1284.838</cx:pt>
          <cx:pt idx="6163">1284.838</cx:pt>
          <cx:pt idx="6164">1284.838</cx:pt>
          <cx:pt idx="6165">1284.838</cx:pt>
          <cx:pt idx="6166">1284.838</cx:pt>
          <cx:pt idx="6167">1284.838</cx:pt>
          <cx:pt idx="6168">1284.838</cx:pt>
          <cx:pt idx="6169">1284.838</cx:pt>
          <cx:pt idx="6170">1284.838</cx:pt>
          <cx:pt idx="6171">1284.838</cx:pt>
          <cx:pt idx="6172">1284.838</cx:pt>
          <cx:pt idx="6173">1284.838</cx:pt>
          <cx:pt idx="6174">1284.838</cx:pt>
          <cx:pt idx="6175">1284.838</cx:pt>
          <cx:pt idx="6176">1284.838</cx:pt>
          <cx:pt idx="6177">1284.838</cx:pt>
          <cx:pt idx="6178">1284.838</cx:pt>
          <cx:pt idx="6179">1284.838</cx:pt>
          <cx:pt idx="6180">1284.838</cx:pt>
          <cx:pt idx="6181">1284.838</cx:pt>
          <cx:pt idx="6182">1284.838</cx:pt>
          <cx:pt idx="6183">1284.838</cx:pt>
          <cx:pt idx="6184">1284.838</cx:pt>
          <cx:pt idx="6185">1284.838</cx:pt>
          <cx:pt idx="6186">1284.838</cx:pt>
          <cx:pt idx="6187">1284.838</cx:pt>
          <cx:pt idx="6188">1284.838</cx:pt>
          <cx:pt idx="6189">1284.838</cx:pt>
          <cx:pt idx="6190">1284.838</cx:pt>
          <cx:pt idx="6191">1284.838</cx:pt>
          <cx:pt idx="6192">1284.838</cx:pt>
          <cx:pt idx="6193">1284.838</cx:pt>
          <cx:pt idx="6194">1284.838</cx:pt>
          <cx:pt idx="6195">1284.838</cx:pt>
          <cx:pt idx="6196">1284.838</cx:pt>
          <cx:pt idx="6197">1284.838</cx:pt>
          <cx:pt idx="6198">1284.838</cx:pt>
          <cx:pt idx="6199">1284.838</cx:pt>
          <cx:pt idx="6200">1284.838</cx:pt>
          <cx:pt idx="6201">1284.838</cx:pt>
          <cx:pt idx="6202">1284.838</cx:pt>
          <cx:pt idx="6203">1284.838</cx:pt>
          <cx:pt idx="6204">1284.838</cx:pt>
          <cx:pt idx="6205">1284.838</cx:pt>
          <cx:pt idx="6206">1284.838</cx:pt>
          <cx:pt idx="6207">1284.838</cx:pt>
          <cx:pt idx="6208">1284.838</cx:pt>
          <cx:pt idx="6209">1284.838</cx:pt>
          <cx:pt idx="6210">1284.838</cx:pt>
          <cx:pt idx="6211">1284.838</cx:pt>
          <cx:pt idx="6212">1284.838</cx:pt>
          <cx:pt idx="6213">1284.838</cx:pt>
          <cx:pt idx="6214">1284.838</cx:pt>
          <cx:pt idx="6215">1284.838</cx:pt>
          <cx:pt idx="6216">1284.838</cx:pt>
          <cx:pt idx="6217">1284.838</cx:pt>
          <cx:pt idx="6218">1284.838</cx:pt>
          <cx:pt idx="6219">1284.838</cx:pt>
          <cx:pt idx="6220">1284.838</cx:pt>
          <cx:pt idx="6221">1284.838</cx:pt>
          <cx:pt idx="6222">1284.838</cx:pt>
          <cx:pt idx="6223">1284.838</cx:pt>
          <cx:pt idx="6224">1284.838</cx:pt>
          <cx:pt idx="6225">1284.838</cx:pt>
          <cx:pt idx="6226">1284.838</cx:pt>
          <cx:pt idx="6227">1284.838</cx:pt>
          <cx:pt idx="6228">1284.838</cx:pt>
          <cx:pt idx="6229">1284.838</cx:pt>
          <cx:pt idx="6230">1284.838</cx:pt>
          <cx:pt idx="6231">1284.838</cx:pt>
          <cx:pt idx="6232">1284.838</cx:pt>
          <cx:pt idx="6233">1284.838</cx:pt>
          <cx:pt idx="6234">1284.838</cx:pt>
          <cx:pt idx="6235">1284.838</cx:pt>
          <cx:pt idx="6236">1284.838</cx:pt>
          <cx:pt idx="6237">1284.838</cx:pt>
          <cx:pt idx="6238">1284.838</cx:pt>
          <cx:pt idx="6239">1284.838</cx:pt>
          <cx:pt idx="6240">1284.838</cx:pt>
          <cx:pt idx="6241">1284.838</cx:pt>
          <cx:pt idx="6242">1284.838</cx:pt>
          <cx:pt idx="6243">1284.838</cx:pt>
          <cx:pt idx="6244">1284.838</cx:pt>
          <cx:pt idx="6245">1284.838</cx:pt>
          <cx:pt idx="6246">1284.838</cx:pt>
          <cx:pt idx="6247">1284.838</cx:pt>
          <cx:pt idx="6248">1284.838</cx:pt>
          <cx:pt idx="6249">1284.838</cx:pt>
          <cx:pt idx="6250">1284.838</cx:pt>
          <cx:pt idx="6251">1284.838</cx:pt>
          <cx:pt idx="6252">1284.838</cx:pt>
          <cx:pt idx="6253">1284.838</cx:pt>
          <cx:pt idx="6254">1284.838</cx:pt>
          <cx:pt idx="6255">1284.838</cx:pt>
          <cx:pt idx="6256">1284.838</cx:pt>
          <cx:pt idx="6257">1284.838</cx:pt>
          <cx:pt idx="6258">1284.838</cx:pt>
          <cx:pt idx="6259">1284.838</cx:pt>
          <cx:pt idx="6260">1284.838</cx:pt>
          <cx:pt idx="6261">1284.838</cx:pt>
          <cx:pt idx="6262">1284.838</cx:pt>
          <cx:pt idx="6263">1284.838</cx:pt>
          <cx:pt idx="6264">1284.838</cx:pt>
          <cx:pt idx="6265">1284.838</cx:pt>
          <cx:pt idx="6266">1284.838</cx:pt>
          <cx:pt idx="6267">1284.838</cx:pt>
          <cx:pt idx="6268">1284.838</cx:pt>
          <cx:pt idx="6269">1284.838</cx:pt>
          <cx:pt idx="6270">1284.838</cx:pt>
          <cx:pt idx="6271">1284.838</cx:pt>
          <cx:pt idx="6272">1284.838</cx:pt>
          <cx:pt idx="6273">1284.838</cx:pt>
          <cx:pt idx="6274">1284.838</cx:pt>
          <cx:pt idx="6275">1284.838</cx:pt>
          <cx:pt idx="6276">1284.838</cx:pt>
          <cx:pt idx="6277">1284.838</cx:pt>
          <cx:pt idx="6278">1284.838</cx:pt>
          <cx:pt idx="6279">1284.838</cx:pt>
          <cx:pt idx="6280">1284.838</cx:pt>
          <cx:pt idx="6281">1284.838</cx:pt>
          <cx:pt idx="6282">1284.838</cx:pt>
          <cx:pt idx="6283">1284.838</cx:pt>
          <cx:pt idx="6284">1284.838</cx:pt>
          <cx:pt idx="6285">1284.838</cx:pt>
          <cx:pt idx="6286">1284.838</cx:pt>
          <cx:pt idx="6287">1284.838</cx:pt>
          <cx:pt idx="6288">1284.838</cx:pt>
          <cx:pt idx="6289">1284.838</cx:pt>
          <cx:pt idx="6290">1284.838</cx:pt>
          <cx:pt idx="6291">1284.838</cx:pt>
          <cx:pt idx="6292">1284.838</cx:pt>
          <cx:pt idx="6293">1284.838</cx:pt>
          <cx:pt idx="6294">1284.838</cx:pt>
          <cx:pt idx="6295">1284.838</cx:pt>
          <cx:pt idx="6296">1284.838</cx:pt>
          <cx:pt idx="6297">1284.838</cx:pt>
          <cx:pt idx="6298">1284.838</cx:pt>
          <cx:pt idx="6299">1284.838</cx:pt>
          <cx:pt idx="6300">1284.838</cx:pt>
          <cx:pt idx="6301">1284.838</cx:pt>
          <cx:pt idx="6302">1284.838</cx:pt>
          <cx:pt idx="6303">1284.838</cx:pt>
          <cx:pt idx="6304">1284.838</cx:pt>
          <cx:pt idx="6305">1284.838</cx:pt>
          <cx:pt idx="6306">1284.838</cx:pt>
          <cx:pt idx="6307">1284.838</cx:pt>
          <cx:pt idx="6308">1284.838</cx:pt>
          <cx:pt idx="6309">1284.838</cx:pt>
          <cx:pt idx="6310">1284.838</cx:pt>
          <cx:pt idx="6311">1284.838</cx:pt>
          <cx:pt idx="6312">1284.838</cx:pt>
          <cx:pt idx="6313">1284.838</cx:pt>
          <cx:pt idx="6314">1284.838</cx:pt>
          <cx:pt idx="6315">1284.838</cx:pt>
          <cx:pt idx="6316">1284.838</cx:pt>
          <cx:pt idx="6317">1284.838</cx:pt>
          <cx:pt idx="6318">1284.838</cx:pt>
          <cx:pt idx="6319">1284.838</cx:pt>
          <cx:pt idx="6320">1284.838</cx:pt>
          <cx:pt idx="6321">1284.838</cx:pt>
          <cx:pt idx="6322">1284.838</cx:pt>
          <cx:pt idx="6323">1284.838</cx:pt>
          <cx:pt idx="6324">1284.838</cx:pt>
          <cx:pt idx="6325">1284.838</cx:pt>
          <cx:pt idx="6326">1284.838</cx:pt>
          <cx:pt idx="6327">1284.838</cx:pt>
          <cx:pt idx="6328">1284.838</cx:pt>
          <cx:pt idx="6329">1284.838</cx:pt>
          <cx:pt idx="6330">1284.838</cx:pt>
          <cx:pt idx="6331">1284.838</cx:pt>
          <cx:pt idx="6332">1284.838</cx:pt>
          <cx:pt idx="6333">1284.838</cx:pt>
          <cx:pt idx="6334">1284.838</cx:pt>
          <cx:pt idx="6335">1284.838</cx:pt>
          <cx:pt idx="6336">1284.838</cx:pt>
          <cx:pt idx="6337">1284.838</cx:pt>
          <cx:pt idx="6338">1284.838</cx:pt>
          <cx:pt idx="6339">1284.838</cx:pt>
          <cx:pt idx="6340">1284.838</cx:pt>
          <cx:pt idx="6341">1284.838</cx:pt>
          <cx:pt idx="6342">1284.838</cx:pt>
          <cx:pt idx="6343">1284.838</cx:pt>
          <cx:pt idx="6344">1284.838</cx:pt>
          <cx:pt idx="6345">1284.838</cx:pt>
          <cx:pt idx="6346">1284.838</cx:pt>
          <cx:pt idx="6347">1284.838</cx:pt>
          <cx:pt idx="6348">1284.838</cx:pt>
          <cx:pt idx="6349">1284.838</cx:pt>
          <cx:pt idx="6350">1284.838</cx:pt>
          <cx:pt idx="6351">1284.838</cx:pt>
          <cx:pt idx="6352">1284.838</cx:pt>
          <cx:pt idx="6353">1284.838</cx:pt>
          <cx:pt idx="6354">1284.838</cx:pt>
          <cx:pt idx="6355">1284.838</cx:pt>
          <cx:pt idx="6356">1284.838</cx:pt>
          <cx:pt idx="6357">1284.838</cx:pt>
          <cx:pt idx="6358">1284.838</cx:pt>
          <cx:pt idx="6359">1284.838</cx:pt>
          <cx:pt idx="6360">1284.838</cx:pt>
          <cx:pt idx="6361">1284.838</cx:pt>
          <cx:pt idx="6362">1284.838</cx:pt>
          <cx:pt idx="6363">1284.838</cx:pt>
          <cx:pt idx="6364">1284.838</cx:pt>
          <cx:pt idx="6365">1284.838</cx:pt>
          <cx:pt idx="6366">1284.838</cx:pt>
          <cx:pt idx="6367">1284.838</cx:pt>
          <cx:pt idx="6368">1284.838</cx:pt>
          <cx:pt idx="6369">1284.838</cx:pt>
          <cx:pt idx="6370">1284.838</cx:pt>
          <cx:pt idx="6371">1284.838</cx:pt>
          <cx:pt idx="6372">1284.838</cx:pt>
          <cx:pt idx="6373">1284.838</cx:pt>
          <cx:pt idx="6374">1284.838</cx:pt>
          <cx:pt idx="6375">1284.838</cx:pt>
          <cx:pt idx="6376">1284.838</cx:pt>
          <cx:pt idx="6377">1284.838</cx:pt>
          <cx:pt idx="6378">1284.838</cx:pt>
          <cx:pt idx="6379">1284.838</cx:pt>
          <cx:pt idx="6380">1284.838</cx:pt>
          <cx:pt idx="6381">1284.838</cx:pt>
          <cx:pt idx="6382">1284.838</cx:pt>
          <cx:pt idx="6383">1284.838</cx:pt>
          <cx:pt idx="6384">1284.838</cx:pt>
          <cx:pt idx="6385">1284.838</cx:pt>
          <cx:pt idx="6386">1284.838</cx:pt>
          <cx:pt idx="6387">1284.838</cx:pt>
          <cx:pt idx="6388">1284.838</cx:pt>
          <cx:pt idx="6389">1284.838</cx:pt>
          <cx:pt idx="6390">1284.838</cx:pt>
          <cx:pt idx="6391">1284.838</cx:pt>
          <cx:pt idx="6392">1284.838</cx:pt>
          <cx:pt idx="6393">1284.838</cx:pt>
          <cx:pt idx="6394">1284.838</cx:pt>
          <cx:pt idx="6395">1284.838</cx:pt>
          <cx:pt idx="6396">1284.838</cx:pt>
          <cx:pt idx="6397">1284.838</cx:pt>
          <cx:pt idx="6398">1284.838</cx:pt>
          <cx:pt idx="6399">1284.838</cx:pt>
          <cx:pt idx="6400">1284.838</cx:pt>
          <cx:pt idx="6401">1284.838</cx:pt>
          <cx:pt idx="6402">1284.838</cx:pt>
          <cx:pt idx="6403">1284.838</cx:pt>
          <cx:pt idx="6404">1284.838</cx:pt>
          <cx:pt idx="6405">1284.838</cx:pt>
          <cx:pt idx="6406">1284.838</cx:pt>
          <cx:pt idx="6407">1284.838</cx:pt>
          <cx:pt idx="6408">1284.838</cx:pt>
          <cx:pt idx="6409">1284.838</cx:pt>
          <cx:pt idx="6410">1284.838</cx:pt>
          <cx:pt idx="6411">1284.838</cx:pt>
          <cx:pt idx="6412">1284.838</cx:pt>
          <cx:pt idx="6413">1284.838</cx:pt>
          <cx:pt idx="6414">1284.838</cx:pt>
          <cx:pt idx="6415">1284.838</cx:pt>
          <cx:pt idx="6416">1284.838</cx:pt>
          <cx:pt idx="6417">1284.838</cx:pt>
          <cx:pt idx="6418">1284.838</cx:pt>
          <cx:pt idx="6419">1284.838</cx:pt>
          <cx:pt idx="6420">1284.838</cx:pt>
          <cx:pt idx="6421">1284.838</cx:pt>
          <cx:pt idx="6422">1284.838</cx:pt>
          <cx:pt idx="6423">1284.838</cx:pt>
          <cx:pt idx="6424">1284.838</cx:pt>
          <cx:pt idx="6425">1284.838</cx:pt>
          <cx:pt idx="6426">1284.838</cx:pt>
          <cx:pt idx="6427">1284.838</cx:pt>
          <cx:pt idx="6428">1284.838</cx:pt>
          <cx:pt idx="6429">1284.838</cx:pt>
          <cx:pt idx="6430">1284.838</cx:pt>
          <cx:pt idx="6431">1284.838</cx:pt>
          <cx:pt idx="6432">1284.838</cx:pt>
          <cx:pt idx="6433">1284.838</cx:pt>
          <cx:pt idx="6434">1284.838</cx:pt>
          <cx:pt idx="6435">1284.838</cx:pt>
          <cx:pt idx="6436">1284.838</cx:pt>
          <cx:pt idx="6437">1284.838</cx:pt>
          <cx:pt idx="6438">1284.838</cx:pt>
          <cx:pt idx="6439">1284.838</cx:pt>
          <cx:pt idx="6440">1284.838</cx:pt>
          <cx:pt idx="6441">1284.838</cx:pt>
          <cx:pt idx="6442">1284.838</cx:pt>
          <cx:pt idx="6443">1284.838</cx:pt>
          <cx:pt idx="6444">1284.838</cx:pt>
          <cx:pt idx="6445">1284.838</cx:pt>
          <cx:pt idx="6446">1284.838</cx:pt>
          <cx:pt idx="6447">1284.838</cx:pt>
          <cx:pt idx="6448">1284.838</cx:pt>
          <cx:pt idx="6449">1284.838</cx:pt>
          <cx:pt idx="6450">1284.838</cx:pt>
          <cx:pt idx="6451">1284.838</cx:pt>
          <cx:pt idx="6452">1284.838</cx:pt>
          <cx:pt idx="6453">1284.838</cx:pt>
          <cx:pt idx="6454">1284.838</cx:pt>
          <cx:pt idx="6455">1284.838</cx:pt>
          <cx:pt idx="6456">1284.838</cx:pt>
          <cx:pt idx="6457">1284.838</cx:pt>
          <cx:pt idx="6458">1284.838</cx:pt>
          <cx:pt idx="6459">1284.838</cx:pt>
          <cx:pt idx="6460">1284.838</cx:pt>
          <cx:pt idx="6461">1284.838</cx:pt>
          <cx:pt idx="6462">1284.838</cx:pt>
          <cx:pt idx="6463">1284.838</cx:pt>
          <cx:pt idx="6464">1284.838</cx:pt>
          <cx:pt idx="6465">1284.838</cx:pt>
          <cx:pt idx="6466">1284.838</cx:pt>
          <cx:pt idx="6467">1284.838</cx:pt>
          <cx:pt idx="6468">1284.838</cx:pt>
          <cx:pt idx="6469">1284.838</cx:pt>
          <cx:pt idx="6470">1284.838</cx:pt>
          <cx:pt idx="6471">1284.838</cx:pt>
          <cx:pt idx="6472">1284.838</cx:pt>
          <cx:pt idx="6473">1284.838</cx:pt>
          <cx:pt idx="6474">1284.838</cx:pt>
          <cx:pt idx="6475">1284.838</cx:pt>
          <cx:pt idx="6476">1284.838</cx:pt>
          <cx:pt idx="6477">1284.838</cx:pt>
          <cx:pt idx="6478">1284.838</cx:pt>
          <cx:pt idx="6479">1284.838</cx:pt>
          <cx:pt idx="6480">1284.838</cx:pt>
          <cx:pt idx="6481">1284.838</cx:pt>
          <cx:pt idx="6482">1284.838</cx:pt>
          <cx:pt idx="6483">1284.838</cx:pt>
          <cx:pt idx="6484">1284.838</cx:pt>
          <cx:pt idx="6485">1284.838</cx:pt>
          <cx:pt idx="6486">1284.838</cx:pt>
          <cx:pt idx="6487">1284.838</cx:pt>
          <cx:pt idx="6488">1284.838</cx:pt>
          <cx:pt idx="6489">1284.838</cx:pt>
          <cx:pt idx="6490">1284.838</cx:pt>
          <cx:pt idx="6491">1284.838</cx:pt>
          <cx:pt idx="6492">1284.838</cx:pt>
          <cx:pt idx="6493">1284.838</cx:pt>
          <cx:pt idx="6494">1284.838</cx:pt>
          <cx:pt idx="6495">1284.838</cx:pt>
          <cx:pt idx="6496">1284.838</cx:pt>
          <cx:pt idx="6497">1284.838</cx:pt>
          <cx:pt idx="6498">1284.838</cx:pt>
          <cx:pt idx="6499">1284.838</cx:pt>
          <cx:pt idx="6500">1284.838</cx:pt>
          <cx:pt idx="6501">1284.838</cx:pt>
          <cx:pt idx="6502">1284.838</cx:pt>
          <cx:pt idx="6503">1284.838</cx:pt>
          <cx:pt idx="6504">1284.838</cx:pt>
          <cx:pt idx="6505">1284.838</cx:pt>
          <cx:pt idx="6506">1284.838</cx:pt>
          <cx:pt idx="6507">1284.838</cx:pt>
          <cx:pt idx="6508">1284.838</cx:pt>
          <cx:pt idx="6509">1284.838</cx:pt>
          <cx:pt idx="6510">1284.838</cx:pt>
          <cx:pt idx="6511">1284.838</cx:pt>
          <cx:pt idx="6512">1284.838</cx:pt>
          <cx:pt idx="6513">1284.838</cx:pt>
          <cx:pt idx="6514">1284.838</cx:pt>
          <cx:pt idx="6515">1284.838</cx:pt>
          <cx:pt idx="6516">1284.838</cx:pt>
          <cx:pt idx="6517">1284.838</cx:pt>
          <cx:pt idx="6518">1284.838</cx:pt>
          <cx:pt idx="6519">1284.838</cx:pt>
          <cx:pt idx="6520">1284.838</cx:pt>
          <cx:pt idx="6521">1284.838</cx:pt>
          <cx:pt idx="6522">1284.838</cx:pt>
          <cx:pt idx="6523">1284.838</cx:pt>
          <cx:pt idx="6524">1284.838</cx:pt>
          <cx:pt idx="6525">1284.838</cx:pt>
          <cx:pt idx="6526">1284.838</cx:pt>
          <cx:pt idx="6527">1284.838</cx:pt>
          <cx:pt idx="6528">1284.838</cx:pt>
          <cx:pt idx="6529">1284.838</cx:pt>
          <cx:pt idx="6530">1284.838</cx:pt>
          <cx:pt idx="6531">1284.838</cx:pt>
          <cx:pt idx="6532">1284.838</cx:pt>
          <cx:pt idx="6533">1284.838</cx:pt>
          <cx:pt idx="6534">1284.838</cx:pt>
          <cx:pt idx="6535">1284.838</cx:pt>
          <cx:pt idx="6536">1284.838</cx:pt>
          <cx:pt idx="6537">1284.838</cx:pt>
          <cx:pt idx="6538">1284.838</cx:pt>
          <cx:pt idx="6539">1284.838</cx:pt>
          <cx:pt idx="6540">1284.838</cx:pt>
          <cx:pt idx="6541">1284.838</cx:pt>
          <cx:pt idx="6542">1284.838</cx:pt>
          <cx:pt idx="6543">1284.838</cx:pt>
          <cx:pt idx="6544">1284.838</cx:pt>
          <cx:pt idx="6545">1284.838</cx:pt>
          <cx:pt idx="6546">1284.838</cx:pt>
          <cx:pt idx="6547">1284.838</cx:pt>
          <cx:pt idx="6548">1284.838</cx:pt>
          <cx:pt idx="6549">1284.838</cx:pt>
          <cx:pt idx="6550">1284.838</cx:pt>
          <cx:pt idx="6551">1284.838</cx:pt>
          <cx:pt idx="6552">1284.838</cx:pt>
          <cx:pt idx="6553">1284.838</cx:pt>
          <cx:pt idx="6554">1284.838</cx:pt>
          <cx:pt idx="6555">1284.838</cx:pt>
          <cx:pt idx="6556">1284.838</cx:pt>
          <cx:pt idx="6557">1284.838</cx:pt>
          <cx:pt idx="6558">1284.838</cx:pt>
          <cx:pt idx="6559">1284.838</cx:pt>
          <cx:pt idx="6560">1284.838</cx:pt>
          <cx:pt idx="6561">1284.838</cx:pt>
          <cx:pt idx="6562">1284.838</cx:pt>
          <cx:pt idx="6563">1284.838</cx:pt>
          <cx:pt idx="6564">1284.838</cx:pt>
          <cx:pt idx="6565">1284.838</cx:pt>
          <cx:pt idx="6566">1284.838</cx:pt>
          <cx:pt idx="6567">1284.838</cx:pt>
          <cx:pt idx="6568">1284.838</cx:pt>
          <cx:pt idx="6569">1284.838</cx:pt>
          <cx:pt idx="6570">1284.838</cx:pt>
          <cx:pt idx="6571">1284.838</cx:pt>
          <cx:pt idx="6572">1284.838</cx:pt>
          <cx:pt idx="6573">1284.838</cx:pt>
          <cx:pt idx="6574">1284.838</cx:pt>
          <cx:pt idx="6575">1284.838</cx:pt>
          <cx:pt idx="6576">1284.838</cx:pt>
          <cx:pt idx="6577">1284.838</cx:pt>
          <cx:pt idx="6578">1284.838</cx:pt>
          <cx:pt idx="6579">1284.838</cx:pt>
          <cx:pt idx="6580">1284.838</cx:pt>
          <cx:pt idx="6581">1284.838</cx:pt>
          <cx:pt idx="6582">1284.838</cx:pt>
          <cx:pt idx="6583">1284.838</cx:pt>
          <cx:pt idx="6584">1284.838</cx:pt>
          <cx:pt idx="6585">1284.838</cx:pt>
          <cx:pt idx="6586">1284.838</cx:pt>
          <cx:pt idx="6587">1284.838</cx:pt>
          <cx:pt idx="6588">1284.838</cx:pt>
          <cx:pt idx="6589">1284.838</cx:pt>
          <cx:pt idx="6590">1284.838</cx:pt>
          <cx:pt idx="6591">1284.838</cx:pt>
          <cx:pt idx="6592">1284.838</cx:pt>
          <cx:pt idx="6593">1284.838</cx:pt>
          <cx:pt idx="6594">1284.838</cx:pt>
          <cx:pt idx="6595">1284.838</cx:pt>
          <cx:pt idx="6596">1284.838</cx:pt>
          <cx:pt idx="6597">1284.838</cx:pt>
          <cx:pt idx="6598">1284.838</cx:pt>
          <cx:pt idx="6599">1284.838</cx:pt>
          <cx:pt idx="6600">1284.838</cx:pt>
          <cx:pt idx="6601">1284.838</cx:pt>
          <cx:pt idx="6602">1284.838</cx:pt>
          <cx:pt idx="6603">1284.838</cx:pt>
          <cx:pt idx="6604">1284.838</cx:pt>
          <cx:pt idx="6605">1284.838</cx:pt>
          <cx:pt idx="6606">1284.838</cx:pt>
          <cx:pt idx="6607">1284.838</cx:pt>
          <cx:pt idx="6608">1284.838</cx:pt>
          <cx:pt idx="6609">1284.838</cx:pt>
          <cx:pt idx="6610">1284.838</cx:pt>
          <cx:pt idx="6611">1284.838</cx:pt>
          <cx:pt idx="6612">1284.838</cx:pt>
          <cx:pt idx="6613">1284.838</cx:pt>
          <cx:pt idx="6614">1284.838</cx:pt>
          <cx:pt idx="6615">1284.838</cx:pt>
          <cx:pt idx="6616">1284.838</cx:pt>
          <cx:pt idx="6617">1284.838</cx:pt>
          <cx:pt idx="6618">1284.838</cx:pt>
          <cx:pt idx="6619">1284.838</cx:pt>
          <cx:pt idx="6620">1284.838</cx:pt>
          <cx:pt idx="6621">1284.838</cx:pt>
          <cx:pt idx="6622">1284.838</cx:pt>
          <cx:pt idx="6623">1284.838</cx:pt>
          <cx:pt idx="6624">1284.838</cx:pt>
          <cx:pt idx="6625">1284.838</cx:pt>
          <cx:pt idx="6626">1284.838</cx:pt>
          <cx:pt idx="6627">1284.838</cx:pt>
          <cx:pt idx="6628">1284.838</cx:pt>
          <cx:pt idx="6629">1284.838</cx:pt>
          <cx:pt idx="6630">1284.838</cx:pt>
          <cx:pt idx="6631">1284.838</cx:pt>
          <cx:pt idx="6632">1284.838</cx:pt>
          <cx:pt idx="6633">1284.838</cx:pt>
          <cx:pt idx="6634">1284.838</cx:pt>
          <cx:pt idx="6635">1284.838</cx:pt>
          <cx:pt idx="6636">1284.838</cx:pt>
          <cx:pt idx="6637">1284.838</cx:pt>
          <cx:pt idx="6638">1284.838</cx:pt>
          <cx:pt idx="6639">1284.838</cx:pt>
          <cx:pt idx="6640">1284.838</cx:pt>
          <cx:pt idx="6641">1284.838</cx:pt>
          <cx:pt idx="6642">1284.838</cx:pt>
          <cx:pt idx="6643">1284.838</cx:pt>
          <cx:pt idx="6644">1284.838</cx:pt>
          <cx:pt idx="6645">1284.838</cx:pt>
          <cx:pt idx="6646">1284.838</cx:pt>
          <cx:pt idx="6647">1284.838</cx:pt>
          <cx:pt idx="6648">1284.838</cx:pt>
          <cx:pt idx="6649">1284.838</cx:pt>
          <cx:pt idx="6650">1284.838</cx:pt>
          <cx:pt idx="6651">1284.838</cx:pt>
          <cx:pt idx="6652">1284.838</cx:pt>
          <cx:pt idx="6653">1284.838</cx:pt>
          <cx:pt idx="6654">1284.838</cx:pt>
          <cx:pt idx="6655">1284.838</cx:pt>
          <cx:pt idx="6656">1284.838</cx:pt>
          <cx:pt idx="6657">1284.838</cx:pt>
          <cx:pt idx="6658">1284.838</cx:pt>
          <cx:pt idx="6659">1284.838</cx:pt>
          <cx:pt idx="6660">1284.838</cx:pt>
          <cx:pt idx="6661">1284.838</cx:pt>
          <cx:pt idx="6662">1284.838</cx:pt>
          <cx:pt idx="6663">1284.838</cx:pt>
          <cx:pt idx="6664">1284.838</cx:pt>
          <cx:pt idx="6665">1284.838</cx:pt>
          <cx:pt idx="6666">1284.838</cx:pt>
          <cx:pt idx="6667">1284.838</cx:pt>
          <cx:pt idx="6668">1284.838</cx:pt>
          <cx:pt idx="6669">1284.838</cx:pt>
          <cx:pt idx="6670">1284.838</cx:pt>
          <cx:pt idx="6671">1284.838</cx:pt>
          <cx:pt idx="6672">1284.838</cx:pt>
          <cx:pt idx="6673">1284.838</cx:pt>
          <cx:pt idx="6674">1284.838</cx:pt>
          <cx:pt idx="6675">1284.838</cx:pt>
          <cx:pt idx="6676">1284.838</cx:pt>
          <cx:pt idx="6677">1284.838</cx:pt>
          <cx:pt idx="6678">1284.838</cx:pt>
          <cx:pt idx="6679">1284.838</cx:pt>
          <cx:pt idx="6680">1284.838</cx:pt>
          <cx:pt idx="6681">1284.838</cx:pt>
          <cx:pt idx="6682">1284.838</cx:pt>
          <cx:pt idx="6683">1284.838</cx:pt>
          <cx:pt idx="6684">1284.838</cx:pt>
          <cx:pt idx="6685">1284.838</cx:pt>
          <cx:pt idx="6686">1284.838</cx:pt>
          <cx:pt idx="6687">1284.838</cx:pt>
          <cx:pt idx="6688">1284.838</cx:pt>
          <cx:pt idx="6689">1284.838</cx:pt>
          <cx:pt idx="6690">1284.838</cx:pt>
          <cx:pt idx="6691">1284.838</cx:pt>
          <cx:pt idx="6692">1284.838</cx:pt>
          <cx:pt idx="6693">1284.838</cx:pt>
          <cx:pt idx="6694">1284.838</cx:pt>
          <cx:pt idx="6695">1284.838</cx:pt>
          <cx:pt idx="6696">1284.838</cx:pt>
          <cx:pt idx="6697">1284.838</cx:pt>
          <cx:pt idx="6698">1284.838</cx:pt>
          <cx:pt idx="6699">1284.838</cx:pt>
          <cx:pt idx="6700">1284.838</cx:pt>
          <cx:pt idx="6701">1284.838</cx:pt>
          <cx:pt idx="6702">1284.838</cx:pt>
          <cx:pt idx="6703">1284.838</cx:pt>
          <cx:pt idx="6704">1284.838</cx:pt>
          <cx:pt idx="6705">1284.838</cx:pt>
          <cx:pt idx="6706">1284.838</cx:pt>
          <cx:pt idx="6707">1284.838</cx:pt>
          <cx:pt idx="6708">1284.838</cx:pt>
          <cx:pt idx="6709">1284.838</cx:pt>
          <cx:pt idx="6710">1284.838</cx:pt>
          <cx:pt idx="6711">1284.838</cx:pt>
          <cx:pt idx="6712">1284.838</cx:pt>
          <cx:pt idx="6713">1284.838</cx:pt>
          <cx:pt idx="6714">1284.838</cx:pt>
          <cx:pt idx="6715">1284.838</cx:pt>
          <cx:pt idx="6716">1284.838</cx:pt>
          <cx:pt idx="6717">1284.838</cx:pt>
          <cx:pt idx="6718">1284.838</cx:pt>
          <cx:pt idx="6719">1284.838</cx:pt>
          <cx:pt idx="6720">1284.838</cx:pt>
          <cx:pt idx="6721">1284.838</cx:pt>
          <cx:pt idx="6722">1284.838</cx:pt>
          <cx:pt idx="6723">1284.838</cx:pt>
          <cx:pt idx="6724">1284.838</cx:pt>
          <cx:pt idx="6725">1284.838</cx:pt>
          <cx:pt idx="6726">1284.838</cx:pt>
          <cx:pt idx="6727">1284.838</cx:pt>
          <cx:pt idx="6728">1284.838</cx:pt>
          <cx:pt idx="6729">1284.838</cx:pt>
          <cx:pt idx="6730">1284.838</cx:pt>
          <cx:pt idx="6731">1284.838</cx:pt>
          <cx:pt idx="6732">1284.838</cx:pt>
          <cx:pt idx="6733">1284.838</cx:pt>
          <cx:pt idx="6734">1284.838</cx:pt>
          <cx:pt idx="6735">1284.838</cx:pt>
          <cx:pt idx="6736">1284.838</cx:pt>
          <cx:pt idx="6737">1284.838</cx:pt>
          <cx:pt idx="6738">1284.838</cx:pt>
          <cx:pt idx="6739">1284.838</cx:pt>
          <cx:pt idx="6740">1284.838</cx:pt>
          <cx:pt idx="6741">1284.838</cx:pt>
          <cx:pt idx="6742">1284.838</cx:pt>
          <cx:pt idx="6743">1284.838</cx:pt>
          <cx:pt idx="6744">1284.838</cx:pt>
          <cx:pt idx="6745">1284.838</cx:pt>
          <cx:pt idx="6746">1284.838</cx:pt>
          <cx:pt idx="6747">1284.838</cx:pt>
          <cx:pt idx="6748">1284.838</cx:pt>
          <cx:pt idx="6749">1284.838</cx:pt>
          <cx:pt idx="6750">1284.838</cx:pt>
          <cx:pt idx="6751">1284.838</cx:pt>
          <cx:pt idx="6752">1284.838</cx:pt>
          <cx:pt idx="6753">1284.838</cx:pt>
          <cx:pt idx="6754">1284.838</cx:pt>
          <cx:pt idx="6755">1284.838</cx:pt>
          <cx:pt idx="6756">1284.838</cx:pt>
          <cx:pt idx="6757">1284.838</cx:pt>
          <cx:pt idx="6758">1284.838</cx:pt>
          <cx:pt idx="6759">1284.838</cx:pt>
          <cx:pt idx="6760">1284.838</cx:pt>
          <cx:pt idx="6761">1284.838</cx:pt>
          <cx:pt idx="6762">1284.838</cx:pt>
          <cx:pt idx="6763">1284.838</cx:pt>
          <cx:pt idx="6764">1284.838</cx:pt>
          <cx:pt idx="6765">1284.838</cx:pt>
          <cx:pt idx="6766">1284.838</cx:pt>
          <cx:pt idx="6767">1284.838</cx:pt>
          <cx:pt idx="6768">1284.838</cx:pt>
          <cx:pt idx="6769">1284.838</cx:pt>
          <cx:pt idx="6770">1284.838</cx:pt>
          <cx:pt idx="6771">1284.838</cx:pt>
          <cx:pt idx="6772">1284.838</cx:pt>
          <cx:pt idx="6773">1284.838</cx:pt>
          <cx:pt idx="6774">1284.838</cx:pt>
          <cx:pt idx="6775">1284.838</cx:pt>
          <cx:pt idx="6776">1284.838</cx:pt>
          <cx:pt idx="6777">1284.838</cx:pt>
          <cx:pt idx="6778">1284.838</cx:pt>
          <cx:pt idx="6779">1284.838</cx:pt>
          <cx:pt idx="6780">1284.838</cx:pt>
          <cx:pt idx="6781">1284.838</cx:pt>
          <cx:pt idx="6782">1284.838</cx:pt>
          <cx:pt idx="6783">1284.838</cx:pt>
          <cx:pt idx="6784">1284.838</cx:pt>
          <cx:pt idx="6785">1284.838</cx:pt>
          <cx:pt idx="6786">1284.838</cx:pt>
          <cx:pt idx="6787">1284.838</cx:pt>
          <cx:pt idx="6788">1284.838</cx:pt>
          <cx:pt idx="6789">1284.838</cx:pt>
          <cx:pt idx="6790">1284.838</cx:pt>
          <cx:pt idx="6791">1284.838</cx:pt>
          <cx:pt idx="6792">1284.838</cx:pt>
          <cx:pt idx="6793">1284.838</cx:pt>
          <cx:pt idx="6794">1284.838</cx:pt>
          <cx:pt idx="6795">1284.838</cx:pt>
          <cx:pt idx="6796">1284.838</cx:pt>
          <cx:pt idx="6797">1284.838</cx:pt>
          <cx:pt idx="6798">1284.838</cx:pt>
          <cx:pt idx="6799">1284.838</cx:pt>
          <cx:pt idx="6800">1284.838</cx:pt>
          <cx:pt idx="6801">1284.838</cx:pt>
          <cx:pt idx="6802">1284.838</cx:pt>
          <cx:pt idx="6803">1284.838</cx:pt>
          <cx:pt idx="6804">1284.838</cx:pt>
          <cx:pt idx="6805">1284.838</cx:pt>
          <cx:pt idx="6806">1284.838</cx:pt>
          <cx:pt idx="6807">1284.838</cx:pt>
          <cx:pt idx="6808">1284.838</cx:pt>
          <cx:pt idx="6809">1284.838</cx:pt>
          <cx:pt idx="6810">1284.838</cx:pt>
          <cx:pt idx="6811">1284.838</cx:pt>
          <cx:pt idx="6812">1284.838</cx:pt>
          <cx:pt idx="6813">1284.838</cx:pt>
          <cx:pt idx="6814">1284.838</cx:pt>
          <cx:pt idx="6815">1284.838</cx:pt>
          <cx:pt idx="6816">1284.838</cx:pt>
          <cx:pt idx="6817">1284.838</cx:pt>
          <cx:pt idx="6818">1284.838</cx:pt>
          <cx:pt idx="6819">1284.838</cx:pt>
          <cx:pt idx="6820">1284.838</cx:pt>
          <cx:pt idx="6821">1284.838</cx:pt>
          <cx:pt idx="6822">1284.838</cx:pt>
          <cx:pt idx="6823">1284.838</cx:pt>
          <cx:pt idx="6824">1284.838</cx:pt>
          <cx:pt idx="6825">1284.838</cx:pt>
          <cx:pt idx="6826">1284.838</cx:pt>
          <cx:pt idx="6827">1284.838</cx:pt>
          <cx:pt idx="6828">1284.838</cx:pt>
          <cx:pt idx="6829">1284.838</cx:pt>
          <cx:pt idx="6830">1284.838</cx:pt>
          <cx:pt idx="6831">1284.838</cx:pt>
          <cx:pt idx="6832">1284.838</cx:pt>
          <cx:pt idx="6833">1284.838</cx:pt>
          <cx:pt idx="6834">1284.838</cx:pt>
          <cx:pt idx="6835">1284.838</cx:pt>
          <cx:pt idx="6836">1284.838</cx:pt>
          <cx:pt idx="6837">1284.838</cx:pt>
          <cx:pt idx="6838">1284.838</cx:pt>
          <cx:pt idx="6839">1284.838</cx:pt>
          <cx:pt idx="6840">1284.838</cx:pt>
          <cx:pt idx="6841">1284.838</cx:pt>
          <cx:pt idx="6842">1284.838</cx:pt>
          <cx:pt idx="6843">1284.838</cx:pt>
          <cx:pt idx="6844">1284.838</cx:pt>
          <cx:pt idx="6845">1284.838</cx:pt>
          <cx:pt idx="6846">1284.838</cx:pt>
          <cx:pt idx="6847">1284.838</cx:pt>
          <cx:pt idx="6848">1284.838</cx:pt>
          <cx:pt idx="6849">1284.838</cx:pt>
          <cx:pt idx="6850">1284.838</cx:pt>
          <cx:pt idx="6851">1284.838</cx:pt>
          <cx:pt idx="6852">1284.838</cx:pt>
          <cx:pt idx="6853">1284.838</cx:pt>
          <cx:pt idx="6854">1284.838</cx:pt>
          <cx:pt idx="6855">1284.838</cx:pt>
          <cx:pt idx="6856">1284.838</cx:pt>
          <cx:pt idx="6857">1284.838</cx:pt>
          <cx:pt idx="6858">1284.838</cx:pt>
          <cx:pt idx="6859">1284.838</cx:pt>
          <cx:pt idx="6860">1284.838</cx:pt>
          <cx:pt idx="6861">1284.838</cx:pt>
          <cx:pt idx="6862">1284.838</cx:pt>
          <cx:pt idx="6863">1284.838</cx:pt>
          <cx:pt idx="6864">1284.838</cx:pt>
          <cx:pt idx="6865">1284.838</cx:pt>
          <cx:pt idx="6866">1284.838</cx:pt>
          <cx:pt idx="6867">1284.838</cx:pt>
          <cx:pt idx="6868">1284.838</cx:pt>
          <cx:pt idx="6869">1284.838</cx:pt>
          <cx:pt idx="6870">1284.838</cx:pt>
          <cx:pt idx="6871">1284.838</cx:pt>
          <cx:pt idx="6872">1284.838</cx:pt>
          <cx:pt idx="6873">1284.838</cx:pt>
          <cx:pt idx="6874">1284.838</cx:pt>
          <cx:pt idx="6875">1284.838</cx:pt>
          <cx:pt idx="6876">1284.838</cx:pt>
          <cx:pt idx="6877">1284.838</cx:pt>
          <cx:pt idx="6878">1284.838</cx:pt>
          <cx:pt idx="6879">1284.838</cx:pt>
          <cx:pt idx="6880">1284.838</cx:pt>
          <cx:pt idx="6881">1284.838</cx:pt>
          <cx:pt idx="6882">1284.838</cx:pt>
          <cx:pt idx="6883">1284.838</cx:pt>
          <cx:pt idx="6884">1284.838</cx:pt>
          <cx:pt idx="6885">1284.838</cx:pt>
          <cx:pt idx="6886">1284.838</cx:pt>
          <cx:pt idx="6887">1284.838</cx:pt>
          <cx:pt idx="6888">1284.838</cx:pt>
          <cx:pt idx="6889">1284.838</cx:pt>
          <cx:pt idx="6890">1284.838</cx:pt>
          <cx:pt idx="6891">1284.838</cx:pt>
          <cx:pt idx="6892">1284.838</cx:pt>
          <cx:pt idx="6893">1284.838</cx:pt>
          <cx:pt idx="6894">1284.838</cx:pt>
          <cx:pt idx="6895">1284.838</cx:pt>
          <cx:pt idx="6896">1284.838</cx:pt>
          <cx:pt idx="6897">1284.838</cx:pt>
          <cx:pt idx="6898">1284.838</cx:pt>
          <cx:pt idx="6899">1284.838</cx:pt>
          <cx:pt idx="6900">1284.838</cx:pt>
          <cx:pt idx="6901">1284.838</cx:pt>
          <cx:pt idx="6902">1284.838</cx:pt>
          <cx:pt idx="6903">1284.838</cx:pt>
          <cx:pt idx="6904">1284.838</cx:pt>
          <cx:pt idx="6905">1284.838</cx:pt>
          <cx:pt idx="6906">1284.838</cx:pt>
          <cx:pt idx="6907">1284.838</cx:pt>
          <cx:pt idx="6908">1284.838</cx:pt>
          <cx:pt idx="6909">1284.838</cx:pt>
          <cx:pt idx="6910">1284.838</cx:pt>
          <cx:pt idx="6911">1284.838</cx:pt>
          <cx:pt idx="6912">1284.838</cx:pt>
          <cx:pt idx="6913">1284.838</cx:pt>
          <cx:pt idx="6914">1284.838</cx:pt>
          <cx:pt idx="6915">1284.838</cx:pt>
          <cx:pt idx="6916">1284.838</cx:pt>
          <cx:pt idx="6917">1284.838</cx:pt>
          <cx:pt idx="6918">1284.838</cx:pt>
          <cx:pt idx="6919">1284.838</cx:pt>
          <cx:pt idx="6920">1284.838</cx:pt>
          <cx:pt idx="6921">1284.838</cx:pt>
          <cx:pt idx="6922">1284.838</cx:pt>
          <cx:pt idx="6923">1284.838</cx:pt>
          <cx:pt idx="6924">1284.838</cx:pt>
          <cx:pt idx="6925">1284.838</cx:pt>
          <cx:pt idx="6926">1284.838</cx:pt>
          <cx:pt idx="6927">1284.838</cx:pt>
          <cx:pt idx="6928">1284.838</cx:pt>
          <cx:pt idx="6929">1284.838</cx:pt>
          <cx:pt idx="6930">1284.838</cx:pt>
          <cx:pt idx="6931">1284.838</cx:pt>
          <cx:pt idx="6932">1284.838</cx:pt>
        </cx:lvl>
      </cx:numDim>
    </cx:data>
    <cx:data id="5">
      <cx:numDim type="val">
        <cx:f>'Desalination_Unit_Data (3)'!$F$3:$F$7000</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cx:pt>
          <cx:pt idx="414">0</cx:pt>
          <cx:pt idx="415">0</cx:pt>
          <cx:pt idx="416">0</cx:pt>
          <cx:pt idx="417">0</cx:pt>
          <cx:pt idx="418">0</cx:pt>
          <cx:pt idx="419">0</cx:pt>
          <cx:pt idx="420">0</cx:pt>
          <cx:pt idx="421">0</cx:pt>
          <cx:pt idx="422">0</cx:pt>
          <cx:pt idx="423">0</cx:pt>
          <cx:pt idx="424">0</cx:pt>
          <cx:pt idx="425">0</cx:pt>
          <cx:pt idx="426">0</cx:pt>
          <cx:pt idx="427">0</cx:pt>
          <cx:pt idx="428">0</cx:pt>
          <cx:pt idx="429">0</cx:pt>
          <cx:pt idx="430">0</cx:pt>
          <cx:pt idx="431">0</cx:pt>
          <cx:pt idx="432">0</cx:pt>
          <cx:pt idx="433">0</cx:pt>
          <cx:pt idx="434">0</cx:pt>
          <cx:pt idx="435">0</cx:pt>
          <cx:pt idx="436">0</cx:pt>
          <cx:pt idx="437">0</cx:pt>
          <cx:pt idx="438">0</cx:pt>
          <cx:pt idx="439">0</cx:pt>
          <cx:pt idx="440">0</cx:pt>
          <cx:pt idx="441">0</cx:pt>
          <cx:pt idx="442">0</cx:pt>
          <cx:pt idx="443">0</cx:pt>
          <cx:pt idx="444">0</cx:pt>
          <cx:pt idx="445">0</cx:pt>
          <cx:pt idx="446">0</cx:pt>
          <cx:pt idx="447">0</cx:pt>
          <cx:pt idx="448">0</cx:pt>
          <cx:pt idx="449">0</cx:pt>
          <cx:pt idx="450">0</cx:pt>
          <cx:pt idx="451">0</cx:pt>
          <cx:pt idx="452">0</cx:pt>
          <cx:pt idx="453">0</cx:pt>
          <cx:pt idx="454">0</cx:pt>
          <cx:pt idx="455">0</cx:pt>
          <cx:pt idx="456">0</cx:pt>
          <cx:pt idx="457">0</cx:pt>
          <cx:pt idx="458">0</cx:pt>
          <cx:pt idx="459">0</cx:pt>
          <cx:pt idx="460">0</cx:pt>
          <cx:pt idx="461">0</cx:pt>
          <cx:pt idx="462">0</cx:pt>
          <cx:pt idx="463">0</cx:pt>
          <cx:pt idx="464">0</cx:pt>
          <cx:pt idx="465">0</cx:pt>
          <cx:pt idx="466">0</cx:pt>
          <cx:pt idx="467">0</cx:pt>
          <cx:pt idx="468">0</cx:pt>
          <cx:pt idx="469">0</cx:pt>
          <cx:pt idx="470">0</cx:pt>
          <cx:pt idx="471">0</cx:pt>
          <cx:pt idx="472">0</cx:pt>
          <cx:pt idx="473">0</cx:pt>
          <cx:pt idx="474">0</cx:pt>
          <cx:pt idx="475">0</cx:pt>
          <cx:pt idx="476">0</cx:pt>
          <cx:pt idx="477">0</cx:pt>
          <cx:pt idx="478">0</cx:pt>
          <cx:pt idx="479">0</cx:pt>
          <cx:pt idx="480">0</cx:pt>
          <cx:pt idx="481">0</cx:pt>
          <cx:pt idx="482">0</cx:pt>
          <cx:pt idx="483">0</cx:pt>
          <cx:pt idx="484">0</cx:pt>
          <cx:pt idx="485">0</cx:pt>
          <cx:pt idx="486">0</cx:pt>
          <cx:pt idx="487">0</cx:pt>
          <cx:pt idx="488">0</cx:pt>
          <cx:pt idx="489">0</cx:pt>
          <cx:pt idx="490">0</cx:pt>
          <cx:pt idx="491">0</cx:pt>
          <cx:pt idx="492">0</cx:pt>
          <cx:pt idx="493">0</cx:pt>
          <cx:pt idx="494">0</cx:pt>
          <cx:pt idx="495">0</cx:pt>
          <cx:pt idx="496">0</cx:pt>
          <cx:pt idx="497">0</cx:pt>
          <cx:pt idx="498">0</cx:pt>
          <cx:pt idx="499">0</cx:pt>
          <cx:pt idx="500">0</cx:pt>
          <cx:pt idx="501">0</cx:pt>
          <cx:pt idx="502">0</cx:pt>
          <cx:pt idx="503">0</cx:pt>
          <cx:pt idx="504">0</cx:pt>
          <cx:pt idx="505">0</cx:pt>
          <cx:pt idx="506">0</cx:pt>
          <cx:pt idx="507">0</cx:pt>
          <cx:pt idx="508">0</cx:pt>
          <cx:pt idx="509">0</cx:pt>
          <cx:pt idx="510">0</cx:pt>
          <cx:pt idx="511">0</cx:pt>
          <cx:pt idx="512">0</cx:pt>
          <cx:pt idx="513">0</cx:pt>
          <cx:pt idx="514">0</cx:pt>
          <cx:pt idx="515">0</cx:pt>
          <cx:pt idx="516">0</cx:pt>
          <cx:pt idx="517">0</cx:pt>
          <cx:pt idx="518">0</cx:pt>
          <cx:pt idx="519">0</cx:pt>
          <cx:pt idx="520">0</cx:pt>
          <cx:pt idx="521">0</cx:pt>
          <cx:pt idx="522">0</cx:pt>
          <cx:pt idx="523">0</cx:pt>
          <cx:pt idx="524">0</cx:pt>
          <cx:pt idx="525">0</cx:pt>
          <cx:pt idx="526">0</cx:pt>
          <cx:pt idx="527">0</cx:pt>
          <cx:pt idx="528">0</cx:pt>
          <cx:pt idx="529">0</cx:pt>
          <cx:pt idx="530">0</cx:pt>
          <cx:pt idx="531">0</cx:pt>
          <cx:pt idx="532">0</cx:pt>
          <cx:pt idx="533">0</cx:pt>
          <cx:pt idx="534">0</cx:pt>
          <cx:pt idx="535">0</cx:pt>
          <cx:pt idx="536">0</cx:pt>
          <cx:pt idx="537">0</cx:pt>
          <cx:pt idx="538">0</cx:pt>
          <cx:pt idx="539">0</cx:pt>
          <cx:pt idx="540">0</cx:pt>
          <cx:pt idx="541">0</cx:pt>
          <cx:pt idx="542">0</cx:pt>
          <cx:pt idx="543">0</cx:pt>
          <cx:pt idx="544">0</cx:pt>
          <cx:pt idx="545">0</cx:pt>
          <cx:pt idx="546">0</cx:pt>
          <cx:pt idx="547">0</cx:pt>
          <cx:pt idx="548">0</cx:pt>
          <cx:pt idx="549">0</cx:pt>
          <cx:pt idx="550">0</cx:pt>
          <cx:pt idx="551">0</cx:pt>
          <cx:pt idx="552">0</cx:pt>
          <cx:pt idx="553">0</cx:pt>
          <cx:pt idx="554">0</cx:pt>
          <cx:pt idx="555">0</cx:pt>
          <cx:pt idx="556">0</cx:pt>
          <cx:pt idx="557">0</cx:pt>
          <cx:pt idx="558">0</cx:pt>
          <cx:pt idx="559">0</cx:pt>
          <cx:pt idx="560">0</cx:pt>
          <cx:pt idx="561">0</cx:pt>
          <cx:pt idx="562">0</cx:pt>
          <cx:pt idx="563">0</cx:pt>
          <cx:pt idx="564">0</cx:pt>
          <cx:pt idx="565">0</cx:pt>
          <cx:pt idx="566">0</cx:pt>
          <cx:pt idx="567">0</cx:pt>
          <cx:pt idx="568">0</cx:pt>
          <cx:pt idx="569">0</cx:pt>
          <cx:pt idx="570">0</cx:pt>
          <cx:pt idx="571">0</cx:pt>
          <cx:pt idx="572">0</cx:pt>
          <cx:pt idx="573">0</cx:pt>
          <cx:pt idx="574">0</cx:pt>
          <cx:pt idx="575">0</cx:pt>
          <cx:pt idx="576">0</cx:pt>
          <cx:pt idx="577">0</cx:pt>
          <cx:pt idx="578">0</cx:pt>
          <cx:pt idx="579">0</cx:pt>
          <cx:pt idx="580">0</cx:pt>
          <cx:pt idx="581">0</cx:pt>
          <cx:pt idx="582">0</cx:pt>
          <cx:pt idx="583">0</cx:pt>
          <cx:pt idx="584">0</cx:pt>
          <cx:pt idx="585">0</cx:pt>
          <cx:pt idx="586">0</cx:pt>
          <cx:pt idx="587">0</cx:pt>
          <cx:pt idx="588">0</cx:pt>
          <cx:pt idx="589">0</cx:pt>
          <cx:pt idx="590">0</cx:pt>
          <cx:pt idx="591">0</cx:pt>
          <cx:pt idx="592">0</cx:pt>
          <cx:pt idx="593">0</cx:pt>
          <cx:pt idx="594">0</cx:pt>
          <cx:pt idx="595">0</cx:pt>
          <cx:pt idx="596">0</cx:pt>
          <cx:pt idx="597">0</cx:pt>
          <cx:pt idx="598">0</cx:pt>
          <cx:pt idx="599">0</cx:pt>
          <cx:pt idx="600">0</cx:pt>
          <cx:pt idx="601">0</cx:pt>
          <cx:pt idx="602">0</cx:pt>
          <cx:pt idx="603">0</cx:pt>
          <cx:pt idx="604">0</cx:pt>
          <cx:pt idx="605">0</cx:pt>
          <cx:pt idx="606">0</cx:pt>
          <cx:pt idx="607">0</cx:pt>
          <cx:pt idx="608">0</cx:pt>
          <cx:pt idx="609">0</cx:pt>
          <cx:pt idx="610">0</cx:pt>
          <cx:pt idx="611">0</cx:pt>
          <cx:pt idx="612">0</cx:pt>
          <cx:pt idx="613">0</cx:pt>
          <cx:pt idx="614">0</cx:pt>
          <cx:pt idx="615">0</cx:pt>
          <cx:pt idx="616">0</cx:pt>
          <cx:pt idx="617">0</cx:pt>
          <cx:pt idx="618">0</cx:pt>
          <cx:pt idx="619">0</cx:pt>
          <cx:pt idx="620">0</cx:pt>
          <cx:pt idx="621">0</cx:pt>
          <cx:pt idx="622">0</cx:pt>
          <cx:pt idx="623">0</cx:pt>
          <cx:pt idx="624">0</cx:pt>
          <cx:pt idx="625">0</cx:pt>
          <cx:pt idx="626">0</cx:pt>
          <cx:pt idx="627">0</cx:pt>
          <cx:pt idx="628">0</cx:pt>
          <cx:pt idx="629">0</cx:pt>
          <cx:pt idx="630">0</cx:pt>
          <cx:pt idx="631">0</cx:pt>
          <cx:pt idx="632">0</cx:pt>
          <cx:pt idx="633">0</cx:pt>
          <cx:pt idx="634">0</cx:pt>
          <cx:pt idx="635">0</cx:pt>
          <cx:pt idx="636">0</cx:pt>
          <cx:pt idx="637">0</cx:pt>
          <cx:pt idx="638">0</cx:pt>
          <cx:pt idx="639">0</cx:pt>
          <cx:pt idx="640">0</cx:pt>
          <cx:pt idx="641">0</cx:pt>
          <cx:pt idx="642">0</cx:pt>
          <cx:pt idx="643">0</cx:pt>
          <cx:pt idx="644">0</cx:pt>
          <cx:pt idx="645">0</cx:pt>
          <cx:pt idx="646">0</cx:pt>
          <cx:pt idx="647">0</cx:pt>
          <cx:pt idx="648">0</cx:pt>
          <cx:pt idx="649">0</cx:pt>
          <cx:pt idx="650">0</cx:pt>
          <cx:pt idx="651">0</cx:pt>
          <cx:pt idx="652">0</cx:pt>
          <cx:pt idx="653">0</cx:pt>
          <cx:pt idx="654">0</cx:pt>
          <cx:pt idx="655">0</cx:pt>
          <cx:pt idx="656">0</cx:pt>
          <cx:pt idx="657">0</cx:pt>
          <cx:pt idx="658">0</cx:pt>
          <cx:pt idx="659">0</cx:pt>
          <cx:pt idx="660">0</cx:pt>
          <cx:pt idx="661">0</cx:pt>
          <cx:pt idx="662">0</cx:pt>
          <cx:pt idx="663">0</cx:pt>
          <cx:pt idx="664">0</cx:pt>
          <cx:pt idx="665">0</cx:pt>
          <cx:pt idx="666">0</cx:pt>
          <cx:pt idx="667">0</cx:pt>
          <cx:pt idx="668">0</cx:pt>
          <cx:pt idx="669">0</cx:pt>
          <cx:pt idx="670">0</cx:pt>
          <cx:pt idx="671">0</cx:pt>
          <cx:pt idx="672">0</cx:pt>
          <cx:pt idx="673">0</cx:pt>
          <cx:pt idx="674">0</cx:pt>
          <cx:pt idx="675">0</cx:pt>
          <cx:pt idx="676">0</cx:pt>
          <cx:pt idx="677">0</cx:pt>
          <cx:pt idx="678">0</cx:pt>
          <cx:pt idx="679">0</cx:pt>
          <cx:pt idx="680">0</cx:pt>
          <cx:pt idx="681">0</cx:pt>
          <cx:pt idx="682">0</cx:pt>
          <cx:pt idx="683">0</cx:pt>
          <cx:pt idx="684">0</cx:pt>
          <cx:pt idx="685">0</cx:pt>
          <cx:pt idx="686">0</cx:pt>
          <cx:pt idx="687">0</cx:pt>
          <cx:pt idx="688">0</cx:pt>
          <cx:pt idx="689">0</cx:pt>
          <cx:pt idx="690">0</cx:pt>
          <cx:pt idx="691">0</cx:pt>
          <cx:pt idx="692">0</cx:pt>
          <cx:pt idx="693">0</cx:pt>
          <cx:pt idx="694">0</cx:pt>
          <cx:pt idx="695">0</cx:pt>
          <cx:pt idx="696">0</cx:pt>
          <cx:pt idx="697">0</cx:pt>
          <cx:pt idx="698">0</cx:pt>
          <cx:pt idx="699">0</cx:pt>
          <cx:pt idx="700">0</cx:pt>
          <cx:pt idx="701">0</cx:pt>
          <cx:pt idx="702">0</cx:pt>
          <cx:pt idx="703">0</cx:pt>
          <cx:pt idx="704">0</cx:pt>
          <cx:pt idx="705">0</cx:pt>
          <cx:pt idx="706">0</cx:pt>
          <cx:pt idx="707">0</cx:pt>
          <cx:pt idx="708">0</cx:pt>
          <cx:pt idx="709">0</cx:pt>
          <cx:pt idx="710">0</cx:pt>
          <cx:pt idx="711">0</cx:pt>
          <cx:pt idx="712">0</cx:pt>
          <cx:pt idx="713">0</cx:pt>
          <cx:pt idx="714">0</cx:pt>
          <cx:pt idx="715">0</cx:pt>
          <cx:pt idx="716">0</cx:pt>
          <cx:pt idx="717">0</cx:pt>
          <cx:pt idx="718">0</cx:pt>
          <cx:pt idx="719">0</cx:pt>
          <cx:pt idx="720">0</cx:pt>
          <cx:pt idx="721">0</cx:pt>
          <cx:pt idx="722">0</cx:pt>
          <cx:pt idx="723">0</cx:pt>
          <cx:pt idx="724">0</cx:pt>
          <cx:pt idx="725">0</cx:pt>
          <cx:pt idx="726">0</cx:pt>
          <cx:pt idx="727">0</cx:pt>
          <cx:pt idx="728">0</cx:pt>
          <cx:pt idx="729">0</cx:pt>
          <cx:pt idx="730">0</cx:pt>
          <cx:pt idx="731">0</cx:pt>
          <cx:pt idx="732">0</cx:pt>
          <cx:pt idx="733">0</cx:pt>
          <cx:pt idx="734">0</cx:pt>
          <cx:pt idx="735">0</cx:pt>
          <cx:pt idx="736">0</cx:pt>
          <cx:pt idx="737">0</cx:pt>
          <cx:pt idx="738">0</cx:pt>
          <cx:pt idx="739">0</cx:pt>
          <cx:pt idx="740">0</cx:pt>
          <cx:pt idx="741">0</cx:pt>
          <cx:pt idx="742">0</cx:pt>
          <cx:pt idx="743">0</cx:pt>
          <cx:pt idx="744">0</cx:pt>
          <cx:pt idx="745">0</cx:pt>
          <cx:pt idx="746">0</cx:pt>
          <cx:pt idx="747">0</cx:pt>
          <cx:pt idx="748">0</cx:pt>
          <cx:pt idx="749">0</cx:pt>
          <cx:pt idx="750">0</cx:pt>
          <cx:pt idx="751">0</cx:pt>
          <cx:pt idx="752">0</cx:pt>
          <cx:pt idx="753">0</cx:pt>
          <cx:pt idx="754">0</cx:pt>
          <cx:pt idx="755">0</cx:pt>
          <cx:pt idx="756">0</cx:pt>
          <cx:pt idx="757">0</cx:pt>
          <cx:pt idx="758">0</cx:pt>
          <cx:pt idx="759">0</cx:pt>
          <cx:pt idx="760">0</cx:pt>
          <cx:pt idx="761">0</cx:pt>
          <cx:pt idx="762">0</cx:pt>
          <cx:pt idx="763">0</cx:pt>
          <cx:pt idx="764">0</cx:pt>
          <cx:pt idx="765">0</cx:pt>
          <cx:pt idx="766">0</cx:pt>
          <cx:pt idx="767">0</cx:pt>
          <cx:pt idx="768">0</cx:pt>
          <cx:pt idx="769">0</cx:pt>
          <cx:pt idx="770">0</cx:pt>
          <cx:pt idx="771">0</cx:pt>
          <cx:pt idx="772">0</cx:pt>
          <cx:pt idx="773">0</cx:pt>
          <cx:pt idx="774">0</cx:pt>
          <cx:pt idx="775">0</cx:pt>
          <cx:pt idx="776">0</cx:pt>
          <cx:pt idx="777">0</cx:pt>
          <cx:pt idx="778">0</cx:pt>
          <cx:pt idx="779">0</cx:pt>
          <cx:pt idx="780">0</cx:pt>
          <cx:pt idx="781">0</cx:pt>
          <cx:pt idx="782">0</cx:pt>
          <cx:pt idx="783">0</cx:pt>
          <cx:pt idx="784">0</cx:pt>
          <cx:pt idx="785">0</cx:pt>
          <cx:pt idx="786">0</cx:pt>
          <cx:pt idx="787">0</cx:pt>
          <cx:pt idx="788">0</cx:pt>
          <cx:pt idx="789">0</cx:pt>
          <cx:pt idx="790">0</cx:pt>
          <cx:pt idx="791">0</cx:pt>
          <cx:pt idx="792">0</cx:pt>
          <cx:pt idx="793">0</cx:pt>
          <cx:pt idx="794">0</cx:pt>
          <cx:pt idx="795">0</cx:pt>
          <cx:pt idx="796">0</cx:pt>
          <cx:pt idx="797">0</cx:pt>
          <cx:pt idx="798">0</cx:pt>
          <cx:pt idx="799">0</cx:pt>
          <cx:pt idx="800">0</cx:pt>
          <cx:pt idx="801">0</cx:pt>
          <cx:pt idx="802">0</cx:pt>
          <cx:pt idx="803">0</cx:pt>
          <cx:pt idx="804">0</cx:pt>
          <cx:pt idx="805">0</cx:pt>
          <cx:pt idx="806">0</cx:pt>
          <cx:pt idx="807">0</cx:pt>
          <cx:pt idx="808">0</cx:pt>
          <cx:pt idx="809">0</cx:pt>
          <cx:pt idx="810">0</cx:pt>
          <cx:pt idx="811">0</cx:pt>
          <cx:pt idx="812">0</cx:pt>
          <cx:pt idx="813">0</cx:pt>
          <cx:pt idx="814">0</cx:pt>
          <cx:pt idx="815">0</cx:pt>
          <cx:pt idx="816">0</cx:pt>
          <cx:pt idx="817">0</cx:pt>
          <cx:pt idx="818">0</cx:pt>
          <cx:pt idx="819">0</cx:pt>
          <cx:pt idx="820">0</cx:pt>
          <cx:pt idx="821">0</cx:pt>
          <cx:pt idx="822">0</cx:pt>
          <cx:pt idx="823">0</cx:pt>
          <cx:pt idx="824">0</cx:pt>
          <cx:pt idx="825">0</cx:pt>
          <cx:pt idx="826">0</cx:pt>
          <cx:pt idx="827">0</cx:pt>
          <cx:pt idx="828">0</cx:pt>
          <cx:pt idx="829">0</cx:pt>
          <cx:pt idx="830">0</cx:pt>
          <cx:pt idx="831">0</cx:pt>
          <cx:pt idx="832">0</cx:pt>
          <cx:pt idx="833">0</cx:pt>
          <cx:pt idx="834">0</cx:pt>
          <cx:pt idx="835">0</cx:pt>
          <cx:pt idx="836">0</cx:pt>
          <cx:pt idx="837">0</cx:pt>
          <cx:pt idx="838">0</cx:pt>
          <cx:pt idx="839">0</cx:pt>
          <cx:pt idx="840">0</cx:pt>
          <cx:pt idx="841">0</cx:pt>
          <cx:pt idx="842">0</cx:pt>
          <cx:pt idx="843">0</cx:pt>
          <cx:pt idx="844">0</cx:pt>
          <cx:pt idx="845">0</cx:pt>
          <cx:pt idx="846">0</cx:pt>
          <cx:pt idx="847">0</cx:pt>
          <cx:pt idx="848">0</cx:pt>
          <cx:pt idx="849">0</cx:pt>
          <cx:pt idx="850">0</cx:pt>
          <cx:pt idx="851">0</cx:pt>
          <cx:pt idx="852">0</cx:pt>
          <cx:pt idx="853">0</cx:pt>
          <cx:pt idx="854">0</cx:pt>
          <cx:pt idx="855">0</cx:pt>
          <cx:pt idx="856">0</cx:pt>
          <cx:pt idx="857">0</cx:pt>
          <cx:pt idx="858">0</cx:pt>
          <cx:pt idx="859">0</cx:pt>
          <cx:pt idx="860">0</cx:pt>
          <cx:pt idx="861">0</cx:pt>
          <cx:pt idx="862">0</cx:pt>
          <cx:pt idx="863">0</cx:pt>
          <cx:pt idx="864">0</cx:pt>
          <cx:pt idx="865">0</cx:pt>
          <cx:pt idx="866">0</cx:pt>
          <cx:pt idx="867">0</cx:pt>
          <cx:pt idx="868">0</cx:pt>
          <cx:pt idx="869">0</cx:pt>
          <cx:pt idx="870">0</cx:pt>
          <cx:pt idx="871">0</cx:pt>
          <cx:pt idx="872">0</cx:pt>
          <cx:pt idx="873">0</cx:pt>
          <cx:pt idx="874">0</cx:pt>
          <cx:pt idx="875">0</cx:pt>
          <cx:pt idx="876">0</cx:pt>
          <cx:pt idx="877">0</cx:pt>
          <cx:pt idx="878">0</cx:pt>
          <cx:pt idx="879">0</cx:pt>
          <cx:pt idx="880">0</cx:pt>
          <cx:pt idx="881">0</cx:pt>
          <cx:pt idx="882">0</cx:pt>
          <cx:pt idx="883">0</cx:pt>
          <cx:pt idx="884">0</cx:pt>
          <cx:pt idx="885">0</cx:pt>
          <cx:pt idx="886">0</cx:pt>
          <cx:pt idx="887">0</cx:pt>
          <cx:pt idx="888">0</cx:pt>
          <cx:pt idx="889">0</cx:pt>
          <cx:pt idx="890">0</cx:pt>
          <cx:pt idx="891">0</cx:pt>
          <cx:pt idx="892">0</cx:pt>
          <cx:pt idx="893">0</cx:pt>
          <cx:pt idx="894">0</cx:pt>
          <cx:pt idx="895">0</cx:pt>
          <cx:pt idx="896">0</cx:pt>
          <cx:pt idx="897">0</cx:pt>
          <cx:pt idx="898">0</cx:pt>
          <cx:pt idx="899">0</cx:pt>
          <cx:pt idx="900">0</cx:pt>
          <cx:pt idx="901">0</cx:pt>
          <cx:pt idx="902">0</cx:pt>
          <cx:pt idx="903">0</cx:pt>
          <cx:pt idx="904">0</cx:pt>
          <cx:pt idx="905">0</cx:pt>
          <cx:pt idx="906">0</cx:pt>
          <cx:pt idx="907">0</cx:pt>
          <cx:pt idx="908">0</cx:pt>
          <cx:pt idx="909">0</cx:pt>
          <cx:pt idx="910">0</cx:pt>
          <cx:pt idx="911">0</cx:pt>
          <cx:pt idx="912">0</cx:pt>
          <cx:pt idx="913">0</cx:pt>
          <cx:pt idx="914">0</cx:pt>
          <cx:pt idx="915">0</cx:pt>
          <cx:pt idx="916">0</cx:pt>
          <cx:pt idx="917">0</cx:pt>
          <cx:pt idx="918">0</cx:pt>
          <cx:pt idx="919">0</cx:pt>
          <cx:pt idx="920">0</cx:pt>
          <cx:pt idx="921">0</cx:pt>
          <cx:pt idx="922">0</cx:pt>
          <cx:pt idx="923">0</cx:pt>
          <cx:pt idx="924">0</cx:pt>
          <cx:pt idx="925">0</cx:pt>
          <cx:pt idx="926">0</cx:pt>
          <cx:pt idx="927">0</cx:pt>
          <cx:pt idx="928">0</cx:pt>
          <cx:pt idx="929">0</cx:pt>
          <cx:pt idx="930">0</cx:pt>
          <cx:pt idx="931">0</cx:pt>
          <cx:pt idx="932">0</cx:pt>
          <cx:pt idx="933">0</cx:pt>
          <cx:pt idx="934">0</cx:pt>
          <cx:pt idx="935">0</cx:pt>
          <cx:pt idx="936">0</cx:pt>
          <cx:pt idx="937">0</cx:pt>
          <cx:pt idx="938">0</cx:pt>
          <cx:pt idx="939">0</cx:pt>
          <cx:pt idx="940">0</cx:pt>
          <cx:pt idx="941">0</cx:pt>
          <cx:pt idx="942">0</cx:pt>
          <cx:pt idx="943">0</cx:pt>
          <cx:pt idx="944">0</cx:pt>
          <cx:pt idx="945">0</cx:pt>
          <cx:pt idx="946">0</cx:pt>
          <cx:pt idx="947">0</cx:pt>
          <cx:pt idx="948">0</cx:pt>
          <cx:pt idx="949">0</cx:pt>
          <cx:pt idx="950">0</cx:pt>
          <cx:pt idx="951">0</cx:pt>
          <cx:pt idx="952">0</cx:pt>
          <cx:pt idx="953">0</cx:pt>
          <cx:pt idx="954">0</cx:pt>
          <cx:pt idx="955">0</cx:pt>
          <cx:pt idx="956">0</cx:pt>
          <cx:pt idx="957">0</cx:pt>
          <cx:pt idx="958">0</cx:pt>
          <cx:pt idx="959">0</cx:pt>
          <cx:pt idx="960">0</cx:pt>
          <cx:pt idx="961">0</cx:pt>
          <cx:pt idx="962">0</cx:pt>
          <cx:pt idx="963">0</cx:pt>
          <cx:pt idx="964">0</cx:pt>
          <cx:pt idx="965">0</cx:pt>
          <cx:pt idx="966">0</cx:pt>
          <cx:pt idx="967">0</cx:pt>
          <cx:pt idx="968">0</cx:pt>
          <cx:pt idx="969">0</cx:pt>
          <cx:pt idx="970">0</cx:pt>
          <cx:pt idx="971">0</cx:pt>
          <cx:pt idx="972">0</cx:pt>
          <cx:pt idx="973">0</cx:pt>
          <cx:pt idx="974">0</cx:pt>
          <cx:pt idx="975">0</cx:pt>
          <cx:pt idx="976">0</cx:pt>
          <cx:pt idx="977">0</cx:pt>
          <cx:pt idx="978">0</cx:pt>
          <cx:pt idx="979">0</cx:pt>
          <cx:pt idx="980">0</cx:pt>
          <cx:pt idx="981">0</cx:pt>
          <cx:pt idx="982">0</cx:pt>
          <cx:pt idx="983">0</cx:pt>
          <cx:pt idx="984">0</cx:pt>
          <cx:pt idx="985">0</cx:pt>
          <cx:pt idx="986">0</cx:pt>
          <cx:pt idx="987">0</cx:pt>
          <cx:pt idx="988">0</cx:pt>
          <cx:pt idx="989">0</cx:pt>
          <cx:pt idx="990">0</cx:pt>
          <cx:pt idx="991">0</cx:pt>
          <cx:pt idx="992">0</cx:pt>
          <cx:pt idx="993">0</cx:pt>
          <cx:pt idx="994">0</cx:pt>
          <cx:pt idx="995">0</cx:pt>
          <cx:pt idx="996">0</cx:pt>
          <cx:pt idx="997">0</cx:pt>
          <cx:pt idx="998">0</cx:pt>
          <cx:pt idx="999">0</cx:pt>
          <cx:pt idx="1000">0</cx:pt>
          <cx:pt idx="1001">0</cx:pt>
          <cx:pt idx="1002">0</cx:pt>
          <cx:pt idx="1003">0</cx:pt>
          <cx:pt idx="1004">0</cx:pt>
          <cx:pt idx="1005">0</cx:pt>
          <cx:pt idx="1006">0</cx:pt>
          <cx:pt idx="1007">0</cx:pt>
          <cx:pt idx="1008">0</cx:pt>
          <cx:pt idx="1009">0</cx:pt>
          <cx:pt idx="1010">0</cx:pt>
          <cx:pt idx="1011">0</cx:pt>
          <cx:pt idx="1012">0</cx:pt>
          <cx:pt idx="1013">0</cx:pt>
          <cx:pt idx="1014">0</cx:pt>
          <cx:pt idx="1015">0</cx:pt>
          <cx:pt idx="1016">0</cx:pt>
          <cx:pt idx="1017">0</cx:pt>
          <cx:pt idx="1018">0</cx:pt>
          <cx:pt idx="1019">0</cx:pt>
          <cx:pt idx="1020">0</cx:pt>
          <cx:pt idx="1021">0</cx:pt>
          <cx:pt idx="1022">0</cx:pt>
          <cx:pt idx="1023">0</cx:pt>
          <cx:pt idx="1024">0</cx:pt>
          <cx:pt idx="1025">0</cx:pt>
          <cx:pt idx="1026">0</cx:pt>
          <cx:pt idx="1027">0</cx:pt>
          <cx:pt idx="1028">0</cx:pt>
          <cx:pt idx="1029">0</cx:pt>
          <cx:pt idx="1030">0</cx:pt>
          <cx:pt idx="1031">0</cx:pt>
          <cx:pt idx="1032">0</cx:pt>
          <cx:pt idx="1033">0</cx:pt>
          <cx:pt idx="1034">0</cx:pt>
          <cx:pt idx="1035">0</cx:pt>
          <cx:pt idx="1036">0</cx:pt>
          <cx:pt idx="1037">0</cx:pt>
          <cx:pt idx="1038">0</cx:pt>
          <cx:pt idx="1039">0</cx:pt>
          <cx:pt idx="1040">0</cx:pt>
          <cx:pt idx="1041">0</cx:pt>
          <cx:pt idx="1042">0</cx:pt>
          <cx:pt idx="1043">0</cx:pt>
          <cx:pt idx="1044">0</cx:pt>
          <cx:pt idx="1045">0</cx:pt>
          <cx:pt idx="1046">0</cx:pt>
          <cx:pt idx="1047">0</cx:pt>
          <cx:pt idx="1048">0</cx:pt>
          <cx:pt idx="1049">0</cx:pt>
          <cx:pt idx="1050">0</cx:pt>
          <cx:pt idx="1051">0</cx:pt>
          <cx:pt idx="1052">0</cx:pt>
          <cx:pt idx="1053">0</cx:pt>
          <cx:pt idx="1054">0</cx:pt>
          <cx:pt idx="1055">0</cx:pt>
          <cx:pt idx="1056">0</cx:pt>
          <cx:pt idx="1057">0</cx:pt>
          <cx:pt idx="1058">0</cx:pt>
          <cx:pt idx="1059">0</cx:pt>
          <cx:pt idx="1060">0</cx:pt>
          <cx:pt idx="1061">0</cx:pt>
          <cx:pt idx="1062">0</cx:pt>
          <cx:pt idx="1063">0</cx:pt>
          <cx:pt idx="1064">0</cx:pt>
          <cx:pt idx="1065">0</cx:pt>
          <cx:pt idx="1066">0</cx:pt>
          <cx:pt idx="1067">0</cx:pt>
          <cx:pt idx="1068">0</cx:pt>
          <cx:pt idx="1069">0</cx:pt>
          <cx:pt idx="1070">0</cx:pt>
          <cx:pt idx="1071">0</cx:pt>
          <cx:pt idx="1072">0</cx:pt>
          <cx:pt idx="1073">0</cx:pt>
          <cx:pt idx="1074">0</cx:pt>
          <cx:pt idx="1075">0</cx:pt>
          <cx:pt idx="1076">0</cx:pt>
          <cx:pt idx="1077">0</cx:pt>
          <cx:pt idx="1078">0</cx:pt>
          <cx:pt idx="1079">0</cx:pt>
          <cx:pt idx="1080">0</cx:pt>
          <cx:pt idx="1081">0</cx:pt>
          <cx:pt idx="1082">0</cx:pt>
          <cx:pt idx="1083">0</cx:pt>
          <cx:pt idx="1084">0</cx:pt>
          <cx:pt idx="1085">0</cx:pt>
          <cx:pt idx="1086">0</cx:pt>
          <cx:pt idx="1087">0</cx:pt>
          <cx:pt idx="1088">0</cx:pt>
          <cx:pt idx="1089">0</cx:pt>
          <cx:pt idx="1090">0</cx:pt>
          <cx:pt idx="1091">0</cx:pt>
          <cx:pt idx="1092">0</cx:pt>
          <cx:pt idx="1093">0</cx:pt>
          <cx:pt idx="1094">0</cx:pt>
          <cx:pt idx="1095">0</cx:pt>
          <cx:pt idx="1096">0</cx:pt>
          <cx:pt idx="1097">0</cx:pt>
          <cx:pt idx="1098">0</cx:pt>
          <cx:pt idx="1099">0</cx:pt>
          <cx:pt idx="1100">0</cx:pt>
          <cx:pt idx="1101">0</cx:pt>
          <cx:pt idx="1102">0</cx:pt>
          <cx:pt idx="1103">0</cx:pt>
          <cx:pt idx="1104">0</cx:pt>
          <cx:pt idx="1105">0</cx:pt>
          <cx:pt idx="1106">0</cx:pt>
          <cx:pt idx="1107">0</cx:pt>
          <cx:pt idx="1108">0</cx:pt>
          <cx:pt idx="1109">0</cx:pt>
          <cx:pt idx="1110">0</cx:pt>
          <cx:pt idx="1111">0</cx:pt>
          <cx:pt idx="1112">0</cx:pt>
          <cx:pt idx="1113">0</cx:pt>
          <cx:pt idx="1114">0</cx:pt>
          <cx:pt idx="1115">0</cx:pt>
          <cx:pt idx="1116">0</cx:pt>
          <cx:pt idx="1117">0</cx:pt>
          <cx:pt idx="1118">0</cx:pt>
          <cx:pt idx="1119">0</cx:pt>
          <cx:pt idx="1120">0</cx:pt>
          <cx:pt idx="1121">0</cx:pt>
          <cx:pt idx="1122">0</cx:pt>
          <cx:pt idx="1123">0</cx:pt>
          <cx:pt idx="1124">0</cx:pt>
          <cx:pt idx="1125">0</cx:pt>
          <cx:pt idx="1126">0</cx:pt>
          <cx:pt idx="1127">0</cx:pt>
          <cx:pt idx="1128">0</cx:pt>
          <cx:pt idx="1129">0</cx:pt>
          <cx:pt idx="1130">0</cx:pt>
          <cx:pt idx="1131">0</cx:pt>
          <cx:pt idx="1132">0</cx:pt>
          <cx:pt idx="1133">0</cx:pt>
          <cx:pt idx="1134">0</cx:pt>
          <cx:pt idx="1135">0</cx:pt>
          <cx:pt idx="1136">0</cx:pt>
          <cx:pt idx="1137">0</cx:pt>
          <cx:pt idx="1138">0</cx:pt>
          <cx:pt idx="1139">0</cx:pt>
          <cx:pt idx="1140">0</cx:pt>
          <cx:pt idx="1141">0</cx:pt>
          <cx:pt idx="1142">0</cx:pt>
          <cx:pt idx="1143">0</cx:pt>
          <cx:pt idx="1144">0</cx:pt>
          <cx:pt idx="1145">0</cx:pt>
          <cx:pt idx="1146">0</cx:pt>
          <cx:pt idx="1147">0</cx:pt>
          <cx:pt idx="1148">0</cx:pt>
          <cx:pt idx="1149">0</cx:pt>
          <cx:pt idx="1150">0</cx:pt>
          <cx:pt idx="1151">0</cx:pt>
          <cx:pt idx="1152">0</cx:pt>
          <cx:pt idx="1153">0</cx:pt>
          <cx:pt idx="1154">0</cx:pt>
          <cx:pt idx="1155">0</cx:pt>
          <cx:pt idx="1156">0</cx:pt>
          <cx:pt idx="1157">0</cx:pt>
          <cx:pt idx="1158">0</cx:pt>
          <cx:pt idx="1159">0</cx:pt>
          <cx:pt idx="1160">0</cx:pt>
          <cx:pt idx="1161">0</cx:pt>
          <cx:pt idx="1162">0</cx:pt>
          <cx:pt idx="1163">0</cx:pt>
          <cx:pt idx="1164">0</cx:pt>
          <cx:pt idx="1165">0</cx:pt>
          <cx:pt idx="1166">0</cx:pt>
          <cx:pt idx="1167">0</cx:pt>
          <cx:pt idx="1168">0</cx:pt>
          <cx:pt idx="1169">0</cx:pt>
          <cx:pt idx="1170">0</cx:pt>
          <cx:pt idx="1171">0</cx:pt>
          <cx:pt idx="1172">0</cx:pt>
          <cx:pt idx="1173">0</cx:pt>
          <cx:pt idx="1174">0</cx:pt>
          <cx:pt idx="1175">0</cx:pt>
          <cx:pt idx="1176">0</cx:pt>
          <cx:pt idx="1177">0</cx:pt>
          <cx:pt idx="1178">0</cx:pt>
          <cx:pt idx="1179">0</cx:pt>
          <cx:pt idx="1180">0</cx:pt>
          <cx:pt idx="1181">0</cx:pt>
          <cx:pt idx="1182">0</cx:pt>
          <cx:pt idx="1183">0</cx:pt>
          <cx:pt idx="1184">0</cx:pt>
          <cx:pt idx="1185">0</cx:pt>
          <cx:pt idx="1186">0</cx:pt>
          <cx:pt idx="1187">0</cx:pt>
          <cx:pt idx="1188">0</cx:pt>
          <cx:pt idx="1189">0</cx:pt>
          <cx:pt idx="1190">0</cx:pt>
          <cx:pt idx="1191">0</cx:pt>
          <cx:pt idx="1192">0</cx:pt>
          <cx:pt idx="1193">0</cx:pt>
          <cx:pt idx="1194">0</cx:pt>
          <cx:pt idx="1195">0</cx:pt>
          <cx:pt idx="1196">0</cx:pt>
          <cx:pt idx="1197">0</cx:pt>
          <cx:pt idx="1198">0</cx:pt>
          <cx:pt idx="1199">0</cx:pt>
          <cx:pt idx="1200">0</cx:pt>
          <cx:pt idx="1201">0</cx:pt>
          <cx:pt idx="1202">0</cx:pt>
          <cx:pt idx="1203">0</cx:pt>
          <cx:pt idx="1204">0</cx:pt>
          <cx:pt idx="1205">0</cx:pt>
          <cx:pt idx="1206">0</cx:pt>
          <cx:pt idx="1207">0</cx:pt>
          <cx:pt idx="1208">0</cx:pt>
          <cx:pt idx="1209">0</cx:pt>
          <cx:pt idx="1210">0</cx:pt>
          <cx:pt idx="1211">0</cx:pt>
          <cx:pt idx="1212">0</cx:pt>
          <cx:pt idx="1213">0</cx:pt>
          <cx:pt idx="1214">0</cx:pt>
          <cx:pt idx="1215">0</cx:pt>
          <cx:pt idx="1216">0</cx:pt>
          <cx:pt idx="1217">0</cx:pt>
          <cx:pt idx="1218">0</cx:pt>
          <cx:pt idx="1219">0</cx:pt>
          <cx:pt idx="1220">0</cx:pt>
          <cx:pt idx="1221">0</cx:pt>
          <cx:pt idx="1222">0</cx:pt>
          <cx:pt idx="1223">0</cx:pt>
          <cx:pt idx="1224">0</cx:pt>
          <cx:pt idx="1225">0</cx:pt>
          <cx:pt idx="1226">0</cx:pt>
          <cx:pt idx="1227">0</cx:pt>
          <cx:pt idx="1228">0</cx:pt>
          <cx:pt idx="1229">0</cx:pt>
          <cx:pt idx="1230">0</cx:pt>
          <cx:pt idx="1231">0</cx:pt>
          <cx:pt idx="1232">0</cx:pt>
          <cx:pt idx="1233">0</cx:pt>
          <cx:pt idx="1234">0</cx:pt>
          <cx:pt idx="1235">0</cx:pt>
          <cx:pt idx="1236">0</cx:pt>
          <cx:pt idx="1237">0</cx:pt>
          <cx:pt idx="1238">0</cx:pt>
          <cx:pt idx="1239">0</cx:pt>
          <cx:pt idx="1240">0</cx:pt>
          <cx:pt idx="1241">0</cx:pt>
          <cx:pt idx="1242">0</cx:pt>
          <cx:pt idx="1243">0</cx:pt>
          <cx:pt idx="1244">0</cx:pt>
          <cx:pt idx="1245">0</cx:pt>
          <cx:pt idx="1246">0</cx:pt>
          <cx:pt idx="1247">0</cx:pt>
          <cx:pt idx="1248">0</cx:pt>
          <cx:pt idx="1249">0</cx:pt>
          <cx:pt idx="1250">0</cx:pt>
          <cx:pt idx="1251">0</cx:pt>
          <cx:pt idx="1252">0</cx:pt>
          <cx:pt idx="1253">0</cx:pt>
          <cx:pt idx="1254">0</cx:pt>
          <cx:pt idx="1255">0</cx:pt>
          <cx:pt idx="1256">0</cx:pt>
          <cx:pt idx="1257">0</cx:pt>
          <cx:pt idx="1258">0</cx:pt>
          <cx:pt idx="1259">0</cx:pt>
          <cx:pt idx="1260">0</cx:pt>
          <cx:pt idx="1261">0</cx:pt>
          <cx:pt idx="1262">0</cx:pt>
          <cx:pt idx="1263">0</cx:pt>
          <cx:pt idx="1264">0</cx:pt>
          <cx:pt idx="1265">0</cx:pt>
          <cx:pt idx="1266">0</cx:pt>
          <cx:pt idx="1267">0</cx:pt>
          <cx:pt idx="1268">0</cx:pt>
          <cx:pt idx="1269">0</cx:pt>
          <cx:pt idx="1270">0</cx:pt>
          <cx:pt idx="1271">0</cx:pt>
          <cx:pt idx="1272">0</cx:pt>
          <cx:pt idx="1273">0</cx:pt>
          <cx:pt idx="1274">0</cx:pt>
          <cx:pt idx="1275">0</cx:pt>
          <cx:pt idx="1276">0</cx:pt>
          <cx:pt idx="1277">0</cx:pt>
          <cx:pt idx="1278">0</cx:pt>
          <cx:pt idx="1279">0</cx:pt>
          <cx:pt idx="1280">0</cx:pt>
          <cx:pt idx="1281">0</cx:pt>
          <cx:pt idx="1282">0</cx:pt>
          <cx:pt idx="1283">0</cx:pt>
          <cx:pt idx="1284">0</cx:pt>
          <cx:pt idx="1285">0</cx:pt>
          <cx:pt idx="1286">0</cx:pt>
          <cx:pt idx="1287">0</cx:pt>
          <cx:pt idx="1288">0</cx:pt>
          <cx:pt idx="1289">0</cx:pt>
          <cx:pt idx="1290">0</cx:pt>
          <cx:pt idx="1291">0</cx:pt>
          <cx:pt idx="1292">0</cx:pt>
          <cx:pt idx="1293">0</cx:pt>
          <cx:pt idx="1294">0</cx:pt>
          <cx:pt idx="1295">0</cx:pt>
          <cx:pt idx="1296">0</cx:pt>
          <cx:pt idx="1297">0</cx:pt>
          <cx:pt idx="1298">0</cx:pt>
          <cx:pt idx="1299">0</cx:pt>
          <cx:pt idx="1300">0</cx:pt>
          <cx:pt idx="1301">0</cx:pt>
          <cx:pt idx="1302">0</cx:pt>
          <cx:pt idx="1303">0</cx:pt>
          <cx:pt idx="1304">0</cx:pt>
          <cx:pt idx="1305">0</cx:pt>
          <cx:pt idx="1306">0</cx:pt>
          <cx:pt idx="1307">0</cx:pt>
          <cx:pt idx="1308">0</cx:pt>
          <cx:pt idx="1309">0</cx:pt>
          <cx:pt idx="1310">0</cx:pt>
          <cx:pt idx="1311">0</cx:pt>
          <cx:pt idx="1312">0</cx:pt>
          <cx:pt idx="1313">0</cx:pt>
          <cx:pt idx="1314">0</cx:pt>
          <cx:pt idx="1315">0</cx:pt>
          <cx:pt idx="1316">0</cx:pt>
          <cx:pt idx="1317">0</cx:pt>
          <cx:pt idx="1318">0</cx:pt>
          <cx:pt idx="1319">0</cx:pt>
          <cx:pt idx="1320">0</cx:pt>
          <cx:pt idx="1321">0</cx:pt>
          <cx:pt idx="1322">0</cx:pt>
          <cx:pt idx="1323">0</cx:pt>
          <cx:pt idx="1324">0</cx:pt>
          <cx:pt idx="1325">0</cx:pt>
          <cx:pt idx="1326">0</cx:pt>
          <cx:pt idx="1327">0</cx:pt>
          <cx:pt idx="1328">0</cx:pt>
          <cx:pt idx="1329">0</cx:pt>
          <cx:pt idx="1330">0</cx:pt>
          <cx:pt idx="1331">0</cx:pt>
          <cx:pt idx="1332">0</cx:pt>
          <cx:pt idx="1333">0</cx:pt>
          <cx:pt idx="1334">0</cx:pt>
          <cx:pt idx="1335">0</cx:pt>
          <cx:pt idx="1336">0</cx:pt>
          <cx:pt idx="1337">0</cx:pt>
          <cx:pt idx="1338">0</cx:pt>
          <cx:pt idx="1339">0</cx:pt>
          <cx:pt idx="1340">0</cx:pt>
          <cx:pt idx="1341">0</cx:pt>
          <cx:pt idx="1342">0</cx:pt>
          <cx:pt idx="1343">0</cx:pt>
          <cx:pt idx="1344">0</cx:pt>
          <cx:pt idx="1345">0</cx:pt>
          <cx:pt idx="1346">0</cx:pt>
          <cx:pt idx="1347">0</cx:pt>
          <cx:pt idx="1348">0</cx:pt>
          <cx:pt idx="1349">0</cx:pt>
          <cx:pt idx="1350">0</cx:pt>
          <cx:pt idx="1351">0</cx:pt>
          <cx:pt idx="1352">0</cx:pt>
          <cx:pt idx="1353">0</cx:pt>
          <cx:pt idx="1354">0</cx:pt>
          <cx:pt idx="1355">0</cx:pt>
          <cx:pt idx="1356">0</cx:pt>
          <cx:pt idx="1357">0</cx:pt>
          <cx:pt idx="1358">0</cx:pt>
          <cx:pt idx="1359">0</cx:pt>
          <cx:pt idx="1360">0</cx:pt>
          <cx:pt idx="1361">0</cx:pt>
          <cx:pt idx="1362">0</cx:pt>
          <cx:pt idx="1363">0</cx:pt>
          <cx:pt idx="1364">0</cx:pt>
          <cx:pt idx="1365">0</cx:pt>
          <cx:pt idx="1366">0</cx:pt>
          <cx:pt idx="1367">0</cx:pt>
          <cx:pt idx="1368">0</cx:pt>
          <cx:pt idx="1369">0</cx:pt>
          <cx:pt idx="1370">0</cx:pt>
          <cx:pt idx="1371">0</cx:pt>
          <cx:pt idx="1372">0</cx:pt>
          <cx:pt idx="1373">0</cx:pt>
          <cx:pt idx="1374">0</cx:pt>
          <cx:pt idx="1375">0</cx:pt>
          <cx:pt idx="1376">0</cx:pt>
          <cx:pt idx="1377">0</cx:pt>
          <cx:pt idx="1378">0</cx:pt>
          <cx:pt idx="1379">0</cx:pt>
          <cx:pt idx="1380">0</cx:pt>
          <cx:pt idx="1381">0</cx:pt>
          <cx:pt idx="1382">0</cx:pt>
          <cx:pt idx="1383">0</cx:pt>
          <cx:pt idx="1384">0</cx:pt>
          <cx:pt idx="1385">0</cx:pt>
          <cx:pt idx="1386">0</cx:pt>
          <cx:pt idx="1387">0</cx:pt>
          <cx:pt idx="1388">0</cx:pt>
          <cx:pt idx="1389">0</cx:pt>
          <cx:pt idx="1390">0</cx:pt>
          <cx:pt idx="1391">0</cx:pt>
          <cx:pt idx="1392">0</cx:pt>
          <cx:pt idx="1393">0</cx:pt>
          <cx:pt idx="1394">0</cx:pt>
          <cx:pt idx="1395">0</cx:pt>
          <cx:pt idx="1396">0</cx:pt>
          <cx:pt idx="1397">0</cx:pt>
          <cx:pt idx="1398">0</cx:pt>
          <cx:pt idx="1399">0</cx:pt>
          <cx:pt idx="1400">0</cx:pt>
          <cx:pt idx="1401">0</cx:pt>
          <cx:pt idx="1402">0</cx:pt>
          <cx:pt idx="1403">0</cx:pt>
          <cx:pt idx="1404">0</cx:pt>
          <cx:pt idx="1405">0</cx:pt>
          <cx:pt idx="1406">0</cx:pt>
          <cx:pt idx="1407">0</cx:pt>
          <cx:pt idx="1408">0</cx:pt>
          <cx:pt idx="1409">0</cx:pt>
          <cx:pt idx="1410">0</cx:pt>
          <cx:pt idx="1411">0</cx:pt>
          <cx:pt idx="1412">0</cx:pt>
          <cx:pt idx="1413">0</cx:pt>
          <cx:pt idx="1414">0</cx:pt>
          <cx:pt idx="1415">0</cx:pt>
          <cx:pt idx="1416">0</cx:pt>
          <cx:pt idx="1417">0</cx:pt>
          <cx:pt idx="1418">0</cx:pt>
          <cx:pt idx="1419">0</cx:pt>
          <cx:pt idx="1420">0</cx:pt>
          <cx:pt idx="1421">0</cx:pt>
          <cx:pt idx="1422">0</cx:pt>
          <cx:pt idx="1423">0</cx:pt>
          <cx:pt idx="1424">0</cx:pt>
          <cx:pt idx="1425">0</cx:pt>
          <cx:pt idx="1426">0</cx:pt>
          <cx:pt idx="1427">0</cx:pt>
          <cx:pt idx="1428">0</cx:pt>
          <cx:pt idx="1429">0</cx:pt>
          <cx:pt idx="1430">0</cx:pt>
          <cx:pt idx="1431">0</cx:pt>
          <cx:pt idx="1432">0</cx:pt>
          <cx:pt idx="1433">0</cx:pt>
          <cx:pt idx="1434">0</cx:pt>
          <cx:pt idx="1435">0</cx:pt>
          <cx:pt idx="1436">0</cx:pt>
          <cx:pt idx="1437">0</cx:pt>
          <cx:pt idx="1438">0</cx:pt>
          <cx:pt idx="1439">0</cx:pt>
          <cx:pt idx="1440">0</cx:pt>
          <cx:pt idx="1441">0</cx:pt>
          <cx:pt idx="1442">0</cx:pt>
          <cx:pt idx="1443">0</cx:pt>
          <cx:pt idx="1444">0</cx:pt>
          <cx:pt idx="1445">0</cx:pt>
          <cx:pt idx="1446">0</cx:pt>
          <cx:pt idx="1447">0</cx:pt>
          <cx:pt idx="1448">0</cx:pt>
          <cx:pt idx="1449">0</cx:pt>
          <cx:pt idx="1450">0</cx:pt>
          <cx:pt idx="1451">0</cx:pt>
          <cx:pt idx="1452">0</cx:pt>
          <cx:pt idx="1453">0</cx:pt>
          <cx:pt idx="1454">0</cx:pt>
          <cx:pt idx="1455">0</cx:pt>
          <cx:pt idx="1456">0</cx:pt>
          <cx:pt idx="1457">0</cx:pt>
          <cx:pt idx="1458">0</cx:pt>
          <cx:pt idx="1459">0</cx:pt>
          <cx:pt idx="1460">0</cx:pt>
          <cx:pt idx="1461">0</cx:pt>
          <cx:pt idx="1462">0</cx:pt>
          <cx:pt idx="1463">0</cx:pt>
          <cx:pt idx="1464">0</cx:pt>
          <cx:pt idx="1465">0</cx:pt>
          <cx:pt idx="1466">0</cx:pt>
          <cx:pt idx="1467">0</cx:pt>
          <cx:pt idx="1468">0</cx:pt>
          <cx:pt idx="1469">0</cx:pt>
          <cx:pt idx="1470">0</cx:pt>
          <cx:pt idx="1471">0</cx:pt>
          <cx:pt idx="1472">0</cx:pt>
          <cx:pt idx="1473">0</cx:pt>
          <cx:pt idx="1474">0</cx:pt>
          <cx:pt idx="1475">0</cx:pt>
          <cx:pt idx="1476">0</cx:pt>
          <cx:pt idx="1477">0</cx:pt>
          <cx:pt idx="1478">0</cx:pt>
          <cx:pt idx="1479">0</cx:pt>
          <cx:pt idx="1480">0</cx:pt>
          <cx:pt idx="1481">0</cx:pt>
          <cx:pt idx="1482">0</cx:pt>
          <cx:pt idx="1483">0</cx:pt>
          <cx:pt idx="1484">0</cx:pt>
          <cx:pt idx="1485">0</cx:pt>
          <cx:pt idx="1486">0</cx:pt>
          <cx:pt idx="1487">0</cx:pt>
          <cx:pt idx="1488">0</cx:pt>
          <cx:pt idx="1489">0</cx:pt>
          <cx:pt idx="1490">0</cx:pt>
          <cx:pt idx="1491">0</cx:pt>
          <cx:pt idx="1492">0</cx:pt>
          <cx:pt idx="1493">0</cx:pt>
          <cx:pt idx="1494">0</cx:pt>
          <cx:pt idx="1495">0</cx:pt>
          <cx:pt idx="1496">0</cx:pt>
          <cx:pt idx="1497">0</cx:pt>
          <cx:pt idx="1498">0</cx:pt>
          <cx:pt idx="1499">0</cx:pt>
          <cx:pt idx="1500">0</cx:pt>
          <cx:pt idx="1501">0</cx:pt>
          <cx:pt idx="1502">0</cx:pt>
          <cx:pt idx="1503">0</cx:pt>
          <cx:pt idx="1504">0</cx:pt>
          <cx:pt idx="1505">0</cx:pt>
          <cx:pt idx="1506">0</cx:pt>
          <cx:pt idx="1507">0</cx:pt>
          <cx:pt idx="1508">0</cx:pt>
          <cx:pt idx="1509">0</cx:pt>
          <cx:pt idx="1510">0</cx:pt>
          <cx:pt idx="1511">0</cx:pt>
          <cx:pt idx="1512">0</cx:pt>
          <cx:pt idx="1513">0</cx:pt>
          <cx:pt idx="1514">0</cx:pt>
          <cx:pt idx="1515">0</cx:pt>
          <cx:pt idx="1516">0</cx:pt>
          <cx:pt idx="1517">0</cx:pt>
          <cx:pt idx="1518">0</cx:pt>
          <cx:pt idx="1519">0</cx:pt>
          <cx:pt idx="1520">0</cx:pt>
          <cx:pt idx="1521">0</cx:pt>
          <cx:pt idx="1522">0</cx:pt>
          <cx:pt idx="1523">0</cx:pt>
          <cx:pt idx="1524">0</cx:pt>
          <cx:pt idx="1525">0</cx:pt>
          <cx:pt idx="1526">0</cx:pt>
          <cx:pt idx="1527">0</cx:pt>
          <cx:pt idx="1528">0</cx:pt>
          <cx:pt idx="1529">0</cx:pt>
          <cx:pt idx="1530">0</cx:pt>
          <cx:pt idx="1531">0</cx:pt>
          <cx:pt idx="1532">0</cx:pt>
          <cx:pt idx="1533">0</cx:pt>
          <cx:pt idx="1534">0</cx:pt>
          <cx:pt idx="1535">0</cx:pt>
          <cx:pt idx="1536">0</cx:pt>
          <cx:pt idx="1537">0</cx:pt>
          <cx:pt idx="1538">0</cx:pt>
          <cx:pt idx="1539">0</cx:pt>
          <cx:pt idx="1540">0</cx:pt>
          <cx:pt idx="1541">0</cx:pt>
          <cx:pt idx="1542">0</cx:pt>
          <cx:pt idx="1543">0</cx:pt>
          <cx:pt idx="1544">0</cx:pt>
          <cx:pt idx="1545">0</cx:pt>
          <cx:pt idx="1546">0</cx:pt>
          <cx:pt idx="1547">0</cx:pt>
          <cx:pt idx="1548">0</cx:pt>
          <cx:pt idx="1549">0</cx:pt>
          <cx:pt idx="1550">0</cx:pt>
          <cx:pt idx="1551">0</cx:pt>
          <cx:pt idx="1552">0</cx:pt>
          <cx:pt idx="1553">0</cx:pt>
          <cx:pt idx="1554">0</cx:pt>
          <cx:pt idx="1555">0</cx:pt>
          <cx:pt idx="1556">0</cx:pt>
          <cx:pt idx="1557">0</cx:pt>
          <cx:pt idx="1558">0</cx:pt>
          <cx:pt idx="1559">0</cx:pt>
          <cx:pt idx="1560">0</cx:pt>
          <cx:pt idx="1561">0</cx:pt>
          <cx:pt idx="1562">0</cx:pt>
          <cx:pt idx="1563">0</cx:pt>
          <cx:pt idx="1564">0</cx:pt>
          <cx:pt idx="1565">0</cx:pt>
          <cx:pt idx="1566">0</cx:pt>
          <cx:pt idx="1567">0</cx:pt>
          <cx:pt idx="1568">0</cx:pt>
          <cx:pt idx="1569">0</cx:pt>
          <cx:pt idx="1570">0</cx:pt>
          <cx:pt idx="1571">0</cx:pt>
          <cx:pt idx="1572">0</cx:pt>
          <cx:pt idx="1573">0</cx:pt>
          <cx:pt idx="1574">0</cx:pt>
          <cx:pt idx="1575">0</cx:pt>
          <cx:pt idx="1576">0</cx:pt>
          <cx:pt idx="1577">0</cx:pt>
          <cx:pt idx="1578">0</cx:pt>
          <cx:pt idx="1579">0</cx:pt>
          <cx:pt idx="1580">0</cx:pt>
          <cx:pt idx="1581">0</cx:pt>
          <cx:pt idx="1582">0</cx:pt>
          <cx:pt idx="1583">0</cx:pt>
          <cx:pt idx="1584">0</cx:pt>
          <cx:pt idx="1585">0</cx:pt>
          <cx:pt idx="1586">0</cx:pt>
          <cx:pt idx="1587">0</cx:pt>
          <cx:pt idx="1588">0</cx:pt>
          <cx:pt idx="1589">0</cx:pt>
          <cx:pt idx="1590">0</cx:pt>
          <cx:pt idx="1591">0</cx:pt>
          <cx:pt idx="1592">0</cx:pt>
          <cx:pt idx="1593">0</cx:pt>
          <cx:pt idx="1594">0</cx:pt>
          <cx:pt idx="1595">0</cx:pt>
          <cx:pt idx="1596">0</cx:pt>
          <cx:pt idx="1597">0</cx:pt>
          <cx:pt idx="1598">0</cx:pt>
          <cx:pt idx="1599">0</cx:pt>
          <cx:pt idx="1600">0</cx:pt>
          <cx:pt idx="1601">0</cx:pt>
          <cx:pt idx="1602">0</cx:pt>
          <cx:pt idx="1603">0</cx:pt>
          <cx:pt idx="1604">0</cx:pt>
          <cx:pt idx="1605">0</cx:pt>
          <cx:pt idx="1606">0</cx:pt>
          <cx:pt idx="1607">0</cx:pt>
          <cx:pt idx="1608">0</cx:pt>
          <cx:pt idx="1609">0</cx:pt>
          <cx:pt idx="1610">0</cx:pt>
          <cx:pt idx="1611">0</cx:pt>
          <cx:pt idx="1612">0</cx:pt>
          <cx:pt idx="1613">0</cx:pt>
          <cx:pt idx="1614">0</cx:pt>
          <cx:pt idx="1615">0</cx:pt>
          <cx:pt idx="1616">0</cx:pt>
          <cx:pt idx="1617">0</cx:pt>
          <cx:pt idx="1618">0</cx:pt>
          <cx:pt idx="1619">0</cx:pt>
          <cx:pt idx="1620">0</cx:pt>
          <cx:pt idx="1621">0</cx:pt>
          <cx:pt idx="1622">0</cx:pt>
          <cx:pt idx="1623">0</cx:pt>
          <cx:pt idx="1624">0</cx:pt>
          <cx:pt idx="1625">0</cx:pt>
          <cx:pt idx="1626">0</cx:pt>
          <cx:pt idx="1627">0</cx:pt>
          <cx:pt idx="1628">0</cx:pt>
          <cx:pt idx="1629">0</cx:pt>
          <cx:pt idx="1630">0</cx:pt>
          <cx:pt idx="1631">0</cx:pt>
          <cx:pt idx="1632">0</cx:pt>
          <cx:pt idx="1633">0</cx:pt>
          <cx:pt idx="1634">0</cx:pt>
          <cx:pt idx="1635">0</cx:pt>
          <cx:pt idx="1636">0</cx:pt>
          <cx:pt idx="1637">0</cx:pt>
          <cx:pt idx="1638">0</cx:pt>
          <cx:pt idx="1639">0</cx:pt>
          <cx:pt idx="1640">0</cx:pt>
          <cx:pt idx="1641">0</cx:pt>
          <cx:pt idx="1642">0</cx:pt>
          <cx:pt idx="1643">0</cx:pt>
          <cx:pt idx="1644">0</cx:pt>
          <cx:pt idx="1645">0</cx:pt>
          <cx:pt idx="1646">0</cx:pt>
          <cx:pt idx="1647">0</cx:pt>
          <cx:pt idx="1648">0</cx:pt>
          <cx:pt idx="1649">0</cx:pt>
          <cx:pt idx="1650">0</cx:pt>
          <cx:pt idx="1651">0</cx:pt>
          <cx:pt idx="1652">0</cx:pt>
          <cx:pt idx="1653">0</cx:pt>
          <cx:pt idx="1654">0</cx:pt>
          <cx:pt idx="1655">0</cx:pt>
          <cx:pt idx="1656">0</cx:pt>
          <cx:pt idx="1657">0</cx:pt>
          <cx:pt idx="1658">0</cx:pt>
          <cx:pt idx="1659">0</cx:pt>
          <cx:pt idx="1660">0</cx:pt>
          <cx:pt idx="1661">0</cx:pt>
          <cx:pt idx="1662">0</cx:pt>
          <cx:pt idx="1663">0</cx:pt>
          <cx:pt idx="1664">0</cx:pt>
          <cx:pt idx="1665">0</cx:pt>
          <cx:pt idx="1666">0</cx:pt>
          <cx:pt idx="1667">0</cx:pt>
          <cx:pt idx="1668">0</cx:pt>
          <cx:pt idx="1669">0</cx:pt>
          <cx:pt idx="1670">0</cx:pt>
          <cx:pt idx="1671">0</cx:pt>
          <cx:pt idx="1672">0</cx:pt>
          <cx:pt idx="1673">0</cx:pt>
          <cx:pt idx="1674">0</cx:pt>
          <cx:pt idx="1675">0</cx:pt>
          <cx:pt idx="1676">0</cx:pt>
          <cx:pt idx="1677">0</cx:pt>
          <cx:pt idx="1678">0</cx:pt>
          <cx:pt idx="1679">0</cx:pt>
          <cx:pt idx="1680">0</cx:pt>
          <cx:pt idx="1681">0</cx:pt>
          <cx:pt idx="1682">0</cx:pt>
          <cx:pt idx="1683">0</cx:pt>
          <cx:pt idx="1684">0</cx:pt>
          <cx:pt idx="1685">0</cx:pt>
          <cx:pt idx="1686">0</cx:pt>
          <cx:pt idx="1687">0</cx:pt>
          <cx:pt idx="1688">0</cx:pt>
          <cx:pt idx="1689">0</cx:pt>
          <cx:pt idx="1690">0</cx:pt>
          <cx:pt idx="1691">0</cx:pt>
          <cx:pt idx="1692">0</cx:pt>
          <cx:pt idx="1693">0</cx:pt>
          <cx:pt idx="1694">0</cx:pt>
          <cx:pt idx="1695">0</cx:pt>
          <cx:pt idx="1696">0</cx:pt>
          <cx:pt idx="1697">0</cx:pt>
          <cx:pt idx="1698">0</cx:pt>
          <cx:pt idx="1699">0</cx:pt>
          <cx:pt idx="1700">0</cx:pt>
          <cx:pt idx="1701">0</cx:pt>
          <cx:pt idx="1702">0</cx:pt>
          <cx:pt idx="1703">0</cx:pt>
          <cx:pt idx="1704">0</cx:pt>
          <cx:pt idx="1705">0</cx:pt>
          <cx:pt idx="1706">0</cx:pt>
          <cx:pt idx="1707">0</cx:pt>
          <cx:pt idx="1708">0</cx:pt>
          <cx:pt idx="1709">0</cx:pt>
          <cx:pt idx="1710">0</cx:pt>
          <cx:pt idx="1711">0</cx:pt>
          <cx:pt idx="1712">0</cx:pt>
          <cx:pt idx="1713">0</cx:pt>
          <cx:pt idx="1714">0</cx:pt>
          <cx:pt idx="1715">0</cx:pt>
          <cx:pt idx="1716">0</cx:pt>
          <cx:pt idx="1717">0</cx:pt>
          <cx:pt idx="1718">0</cx:pt>
          <cx:pt idx="1719">0</cx:pt>
          <cx:pt idx="1720">0</cx:pt>
          <cx:pt idx="1721">0</cx:pt>
          <cx:pt idx="1722">0</cx:pt>
          <cx:pt idx="1723">0</cx:pt>
          <cx:pt idx="1724">0</cx:pt>
          <cx:pt idx="1725">0</cx:pt>
          <cx:pt idx="1726">0</cx:pt>
          <cx:pt idx="1727">0</cx:pt>
          <cx:pt idx="1728">0</cx:pt>
          <cx:pt idx="1729">0</cx:pt>
          <cx:pt idx="1730">0</cx:pt>
          <cx:pt idx="1731">0</cx:pt>
          <cx:pt idx="1732">0</cx:pt>
          <cx:pt idx="1733">0</cx:pt>
          <cx:pt idx="1734">0</cx:pt>
          <cx:pt idx="1735">0</cx:pt>
          <cx:pt idx="1736">0</cx:pt>
          <cx:pt idx="1737">0</cx:pt>
          <cx:pt idx="1738">0</cx:pt>
          <cx:pt idx="1739">0</cx:pt>
          <cx:pt idx="1740">0</cx:pt>
          <cx:pt idx="1741">0</cx:pt>
          <cx:pt idx="1742">0</cx:pt>
          <cx:pt idx="1743">0</cx:pt>
          <cx:pt idx="1744">0</cx:pt>
          <cx:pt idx="1745">0</cx:pt>
          <cx:pt idx="1746">0</cx:pt>
          <cx:pt idx="1747">0</cx:pt>
          <cx:pt idx="1748">0</cx:pt>
          <cx:pt idx="1749">0</cx:pt>
          <cx:pt idx="1750">0</cx:pt>
          <cx:pt idx="1751">0</cx:pt>
          <cx:pt idx="1752">0</cx:pt>
          <cx:pt idx="1753">0</cx:pt>
          <cx:pt idx="1754">0</cx:pt>
          <cx:pt idx="1755">0</cx:pt>
          <cx:pt idx="1756">0</cx:pt>
          <cx:pt idx="1757">0</cx:pt>
          <cx:pt idx="1758">0</cx:pt>
          <cx:pt idx="1759">0</cx:pt>
          <cx:pt idx="1760">0</cx:pt>
          <cx:pt idx="1761">0</cx:pt>
          <cx:pt idx="1762">0</cx:pt>
          <cx:pt idx="1763">0</cx:pt>
          <cx:pt idx="1764">0</cx:pt>
          <cx:pt idx="1765">0</cx:pt>
          <cx:pt idx="1766">0</cx:pt>
          <cx:pt idx="1767">0</cx:pt>
          <cx:pt idx="1768">0</cx:pt>
          <cx:pt idx="1769">0</cx:pt>
          <cx:pt idx="1770">0</cx:pt>
          <cx:pt idx="1771">0</cx:pt>
          <cx:pt idx="1772">0</cx:pt>
          <cx:pt idx="1773">0</cx:pt>
          <cx:pt idx="1774">0</cx:pt>
          <cx:pt idx="1775">0</cx:pt>
          <cx:pt idx="1776">0</cx:pt>
          <cx:pt idx="1777">0</cx:pt>
          <cx:pt idx="1778">0</cx:pt>
          <cx:pt idx="1779">0</cx:pt>
          <cx:pt idx="1780">0</cx:pt>
          <cx:pt idx="1781">0</cx:pt>
          <cx:pt idx="1782">0</cx:pt>
          <cx:pt idx="1783">0</cx:pt>
          <cx:pt idx="1784">0</cx:pt>
          <cx:pt idx="1785">0</cx:pt>
          <cx:pt idx="1786">0</cx:pt>
          <cx:pt idx="1787">0</cx:pt>
          <cx:pt idx="1788">0</cx:pt>
          <cx:pt idx="1789">0</cx:pt>
          <cx:pt idx="1790">0</cx:pt>
          <cx:pt idx="1791">0</cx:pt>
          <cx:pt idx="1792">0</cx:pt>
          <cx:pt idx="1793">0</cx:pt>
          <cx:pt idx="1794">0</cx:pt>
          <cx:pt idx="1795">0</cx:pt>
          <cx:pt idx="1796">0</cx:pt>
          <cx:pt idx="1797">0</cx:pt>
          <cx:pt idx="1798">0</cx:pt>
          <cx:pt idx="1799">0</cx:pt>
          <cx:pt idx="1800">0</cx:pt>
          <cx:pt idx="1801">0</cx:pt>
          <cx:pt idx="1802">0</cx:pt>
          <cx:pt idx="1803">0</cx:pt>
          <cx:pt idx="1804">0</cx:pt>
          <cx:pt idx="1805">0</cx:pt>
          <cx:pt idx="1806">0</cx:pt>
          <cx:pt idx="1807">0</cx:pt>
          <cx:pt idx="1808">0</cx:pt>
          <cx:pt idx="1809">0</cx:pt>
          <cx:pt idx="1810">0</cx:pt>
          <cx:pt idx="1811">0</cx:pt>
          <cx:pt idx="1812">0</cx:pt>
          <cx:pt idx="1813">0</cx:pt>
          <cx:pt idx="1814">0</cx:pt>
          <cx:pt idx="1815">0</cx:pt>
          <cx:pt idx="1816">0</cx:pt>
          <cx:pt idx="1817">0</cx:pt>
          <cx:pt idx="1818">0</cx:pt>
          <cx:pt idx="1819">0</cx:pt>
          <cx:pt idx="1820">0</cx:pt>
          <cx:pt idx="1821">0</cx:pt>
          <cx:pt idx="1822">0</cx:pt>
          <cx:pt idx="1823">0</cx:pt>
          <cx:pt idx="1824">0</cx:pt>
          <cx:pt idx="1825">0</cx:pt>
          <cx:pt idx="1826">0</cx:pt>
          <cx:pt idx="1827">0</cx:pt>
          <cx:pt idx="1828">0</cx:pt>
          <cx:pt idx="1829">0</cx:pt>
          <cx:pt idx="1830">0</cx:pt>
          <cx:pt idx="1831">0</cx:pt>
          <cx:pt idx="1832">0</cx:pt>
          <cx:pt idx="1833">0</cx:pt>
          <cx:pt idx="1834">0</cx:pt>
          <cx:pt idx="1835">0</cx:pt>
          <cx:pt idx="1836">0</cx:pt>
          <cx:pt idx="1837">0</cx:pt>
          <cx:pt idx="1838">0</cx:pt>
          <cx:pt idx="1839">0</cx:pt>
          <cx:pt idx="1840">0</cx:pt>
          <cx:pt idx="1841">0</cx:pt>
          <cx:pt idx="1842">0</cx:pt>
          <cx:pt idx="1843">0</cx:pt>
          <cx:pt idx="1844">0</cx:pt>
          <cx:pt idx="1845">0</cx:pt>
          <cx:pt idx="1846">0</cx:pt>
          <cx:pt idx="1847">0</cx:pt>
          <cx:pt idx="1848">0</cx:pt>
          <cx:pt idx="1849">0</cx:pt>
          <cx:pt idx="1850">0</cx:pt>
          <cx:pt idx="1851">0</cx:pt>
          <cx:pt idx="1852">0</cx:pt>
          <cx:pt idx="1853">0</cx:pt>
          <cx:pt idx="1854">0</cx:pt>
          <cx:pt idx="1855">0</cx:pt>
          <cx:pt idx="1856">0</cx:pt>
          <cx:pt idx="1857">0</cx:pt>
          <cx:pt idx="1858">0</cx:pt>
          <cx:pt idx="1859">0</cx:pt>
          <cx:pt idx="1860">0</cx:pt>
          <cx:pt idx="1861">0</cx:pt>
          <cx:pt idx="1862">0</cx:pt>
          <cx:pt idx="1863">0</cx:pt>
          <cx:pt idx="1864">0</cx:pt>
          <cx:pt idx="1865">0</cx:pt>
          <cx:pt idx="1866">0</cx:pt>
          <cx:pt idx="1867">0</cx:pt>
          <cx:pt idx="1868">0</cx:pt>
          <cx:pt idx="1869">0</cx:pt>
          <cx:pt idx="1870">0</cx:pt>
          <cx:pt idx="1871">0</cx:pt>
          <cx:pt idx="1872">0</cx:pt>
          <cx:pt idx="1873">0</cx:pt>
          <cx:pt idx="1874">0</cx:pt>
          <cx:pt idx="1875">0</cx:pt>
          <cx:pt idx="1876">0</cx:pt>
          <cx:pt idx="1877">0</cx:pt>
          <cx:pt idx="1878">0</cx:pt>
          <cx:pt idx="1879">0</cx:pt>
          <cx:pt idx="1880">0</cx:pt>
          <cx:pt idx="1881">0</cx:pt>
          <cx:pt idx="1882">0</cx:pt>
          <cx:pt idx="1883">0</cx:pt>
          <cx:pt idx="1884">0</cx:pt>
          <cx:pt idx="1885">0</cx:pt>
          <cx:pt idx="1886">0</cx:pt>
          <cx:pt idx="1887">0</cx:pt>
          <cx:pt idx="1888">0</cx:pt>
          <cx:pt idx="1889">0</cx:pt>
          <cx:pt idx="1890">0</cx:pt>
          <cx:pt idx="1891">0</cx:pt>
          <cx:pt idx="1892">0</cx:pt>
          <cx:pt idx="1893">0</cx:pt>
          <cx:pt idx="1894">0</cx:pt>
          <cx:pt idx="1895">0</cx:pt>
          <cx:pt idx="1896">0</cx:pt>
          <cx:pt idx="1897">0</cx:pt>
          <cx:pt idx="1898">0</cx:pt>
          <cx:pt idx="1899">0</cx:pt>
          <cx:pt idx="1900">0</cx:pt>
          <cx:pt idx="1901">0</cx:pt>
          <cx:pt idx="1902">0</cx:pt>
          <cx:pt idx="1903">0</cx:pt>
          <cx:pt idx="1904">0</cx:pt>
          <cx:pt idx="1905">0</cx:pt>
          <cx:pt idx="1906">0</cx:pt>
          <cx:pt idx="1907">0</cx:pt>
          <cx:pt idx="1908">0</cx:pt>
          <cx:pt idx="1909">0</cx:pt>
          <cx:pt idx="1910">0</cx:pt>
          <cx:pt idx="1911">0</cx:pt>
          <cx:pt idx="1912">0</cx:pt>
          <cx:pt idx="1913">0</cx:pt>
          <cx:pt idx="1914">0</cx:pt>
          <cx:pt idx="1915">0</cx:pt>
          <cx:pt idx="1916">0</cx:pt>
          <cx:pt idx="1917">0</cx:pt>
          <cx:pt idx="1918">0</cx:pt>
          <cx:pt idx="1919">0</cx:pt>
          <cx:pt idx="1920">0</cx:pt>
          <cx:pt idx="1921">0</cx:pt>
          <cx:pt idx="1922">0</cx:pt>
          <cx:pt idx="1923">0</cx:pt>
          <cx:pt idx="1924">0</cx:pt>
          <cx:pt idx="1925">0</cx:pt>
          <cx:pt idx="1926">0</cx:pt>
          <cx:pt idx="1927">0</cx:pt>
          <cx:pt idx="1928">0</cx:pt>
          <cx:pt idx="1929">0</cx:pt>
          <cx:pt idx="1930">0</cx:pt>
          <cx:pt idx="1931">0</cx:pt>
          <cx:pt idx="1932">0</cx:pt>
          <cx:pt idx="1933">0</cx:pt>
          <cx:pt idx="1934">0</cx:pt>
          <cx:pt idx="1935">0</cx:pt>
          <cx:pt idx="1936">0</cx:pt>
          <cx:pt idx="1937">0</cx:pt>
          <cx:pt idx="1938">0</cx:pt>
          <cx:pt idx="1939">0</cx:pt>
          <cx:pt idx="1940">0</cx:pt>
          <cx:pt idx="1941">0</cx:pt>
          <cx:pt idx="1942">0</cx:pt>
          <cx:pt idx="1943">0</cx:pt>
          <cx:pt idx="1944">0</cx:pt>
          <cx:pt idx="1945">0</cx:pt>
          <cx:pt idx="1946">0</cx:pt>
          <cx:pt idx="1947">0</cx:pt>
          <cx:pt idx="1948">0</cx:pt>
          <cx:pt idx="1949">0</cx:pt>
          <cx:pt idx="1950">0</cx:pt>
          <cx:pt idx="1951">0</cx:pt>
          <cx:pt idx="1952">0</cx:pt>
          <cx:pt idx="1953">0</cx:pt>
          <cx:pt idx="1954">0</cx:pt>
          <cx:pt idx="1955">0</cx:pt>
          <cx:pt idx="1956">0</cx:pt>
          <cx:pt idx="1957">0</cx:pt>
          <cx:pt idx="1958">0</cx:pt>
          <cx:pt idx="1959">0</cx:pt>
          <cx:pt idx="1960">0</cx:pt>
          <cx:pt idx="1961">0</cx:pt>
          <cx:pt idx="1962">0</cx:pt>
          <cx:pt idx="1963">0</cx:pt>
          <cx:pt idx="1964">0</cx:pt>
          <cx:pt idx="1965">0</cx:pt>
          <cx:pt idx="1966">0</cx:pt>
          <cx:pt idx="1967">0</cx:pt>
          <cx:pt idx="1968">0</cx:pt>
          <cx:pt idx="1969">0</cx:pt>
          <cx:pt idx="1970">0</cx:pt>
          <cx:pt idx="1971">0</cx:pt>
          <cx:pt idx="1972">0</cx:pt>
          <cx:pt idx="1973">0</cx:pt>
          <cx:pt idx="1974">0</cx:pt>
          <cx:pt idx="1975">0</cx:pt>
          <cx:pt idx="1976">0</cx:pt>
          <cx:pt idx="1977">0</cx:pt>
          <cx:pt idx="1978">0</cx:pt>
          <cx:pt idx="1979">0</cx:pt>
          <cx:pt idx="1980">0</cx:pt>
          <cx:pt idx="1981">0</cx:pt>
          <cx:pt idx="1982">0</cx:pt>
          <cx:pt idx="1983">0</cx:pt>
          <cx:pt idx="1984">0</cx:pt>
          <cx:pt idx="1985">0</cx:pt>
          <cx:pt idx="1986">0</cx:pt>
          <cx:pt idx="1987">0</cx:pt>
          <cx:pt idx="1988">0</cx:pt>
          <cx:pt idx="1989">0</cx:pt>
          <cx:pt idx="1990">0</cx:pt>
          <cx:pt idx="1991">0</cx:pt>
          <cx:pt idx="1992">0</cx:pt>
          <cx:pt idx="1993">0</cx:pt>
          <cx:pt idx="1994">0</cx:pt>
          <cx:pt idx="1995">0</cx:pt>
          <cx:pt idx="1996">0</cx:pt>
          <cx:pt idx="1997">0</cx:pt>
          <cx:pt idx="1998">0</cx:pt>
          <cx:pt idx="1999">0</cx:pt>
          <cx:pt idx="2000">0</cx:pt>
          <cx:pt idx="2001">0</cx:pt>
          <cx:pt idx="2002">0</cx:pt>
          <cx:pt idx="2003">0</cx:pt>
          <cx:pt idx="2004">0</cx:pt>
          <cx:pt idx="2005">0</cx:pt>
          <cx:pt idx="2006">0</cx:pt>
          <cx:pt idx="2007">0</cx:pt>
          <cx:pt idx="2008">0</cx:pt>
          <cx:pt idx="2009">0</cx:pt>
          <cx:pt idx="2010">0</cx:pt>
          <cx:pt idx="2011">0</cx:pt>
          <cx:pt idx="2012">0</cx:pt>
          <cx:pt idx="2013">0</cx:pt>
          <cx:pt idx="2014">0</cx:pt>
          <cx:pt idx="2015">0</cx:pt>
          <cx:pt idx="2016">0</cx:pt>
          <cx:pt idx="2017">0</cx:pt>
          <cx:pt idx="2018">0</cx:pt>
          <cx:pt idx="2019">0</cx:pt>
          <cx:pt idx="2020">0</cx:pt>
          <cx:pt idx="2021">0</cx:pt>
          <cx:pt idx="2022">0</cx:pt>
          <cx:pt idx="2023">0</cx:pt>
          <cx:pt idx="2024">0</cx:pt>
          <cx:pt idx="2025">0</cx:pt>
          <cx:pt idx="2026">0</cx:pt>
          <cx:pt idx="2027">0</cx:pt>
          <cx:pt idx="2028">0</cx:pt>
          <cx:pt idx="2029">0</cx:pt>
          <cx:pt idx="2030">0</cx:pt>
          <cx:pt idx="2031">0</cx:pt>
          <cx:pt idx="2032">0</cx:pt>
          <cx:pt idx="2033">0</cx:pt>
          <cx:pt idx="2034">0</cx:pt>
          <cx:pt idx="2035">0</cx:pt>
          <cx:pt idx="2036">0</cx:pt>
          <cx:pt idx="2037">0</cx:pt>
          <cx:pt idx="2038">0</cx:pt>
          <cx:pt idx="2039">0</cx:pt>
          <cx:pt idx="2040">0</cx:pt>
          <cx:pt idx="2041">0</cx:pt>
          <cx:pt idx="2042">0</cx:pt>
          <cx:pt idx="2043">0</cx:pt>
          <cx:pt idx="2044">0</cx:pt>
          <cx:pt idx="2045">0</cx:pt>
          <cx:pt idx="2046">0</cx:pt>
          <cx:pt idx="2047">0</cx:pt>
          <cx:pt idx="2048">0</cx:pt>
          <cx:pt idx="2049">0</cx:pt>
          <cx:pt idx="2050">0</cx:pt>
          <cx:pt idx="2051">0</cx:pt>
          <cx:pt idx="2052">0</cx:pt>
          <cx:pt idx="2053">0</cx:pt>
          <cx:pt idx="2054">0</cx:pt>
          <cx:pt idx="2055">0</cx:pt>
          <cx:pt idx="2056">0</cx:pt>
          <cx:pt idx="2057">0</cx:pt>
          <cx:pt idx="2058">0</cx:pt>
          <cx:pt idx="2059">0</cx:pt>
          <cx:pt idx="2060">0</cx:pt>
          <cx:pt idx="2061">0</cx:pt>
          <cx:pt idx="2062">0</cx:pt>
          <cx:pt idx="2063">0</cx:pt>
          <cx:pt idx="2064">0</cx:pt>
          <cx:pt idx="2065">0</cx:pt>
          <cx:pt idx="2066">0</cx:pt>
          <cx:pt idx="2067">0</cx:pt>
          <cx:pt idx="2068">0</cx:pt>
          <cx:pt idx="2069">0</cx:pt>
          <cx:pt idx="2070">0</cx:pt>
          <cx:pt idx="2071">0</cx:pt>
          <cx:pt idx="2072">0</cx:pt>
          <cx:pt idx="2073">0</cx:pt>
          <cx:pt idx="2074">0</cx:pt>
          <cx:pt idx="2075">0</cx:pt>
          <cx:pt idx="2076">0</cx:pt>
          <cx:pt idx="2077">0</cx:pt>
          <cx:pt idx="2078">0</cx:pt>
          <cx:pt idx="2079">0</cx:pt>
          <cx:pt idx="2080">0</cx:pt>
          <cx:pt idx="2081">0</cx:pt>
          <cx:pt idx="2082">0</cx:pt>
          <cx:pt idx="2083">0</cx:pt>
          <cx:pt idx="2084">0</cx:pt>
          <cx:pt idx="2085">0</cx:pt>
          <cx:pt idx="2086">0</cx:pt>
          <cx:pt idx="2087">0</cx:pt>
          <cx:pt idx="2088">0</cx:pt>
          <cx:pt idx="2089">0</cx:pt>
          <cx:pt idx="2090">0</cx:pt>
          <cx:pt idx="2091">0</cx:pt>
          <cx:pt idx="2092">0</cx:pt>
          <cx:pt idx="2093">0</cx:pt>
          <cx:pt idx="2094">0</cx:pt>
          <cx:pt idx="2095">0</cx:pt>
          <cx:pt idx="2096">0</cx:pt>
          <cx:pt idx="2097">0</cx:pt>
          <cx:pt idx="2098">0</cx:pt>
          <cx:pt idx="2099">0</cx:pt>
          <cx:pt idx="2100">0</cx:pt>
          <cx:pt idx="2101">0</cx:pt>
          <cx:pt idx="2102">0</cx:pt>
          <cx:pt idx="2103">0</cx:pt>
          <cx:pt idx="2104">0</cx:pt>
          <cx:pt idx="2105">0</cx:pt>
          <cx:pt idx="2106">0</cx:pt>
          <cx:pt idx="2107">0</cx:pt>
          <cx:pt idx="2108">0</cx:pt>
          <cx:pt idx="2109">0</cx:pt>
          <cx:pt idx="2110">0</cx:pt>
          <cx:pt idx="2111">0</cx:pt>
          <cx:pt idx="2112">0</cx:pt>
          <cx:pt idx="2113">0</cx:pt>
          <cx:pt idx="2114">0</cx:pt>
          <cx:pt idx="2115">0</cx:pt>
          <cx:pt idx="2116">0</cx:pt>
          <cx:pt idx="2117">0</cx:pt>
          <cx:pt idx="2118">0</cx:pt>
          <cx:pt idx="2119">0</cx:pt>
          <cx:pt idx="2120">0</cx:pt>
          <cx:pt idx="2121">0</cx:pt>
          <cx:pt idx="2122">0</cx:pt>
          <cx:pt idx="2123">0</cx:pt>
          <cx:pt idx="2124">0</cx:pt>
          <cx:pt idx="2125">0</cx:pt>
          <cx:pt idx="2126">0</cx:pt>
          <cx:pt idx="2127">0</cx:pt>
          <cx:pt idx="2128">0</cx:pt>
          <cx:pt idx="2129">0</cx:pt>
          <cx:pt idx="2130">0</cx:pt>
          <cx:pt idx="2131">0</cx:pt>
          <cx:pt idx="2132">0</cx:pt>
          <cx:pt idx="2133">0</cx:pt>
          <cx:pt idx="2134">0</cx:pt>
          <cx:pt idx="2135">0</cx:pt>
          <cx:pt idx="2136">0</cx:pt>
          <cx:pt idx="2137">0</cx:pt>
          <cx:pt idx="2138">0</cx:pt>
          <cx:pt idx="2139">0</cx:pt>
          <cx:pt idx="2140">0</cx:pt>
          <cx:pt idx="2141">0</cx:pt>
          <cx:pt idx="2142">0</cx:pt>
          <cx:pt idx="2143">0</cx:pt>
          <cx:pt idx="2144">0</cx:pt>
          <cx:pt idx="2145">0</cx:pt>
          <cx:pt idx="2146">0</cx:pt>
          <cx:pt idx="2147">0</cx:pt>
          <cx:pt idx="2148">0</cx:pt>
          <cx:pt idx="2149">0</cx:pt>
          <cx:pt idx="2150">0</cx:pt>
          <cx:pt idx="2151">0</cx:pt>
          <cx:pt idx="2152">0</cx:pt>
          <cx:pt idx="2153">0</cx:pt>
          <cx:pt idx="2154">0</cx:pt>
          <cx:pt idx="2155">0</cx:pt>
          <cx:pt idx="2156">0</cx:pt>
          <cx:pt idx="2157">0</cx:pt>
          <cx:pt idx="2158">0</cx:pt>
          <cx:pt idx="2159">0</cx:pt>
          <cx:pt idx="2160">0</cx:pt>
          <cx:pt idx="2161">0</cx:pt>
          <cx:pt idx="2162">0</cx:pt>
          <cx:pt idx="2163">0</cx:pt>
          <cx:pt idx="2164">0</cx:pt>
          <cx:pt idx="2165">0</cx:pt>
          <cx:pt idx="2166">0</cx:pt>
          <cx:pt idx="2167">0</cx:pt>
          <cx:pt idx="2168">0</cx:pt>
          <cx:pt idx="2169">0</cx:pt>
          <cx:pt idx="2170">0</cx:pt>
          <cx:pt idx="2171">0</cx:pt>
          <cx:pt idx="2172">0</cx:pt>
          <cx:pt idx="2173">0</cx:pt>
          <cx:pt idx="2174">0</cx:pt>
          <cx:pt idx="2175">0</cx:pt>
          <cx:pt idx="2176">0</cx:pt>
          <cx:pt idx="2177">0</cx:pt>
          <cx:pt idx="2178">0</cx:pt>
          <cx:pt idx="2179">0</cx:pt>
          <cx:pt idx="2180">0</cx:pt>
          <cx:pt idx="2181">0</cx:pt>
          <cx:pt idx="2182">0</cx:pt>
          <cx:pt idx="2183">0</cx:pt>
          <cx:pt idx="2184">0</cx:pt>
          <cx:pt idx="2185">0</cx:pt>
          <cx:pt idx="2186">0</cx:pt>
          <cx:pt idx="2187">0</cx:pt>
          <cx:pt idx="2188">0</cx:pt>
          <cx:pt idx="2189">0</cx:pt>
          <cx:pt idx="2190">0</cx:pt>
          <cx:pt idx="2191">0</cx:pt>
          <cx:pt idx="2192">0</cx:pt>
          <cx:pt idx="2193">0</cx:pt>
          <cx:pt idx="2194">0</cx:pt>
          <cx:pt idx="2195">0</cx:pt>
          <cx:pt idx="2196">0</cx:pt>
          <cx:pt idx="2197">0</cx:pt>
          <cx:pt idx="2198">0</cx:pt>
          <cx:pt idx="2199">0</cx:pt>
          <cx:pt idx="2200">0</cx:pt>
          <cx:pt idx="2201">0</cx:pt>
          <cx:pt idx="2202">0</cx:pt>
          <cx:pt idx="2203">0</cx:pt>
          <cx:pt idx="2204">0</cx:pt>
          <cx:pt idx="2205">0</cx:pt>
          <cx:pt idx="2206">0</cx:pt>
          <cx:pt idx="2207">0</cx:pt>
          <cx:pt idx="2208">0</cx:pt>
          <cx:pt idx="2209">0</cx:pt>
          <cx:pt idx="2210">0</cx:pt>
          <cx:pt idx="2211">0</cx:pt>
          <cx:pt idx="2212">0</cx:pt>
          <cx:pt idx="2213">0</cx:pt>
          <cx:pt idx="2214">0</cx:pt>
          <cx:pt idx="2215">0</cx:pt>
          <cx:pt idx="2216">0</cx:pt>
          <cx:pt idx="2217">0</cx:pt>
          <cx:pt idx="2218">0</cx:pt>
          <cx:pt idx="2219">0</cx:pt>
          <cx:pt idx="2220">0</cx:pt>
          <cx:pt idx="2221">0</cx:pt>
          <cx:pt idx="2222">0</cx:pt>
          <cx:pt idx="2223">0</cx:pt>
          <cx:pt idx="2224">0</cx:pt>
          <cx:pt idx="2225">0</cx:pt>
          <cx:pt idx="2226">0</cx:pt>
          <cx:pt idx="2227">0</cx:pt>
          <cx:pt idx="2228">0</cx:pt>
          <cx:pt idx="2229">0</cx:pt>
          <cx:pt idx="2230">0</cx:pt>
          <cx:pt idx="2231">0</cx:pt>
          <cx:pt idx="2232">0</cx:pt>
          <cx:pt idx="2233">0</cx:pt>
          <cx:pt idx="2234">0</cx:pt>
          <cx:pt idx="2235">0</cx:pt>
          <cx:pt idx="2236">0</cx:pt>
          <cx:pt idx="2237">0</cx:pt>
          <cx:pt idx="2238">0</cx:pt>
          <cx:pt idx="2239">0</cx:pt>
          <cx:pt idx="2240">0</cx:pt>
          <cx:pt idx="2241">0</cx:pt>
          <cx:pt idx="2242">0</cx:pt>
          <cx:pt idx="2243">0</cx:pt>
          <cx:pt idx="2244">0</cx:pt>
          <cx:pt idx="2245">0</cx:pt>
          <cx:pt idx="2246">0</cx:pt>
          <cx:pt idx="2247">0</cx:pt>
          <cx:pt idx="2248">0</cx:pt>
          <cx:pt idx="2249">0</cx:pt>
          <cx:pt idx="2250">0</cx:pt>
          <cx:pt idx="2251">0</cx:pt>
          <cx:pt idx="2252">0</cx:pt>
          <cx:pt idx="2253">0</cx:pt>
          <cx:pt idx="2254">0</cx:pt>
          <cx:pt idx="2255">0</cx:pt>
          <cx:pt idx="2256">0</cx:pt>
          <cx:pt idx="2257">0</cx:pt>
          <cx:pt idx="2258">0</cx:pt>
          <cx:pt idx="2259">0</cx:pt>
          <cx:pt idx="2260">0</cx:pt>
          <cx:pt idx="2261">0</cx:pt>
          <cx:pt idx="2262">0</cx:pt>
          <cx:pt idx="2263">0</cx:pt>
          <cx:pt idx="2264">0</cx:pt>
          <cx:pt idx="2265">0</cx:pt>
          <cx:pt idx="2266">0</cx:pt>
          <cx:pt idx="2267">0</cx:pt>
          <cx:pt idx="2268">0</cx:pt>
          <cx:pt idx="2269">0</cx:pt>
          <cx:pt idx="2270">0</cx:pt>
          <cx:pt idx="2271">0</cx:pt>
          <cx:pt idx="2272">0</cx:pt>
          <cx:pt idx="2273">0</cx:pt>
          <cx:pt idx="2274">0</cx:pt>
          <cx:pt idx="2275">0</cx:pt>
          <cx:pt idx="2276">0</cx:pt>
          <cx:pt idx="2277">0</cx:pt>
          <cx:pt idx="2278">0</cx:pt>
          <cx:pt idx="2279">0</cx:pt>
          <cx:pt idx="2280">0</cx:pt>
          <cx:pt idx="2281">0</cx:pt>
          <cx:pt idx="2282">0</cx:pt>
          <cx:pt idx="2283">0</cx:pt>
          <cx:pt idx="2284">0</cx:pt>
          <cx:pt idx="2285">0</cx:pt>
          <cx:pt idx="2286">0</cx:pt>
          <cx:pt idx="2287">0</cx:pt>
          <cx:pt idx="2288">0</cx:pt>
          <cx:pt idx="2289">0</cx:pt>
          <cx:pt idx="2290">0</cx:pt>
          <cx:pt idx="2291">0</cx:pt>
          <cx:pt idx="2292">0</cx:pt>
          <cx:pt idx="2293">0</cx:pt>
          <cx:pt idx="2294">0</cx:pt>
          <cx:pt idx="2295">0</cx:pt>
          <cx:pt idx="2296">0</cx:pt>
          <cx:pt idx="2297">0</cx:pt>
          <cx:pt idx="2298">0</cx:pt>
          <cx:pt idx="2299">0</cx:pt>
          <cx:pt idx="2300">0</cx:pt>
          <cx:pt idx="2301">0</cx:pt>
          <cx:pt idx="2302">0</cx:pt>
          <cx:pt idx="2303">0</cx:pt>
          <cx:pt idx="2304">0</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0</cx:pt>
          <cx:pt idx="2322">0</cx:pt>
          <cx:pt idx="2323">0</cx:pt>
          <cx:pt idx="2324">0</cx:pt>
          <cx:pt idx="2325">0</cx:pt>
          <cx:pt idx="2326">0</cx:pt>
          <cx:pt idx="2327">0</cx:pt>
          <cx:pt idx="2328">0</cx:pt>
          <cx:pt idx="2329">0</cx:pt>
          <cx:pt idx="2330">0</cx:pt>
          <cx:pt idx="2331">0</cx:pt>
          <cx:pt idx="2332">0</cx:pt>
          <cx:pt idx="2333">0</cx:pt>
          <cx:pt idx="2334">0</cx:pt>
          <cx:pt idx="2335">0</cx:pt>
          <cx:pt idx="2336">0</cx:pt>
          <cx:pt idx="2337">0</cx:pt>
          <cx:pt idx="2338">0</cx:pt>
          <cx:pt idx="2339">0</cx:pt>
          <cx:pt idx="2340">0</cx:pt>
          <cx:pt idx="2341">0</cx:pt>
          <cx:pt idx="2342">0</cx:pt>
          <cx:pt idx="2343">0</cx:pt>
          <cx:pt idx="2344">0</cx:pt>
          <cx:pt idx="2345">0</cx:pt>
          <cx:pt idx="2346">0</cx:pt>
          <cx:pt idx="2347">0</cx:pt>
          <cx:pt idx="2348">0</cx:pt>
          <cx:pt idx="2349">0</cx:pt>
          <cx:pt idx="2350">0</cx:pt>
          <cx:pt idx="2351">0</cx:pt>
          <cx:pt idx="2352">0</cx:pt>
          <cx:pt idx="2353">0</cx:pt>
          <cx:pt idx="2354">0</cx:pt>
          <cx:pt idx="2355">0</cx:pt>
          <cx:pt idx="2356">0</cx:pt>
          <cx:pt idx="2357">0</cx:pt>
          <cx:pt idx="2358">0</cx:pt>
          <cx:pt idx="2359">0</cx:pt>
          <cx:pt idx="2360">0</cx:pt>
          <cx:pt idx="2361">0</cx:pt>
          <cx:pt idx="2362">0</cx:pt>
          <cx:pt idx="2363">0</cx:pt>
          <cx:pt idx="2364">0</cx:pt>
          <cx:pt idx="2365">0</cx:pt>
          <cx:pt idx="2366">0</cx:pt>
          <cx:pt idx="2367">0</cx:pt>
          <cx:pt idx="2368">0</cx:pt>
          <cx:pt idx="2369">0</cx:pt>
          <cx:pt idx="2370">0</cx:pt>
          <cx:pt idx="2371">0</cx:pt>
          <cx:pt idx="2372">0</cx:pt>
          <cx:pt idx="2373">0</cx:pt>
          <cx:pt idx="2374">0</cx:pt>
          <cx:pt idx="2375">0</cx:pt>
          <cx:pt idx="2376">0</cx:pt>
          <cx:pt idx="2377">0</cx:pt>
          <cx:pt idx="2378">0</cx:pt>
          <cx:pt idx="2379">0</cx:pt>
          <cx:pt idx="2380">0</cx:pt>
          <cx:pt idx="2381">0</cx:pt>
          <cx:pt idx="2382">0</cx:pt>
          <cx:pt idx="2383">0</cx:pt>
          <cx:pt idx="2384">0</cx:pt>
          <cx:pt idx="2385">0</cx:pt>
          <cx:pt idx="2386">0</cx:pt>
          <cx:pt idx="2387">0</cx:pt>
          <cx:pt idx="2388">0</cx:pt>
          <cx:pt idx="2389">0</cx:pt>
          <cx:pt idx="2390">0</cx:pt>
          <cx:pt idx="2391">0</cx:pt>
          <cx:pt idx="2392">0</cx:pt>
          <cx:pt idx="2393">0</cx:pt>
          <cx:pt idx="2394">0</cx:pt>
          <cx:pt idx="2395">0</cx:pt>
          <cx:pt idx="2396">0</cx:pt>
          <cx:pt idx="2397">0</cx:pt>
          <cx:pt idx="2398">0</cx:pt>
          <cx:pt idx="2399">0</cx:pt>
          <cx:pt idx="2400">0</cx:pt>
          <cx:pt idx="2401">0</cx:pt>
          <cx:pt idx="2402">0</cx:pt>
          <cx:pt idx="2403">0</cx:pt>
          <cx:pt idx="2404">0</cx:pt>
          <cx:pt idx="2405">0</cx:pt>
          <cx:pt idx="2406">0</cx:pt>
          <cx:pt idx="2407">0</cx:pt>
          <cx:pt idx="2408">0</cx:pt>
          <cx:pt idx="2409">0</cx:pt>
          <cx:pt idx="2410">0</cx:pt>
          <cx:pt idx="2411">0</cx:pt>
          <cx:pt idx="2412">0</cx:pt>
          <cx:pt idx="2413">0</cx:pt>
          <cx:pt idx="2414">0</cx:pt>
          <cx:pt idx="2415">0</cx:pt>
          <cx:pt idx="2416">0</cx:pt>
          <cx:pt idx="2417">0</cx:pt>
          <cx:pt idx="2418">0</cx:pt>
          <cx:pt idx="2419">0</cx:pt>
          <cx:pt idx="2420">0</cx:pt>
          <cx:pt idx="2421">0</cx:pt>
          <cx:pt idx="2422">0</cx:pt>
          <cx:pt idx="2423">0</cx:pt>
          <cx:pt idx="2424">0</cx:pt>
          <cx:pt idx="2425">0</cx:pt>
          <cx:pt idx="2426">0</cx:pt>
          <cx:pt idx="2427">0</cx:pt>
          <cx:pt idx="2428">0</cx:pt>
          <cx:pt idx="2429">0</cx:pt>
          <cx:pt idx="2430">0</cx:pt>
          <cx:pt idx="2431">0</cx:pt>
          <cx:pt idx="2432">0</cx:pt>
          <cx:pt idx="2433">0</cx:pt>
          <cx:pt idx="2434">0</cx:pt>
          <cx:pt idx="2435">0</cx:pt>
          <cx:pt idx="2436">0</cx:pt>
          <cx:pt idx="2437">0</cx:pt>
          <cx:pt idx="2438">0</cx:pt>
          <cx:pt idx="2439">0</cx:pt>
          <cx:pt idx="2440">0</cx:pt>
          <cx:pt idx="2441">0</cx:pt>
          <cx:pt idx="2442">0</cx:pt>
          <cx:pt idx="2443">0</cx:pt>
          <cx:pt idx="2444">0</cx:pt>
          <cx:pt idx="2445">0</cx:pt>
          <cx:pt idx="2446">0</cx:pt>
          <cx:pt idx="2447">0</cx:pt>
          <cx:pt idx="2448">0</cx:pt>
          <cx:pt idx="2449">0</cx:pt>
          <cx:pt idx="2450">0</cx:pt>
          <cx:pt idx="2451">0</cx:pt>
          <cx:pt idx="2452">0</cx:pt>
          <cx:pt idx="2453">0</cx:pt>
          <cx:pt idx="2454">0</cx:pt>
          <cx:pt idx="2455">0</cx:pt>
          <cx:pt idx="2456">0</cx:pt>
          <cx:pt idx="2457">0</cx:pt>
          <cx:pt idx="2458">0</cx:pt>
          <cx:pt idx="2459">0</cx:pt>
          <cx:pt idx="2460">0</cx:pt>
          <cx:pt idx="2461">0</cx:pt>
          <cx:pt idx="2462">0</cx:pt>
          <cx:pt idx="2463">0</cx:pt>
          <cx:pt idx="2464">0</cx:pt>
          <cx:pt idx="2465">0</cx:pt>
          <cx:pt idx="2466">0</cx:pt>
          <cx:pt idx="2467">0</cx:pt>
          <cx:pt idx="2468">0</cx:pt>
          <cx:pt idx="2469">0</cx:pt>
          <cx:pt idx="2470">0</cx:pt>
          <cx:pt idx="2471">0</cx:pt>
          <cx:pt idx="2472">0</cx:pt>
          <cx:pt idx="2473">0</cx:pt>
          <cx:pt idx="2474">0</cx:pt>
          <cx:pt idx="2475">0</cx:pt>
          <cx:pt idx="2476">0</cx:pt>
          <cx:pt idx="2477">0</cx:pt>
          <cx:pt idx="2478">0</cx:pt>
          <cx:pt idx="2479">0</cx:pt>
          <cx:pt idx="2480">0</cx:pt>
          <cx:pt idx="2481">0</cx:pt>
          <cx:pt idx="2482">0</cx:pt>
          <cx:pt idx="2483">0</cx:pt>
          <cx:pt idx="2484">0</cx:pt>
          <cx:pt idx="2485">0</cx:pt>
          <cx:pt idx="2486">0</cx:pt>
          <cx:pt idx="2487">0</cx:pt>
          <cx:pt idx="2488">0</cx:pt>
          <cx:pt idx="2489">0</cx:pt>
          <cx:pt idx="2490">0</cx:pt>
          <cx:pt idx="2491">0</cx:pt>
          <cx:pt idx="2492">0</cx:pt>
          <cx:pt idx="2493">0</cx:pt>
          <cx:pt idx="2494">0</cx:pt>
          <cx:pt idx="2495">0</cx:pt>
          <cx:pt idx="2496">0</cx:pt>
          <cx:pt idx="2497">0</cx:pt>
          <cx:pt idx="2498">0</cx:pt>
          <cx:pt idx="2499">0</cx:pt>
          <cx:pt idx="2500">0</cx:pt>
          <cx:pt idx="2501">0</cx:pt>
          <cx:pt idx="2502">0</cx:pt>
          <cx:pt idx="2503">0</cx:pt>
          <cx:pt idx="2504">0</cx:pt>
          <cx:pt idx="2505">0</cx:pt>
          <cx:pt idx="2506">0</cx:pt>
          <cx:pt idx="2507">0</cx:pt>
          <cx:pt idx="2508">0</cx:pt>
          <cx:pt idx="2509">0</cx:pt>
          <cx:pt idx="2510">0</cx:pt>
          <cx:pt idx="2511">0</cx:pt>
          <cx:pt idx="2512">0</cx:pt>
          <cx:pt idx="2513">0</cx:pt>
          <cx:pt idx="2514">0</cx:pt>
          <cx:pt idx="2515">0</cx:pt>
          <cx:pt idx="2516">0</cx:pt>
          <cx:pt idx="2517">0</cx:pt>
          <cx:pt idx="2518">0</cx:pt>
          <cx:pt idx="2519">0</cx:pt>
          <cx:pt idx="2520">0</cx:pt>
          <cx:pt idx="2521">0</cx:pt>
          <cx:pt idx="2522">0</cx:pt>
          <cx:pt idx="2523">0</cx:pt>
          <cx:pt idx="2524">0</cx:pt>
          <cx:pt idx="2525">0</cx:pt>
          <cx:pt idx="2526">0</cx:pt>
          <cx:pt idx="2527">0</cx:pt>
          <cx:pt idx="2528">0</cx:pt>
          <cx:pt idx="2529">0</cx:pt>
          <cx:pt idx="2530">0</cx:pt>
          <cx:pt idx="2531">0</cx:pt>
          <cx:pt idx="2532">0</cx:pt>
          <cx:pt idx="2533">0</cx:pt>
          <cx:pt idx="2534">0</cx:pt>
          <cx:pt idx="2535">0</cx:pt>
          <cx:pt idx="2536">0</cx:pt>
          <cx:pt idx="2537">0</cx:pt>
          <cx:pt idx="2538">0</cx:pt>
          <cx:pt idx="2539">0</cx:pt>
          <cx:pt idx="2540">0</cx:pt>
          <cx:pt idx="2541">0</cx:pt>
          <cx:pt idx="2542">0</cx:pt>
          <cx:pt idx="2543">0</cx:pt>
          <cx:pt idx="2544">0</cx:pt>
          <cx:pt idx="2545">0</cx:pt>
          <cx:pt idx="2546">0</cx:pt>
          <cx:pt idx="2547">0</cx:pt>
          <cx:pt idx="2548">0</cx:pt>
          <cx:pt idx="2549">0</cx:pt>
          <cx:pt idx="2550">0</cx:pt>
          <cx:pt idx="2551">0</cx:pt>
          <cx:pt idx="2552">0</cx:pt>
          <cx:pt idx="2553">0</cx:pt>
          <cx:pt idx="2554">0</cx:pt>
          <cx:pt idx="2555">0</cx:pt>
          <cx:pt idx="2556">0</cx:pt>
          <cx:pt idx="2557">0</cx:pt>
          <cx:pt idx="2558">0</cx:pt>
          <cx:pt idx="2559">0</cx:pt>
          <cx:pt idx="2560">0</cx:pt>
          <cx:pt idx="2561">0</cx:pt>
          <cx:pt idx="2562">0</cx:pt>
          <cx:pt idx="2563">0</cx:pt>
          <cx:pt idx="2564">0</cx:pt>
          <cx:pt idx="2565">0</cx:pt>
          <cx:pt idx="2566">0</cx:pt>
          <cx:pt idx="2567">0</cx:pt>
          <cx:pt idx="2568">0</cx:pt>
          <cx:pt idx="2569">0</cx:pt>
          <cx:pt idx="2570">0</cx:pt>
          <cx:pt idx="2571">0</cx:pt>
          <cx:pt idx="2572">0</cx:pt>
          <cx:pt idx="2573">0</cx:pt>
          <cx:pt idx="2574">0</cx:pt>
          <cx:pt idx="2575">0</cx:pt>
          <cx:pt idx="2576">0</cx:pt>
          <cx:pt idx="2577">0</cx:pt>
          <cx:pt idx="2578">0</cx:pt>
          <cx:pt idx="2579">0</cx:pt>
          <cx:pt idx="2580">0</cx:pt>
          <cx:pt idx="2581">0</cx:pt>
          <cx:pt idx="2582">0</cx:pt>
          <cx:pt idx="2583">0</cx:pt>
          <cx:pt idx="2584">0</cx:pt>
          <cx:pt idx="2585">0</cx:pt>
          <cx:pt idx="2586">0</cx:pt>
          <cx:pt idx="2587">0</cx:pt>
          <cx:pt idx="2588">0</cx:pt>
          <cx:pt idx="2589">0</cx:pt>
          <cx:pt idx="2590">0</cx:pt>
          <cx:pt idx="2591">0</cx:pt>
          <cx:pt idx="2592">0</cx:pt>
          <cx:pt idx="2593">0</cx:pt>
          <cx:pt idx="2594">0</cx:pt>
          <cx:pt idx="2595">0</cx:pt>
          <cx:pt idx="2596">0</cx:pt>
          <cx:pt idx="2597">0</cx:pt>
          <cx:pt idx="2598">0</cx:pt>
          <cx:pt idx="2599">0</cx:pt>
          <cx:pt idx="2600">0</cx:pt>
          <cx:pt idx="2601">0</cx:pt>
          <cx:pt idx="2602">0</cx:pt>
          <cx:pt idx="2603">0</cx:pt>
          <cx:pt idx="2604">0</cx:pt>
          <cx:pt idx="2605">0</cx:pt>
          <cx:pt idx="2606">0</cx:pt>
          <cx:pt idx="2607">0</cx:pt>
          <cx:pt idx="2608">0</cx:pt>
          <cx:pt idx="2609">0</cx:pt>
          <cx:pt idx="2610">0</cx:pt>
          <cx:pt idx="2611">0</cx:pt>
          <cx:pt idx="2612">0</cx:pt>
          <cx:pt idx="2613">0</cx:pt>
          <cx:pt idx="2614">0</cx:pt>
          <cx:pt idx="2615">0</cx:pt>
          <cx:pt idx="2616">0</cx:pt>
          <cx:pt idx="2617">0</cx:pt>
          <cx:pt idx="2618">0</cx:pt>
          <cx:pt idx="2619">0</cx:pt>
          <cx:pt idx="2620">0</cx:pt>
          <cx:pt idx="2621">0</cx:pt>
          <cx:pt idx="2622">0</cx:pt>
          <cx:pt idx="2623">0</cx:pt>
          <cx:pt idx="2624">0</cx:pt>
          <cx:pt idx="2625">0</cx:pt>
          <cx:pt idx="2626">0</cx:pt>
          <cx:pt idx="2627">0</cx:pt>
          <cx:pt idx="2628">0</cx:pt>
          <cx:pt idx="2629">0</cx:pt>
          <cx:pt idx="2630">0</cx:pt>
          <cx:pt idx="2631">0</cx:pt>
          <cx:pt idx="2632">0</cx:pt>
          <cx:pt idx="2633">0</cx:pt>
          <cx:pt idx="2634">0</cx:pt>
          <cx:pt idx="2635">0</cx:pt>
          <cx:pt idx="2636">0</cx:pt>
          <cx:pt idx="2637">0</cx:pt>
          <cx:pt idx="2638">0</cx:pt>
          <cx:pt idx="2639">0</cx:pt>
          <cx:pt idx="2640">0</cx:pt>
          <cx:pt idx="2641">0</cx:pt>
          <cx:pt idx="2642">0</cx:pt>
          <cx:pt idx="2643">0</cx:pt>
          <cx:pt idx="2644">0</cx:pt>
          <cx:pt idx="2645">0</cx:pt>
          <cx:pt idx="2646">0</cx:pt>
          <cx:pt idx="2647">0</cx:pt>
          <cx:pt idx="2648">0</cx:pt>
          <cx:pt idx="2649">0</cx:pt>
          <cx:pt idx="2650">0</cx:pt>
          <cx:pt idx="2651">0</cx:pt>
          <cx:pt idx="2652">0</cx:pt>
          <cx:pt idx="2653">0</cx:pt>
          <cx:pt idx="2654">0</cx:pt>
          <cx:pt idx="2655">0</cx:pt>
          <cx:pt idx="2656">0</cx:pt>
          <cx:pt idx="2657">0</cx:pt>
          <cx:pt idx="2658">0</cx:pt>
          <cx:pt idx="2659">0</cx:pt>
          <cx:pt idx="2660">0</cx:pt>
          <cx:pt idx="2661">0</cx:pt>
          <cx:pt idx="2662">0</cx:pt>
          <cx:pt idx="2663">0</cx:pt>
          <cx:pt idx="2664">0</cx:pt>
          <cx:pt idx="2665">0</cx:pt>
          <cx:pt idx="2666">0</cx:pt>
          <cx:pt idx="2667">0</cx:pt>
          <cx:pt idx="2668">0</cx:pt>
          <cx:pt idx="2669">0</cx:pt>
          <cx:pt idx="2670">0</cx:pt>
          <cx:pt idx="2671">0</cx:pt>
          <cx:pt idx="2672">0</cx:pt>
          <cx:pt idx="2673">0</cx:pt>
          <cx:pt idx="2674">0</cx:pt>
          <cx:pt idx="2675">0</cx:pt>
          <cx:pt idx="2676">0</cx:pt>
          <cx:pt idx="2677">0</cx:pt>
          <cx:pt idx="2678">0</cx:pt>
          <cx:pt idx="2679">0</cx:pt>
          <cx:pt idx="2680">0</cx:pt>
          <cx:pt idx="2681">0</cx:pt>
          <cx:pt idx="2682">0</cx:pt>
          <cx:pt idx="2683">0</cx:pt>
          <cx:pt idx="2684">0</cx:pt>
          <cx:pt idx="2685">0</cx:pt>
          <cx:pt idx="2686">0</cx:pt>
          <cx:pt idx="2687">0</cx:pt>
          <cx:pt idx="2688">0</cx:pt>
          <cx:pt idx="2689">0</cx:pt>
          <cx:pt idx="2690">0</cx:pt>
          <cx:pt idx="2691">0</cx:pt>
          <cx:pt idx="2692">0</cx:pt>
          <cx:pt idx="2693">0</cx:pt>
          <cx:pt idx="2694">0</cx:pt>
          <cx:pt idx="2695">0</cx:pt>
          <cx:pt idx="2696">0</cx:pt>
          <cx:pt idx="2697">0</cx:pt>
          <cx:pt idx="2698">0</cx:pt>
          <cx:pt idx="2699">0</cx:pt>
          <cx:pt idx="2700">0</cx:pt>
          <cx:pt idx="2701">0</cx:pt>
          <cx:pt idx="2702">0</cx:pt>
          <cx:pt idx="2703">0</cx:pt>
          <cx:pt idx="2704">0</cx:pt>
          <cx:pt idx="2705">0</cx:pt>
          <cx:pt idx="2706">0</cx:pt>
          <cx:pt idx="2707">0</cx:pt>
          <cx:pt idx="2708">0</cx:pt>
          <cx:pt idx="2709">0</cx:pt>
          <cx:pt idx="2710">0</cx:pt>
          <cx:pt idx="2711">0</cx:pt>
          <cx:pt idx="2712">0</cx:pt>
          <cx:pt idx="2713">0</cx:pt>
          <cx:pt idx="2714">0</cx:pt>
          <cx:pt idx="2715">0</cx:pt>
          <cx:pt idx="2716">0</cx:pt>
          <cx:pt idx="2717">0</cx:pt>
          <cx:pt idx="2718">0</cx:pt>
          <cx:pt idx="2719">0</cx:pt>
          <cx:pt idx="2720">0</cx:pt>
          <cx:pt idx="2721">0</cx:pt>
          <cx:pt idx="2722">0</cx:pt>
          <cx:pt idx="2723">0</cx:pt>
          <cx:pt idx="2724">0</cx:pt>
          <cx:pt idx="2725">0</cx:pt>
          <cx:pt idx="2726">0</cx:pt>
          <cx:pt idx="2727">0</cx:pt>
          <cx:pt idx="2728">0</cx:pt>
          <cx:pt idx="2729">0</cx:pt>
          <cx:pt idx="2730">0</cx:pt>
          <cx:pt idx="2731">0</cx:pt>
          <cx:pt idx="2732">0</cx:pt>
          <cx:pt idx="2733">0</cx:pt>
          <cx:pt idx="2734">0</cx:pt>
          <cx:pt idx="2735">0</cx:pt>
          <cx:pt idx="2736">0</cx:pt>
          <cx:pt idx="2737">0</cx:pt>
          <cx:pt idx="2738">0</cx:pt>
          <cx:pt idx="2739">0</cx:pt>
          <cx:pt idx="2740">0</cx:pt>
          <cx:pt idx="2741">0</cx:pt>
          <cx:pt idx="2742">0</cx:pt>
          <cx:pt idx="2743">0</cx:pt>
          <cx:pt idx="2744">0</cx:pt>
          <cx:pt idx="2745">0</cx:pt>
          <cx:pt idx="2746">0</cx:pt>
          <cx:pt idx="2747">0</cx:pt>
          <cx:pt idx="2748">0</cx:pt>
          <cx:pt idx="2749">0</cx:pt>
          <cx:pt idx="2750">0</cx:pt>
          <cx:pt idx="2751">0</cx:pt>
          <cx:pt idx="2752">0</cx:pt>
          <cx:pt idx="2753">0</cx:pt>
          <cx:pt idx="2754">0</cx:pt>
          <cx:pt idx="2755">0</cx:pt>
          <cx:pt idx="2756">0</cx:pt>
          <cx:pt idx="2757">0</cx:pt>
          <cx:pt idx="2758">0</cx:pt>
          <cx:pt idx="2759">0</cx:pt>
          <cx:pt idx="2760">0</cx:pt>
          <cx:pt idx="2761">0</cx:pt>
          <cx:pt idx="2762">0</cx:pt>
          <cx:pt idx="2763">0</cx:pt>
          <cx:pt idx="2764">0</cx:pt>
          <cx:pt idx="2765">0</cx:pt>
          <cx:pt idx="2766">0</cx:pt>
          <cx:pt idx="2767">0</cx:pt>
          <cx:pt idx="2768">0</cx:pt>
          <cx:pt idx="2769">0</cx:pt>
          <cx:pt idx="2770">0</cx:pt>
          <cx:pt idx="2771">0</cx:pt>
          <cx:pt idx="2772">0</cx:pt>
          <cx:pt idx="2773">0</cx:pt>
          <cx:pt idx="2774">0</cx:pt>
          <cx:pt idx="2775">0</cx:pt>
          <cx:pt idx="2776">0</cx:pt>
          <cx:pt idx="2777">0</cx:pt>
          <cx:pt idx="2778">0</cx:pt>
          <cx:pt idx="2779">0</cx:pt>
          <cx:pt idx="2780">0</cx:pt>
          <cx:pt idx="2781">0</cx:pt>
          <cx:pt idx="2782">0</cx:pt>
          <cx:pt idx="2783">0</cx:pt>
          <cx:pt idx="2784">0</cx:pt>
          <cx:pt idx="2785">0</cx:pt>
          <cx:pt idx="2786">0</cx:pt>
          <cx:pt idx="2787">0</cx:pt>
          <cx:pt idx="2788">0</cx:pt>
          <cx:pt idx="2789">0</cx:pt>
          <cx:pt idx="2790">0</cx:pt>
          <cx:pt idx="2791">0</cx:pt>
          <cx:pt idx="2792">0</cx:pt>
          <cx:pt idx="2793">0</cx:pt>
          <cx:pt idx="2794">0</cx:pt>
          <cx:pt idx="2795">0</cx:pt>
          <cx:pt idx="2796">0</cx:pt>
          <cx:pt idx="2797">0</cx:pt>
          <cx:pt idx="2798">0</cx:pt>
          <cx:pt idx="2799">0</cx:pt>
          <cx:pt idx="2800">0</cx:pt>
          <cx:pt idx="2801">0</cx:pt>
          <cx:pt idx="2802">0</cx:pt>
          <cx:pt idx="2803">0</cx:pt>
          <cx:pt idx="2804">0</cx:pt>
          <cx:pt idx="2805">0</cx:pt>
          <cx:pt idx="2806">0</cx:pt>
          <cx:pt idx="2807">0</cx:pt>
          <cx:pt idx="2808">0</cx:pt>
          <cx:pt idx="2809">0</cx:pt>
          <cx:pt idx="2810">0</cx:pt>
          <cx:pt idx="2811">0</cx:pt>
          <cx:pt idx="2812">0</cx:pt>
          <cx:pt idx="2813">0</cx:pt>
          <cx:pt idx="2814">0</cx:pt>
          <cx:pt idx="2815">0</cx:pt>
          <cx:pt idx="2816">0</cx:pt>
          <cx:pt idx="2817">0</cx:pt>
          <cx:pt idx="2818">0</cx:pt>
          <cx:pt idx="2819">0</cx:pt>
          <cx:pt idx="2820">0</cx:pt>
          <cx:pt idx="2821">0</cx:pt>
          <cx:pt idx="2822">0</cx:pt>
          <cx:pt idx="2823">0</cx:pt>
          <cx:pt idx="2824">0</cx:pt>
          <cx:pt idx="2825">0</cx:pt>
          <cx:pt idx="2826">0</cx:pt>
          <cx:pt idx="2827">0</cx:pt>
          <cx:pt idx="2828">0</cx:pt>
          <cx:pt idx="2829">0</cx:pt>
          <cx:pt idx="2830">0</cx:pt>
          <cx:pt idx="2831">0</cx:pt>
          <cx:pt idx="2832">0</cx:pt>
          <cx:pt idx="2833">0</cx:pt>
          <cx:pt idx="2834">0</cx:pt>
          <cx:pt idx="2835">0</cx:pt>
          <cx:pt idx="2836">0</cx:pt>
          <cx:pt idx="2837">0</cx:pt>
          <cx:pt idx="2838">0</cx:pt>
          <cx:pt idx="2839">0</cx:pt>
          <cx:pt idx="2840">0</cx:pt>
          <cx:pt idx="2841">0</cx:pt>
          <cx:pt idx="2842">0</cx:pt>
          <cx:pt idx="2843">0</cx:pt>
          <cx:pt idx="2844">0</cx:pt>
          <cx:pt idx="2845">0</cx:pt>
          <cx:pt idx="2846">0</cx:pt>
          <cx:pt idx="2847">0</cx:pt>
          <cx:pt idx="2848">0</cx:pt>
          <cx:pt idx="2849">0</cx:pt>
          <cx:pt idx="2850">0</cx:pt>
          <cx:pt idx="2851">0</cx:pt>
          <cx:pt idx="2852">0</cx:pt>
          <cx:pt idx="2853">0</cx:pt>
          <cx:pt idx="2854">0</cx:pt>
          <cx:pt idx="2855">0</cx:pt>
          <cx:pt idx="2856">0</cx:pt>
          <cx:pt idx="2857">0</cx:pt>
          <cx:pt idx="2858">0</cx:pt>
          <cx:pt idx="2859">0</cx:pt>
          <cx:pt idx="2860">0</cx:pt>
          <cx:pt idx="2861">0</cx:pt>
          <cx:pt idx="2862">0</cx:pt>
          <cx:pt idx="2863">0</cx:pt>
          <cx:pt idx="2864">0</cx:pt>
          <cx:pt idx="2865">0</cx:pt>
          <cx:pt idx="2866">0</cx:pt>
          <cx:pt idx="2867">0</cx:pt>
          <cx:pt idx="2868">0</cx:pt>
          <cx:pt idx="2869">0</cx:pt>
          <cx:pt idx="2870">0</cx:pt>
          <cx:pt idx="2871">0</cx:pt>
          <cx:pt idx="2872">0</cx:pt>
          <cx:pt idx="2873">0</cx:pt>
          <cx:pt idx="2874">0</cx:pt>
          <cx:pt idx="2875">0</cx:pt>
          <cx:pt idx="2876">0</cx:pt>
          <cx:pt idx="2877">0</cx:pt>
          <cx:pt idx="2878">0</cx:pt>
          <cx:pt idx="2879">0</cx:pt>
          <cx:pt idx="2880">0</cx:pt>
          <cx:pt idx="2881">0</cx:pt>
          <cx:pt idx="2882">0</cx:pt>
          <cx:pt idx="2883">0</cx:pt>
          <cx:pt idx="2884">0</cx:pt>
          <cx:pt idx="2885">0</cx:pt>
          <cx:pt idx="2886">0</cx:pt>
          <cx:pt idx="2887">0</cx:pt>
          <cx:pt idx="2888">0</cx:pt>
          <cx:pt idx="2889">0</cx:pt>
          <cx:pt idx="2890">0</cx:pt>
          <cx:pt idx="2891">0</cx:pt>
          <cx:pt idx="2892">0</cx:pt>
          <cx:pt idx="2893">0</cx:pt>
          <cx:pt idx="2894">0</cx:pt>
          <cx:pt idx="2895">0</cx:pt>
          <cx:pt idx="2896">0</cx:pt>
          <cx:pt idx="2897">0</cx:pt>
          <cx:pt idx="2898">0</cx:pt>
          <cx:pt idx="2899">0</cx:pt>
          <cx:pt idx="2900">0</cx:pt>
          <cx:pt idx="2901">0</cx:pt>
          <cx:pt idx="2902">0</cx:pt>
          <cx:pt idx="2903">0</cx:pt>
          <cx:pt idx="2904">0</cx:pt>
          <cx:pt idx="2905">0</cx:pt>
          <cx:pt idx="2906">0</cx:pt>
          <cx:pt idx="2907">0</cx:pt>
          <cx:pt idx="2908">0</cx:pt>
          <cx:pt idx="2909">0</cx:pt>
          <cx:pt idx="2910">0</cx:pt>
          <cx:pt idx="2911">0</cx:pt>
          <cx:pt idx="2912">0</cx:pt>
          <cx:pt idx="2913">0</cx:pt>
          <cx:pt idx="2914">0</cx:pt>
          <cx:pt idx="2915">0</cx:pt>
          <cx:pt idx="2916">0</cx:pt>
          <cx:pt idx="2917">0</cx:pt>
          <cx:pt idx="2918">0</cx:pt>
          <cx:pt idx="2919">0</cx:pt>
          <cx:pt idx="2920">0</cx:pt>
          <cx:pt idx="2921">0</cx:pt>
          <cx:pt idx="2922">0</cx:pt>
          <cx:pt idx="2923">0</cx:pt>
          <cx:pt idx="2924">0</cx:pt>
          <cx:pt idx="2925">0</cx:pt>
          <cx:pt idx="2926">0</cx:pt>
          <cx:pt idx="2927">0</cx:pt>
          <cx:pt idx="2928">0</cx:pt>
          <cx:pt idx="2929">0</cx:pt>
          <cx:pt idx="2930">0</cx:pt>
          <cx:pt idx="2931">0</cx:pt>
          <cx:pt idx="2932">0</cx:pt>
          <cx:pt idx="2933">0</cx:pt>
          <cx:pt idx="2934">0</cx:pt>
          <cx:pt idx="2935">0</cx:pt>
          <cx:pt idx="2936">0</cx:pt>
          <cx:pt idx="2937">0</cx:pt>
          <cx:pt idx="2938">0</cx:pt>
          <cx:pt idx="2939">0</cx:pt>
          <cx:pt idx="2940">0</cx:pt>
          <cx:pt idx="2941">0</cx:pt>
          <cx:pt idx="2942">0</cx:pt>
          <cx:pt idx="2943">0</cx:pt>
          <cx:pt idx="2944">0</cx:pt>
          <cx:pt idx="2945">0</cx:pt>
          <cx:pt idx="2946">0</cx:pt>
          <cx:pt idx="2947">0</cx:pt>
          <cx:pt idx="2948">0</cx:pt>
          <cx:pt idx="2949">0</cx:pt>
          <cx:pt idx="2950">0</cx:pt>
          <cx:pt idx="2951">0</cx:pt>
          <cx:pt idx="2952">0</cx:pt>
          <cx:pt idx="2953">0</cx:pt>
          <cx:pt idx="2954">0</cx:pt>
          <cx:pt idx="2955">0</cx:pt>
          <cx:pt idx="2956">0</cx:pt>
          <cx:pt idx="2957">0</cx:pt>
          <cx:pt idx="2958">0</cx:pt>
          <cx:pt idx="2959">0</cx:pt>
          <cx:pt idx="2960">0</cx:pt>
          <cx:pt idx="2961">0</cx:pt>
          <cx:pt idx="2962">0</cx:pt>
          <cx:pt idx="2963">0</cx:pt>
          <cx:pt idx="2964">0</cx:pt>
          <cx:pt idx="2965">0</cx:pt>
          <cx:pt idx="2966">0</cx:pt>
          <cx:pt idx="2967">0</cx:pt>
          <cx:pt idx="2968">0</cx:pt>
          <cx:pt idx="2969">0</cx:pt>
          <cx:pt idx="2970">0</cx:pt>
          <cx:pt idx="2971">0</cx:pt>
          <cx:pt idx="2972">0</cx:pt>
          <cx:pt idx="2973">0</cx:pt>
          <cx:pt idx="2974">0</cx:pt>
          <cx:pt idx="2975">0</cx:pt>
          <cx:pt idx="2976">0</cx:pt>
          <cx:pt idx="2977">0</cx:pt>
          <cx:pt idx="2978">0</cx:pt>
          <cx:pt idx="2979">0</cx:pt>
          <cx:pt idx="2980">0</cx:pt>
          <cx:pt idx="2981">0</cx:pt>
          <cx:pt idx="2982">0</cx:pt>
          <cx:pt idx="2983">0</cx:pt>
          <cx:pt idx="2984">0</cx:pt>
          <cx:pt idx="2985">0</cx:pt>
          <cx:pt idx="2986">0</cx:pt>
          <cx:pt idx="2987">0</cx:pt>
          <cx:pt idx="2988">0</cx:pt>
          <cx:pt idx="2989">0</cx:pt>
          <cx:pt idx="2990">0</cx:pt>
          <cx:pt idx="2991">0</cx:pt>
          <cx:pt idx="2992">0</cx:pt>
          <cx:pt idx="2993">0</cx:pt>
          <cx:pt idx="2994">0</cx:pt>
          <cx:pt idx="2995">0</cx:pt>
          <cx:pt idx="2996">0</cx:pt>
          <cx:pt idx="2997">0</cx:pt>
          <cx:pt idx="2998">0</cx:pt>
          <cx:pt idx="2999">0</cx:pt>
          <cx:pt idx="3000">0</cx:pt>
          <cx:pt idx="3001">0</cx:pt>
          <cx:pt idx="3002">0</cx:pt>
          <cx:pt idx="3003">0</cx:pt>
          <cx:pt idx="3004">0</cx:pt>
          <cx:pt idx="3005">0</cx:pt>
          <cx:pt idx="3006">0</cx:pt>
          <cx:pt idx="3007">0</cx:pt>
          <cx:pt idx="3008">0</cx:pt>
          <cx:pt idx="3009">0</cx:pt>
          <cx:pt idx="3010">0</cx:pt>
          <cx:pt idx="3011">0</cx:pt>
          <cx:pt idx="3012">0</cx:pt>
          <cx:pt idx="3013">0</cx:pt>
          <cx:pt idx="3014">0</cx:pt>
          <cx:pt idx="3015">0</cx:pt>
          <cx:pt idx="3016">0</cx:pt>
          <cx:pt idx="3017">0</cx:pt>
          <cx:pt idx="3018">0</cx:pt>
          <cx:pt idx="3019">0</cx:pt>
          <cx:pt idx="3020">0</cx:pt>
          <cx:pt idx="3021">0</cx:pt>
          <cx:pt idx="3022">0</cx:pt>
          <cx:pt idx="3023">0</cx:pt>
          <cx:pt idx="3024">0</cx:pt>
          <cx:pt idx="3025">0</cx:pt>
          <cx:pt idx="3026">0</cx:pt>
          <cx:pt idx="3027">0</cx:pt>
          <cx:pt idx="3028">0</cx:pt>
          <cx:pt idx="3029">0</cx:pt>
          <cx:pt idx="3030">0</cx:pt>
          <cx:pt idx="3031">0</cx:pt>
          <cx:pt idx="3032">0</cx:pt>
          <cx:pt idx="3033">0</cx:pt>
          <cx:pt idx="3034">0</cx:pt>
          <cx:pt idx="3035">0</cx:pt>
          <cx:pt idx="3036">0</cx:pt>
          <cx:pt idx="3037">0</cx:pt>
          <cx:pt idx="3038">0</cx:pt>
          <cx:pt idx="3039">0</cx:pt>
          <cx:pt idx="3040">0</cx:pt>
          <cx:pt idx="3041">0</cx:pt>
          <cx:pt idx="3042">0</cx:pt>
          <cx:pt idx="3043">0</cx:pt>
          <cx:pt idx="3044">0</cx:pt>
          <cx:pt idx="3045">0</cx:pt>
          <cx:pt idx="3046">0</cx:pt>
          <cx:pt idx="3047">0</cx:pt>
          <cx:pt idx="3048">0</cx:pt>
          <cx:pt idx="3049">0</cx:pt>
          <cx:pt idx="3050">0</cx:pt>
          <cx:pt idx="3051">0</cx:pt>
          <cx:pt idx="3052">0</cx:pt>
          <cx:pt idx="3053">0</cx:pt>
          <cx:pt idx="3054">0</cx:pt>
          <cx:pt idx="3055">0</cx:pt>
          <cx:pt idx="3056">0</cx:pt>
          <cx:pt idx="3057">0</cx:pt>
          <cx:pt idx="3058">0</cx:pt>
          <cx:pt idx="3059">0</cx:pt>
          <cx:pt idx="3060">0</cx:pt>
          <cx:pt idx="3061">0</cx:pt>
          <cx:pt idx="3062">0</cx:pt>
          <cx:pt idx="3063">0</cx:pt>
          <cx:pt idx="3064">0</cx:pt>
          <cx:pt idx="3065">0</cx:pt>
          <cx:pt idx="3066">0</cx:pt>
          <cx:pt idx="3067">0</cx:pt>
          <cx:pt idx="3068">0</cx:pt>
          <cx:pt idx="3069">0</cx:pt>
          <cx:pt idx="3070">0</cx:pt>
          <cx:pt idx="3071">0</cx:pt>
          <cx:pt idx="3072">0</cx:pt>
          <cx:pt idx="3073">0</cx:pt>
          <cx:pt idx="3074">0</cx:pt>
          <cx:pt idx="3075">0</cx:pt>
          <cx:pt idx="3076">0</cx:pt>
          <cx:pt idx="3077">0</cx:pt>
          <cx:pt idx="3078">0</cx:pt>
          <cx:pt idx="3079">0</cx:pt>
          <cx:pt idx="3080">0</cx:pt>
          <cx:pt idx="3081">0</cx:pt>
          <cx:pt idx="3082">0</cx:pt>
          <cx:pt idx="3083">0</cx:pt>
          <cx:pt idx="3084">0</cx:pt>
          <cx:pt idx="3085">0</cx:pt>
          <cx:pt idx="3086">0</cx:pt>
          <cx:pt idx="3087">0</cx:pt>
          <cx:pt idx="3088">0</cx:pt>
          <cx:pt idx="3089">0</cx:pt>
          <cx:pt idx="3090">0</cx:pt>
          <cx:pt idx="3091">0</cx:pt>
          <cx:pt idx="3092">0</cx:pt>
          <cx:pt idx="3093">0</cx:pt>
          <cx:pt idx="3094">0</cx:pt>
          <cx:pt idx="3095">0</cx:pt>
          <cx:pt idx="3096">0</cx:pt>
          <cx:pt idx="3097">0</cx:pt>
          <cx:pt idx="3098">0</cx:pt>
          <cx:pt idx="3099">0</cx:pt>
          <cx:pt idx="3100">0</cx:pt>
          <cx:pt idx="3101">0</cx:pt>
          <cx:pt idx="3102">0</cx:pt>
          <cx:pt idx="3103">0</cx:pt>
          <cx:pt idx="3104">0</cx:pt>
          <cx:pt idx="3105">0</cx:pt>
          <cx:pt idx="3106">0</cx:pt>
          <cx:pt idx="3107">0</cx:pt>
          <cx:pt idx="3108">0</cx:pt>
          <cx:pt idx="3109">0</cx:pt>
          <cx:pt idx="3110">0</cx:pt>
          <cx:pt idx="3111">0</cx:pt>
          <cx:pt idx="3112">0</cx:pt>
          <cx:pt idx="3113">0</cx:pt>
          <cx:pt idx="3114">0</cx:pt>
          <cx:pt idx="3115">0</cx:pt>
          <cx:pt idx="3116">0</cx:pt>
          <cx:pt idx="3117">0</cx:pt>
          <cx:pt idx="3118">0</cx:pt>
          <cx:pt idx="3119">0</cx:pt>
          <cx:pt idx="3120">0</cx:pt>
          <cx:pt idx="3121">0</cx:pt>
          <cx:pt idx="3122">0</cx:pt>
          <cx:pt idx="3123">0</cx:pt>
          <cx:pt idx="3124">0</cx:pt>
          <cx:pt idx="3125">0</cx:pt>
          <cx:pt idx="3126">0</cx:pt>
          <cx:pt idx="3127">0</cx:pt>
          <cx:pt idx="3128">0</cx:pt>
          <cx:pt idx="3129">0</cx:pt>
          <cx:pt idx="3130">0</cx:pt>
          <cx:pt idx="3131">0</cx:pt>
          <cx:pt idx="3132">0</cx:pt>
          <cx:pt idx="3133">0</cx:pt>
          <cx:pt idx="3134">0</cx:pt>
          <cx:pt idx="3135">0</cx:pt>
          <cx:pt idx="3136">0</cx:pt>
          <cx:pt idx="3137">0</cx:pt>
          <cx:pt idx="3138">0</cx:pt>
          <cx:pt idx="3139">0</cx:pt>
          <cx:pt idx="3140">0</cx:pt>
          <cx:pt idx="3141">0</cx:pt>
          <cx:pt idx="3142">0</cx:pt>
          <cx:pt idx="3143">0</cx:pt>
          <cx:pt idx="3144">0</cx:pt>
          <cx:pt idx="3145">0</cx:pt>
          <cx:pt idx="3146">0</cx:pt>
          <cx:pt idx="3147">0</cx:pt>
          <cx:pt idx="3148">0</cx:pt>
          <cx:pt idx="3149">0</cx:pt>
          <cx:pt idx="3150">0</cx:pt>
          <cx:pt idx="3151">0</cx:pt>
          <cx:pt idx="3152">0</cx:pt>
          <cx:pt idx="3153">0</cx:pt>
          <cx:pt idx="3154">0</cx:pt>
          <cx:pt idx="3155">0</cx:pt>
          <cx:pt idx="3156">0</cx:pt>
          <cx:pt idx="3157">0</cx:pt>
          <cx:pt idx="3158">0</cx:pt>
          <cx:pt idx="3159">0</cx:pt>
          <cx:pt idx="3160">0</cx:pt>
          <cx:pt idx="3161">0</cx:pt>
          <cx:pt idx="3162">0</cx:pt>
          <cx:pt idx="3163">0</cx:pt>
          <cx:pt idx="3164">0</cx:pt>
          <cx:pt idx="3165">0</cx:pt>
          <cx:pt idx="3166">0</cx:pt>
          <cx:pt idx="3167">0</cx:pt>
          <cx:pt idx="3168">0</cx:pt>
          <cx:pt idx="3169">0</cx:pt>
          <cx:pt idx="3170">0</cx:pt>
          <cx:pt idx="3171">0</cx:pt>
          <cx:pt idx="3172">0</cx:pt>
          <cx:pt idx="3173">0</cx:pt>
          <cx:pt idx="3174">0</cx:pt>
          <cx:pt idx="3175">0</cx:pt>
          <cx:pt idx="3176">0</cx:pt>
          <cx:pt idx="3177">0</cx:pt>
          <cx:pt idx="3178">0</cx:pt>
          <cx:pt idx="3179">0</cx:pt>
          <cx:pt idx="3180">0</cx:pt>
          <cx:pt idx="3181">0</cx:pt>
          <cx:pt idx="3182">0</cx:pt>
          <cx:pt idx="3183">0</cx:pt>
          <cx:pt idx="3184">0</cx:pt>
          <cx:pt idx="3185">0</cx:pt>
          <cx:pt idx="3186">0</cx:pt>
          <cx:pt idx="3187">0</cx:pt>
          <cx:pt idx="3188">0</cx:pt>
          <cx:pt idx="3189">0</cx:pt>
          <cx:pt idx="3190">0</cx:pt>
          <cx:pt idx="3191">0</cx:pt>
          <cx:pt idx="3192">0</cx:pt>
          <cx:pt idx="3193">0</cx:pt>
          <cx:pt idx="3194">0</cx:pt>
          <cx:pt idx="3195">0</cx:pt>
          <cx:pt idx="3196">0</cx:pt>
          <cx:pt idx="3197">0</cx:pt>
          <cx:pt idx="3198">0</cx:pt>
          <cx:pt idx="3199">0</cx:pt>
          <cx:pt idx="3200">0</cx:pt>
          <cx:pt idx="3201">0</cx:pt>
          <cx:pt idx="3202">0</cx:pt>
          <cx:pt idx="3203">0</cx:pt>
          <cx:pt idx="3204">0</cx:pt>
          <cx:pt idx="3205">0</cx:pt>
          <cx:pt idx="3206">0</cx:pt>
          <cx:pt idx="3207">0</cx:pt>
          <cx:pt idx="3208">0</cx:pt>
          <cx:pt idx="3209">0</cx:pt>
          <cx:pt idx="3210">0</cx:pt>
          <cx:pt idx="3211">0</cx:pt>
          <cx:pt idx="3212">0</cx:pt>
          <cx:pt idx="3213">0</cx:pt>
          <cx:pt idx="3214">0</cx:pt>
          <cx:pt idx="3215">0</cx:pt>
          <cx:pt idx="3216">0</cx:pt>
          <cx:pt idx="3217">0</cx:pt>
          <cx:pt idx="3218">0</cx:pt>
          <cx:pt idx="3219">0</cx:pt>
          <cx:pt idx="3220">0</cx:pt>
          <cx:pt idx="3221">0</cx:pt>
          <cx:pt idx="3222">0</cx:pt>
          <cx:pt idx="3223">0</cx:pt>
          <cx:pt idx="3224">0</cx:pt>
          <cx:pt idx="3225">0</cx:pt>
          <cx:pt idx="3226">0</cx:pt>
          <cx:pt idx="3227">0</cx:pt>
          <cx:pt idx="3228">0</cx:pt>
          <cx:pt idx="3229">0</cx:pt>
          <cx:pt idx="3230">0</cx:pt>
          <cx:pt idx="3231">0</cx:pt>
          <cx:pt idx="3232">0</cx:pt>
          <cx:pt idx="3233">0</cx:pt>
          <cx:pt idx="3234">0</cx:pt>
          <cx:pt idx="3235">0</cx:pt>
          <cx:pt idx="3236">0</cx:pt>
          <cx:pt idx="3237">0</cx:pt>
          <cx:pt idx="3238">0</cx:pt>
          <cx:pt idx="3239">0</cx:pt>
          <cx:pt idx="3240">0</cx:pt>
          <cx:pt idx="3241">0</cx:pt>
          <cx:pt idx="3242">0</cx:pt>
          <cx:pt idx="3243">0</cx:pt>
          <cx:pt idx="3244">0</cx:pt>
          <cx:pt idx="3245">0</cx:pt>
          <cx:pt idx="3246">0</cx:pt>
          <cx:pt idx="3247">0</cx:pt>
          <cx:pt idx="3248">0</cx:pt>
          <cx:pt idx="3249">0</cx:pt>
          <cx:pt idx="3250">0</cx:pt>
          <cx:pt idx="3251">0</cx:pt>
          <cx:pt idx="3252">0</cx:pt>
          <cx:pt idx="3253">0</cx:pt>
          <cx:pt idx="3254">0</cx:pt>
          <cx:pt idx="3255">0</cx:pt>
          <cx:pt idx="3256">0</cx:pt>
          <cx:pt idx="3257">0</cx:pt>
          <cx:pt idx="3258">0</cx:pt>
          <cx:pt idx="3259">0</cx:pt>
          <cx:pt idx="3260">0</cx:pt>
          <cx:pt idx="3261">0</cx:pt>
          <cx:pt idx="3262">0</cx:pt>
          <cx:pt idx="3263">0</cx:pt>
          <cx:pt idx="3264">0</cx:pt>
          <cx:pt idx="3265">0</cx:pt>
          <cx:pt idx="3266">0</cx:pt>
          <cx:pt idx="3267">0</cx:pt>
          <cx:pt idx="3268">0</cx:pt>
          <cx:pt idx="3269">0</cx:pt>
          <cx:pt idx="3270">0</cx:pt>
          <cx:pt idx="3271">0</cx:pt>
          <cx:pt idx="3272">0</cx:pt>
          <cx:pt idx="3273">0</cx:pt>
          <cx:pt idx="3274">0</cx:pt>
          <cx:pt idx="3275">0</cx:pt>
          <cx:pt idx="3276">0</cx:pt>
          <cx:pt idx="3277">0</cx:pt>
          <cx:pt idx="3278">0</cx:pt>
          <cx:pt idx="3279">0</cx:pt>
          <cx:pt idx="3280">0</cx:pt>
          <cx:pt idx="3281">0</cx:pt>
          <cx:pt idx="3282">0</cx:pt>
          <cx:pt idx="3283">0</cx:pt>
          <cx:pt idx="3284">0</cx:pt>
          <cx:pt idx="3285">0</cx:pt>
          <cx:pt idx="3286">0</cx:pt>
          <cx:pt idx="3287">0</cx:pt>
          <cx:pt idx="3288">0</cx:pt>
          <cx:pt idx="3289">0</cx:pt>
          <cx:pt idx="3290">0</cx:pt>
          <cx:pt idx="3291">0</cx:pt>
          <cx:pt idx="3292">0</cx:pt>
          <cx:pt idx="3293">0</cx:pt>
          <cx:pt idx="3294">0</cx:pt>
          <cx:pt idx="3295">0</cx:pt>
          <cx:pt idx="3296">0</cx:pt>
          <cx:pt idx="3297">0</cx:pt>
          <cx:pt idx="3298">0</cx:pt>
          <cx:pt idx="3299">0</cx:pt>
          <cx:pt idx="3300">0</cx:pt>
          <cx:pt idx="3301">0</cx:pt>
          <cx:pt idx="3302">0</cx:pt>
          <cx:pt idx="3303">0</cx:pt>
          <cx:pt idx="3304">0</cx:pt>
          <cx:pt idx="3305">0</cx:pt>
          <cx:pt idx="3306">0</cx:pt>
          <cx:pt idx="3307">0</cx:pt>
          <cx:pt idx="3308">0</cx:pt>
          <cx:pt idx="3309">0</cx:pt>
          <cx:pt idx="3310">0</cx:pt>
          <cx:pt idx="3311">0</cx:pt>
          <cx:pt idx="3312">0</cx:pt>
          <cx:pt idx="3313">0</cx:pt>
          <cx:pt idx="3314">0</cx:pt>
          <cx:pt idx="3315">0</cx:pt>
          <cx:pt idx="3316">0</cx:pt>
          <cx:pt idx="3317">0</cx:pt>
          <cx:pt idx="3318">0</cx:pt>
          <cx:pt idx="3319">0</cx:pt>
          <cx:pt idx="3320">0</cx:pt>
          <cx:pt idx="3321">0</cx:pt>
          <cx:pt idx="3322">0</cx:pt>
          <cx:pt idx="3323">0</cx:pt>
          <cx:pt idx="3324">0</cx:pt>
          <cx:pt idx="3325">0</cx:pt>
          <cx:pt idx="3326">0</cx:pt>
          <cx:pt idx="3327">0</cx:pt>
          <cx:pt idx="3328">0</cx:pt>
          <cx:pt idx="3329">0</cx:pt>
          <cx:pt idx="3330">0</cx:pt>
          <cx:pt idx="3331">0</cx:pt>
          <cx:pt idx="3332">0</cx:pt>
          <cx:pt idx="3333">0</cx:pt>
          <cx:pt idx="3334">0</cx:pt>
          <cx:pt idx="3335">0</cx:pt>
          <cx:pt idx="3336">0</cx:pt>
          <cx:pt idx="3337">0</cx:pt>
          <cx:pt idx="3338">0</cx:pt>
          <cx:pt idx="3339">0</cx:pt>
          <cx:pt idx="3340">0</cx:pt>
          <cx:pt idx="3341">0</cx:pt>
          <cx:pt idx="3342">0</cx:pt>
          <cx:pt idx="3343">0</cx:pt>
          <cx:pt idx="3344">0</cx:pt>
          <cx:pt idx="3345">0</cx:pt>
          <cx:pt idx="3346">0</cx:pt>
          <cx:pt idx="3347">0</cx:pt>
          <cx:pt idx="3348">0</cx:pt>
          <cx:pt idx="3349">0</cx:pt>
          <cx:pt idx="3350">0</cx:pt>
          <cx:pt idx="3351">0</cx:pt>
          <cx:pt idx="3352">0</cx:pt>
          <cx:pt idx="3353">0</cx:pt>
          <cx:pt idx="3354">0</cx:pt>
          <cx:pt idx="3355">0</cx:pt>
          <cx:pt idx="3356">0</cx:pt>
          <cx:pt idx="3357">0</cx:pt>
          <cx:pt idx="3358">0</cx:pt>
          <cx:pt idx="3359">0</cx:pt>
          <cx:pt idx="3360">0</cx:pt>
          <cx:pt idx="3361">0</cx:pt>
          <cx:pt idx="3362">0</cx:pt>
          <cx:pt idx="3363">0</cx:pt>
          <cx:pt idx="3364">0</cx:pt>
          <cx:pt idx="3365">0</cx:pt>
          <cx:pt idx="3366">0</cx:pt>
          <cx:pt idx="3367">0</cx:pt>
          <cx:pt idx="3368">0</cx:pt>
          <cx:pt idx="3369">0</cx:pt>
          <cx:pt idx="3370">0</cx:pt>
          <cx:pt idx="3371">0</cx:pt>
          <cx:pt idx="3372">0</cx:pt>
          <cx:pt idx="3373">0</cx:pt>
          <cx:pt idx="3374">0</cx:pt>
          <cx:pt idx="3375">0</cx:pt>
          <cx:pt idx="3376">0</cx:pt>
          <cx:pt idx="3377">0</cx:pt>
          <cx:pt idx="3378">0</cx:pt>
          <cx:pt idx="3379">0</cx:pt>
          <cx:pt idx="3380">0</cx:pt>
          <cx:pt idx="3381">0</cx:pt>
          <cx:pt idx="3382">0</cx:pt>
          <cx:pt idx="3383">0</cx:pt>
          <cx:pt idx="3384">0</cx:pt>
          <cx:pt idx="3385">0</cx:pt>
          <cx:pt idx="3386">0</cx:pt>
          <cx:pt idx="3387">0</cx:pt>
          <cx:pt idx="3388">0</cx:pt>
          <cx:pt idx="3389">0</cx:pt>
          <cx:pt idx="3390">0</cx:pt>
          <cx:pt idx="3391">0</cx:pt>
          <cx:pt idx="3392">0</cx:pt>
          <cx:pt idx="3393">0</cx:pt>
          <cx:pt idx="3394">0</cx:pt>
          <cx:pt idx="3395">0</cx:pt>
          <cx:pt idx="3396">0</cx:pt>
          <cx:pt idx="3397">0</cx:pt>
          <cx:pt idx="3398">0</cx:pt>
          <cx:pt idx="3399">0</cx:pt>
          <cx:pt idx="3400">0</cx:pt>
          <cx:pt idx="3401">0</cx:pt>
          <cx:pt idx="3402">0</cx:pt>
          <cx:pt idx="3403">0</cx:pt>
          <cx:pt idx="3404">0</cx:pt>
          <cx:pt idx="3405">0</cx:pt>
          <cx:pt idx="3406">0</cx:pt>
          <cx:pt idx="3407">0</cx:pt>
          <cx:pt idx="3408">0</cx:pt>
          <cx:pt idx="3409">0</cx:pt>
          <cx:pt idx="3410">0</cx:pt>
          <cx:pt idx="3411">0</cx:pt>
          <cx:pt idx="3412">0</cx:pt>
          <cx:pt idx="3413">0</cx:pt>
          <cx:pt idx="3414">0</cx:pt>
          <cx:pt idx="3415">0</cx:pt>
          <cx:pt idx="3416">0</cx:pt>
          <cx:pt idx="3417">0</cx:pt>
          <cx:pt idx="3418">0</cx:pt>
          <cx:pt idx="3419">0</cx:pt>
          <cx:pt idx="3420">0</cx:pt>
          <cx:pt idx="3421">0</cx:pt>
          <cx:pt idx="3422">0</cx:pt>
          <cx:pt idx="3423">0</cx:pt>
          <cx:pt idx="3424">0</cx:pt>
          <cx:pt idx="3425">0</cx:pt>
          <cx:pt idx="3426">0</cx:pt>
          <cx:pt idx="3427">0</cx:pt>
          <cx:pt idx="3428">0</cx:pt>
          <cx:pt idx="3429">0</cx:pt>
          <cx:pt idx="3430">0</cx:pt>
          <cx:pt idx="3431">0</cx:pt>
          <cx:pt idx="3432">0</cx:pt>
          <cx:pt idx="3433">0</cx:pt>
          <cx:pt idx="3434">0</cx:pt>
          <cx:pt idx="3435">0</cx:pt>
          <cx:pt idx="3436">0</cx:pt>
          <cx:pt idx="3437">0</cx:pt>
          <cx:pt idx="3438">0</cx:pt>
          <cx:pt idx="3439">0</cx:pt>
          <cx:pt idx="3440">0</cx:pt>
          <cx:pt idx="3441">0</cx:pt>
          <cx:pt idx="3442">0</cx:pt>
          <cx:pt idx="3443">0</cx:pt>
          <cx:pt idx="3444">0</cx:pt>
          <cx:pt idx="3445">0</cx:pt>
          <cx:pt idx="3446">0</cx:pt>
          <cx:pt idx="3447">0</cx:pt>
          <cx:pt idx="3448">0</cx:pt>
          <cx:pt idx="3449">0</cx:pt>
          <cx:pt idx="3450">0</cx:pt>
          <cx:pt idx="3451">0</cx:pt>
          <cx:pt idx="3452">0</cx:pt>
          <cx:pt idx="3453">0</cx:pt>
          <cx:pt idx="3454">0</cx:pt>
          <cx:pt idx="3455">0</cx:pt>
          <cx:pt idx="3456">0</cx:pt>
          <cx:pt idx="3457">0</cx:pt>
          <cx:pt idx="3458">0</cx:pt>
          <cx:pt idx="3459">0</cx:pt>
          <cx:pt idx="3460">0</cx:pt>
          <cx:pt idx="3461">0</cx:pt>
          <cx:pt idx="3462">0</cx:pt>
          <cx:pt idx="3463">0</cx:pt>
          <cx:pt idx="3464">0</cx:pt>
          <cx:pt idx="3465">0</cx:pt>
          <cx:pt idx="3466">0</cx:pt>
          <cx:pt idx="3467">0</cx:pt>
          <cx:pt idx="3468">0</cx:pt>
          <cx:pt idx="3469">0</cx:pt>
          <cx:pt idx="3470">0</cx:pt>
          <cx:pt idx="3471">0</cx:pt>
          <cx:pt idx="3472">0</cx:pt>
          <cx:pt idx="3473">0</cx:pt>
          <cx:pt idx="3474">0</cx:pt>
          <cx:pt idx="3475">0</cx:pt>
          <cx:pt idx="3476">0</cx:pt>
          <cx:pt idx="3477">0</cx:pt>
          <cx:pt idx="3478">0</cx:pt>
          <cx:pt idx="3479">0</cx:pt>
          <cx:pt idx="3480">0</cx:pt>
          <cx:pt idx="3481">0</cx:pt>
          <cx:pt idx="3482">0</cx:pt>
          <cx:pt idx="3483">0</cx:pt>
          <cx:pt idx="3484">0</cx:pt>
          <cx:pt idx="3485">0</cx:pt>
          <cx:pt idx="3486">0</cx:pt>
          <cx:pt idx="3487">0</cx:pt>
          <cx:pt idx="3488">0</cx:pt>
          <cx:pt idx="3489">0</cx:pt>
          <cx:pt idx="3490">0</cx:pt>
          <cx:pt idx="3491">0</cx:pt>
          <cx:pt idx="3492">0</cx:pt>
          <cx:pt idx="3493">0</cx:pt>
          <cx:pt idx="3494">0</cx:pt>
          <cx:pt idx="3495">0</cx:pt>
          <cx:pt idx="3496">0</cx:pt>
          <cx:pt idx="3497">0</cx:pt>
          <cx:pt idx="3498">0</cx:pt>
          <cx:pt idx="3499">0</cx:pt>
          <cx:pt idx="3500">0</cx:pt>
          <cx:pt idx="3501">0</cx:pt>
          <cx:pt idx="3502">0</cx:pt>
          <cx:pt idx="3503">0</cx:pt>
          <cx:pt idx="3504">0</cx:pt>
          <cx:pt idx="3505">0</cx:pt>
          <cx:pt idx="3506">0</cx:pt>
          <cx:pt idx="3507">0</cx:pt>
          <cx:pt idx="3508">0</cx:pt>
          <cx:pt idx="3509">0</cx:pt>
          <cx:pt idx="3510">0</cx:pt>
          <cx:pt idx="3511">0</cx:pt>
          <cx:pt idx="3512">0</cx:pt>
          <cx:pt idx="3513">0</cx:pt>
          <cx:pt idx="3514">0</cx:pt>
          <cx:pt idx="3515">0</cx:pt>
          <cx:pt idx="3516">0</cx:pt>
          <cx:pt idx="3517">0</cx:pt>
          <cx:pt idx="3518">0</cx:pt>
          <cx:pt idx="3519">0</cx:pt>
          <cx:pt idx="3520">0</cx:pt>
          <cx:pt idx="3521">0</cx:pt>
          <cx:pt idx="3522">0</cx:pt>
          <cx:pt idx="3523">0</cx:pt>
          <cx:pt idx="3524">0</cx:pt>
          <cx:pt idx="3525">0</cx:pt>
          <cx:pt idx="3526">0</cx:pt>
          <cx:pt idx="3527">0</cx:pt>
          <cx:pt idx="3528">0</cx:pt>
          <cx:pt idx="3529">0</cx:pt>
          <cx:pt idx="3530">0</cx:pt>
          <cx:pt idx="3531">0</cx:pt>
          <cx:pt idx="3532">0</cx:pt>
          <cx:pt idx="3533">0</cx:pt>
          <cx:pt idx="3534">0</cx:pt>
          <cx:pt idx="3535">0</cx:pt>
          <cx:pt idx="3536">0</cx:pt>
          <cx:pt idx="3537">0</cx:pt>
          <cx:pt idx="3538">0</cx:pt>
          <cx:pt idx="3539">0</cx:pt>
          <cx:pt idx="3540">0</cx:pt>
          <cx:pt idx="3541">0</cx:pt>
          <cx:pt idx="3542">0</cx:pt>
          <cx:pt idx="3543">0</cx:pt>
          <cx:pt idx="3544">0</cx:pt>
          <cx:pt idx="3545">0</cx:pt>
          <cx:pt idx="3546">0</cx:pt>
          <cx:pt idx="3547">0</cx:pt>
          <cx:pt idx="3548">0</cx:pt>
          <cx:pt idx="3549">0</cx:pt>
          <cx:pt idx="3550">0</cx:pt>
          <cx:pt idx="3551">0</cx:pt>
          <cx:pt idx="3552">0</cx:pt>
          <cx:pt idx="3553">0</cx:pt>
          <cx:pt idx="3554">0</cx:pt>
          <cx:pt idx="3555">0</cx:pt>
          <cx:pt idx="3556">0</cx:pt>
          <cx:pt idx="3557">0</cx:pt>
          <cx:pt idx="3558">0</cx:pt>
          <cx:pt idx="3559">0</cx:pt>
          <cx:pt idx="3560">0</cx:pt>
          <cx:pt idx="3561">0</cx:pt>
          <cx:pt idx="3562">0</cx:pt>
          <cx:pt idx="3563">0</cx:pt>
          <cx:pt idx="3564">0</cx:pt>
          <cx:pt idx="3565">0</cx:pt>
          <cx:pt idx="3566">0</cx:pt>
          <cx:pt idx="3567">0</cx:pt>
          <cx:pt idx="3568">0</cx:pt>
          <cx:pt idx="3569">0</cx:pt>
          <cx:pt idx="3570">0</cx:pt>
          <cx:pt idx="3571">0</cx:pt>
          <cx:pt idx="3572">0</cx:pt>
          <cx:pt idx="3573">0</cx:pt>
          <cx:pt idx="3574">0</cx:pt>
          <cx:pt idx="3575">0</cx:pt>
          <cx:pt idx="3576">0</cx:pt>
          <cx:pt idx="3577">0</cx:pt>
          <cx:pt idx="3578">0</cx:pt>
          <cx:pt idx="3579">0</cx:pt>
          <cx:pt idx="3580">0</cx:pt>
          <cx:pt idx="3581">0</cx:pt>
          <cx:pt idx="3582">0</cx:pt>
          <cx:pt idx="3583">0</cx:pt>
          <cx:pt idx="3584">0</cx:pt>
          <cx:pt idx="3585">0</cx:pt>
          <cx:pt idx="3586">0</cx:pt>
          <cx:pt idx="3587">0</cx:pt>
          <cx:pt idx="3588">0</cx:pt>
          <cx:pt idx="3589">0</cx:pt>
          <cx:pt idx="3590">0</cx:pt>
          <cx:pt idx="3591">0</cx:pt>
          <cx:pt idx="3592">0</cx:pt>
          <cx:pt idx="3593">0</cx:pt>
          <cx:pt idx="3594">0</cx:pt>
          <cx:pt idx="3595">0</cx:pt>
          <cx:pt idx="3596">0</cx:pt>
          <cx:pt idx="3597">0</cx:pt>
          <cx:pt idx="3598">0</cx:pt>
          <cx:pt idx="3599">0</cx:pt>
          <cx:pt idx="3600">0</cx:pt>
          <cx:pt idx="3601">0</cx:pt>
          <cx:pt idx="3602">0</cx:pt>
          <cx:pt idx="3603">0</cx:pt>
          <cx:pt idx="3604">0</cx:pt>
          <cx:pt idx="3605">0</cx:pt>
          <cx:pt idx="3606">0</cx:pt>
          <cx:pt idx="3607">0</cx:pt>
          <cx:pt idx="3608">0</cx:pt>
          <cx:pt idx="3609">0</cx:pt>
          <cx:pt idx="3610">0</cx:pt>
          <cx:pt idx="3611">0</cx:pt>
          <cx:pt idx="3612">0</cx:pt>
          <cx:pt idx="3613">0</cx:pt>
          <cx:pt idx="3614">0</cx:pt>
          <cx:pt idx="3615">0</cx:pt>
          <cx:pt idx="3616">0</cx:pt>
          <cx:pt idx="3617">0</cx:pt>
          <cx:pt idx="3618">0</cx:pt>
          <cx:pt idx="3619">0</cx:pt>
          <cx:pt idx="3620">0</cx:pt>
          <cx:pt idx="3621">0</cx:pt>
          <cx:pt idx="3622">0</cx:pt>
          <cx:pt idx="3623">0</cx:pt>
          <cx:pt idx="3624">0</cx:pt>
          <cx:pt idx="3625">0</cx:pt>
          <cx:pt idx="3626">0</cx:pt>
          <cx:pt idx="3627">0</cx:pt>
          <cx:pt idx="3628">0</cx:pt>
          <cx:pt idx="3629">0</cx:pt>
          <cx:pt idx="3630">0</cx:pt>
          <cx:pt idx="3631">0</cx:pt>
          <cx:pt idx="3632">0</cx:pt>
          <cx:pt idx="3633">0</cx:pt>
          <cx:pt idx="3634">0</cx:pt>
          <cx:pt idx="3635">0</cx:pt>
          <cx:pt idx="3636">0</cx:pt>
          <cx:pt idx="3637">0</cx:pt>
          <cx:pt idx="3638">0</cx:pt>
          <cx:pt idx="3639">0</cx:pt>
          <cx:pt idx="3640">0</cx:pt>
          <cx:pt idx="3641">0</cx:pt>
          <cx:pt idx="3642">0</cx:pt>
          <cx:pt idx="3643">0</cx:pt>
          <cx:pt idx="3644">0</cx:pt>
          <cx:pt idx="3645">0</cx:pt>
          <cx:pt idx="3646">0</cx:pt>
          <cx:pt idx="3647">0</cx:pt>
          <cx:pt idx="3648">0</cx:pt>
          <cx:pt idx="3649">0</cx:pt>
          <cx:pt idx="3650">0</cx:pt>
          <cx:pt idx="3651">0</cx:pt>
          <cx:pt idx="3652">0</cx:pt>
          <cx:pt idx="3653">0</cx:pt>
          <cx:pt idx="3654">0</cx:pt>
          <cx:pt idx="3655">0</cx:pt>
          <cx:pt idx="3656">0</cx:pt>
          <cx:pt idx="3657">0</cx:pt>
          <cx:pt idx="3658">0</cx:pt>
          <cx:pt idx="3659">0</cx:pt>
          <cx:pt idx="3660">0</cx:pt>
          <cx:pt idx="3661">0</cx:pt>
          <cx:pt idx="3662">0</cx:pt>
          <cx:pt idx="3663">0</cx:pt>
          <cx:pt idx="3664">0</cx:pt>
          <cx:pt idx="3665">0</cx:pt>
          <cx:pt idx="3666">0</cx:pt>
          <cx:pt idx="3667">0</cx:pt>
          <cx:pt idx="3668">0</cx:pt>
          <cx:pt idx="3669">0</cx:pt>
          <cx:pt idx="3670">0</cx:pt>
          <cx:pt idx="3671">0</cx:pt>
          <cx:pt idx="3672">0</cx:pt>
          <cx:pt idx="3673">0</cx:pt>
          <cx:pt idx="3674">0</cx:pt>
          <cx:pt idx="3675">0</cx:pt>
          <cx:pt idx="3676">0</cx:pt>
          <cx:pt idx="3677">0</cx:pt>
          <cx:pt idx="3678">0</cx:pt>
          <cx:pt idx="3679">0</cx:pt>
          <cx:pt idx="3680">0</cx:pt>
          <cx:pt idx="3681">0</cx:pt>
          <cx:pt idx="3682">0</cx:pt>
          <cx:pt idx="3683">0</cx:pt>
          <cx:pt idx="3684">0</cx:pt>
          <cx:pt idx="3685">0</cx:pt>
          <cx:pt idx="3686">0</cx:pt>
          <cx:pt idx="3687">0</cx:pt>
          <cx:pt idx="3688">0</cx:pt>
          <cx:pt idx="3689">0</cx:pt>
          <cx:pt idx="3690">0</cx:pt>
          <cx:pt idx="3691">0</cx:pt>
          <cx:pt idx="3692">0</cx:pt>
          <cx:pt idx="3693">0</cx:pt>
          <cx:pt idx="3694">0</cx:pt>
          <cx:pt idx="3695">0</cx:pt>
          <cx:pt idx="3696">0</cx:pt>
          <cx:pt idx="3697">0</cx:pt>
          <cx:pt idx="3698">0</cx:pt>
          <cx:pt idx="3699">0</cx:pt>
          <cx:pt idx="3700">0</cx:pt>
          <cx:pt idx="3701">0</cx:pt>
          <cx:pt idx="3702">0</cx:pt>
          <cx:pt idx="3703">0</cx:pt>
          <cx:pt idx="3704">0</cx:pt>
          <cx:pt idx="3705">0</cx:pt>
          <cx:pt idx="3706">0</cx:pt>
          <cx:pt idx="3707">0</cx:pt>
          <cx:pt idx="3708">0</cx:pt>
          <cx:pt idx="3709">0</cx:pt>
          <cx:pt idx="3710">0</cx:pt>
          <cx:pt idx="3711">0</cx:pt>
          <cx:pt idx="3712">0</cx:pt>
          <cx:pt idx="3713">0</cx:pt>
          <cx:pt idx="3714">0</cx:pt>
          <cx:pt idx="3715">0</cx:pt>
          <cx:pt idx="3716">0</cx:pt>
          <cx:pt idx="3717">0</cx:pt>
          <cx:pt idx="3718">0</cx:pt>
          <cx:pt idx="3719">0</cx:pt>
          <cx:pt idx="3720">0</cx:pt>
          <cx:pt idx="3721">0</cx:pt>
          <cx:pt idx="3722">0</cx:pt>
          <cx:pt idx="3723">0</cx:pt>
          <cx:pt idx="3724">0</cx:pt>
          <cx:pt idx="3725">0</cx:pt>
          <cx:pt idx="3726">0</cx:pt>
          <cx:pt idx="3727">0</cx:pt>
          <cx:pt idx="3728">0</cx:pt>
          <cx:pt idx="3729">0</cx:pt>
          <cx:pt idx="3730">0</cx:pt>
          <cx:pt idx="3731">0</cx:pt>
          <cx:pt idx="3732">0</cx:pt>
          <cx:pt idx="3733">0</cx:pt>
          <cx:pt idx="3734">0</cx:pt>
          <cx:pt idx="3735">0</cx:pt>
          <cx:pt idx="3736">0</cx:pt>
          <cx:pt idx="3737">0</cx:pt>
          <cx:pt idx="3738">0</cx:pt>
          <cx:pt idx="3739">0</cx:pt>
          <cx:pt idx="3740">0</cx:pt>
          <cx:pt idx="3741">0</cx:pt>
          <cx:pt idx="3742">0</cx:pt>
          <cx:pt idx="3743">0</cx:pt>
          <cx:pt idx="3744">0</cx:pt>
          <cx:pt idx="3745">0</cx:pt>
          <cx:pt idx="3746">0</cx:pt>
          <cx:pt idx="3747">0</cx:pt>
          <cx:pt idx="3748">0</cx:pt>
          <cx:pt idx="3749">0</cx:pt>
          <cx:pt idx="3750">0</cx:pt>
          <cx:pt idx="3751">0</cx:pt>
          <cx:pt idx="3752">0</cx:pt>
          <cx:pt idx="3753">0</cx:pt>
          <cx:pt idx="3754">0</cx:pt>
          <cx:pt idx="3755">0</cx:pt>
          <cx:pt idx="3756">0</cx:pt>
          <cx:pt idx="3757">0</cx:pt>
          <cx:pt idx="3758">0</cx:pt>
          <cx:pt idx="3759">0</cx:pt>
          <cx:pt idx="3760">0</cx:pt>
          <cx:pt idx="3761">0</cx:pt>
          <cx:pt idx="3762">0</cx:pt>
          <cx:pt idx="3763">0</cx:pt>
          <cx:pt idx="3764">0</cx:pt>
          <cx:pt idx="3765">0</cx:pt>
          <cx:pt idx="3766">0</cx:pt>
          <cx:pt idx="3767">0</cx:pt>
          <cx:pt idx="3768">0</cx:pt>
          <cx:pt idx="3769">0</cx:pt>
          <cx:pt idx="3770">0</cx:pt>
          <cx:pt idx="3771">0</cx:pt>
          <cx:pt idx="3772">0</cx:pt>
          <cx:pt idx="3773">0</cx:pt>
          <cx:pt idx="3774">0</cx:pt>
          <cx:pt idx="3775">0</cx:pt>
          <cx:pt idx="3776">0</cx:pt>
          <cx:pt idx="3777">0</cx:pt>
          <cx:pt idx="3778">0</cx:pt>
          <cx:pt idx="3779">0</cx:pt>
          <cx:pt idx="3780">0</cx:pt>
          <cx:pt idx="3781">0</cx:pt>
          <cx:pt idx="3782">0</cx:pt>
          <cx:pt idx="3783">0</cx:pt>
          <cx:pt idx="3784">0</cx:pt>
          <cx:pt idx="3785">0</cx:pt>
          <cx:pt idx="3786">0</cx:pt>
          <cx:pt idx="3787">0</cx:pt>
          <cx:pt idx="3788">0</cx:pt>
          <cx:pt idx="3789">0</cx:pt>
          <cx:pt idx="3790">0</cx:pt>
          <cx:pt idx="3791">0</cx:pt>
          <cx:pt idx="3792">0</cx:pt>
          <cx:pt idx="3793">0</cx:pt>
          <cx:pt idx="3794">0</cx:pt>
          <cx:pt idx="3795">0</cx:pt>
          <cx:pt idx="3796">0</cx:pt>
          <cx:pt idx="3797">0</cx:pt>
          <cx:pt idx="3798">0</cx:pt>
          <cx:pt idx="3799">0</cx:pt>
          <cx:pt idx="3800">0</cx:pt>
          <cx:pt idx="3801">0</cx:pt>
          <cx:pt idx="3802">0</cx:pt>
          <cx:pt idx="3803">0</cx:pt>
          <cx:pt idx="3804">0</cx:pt>
          <cx:pt idx="3805">0</cx:pt>
          <cx:pt idx="3806">0</cx:pt>
          <cx:pt idx="3807">0</cx:pt>
          <cx:pt idx="3808">0</cx:pt>
          <cx:pt idx="3809">0</cx:pt>
          <cx:pt idx="3810">0</cx:pt>
          <cx:pt idx="3811">0</cx:pt>
          <cx:pt idx="3812">0</cx:pt>
          <cx:pt idx="3813">0</cx:pt>
          <cx:pt idx="3814">0</cx:pt>
          <cx:pt idx="3815">0</cx:pt>
          <cx:pt idx="3816">0</cx:pt>
          <cx:pt idx="3817">0</cx:pt>
          <cx:pt idx="3818">0</cx:pt>
          <cx:pt idx="3819">0</cx:pt>
          <cx:pt idx="3820">0</cx:pt>
          <cx:pt idx="3821">0</cx:pt>
          <cx:pt idx="3822">0</cx:pt>
          <cx:pt idx="3823">0</cx:pt>
          <cx:pt idx="3824">0</cx:pt>
          <cx:pt idx="3825">0</cx:pt>
          <cx:pt idx="3826">0</cx:pt>
          <cx:pt idx="3827">0</cx:pt>
          <cx:pt idx="3828">0</cx:pt>
          <cx:pt idx="3829">0</cx:pt>
          <cx:pt idx="3830">0</cx:pt>
          <cx:pt idx="3831">0</cx:pt>
          <cx:pt idx="3832">0</cx:pt>
          <cx:pt idx="3833">0</cx:pt>
          <cx:pt idx="3834">0</cx:pt>
          <cx:pt idx="3835">0</cx:pt>
          <cx:pt idx="3836">0</cx:pt>
          <cx:pt idx="3837">0</cx:pt>
          <cx:pt idx="3838">0</cx:pt>
          <cx:pt idx="3839">0</cx:pt>
          <cx:pt idx="3840">0</cx:pt>
          <cx:pt idx="3841">0</cx:pt>
          <cx:pt idx="3842">0</cx:pt>
          <cx:pt idx="3843">0</cx:pt>
          <cx:pt idx="3844">0</cx:pt>
          <cx:pt idx="3845">0</cx:pt>
          <cx:pt idx="3846">0</cx:pt>
          <cx:pt idx="3847">0</cx:pt>
          <cx:pt idx="3848">0</cx:pt>
          <cx:pt idx="3849">0</cx:pt>
          <cx:pt idx="3850">0</cx:pt>
          <cx:pt idx="3851">0</cx:pt>
          <cx:pt idx="3852">0</cx:pt>
          <cx:pt idx="3853">0</cx:pt>
          <cx:pt idx="3854">0</cx:pt>
          <cx:pt idx="3855">0</cx:pt>
          <cx:pt idx="3856">0</cx:pt>
          <cx:pt idx="3857">0</cx:pt>
          <cx:pt idx="3858">0</cx:pt>
          <cx:pt idx="3859">0</cx:pt>
          <cx:pt idx="3860">0</cx:pt>
          <cx:pt idx="3861">0</cx:pt>
          <cx:pt idx="3862">0</cx:pt>
          <cx:pt idx="3863">0</cx:pt>
          <cx:pt idx="3864">0</cx:pt>
          <cx:pt idx="3865">0</cx:pt>
          <cx:pt idx="3866">0</cx:pt>
          <cx:pt idx="3867">0</cx:pt>
          <cx:pt idx="3868">0</cx:pt>
          <cx:pt idx="3869">0</cx:pt>
          <cx:pt idx="3870">0</cx:pt>
          <cx:pt idx="3871">0</cx:pt>
          <cx:pt idx="3872">0</cx:pt>
          <cx:pt idx="3873">0</cx:pt>
          <cx:pt idx="3874">0</cx:pt>
          <cx:pt idx="3875">0</cx:pt>
          <cx:pt idx="3876">0</cx:pt>
          <cx:pt idx="3877">0</cx:pt>
          <cx:pt idx="3878">0</cx:pt>
          <cx:pt idx="3879">0</cx:pt>
          <cx:pt idx="3880">0</cx:pt>
          <cx:pt idx="3881">0</cx:pt>
          <cx:pt idx="3882">0</cx:pt>
          <cx:pt idx="3883">0</cx:pt>
          <cx:pt idx="3884">0</cx:pt>
          <cx:pt idx="3885">0</cx:pt>
          <cx:pt idx="3886">0</cx:pt>
          <cx:pt idx="3887">0</cx:pt>
          <cx:pt idx="3888">0</cx:pt>
          <cx:pt idx="3889">0</cx:pt>
          <cx:pt idx="3890">0</cx:pt>
          <cx:pt idx="3891">0</cx:pt>
          <cx:pt idx="3892">0</cx:pt>
          <cx:pt idx="3893">0</cx:pt>
          <cx:pt idx="3894">0</cx:pt>
          <cx:pt idx="3895">0</cx:pt>
          <cx:pt idx="3896">0</cx:pt>
          <cx:pt idx="3897">0</cx:pt>
          <cx:pt idx="3898">0</cx:pt>
          <cx:pt idx="3899">0</cx:pt>
          <cx:pt idx="3900">0</cx:pt>
          <cx:pt idx="3901">0</cx:pt>
          <cx:pt idx="3902">0</cx:pt>
          <cx:pt idx="3903">0</cx:pt>
          <cx:pt idx="3904">0</cx:pt>
          <cx:pt idx="3905">0</cx:pt>
          <cx:pt idx="3906">0</cx:pt>
          <cx:pt idx="3907">0</cx:pt>
          <cx:pt idx="3908">0</cx:pt>
          <cx:pt idx="3909">0</cx:pt>
          <cx:pt idx="3910">0</cx:pt>
          <cx:pt idx="3911">0</cx:pt>
          <cx:pt idx="3912">0</cx:pt>
          <cx:pt idx="3913">0</cx:pt>
          <cx:pt idx="3914">0</cx:pt>
          <cx:pt idx="3915">0</cx:pt>
          <cx:pt idx="3916">0</cx:pt>
          <cx:pt idx="3917">0</cx:pt>
          <cx:pt idx="3918">0</cx:pt>
          <cx:pt idx="3919">0</cx:pt>
          <cx:pt idx="3920">0</cx:pt>
          <cx:pt idx="3921">0</cx:pt>
          <cx:pt idx="3922">0</cx:pt>
          <cx:pt idx="3923">0</cx:pt>
          <cx:pt idx="3924">0</cx:pt>
          <cx:pt idx="3925">0</cx:pt>
          <cx:pt idx="3926">0</cx:pt>
          <cx:pt idx="3927">0</cx:pt>
          <cx:pt idx="3928">0</cx:pt>
          <cx:pt idx="3929">0</cx:pt>
          <cx:pt idx="3930">0</cx:pt>
          <cx:pt idx="3931">0</cx:pt>
          <cx:pt idx="3932">0</cx:pt>
          <cx:pt idx="3933">0</cx:pt>
          <cx:pt idx="3934">0</cx:pt>
          <cx:pt idx="3935">0</cx:pt>
          <cx:pt idx="3936">0</cx:pt>
          <cx:pt idx="3937">0</cx:pt>
          <cx:pt idx="3938">0</cx:pt>
          <cx:pt idx="3939">0</cx:pt>
          <cx:pt idx="3940">0</cx:pt>
          <cx:pt idx="3941">0</cx:pt>
          <cx:pt idx="3942">0</cx:pt>
          <cx:pt idx="3943">0</cx:pt>
          <cx:pt idx="3944">0</cx:pt>
          <cx:pt idx="3945">0</cx:pt>
          <cx:pt idx="3946">0</cx:pt>
          <cx:pt idx="3947">0</cx:pt>
          <cx:pt idx="3948">0</cx:pt>
          <cx:pt idx="3949">0</cx:pt>
          <cx:pt idx="3950">0</cx:pt>
          <cx:pt idx="3951">0</cx:pt>
          <cx:pt idx="3952">0</cx:pt>
          <cx:pt idx="3953">0</cx:pt>
          <cx:pt idx="3954">0</cx:pt>
          <cx:pt idx="3955">0</cx:pt>
          <cx:pt idx="3956">0</cx:pt>
          <cx:pt idx="3957">0</cx:pt>
          <cx:pt idx="3958">0</cx:pt>
          <cx:pt idx="3959">0</cx:pt>
          <cx:pt idx="3960">0</cx:pt>
          <cx:pt idx="3961">0</cx:pt>
          <cx:pt idx="3962">0</cx:pt>
          <cx:pt idx="3963">0</cx:pt>
          <cx:pt idx="3964">0</cx:pt>
          <cx:pt idx="3965">0</cx:pt>
          <cx:pt idx="3966">0</cx:pt>
          <cx:pt idx="3967">0</cx:pt>
          <cx:pt idx="3968">0</cx:pt>
          <cx:pt idx="3969">0</cx:pt>
          <cx:pt idx="3970">0</cx:pt>
          <cx:pt idx="3971">0</cx:pt>
          <cx:pt idx="3972">0</cx:pt>
          <cx:pt idx="3973">0</cx:pt>
          <cx:pt idx="3974">0</cx:pt>
          <cx:pt idx="3975">0</cx:pt>
          <cx:pt idx="3976">0</cx:pt>
          <cx:pt idx="3977">0</cx:pt>
          <cx:pt idx="3978">0</cx:pt>
          <cx:pt idx="3979">0</cx:pt>
          <cx:pt idx="3980">0</cx:pt>
          <cx:pt idx="3981">0</cx:pt>
          <cx:pt idx="3982">0</cx:pt>
          <cx:pt idx="3983">0</cx:pt>
          <cx:pt idx="3984">0</cx:pt>
          <cx:pt idx="3985">0</cx:pt>
          <cx:pt idx="3986">0</cx:pt>
          <cx:pt idx="3987">0</cx:pt>
          <cx:pt idx="3988">0</cx:pt>
          <cx:pt idx="3989">0</cx:pt>
          <cx:pt idx="3990">0</cx:pt>
          <cx:pt idx="3991">0</cx:pt>
          <cx:pt idx="3992">0</cx:pt>
          <cx:pt idx="3993">0</cx:pt>
          <cx:pt idx="3994">0</cx:pt>
          <cx:pt idx="3995">0</cx:pt>
          <cx:pt idx="3996">0</cx:pt>
          <cx:pt idx="3997">0</cx:pt>
          <cx:pt idx="3998">0</cx:pt>
          <cx:pt idx="3999">0</cx:pt>
          <cx:pt idx="4000">0</cx:pt>
          <cx:pt idx="4001">0</cx:pt>
          <cx:pt idx="4002">0</cx:pt>
          <cx:pt idx="4003">0</cx:pt>
          <cx:pt idx="4004">0</cx:pt>
          <cx:pt idx="4005">0</cx:pt>
          <cx:pt idx="4006">0</cx:pt>
          <cx:pt idx="4007">0</cx:pt>
          <cx:pt idx="4008">0</cx:pt>
          <cx:pt idx="4009">0</cx:pt>
          <cx:pt idx="4010">0</cx:pt>
          <cx:pt idx="4011">0</cx:pt>
          <cx:pt idx="4012">0</cx:pt>
          <cx:pt idx="4013">0</cx:pt>
          <cx:pt idx="4014">0</cx:pt>
          <cx:pt idx="4015">0</cx:pt>
          <cx:pt idx="4016">0</cx:pt>
          <cx:pt idx="4017">0</cx:pt>
          <cx:pt idx="4018">0</cx:pt>
          <cx:pt idx="4019">0</cx:pt>
          <cx:pt idx="4020">0</cx:pt>
          <cx:pt idx="4021">0</cx:pt>
          <cx:pt idx="4022">0</cx:pt>
          <cx:pt idx="4023">0</cx:pt>
          <cx:pt idx="4024">0</cx:pt>
          <cx:pt idx="4025">0</cx:pt>
          <cx:pt idx="4026">0</cx:pt>
          <cx:pt idx="4027">0</cx:pt>
          <cx:pt idx="4028">0</cx:pt>
          <cx:pt idx="4029">0</cx:pt>
          <cx:pt idx="4030">0</cx:pt>
          <cx:pt idx="4031">0</cx:pt>
          <cx:pt idx="4032">0</cx:pt>
          <cx:pt idx="4033">0</cx:pt>
          <cx:pt idx="4034">0</cx:pt>
          <cx:pt idx="4035">0</cx:pt>
          <cx:pt idx="4036">0</cx:pt>
          <cx:pt idx="4037">0</cx:pt>
          <cx:pt idx="4038">0</cx:pt>
          <cx:pt idx="4039">0</cx:pt>
          <cx:pt idx="4040">0</cx:pt>
          <cx:pt idx="4041">0</cx:pt>
          <cx:pt idx="4042">0</cx:pt>
          <cx:pt idx="4043">0</cx:pt>
          <cx:pt idx="4044">0</cx:pt>
          <cx:pt idx="4045">0</cx:pt>
          <cx:pt idx="4046">0</cx:pt>
          <cx:pt idx="4047">0</cx:pt>
          <cx:pt idx="4048">0</cx:pt>
          <cx:pt idx="4049">0</cx:pt>
          <cx:pt idx="4050">0</cx:pt>
          <cx:pt idx="4051">0</cx:pt>
          <cx:pt idx="4052">0</cx:pt>
          <cx:pt idx="4053">0</cx:pt>
          <cx:pt idx="4054">0</cx:pt>
          <cx:pt idx="4055">0</cx:pt>
          <cx:pt idx="4056">0</cx:pt>
          <cx:pt idx="4057">0</cx:pt>
          <cx:pt idx="4058">0</cx:pt>
          <cx:pt idx="4059">0</cx:pt>
          <cx:pt idx="4060">0</cx:pt>
          <cx:pt idx="4061">0</cx:pt>
          <cx:pt idx="4062">0</cx:pt>
          <cx:pt idx="4063">0</cx:pt>
          <cx:pt idx="4064">0</cx:pt>
          <cx:pt idx="4065">0</cx:pt>
          <cx:pt idx="4066">0</cx:pt>
          <cx:pt idx="4067">0</cx:pt>
          <cx:pt idx="4068">0</cx:pt>
          <cx:pt idx="4069">0</cx:pt>
          <cx:pt idx="4070">0</cx:pt>
          <cx:pt idx="4071">0</cx:pt>
          <cx:pt idx="4072">0</cx:pt>
          <cx:pt idx="4073">0</cx:pt>
          <cx:pt idx="4074">0</cx:pt>
          <cx:pt idx="4075">0</cx:pt>
          <cx:pt idx="4076">0</cx:pt>
          <cx:pt idx="4077">0</cx:pt>
          <cx:pt idx="4078">0</cx:pt>
          <cx:pt idx="4079">0</cx:pt>
          <cx:pt idx="4080">0</cx:pt>
          <cx:pt idx="4081">0</cx:pt>
          <cx:pt idx="4082">0</cx:pt>
          <cx:pt idx="4083">0</cx:pt>
          <cx:pt idx="4084">0</cx:pt>
          <cx:pt idx="4085">0</cx:pt>
          <cx:pt idx="4086">0</cx:pt>
          <cx:pt idx="4087">0</cx:pt>
          <cx:pt idx="4088">0</cx:pt>
          <cx:pt idx="4089">0</cx:pt>
          <cx:pt idx="4090">0</cx:pt>
          <cx:pt idx="4091">0</cx:pt>
          <cx:pt idx="4092">0</cx:pt>
          <cx:pt idx="4093">0</cx:pt>
          <cx:pt idx="4094">0</cx:pt>
          <cx:pt idx="4095">0</cx:pt>
          <cx:pt idx="4096">0</cx:pt>
          <cx:pt idx="4097">0</cx:pt>
          <cx:pt idx="4098">0</cx:pt>
          <cx:pt idx="4099">0</cx:pt>
          <cx:pt idx="4100">0</cx:pt>
          <cx:pt idx="4101">0</cx:pt>
          <cx:pt idx="4102">0</cx:pt>
          <cx:pt idx="4103">0</cx:pt>
          <cx:pt idx="4104">0</cx:pt>
          <cx:pt idx="4105">0</cx:pt>
          <cx:pt idx="4106">0</cx:pt>
          <cx:pt idx="4107">0</cx:pt>
          <cx:pt idx="4108">0</cx:pt>
          <cx:pt idx="4109">0</cx:pt>
          <cx:pt idx="4110">0</cx:pt>
          <cx:pt idx="4111">0</cx:pt>
          <cx:pt idx="4112">0</cx:pt>
          <cx:pt idx="4113">0</cx:pt>
          <cx:pt idx="4114">0</cx:pt>
          <cx:pt idx="4115">0</cx:pt>
          <cx:pt idx="4116">0</cx:pt>
          <cx:pt idx="4117">0</cx:pt>
          <cx:pt idx="4118">0</cx:pt>
          <cx:pt idx="4119">0</cx:pt>
          <cx:pt idx="4120">0</cx:pt>
          <cx:pt idx="4121">0</cx:pt>
          <cx:pt idx="4122">0</cx:pt>
          <cx:pt idx="4123">0</cx:pt>
          <cx:pt idx="4124">0</cx:pt>
          <cx:pt idx="4125">0</cx:pt>
          <cx:pt idx="4126">0</cx:pt>
          <cx:pt idx="4127">0</cx:pt>
          <cx:pt idx="4128">0</cx:pt>
          <cx:pt idx="4129">0</cx:pt>
          <cx:pt idx="4130">0</cx:pt>
          <cx:pt idx="4131">0</cx:pt>
          <cx:pt idx="4132">0</cx:pt>
          <cx:pt idx="4133">0</cx:pt>
          <cx:pt idx="4134">0</cx:pt>
          <cx:pt idx="4135">0</cx:pt>
          <cx:pt idx="4136">0</cx:pt>
          <cx:pt idx="4137">0</cx:pt>
          <cx:pt idx="4138">0</cx:pt>
          <cx:pt idx="4139">0</cx:pt>
          <cx:pt idx="4140">0</cx:pt>
          <cx:pt idx="4141">0</cx:pt>
          <cx:pt idx="4142">0</cx:pt>
          <cx:pt idx="4143">0</cx:pt>
          <cx:pt idx="4144">0</cx:pt>
          <cx:pt idx="4145">0</cx:pt>
          <cx:pt idx="4146">0</cx:pt>
          <cx:pt idx="4147">0</cx:pt>
          <cx:pt idx="4148">0</cx:pt>
          <cx:pt idx="4149">0</cx:pt>
          <cx:pt idx="4150">0</cx:pt>
          <cx:pt idx="4151">0</cx:pt>
          <cx:pt idx="4152">0</cx:pt>
          <cx:pt idx="4153">0</cx:pt>
          <cx:pt idx="4154">0</cx:pt>
          <cx:pt idx="4155">0</cx:pt>
          <cx:pt idx="4156">0</cx:pt>
          <cx:pt idx="4157">0</cx:pt>
          <cx:pt idx="4158">0</cx:pt>
          <cx:pt idx="4159">0</cx:pt>
          <cx:pt idx="4160">0</cx:pt>
          <cx:pt idx="4161">0</cx:pt>
          <cx:pt idx="4162">0</cx:pt>
          <cx:pt idx="4163">0</cx:pt>
          <cx:pt idx="4164">0</cx:pt>
          <cx:pt idx="4165">0</cx:pt>
          <cx:pt idx="4166">0</cx:pt>
          <cx:pt idx="4167">0</cx:pt>
          <cx:pt idx="4168">0</cx:pt>
          <cx:pt idx="4169">0</cx:pt>
          <cx:pt idx="4170">0</cx:pt>
          <cx:pt idx="4171">0</cx:pt>
          <cx:pt idx="4172">0</cx:pt>
          <cx:pt idx="4173">0</cx:pt>
          <cx:pt idx="4174">0</cx:pt>
          <cx:pt idx="4175">0</cx:pt>
          <cx:pt idx="4176">0</cx:pt>
          <cx:pt idx="4177">0</cx:pt>
          <cx:pt idx="4178">0</cx:pt>
          <cx:pt idx="4179">0</cx:pt>
          <cx:pt idx="4180">0</cx:pt>
          <cx:pt idx="4181">0</cx:pt>
          <cx:pt idx="4182">0</cx:pt>
          <cx:pt idx="4183">0</cx:pt>
          <cx:pt idx="4184">0</cx:pt>
          <cx:pt idx="4185">0</cx:pt>
          <cx:pt idx="4186">0</cx:pt>
          <cx:pt idx="4187">0</cx:pt>
          <cx:pt idx="4188">0</cx:pt>
          <cx:pt idx="4189">0</cx:pt>
          <cx:pt idx="4190">0</cx:pt>
          <cx:pt idx="4191">0</cx:pt>
          <cx:pt idx="4192">0</cx:pt>
          <cx:pt idx="4193">0</cx:pt>
          <cx:pt idx="4194">0</cx:pt>
          <cx:pt idx="4195">0</cx:pt>
          <cx:pt idx="4196">0</cx:pt>
          <cx:pt idx="4197">0</cx:pt>
          <cx:pt idx="4198">0</cx:pt>
          <cx:pt idx="4199">0</cx:pt>
          <cx:pt idx="4200">0</cx:pt>
          <cx:pt idx="4201">0</cx:pt>
          <cx:pt idx="4202">0</cx:pt>
          <cx:pt idx="4203">0</cx:pt>
          <cx:pt idx="4204">0</cx:pt>
          <cx:pt idx="4205">0</cx:pt>
          <cx:pt idx="4206">0</cx:pt>
          <cx:pt idx="4207">0</cx:pt>
          <cx:pt idx="4208">0</cx:pt>
          <cx:pt idx="4209">0</cx:pt>
          <cx:pt idx="4210">0</cx:pt>
          <cx:pt idx="4211">0</cx:pt>
          <cx:pt idx="4212">0</cx:pt>
          <cx:pt idx="4213">0</cx:pt>
          <cx:pt idx="4214">0</cx:pt>
          <cx:pt idx="4215">0</cx:pt>
          <cx:pt idx="4216">0</cx:pt>
          <cx:pt idx="4217">0</cx:pt>
          <cx:pt idx="4218">0</cx:pt>
          <cx:pt idx="4219">0</cx:pt>
          <cx:pt idx="4220">0</cx:pt>
          <cx:pt idx="4221">0</cx:pt>
          <cx:pt idx="4222">0</cx:pt>
          <cx:pt idx="4223">0</cx:pt>
          <cx:pt idx="4224">0</cx:pt>
          <cx:pt idx="4225">0</cx:pt>
          <cx:pt idx="4226">0</cx:pt>
          <cx:pt idx="4227">0</cx:pt>
          <cx:pt idx="4228">0</cx:pt>
          <cx:pt idx="4229">0</cx:pt>
          <cx:pt idx="4230">0</cx:pt>
          <cx:pt idx="4231">0</cx:pt>
          <cx:pt idx="4232">0</cx:pt>
          <cx:pt idx="4233">0</cx:pt>
          <cx:pt idx="4234">0</cx:pt>
          <cx:pt idx="4235">0</cx:pt>
          <cx:pt idx="4236">0</cx:pt>
          <cx:pt idx="4237">0</cx:pt>
          <cx:pt idx="4238">0</cx:pt>
          <cx:pt idx="4239">0</cx:pt>
          <cx:pt idx="4240">0</cx:pt>
          <cx:pt idx="4241">0</cx:pt>
          <cx:pt idx="4242">0</cx:pt>
          <cx:pt idx="4243">0</cx:pt>
          <cx:pt idx="4244">0</cx:pt>
          <cx:pt idx="4245">0</cx:pt>
          <cx:pt idx="4246">0</cx:pt>
          <cx:pt idx="4247">0</cx:pt>
          <cx:pt idx="4248">0</cx:pt>
          <cx:pt idx="4249">0</cx:pt>
          <cx:pt idx="4250">0</cx:pt>
          <cx:pt idx="4251">0</cx:pt>
          <cx:pt idx="4252">0</cx:pt>
          <cx:pt idx="4253">0</cx:pt>
          <cx:pt idx="4254">0</cx:pt>
          <cx:pt idx="4255">0</cx:pt>
          <cx:pt idx="4256">0</cx:pt>
          <cx:pt idx="4257">0</cx:pt>
          <cx:pt idx="4258">0</cx:pt>
          <cx:pt idx="4259">0</cx:pt>
          <cx:pt idx="4260">0</cx:pt>
          <cx:pt idx="4261">0</cx:pt>
          <cx:pt idx="4262">0</cx:pt>
          <cx:pt idx="4263">0</cx:pt>
          <cx:pt idx="4264">0</cx:pt>
          <cx:pt idx="4265">0</cx:pt>
          <cx:pt idx="4266">0</cx:pt>
          <cx:pt idx="4267">0</cx:pt>
          <cx:pt idx="4268">0</cx:pt>
          <cx:pt idx="4269">0</cx:pt>
          <cx:pt idx="4270">0</cx:pt>
          <cx:pt idx="4271">0</cx:pt>
          <cx:pt idx="4272">0</cx:pt>
          <cx:pt idx="4273">0</cx:pt>
          <cx:pt idx="4274">0</cx:pt>
          <cx:pt idx="4275">0</cx:pt>
          <cx:pt idx="4276">0</cx:pt>
          <cx:pt idx="4277">0</cx:pt>
          <cx:pt idx="4278">0</cx:pt>
          <cx:pt idx="4279">0</cx:pt>
          <cx:pt idx="4280">0</cx:pt>
          <cx:pt idx="4281">0</cx:pt>
          <cx:pt idx="4282">0</cx:pt>
          <cx:pt idx="4283">0</cx:pt>
          <cx:pt idx="4284">0</cx:pt>
          <cx:pt idx="4285">0</cx:pt>
          <cx:pt idx="4286">0</cx:pt>
          <cx:pt idx="4287">0</cx:pt>
          <cx:pt idx="4288">0</cx:pt>
          <cx:pt idx="4289">0</cx:pt>
          <cx:pt idx="4290">0</cx:pt>
          <cx:pt idx="4291">0</cx:pt>
          <cx:pt idx="4292">0</cx:pt>
          <cx:pt idx="4293">0</cx:pt>
          <cx:pt idx="4294">0</cx:pt>
          <cx:pt idx="4295">0</cx:pt>
          <cx:pt idx="4296">0</cx:pt>
          <cx:pt idx="4297">0</cx:pt>
          <cx:pt idx="4298">0</cx:pt>
          <cx:pt idx="4299">0</cx:pt>
          <cx:pt idx="4300">0</cx:pt>
          <cx:pt idx="4301">0</cx:pt>
          <cx:pt idx="4302">0</cx:pt>
          <cx:pt idx="4303">0</cx:pt>
          <cx:pt idx="4304">0</cx:pt>
          <cx:pt idx="4305">0</cx:pt>
          <cx:pt idx="4306">0</cx:pt>
          <cx:pt idx="4307">0</cx:pt>
          <cx:pt idx="4308">0</cx:pt>
          <cx:pt idx="4309">0</cx:pt>
          <cx:pt idx="4310">0</cx:pt>
          <cx:pt idx="4311">0</cx:pt>
          <cx:pt idx="4312">0</cx:pt>
          <cx:pt idx="4313">0</cx:pt>
          <cx:pt idx="4314">0</cx:pt>
          <cx:pt idx="4315">0</cx:pt>
          <cx:pt idx="4316">0</cx:pt>
          <cx:pt idx="4317">0</cx:pt>
          <cx:pt idx="4318">0</cx:pt>
          <cx:pt idx="4319">0</cx:pt>
          <cx:pt idx="4320">0</cx:pt>
          <cx:pt idx="4321">0</cx:pt>
          <cx:pt idx="4322">0</cx:pt>
          <cx:pt idx="4323">0</cx:pt>
          <cx:pt idx="4324">0</cx:pt>
          <cx:pt idx="4325">0</cx:pt>
          <cx:pt idx="4326">0</cx:pt>
          <cx:pt idx="4327">0</cx:pt>
          <cx:pt idx="4328">0</cx:pt>
          <cx:pt idx="4329">0</cx:pt>
          <cx:pt idx="4330">0</cx:pt>
          <cx:pt idx="4331">0</cx:pt>
          <cx:pt idx="4332">0</cx:pt>
          <cx:pt idx="4333">0</cx:pt>
          <cx:pt idx="4334">0</cx:pt>
          <cx:pt idx="4335">0</cx:pt>
          <cx:pt idx="4336">0</cx:pt>
          <cx:pt idx="4337">0</cx:pt>
          <cx:pt idx="4338">0</cx:pt>
          <cx:pt idx="4339">0</cx:pt>
          <cx:pt idx="4340">0</cx:pt>
          <cx:pt idx="4341">0</cx:pt>
          <cx:pt idx="4342">0</cx:pt>
          <cx:pt idx="4343">0</cx:pt>
          <cx:pt idx="4344">0</cx:pt>
          <cx:pt idx="4345">0</cx:pt>
          <cx:pt idx="4346">0</cx:pt>
          <cx:pt idx="4347">0</cx:pt>
          <cx:pt idx="4348">0</cx:pt>
          <cx:pt idx="4349">0</cx:pt>
          <cx:pt idx="4350">0</cx:pt>
          <cx:pt idx="4351">0</cx:pt>
          <cx:pt idx="4352">0</cx:pt>
          <cx:pt idx="4353">0</cx:pt>
          <cx:pt idx="4354">0</cx:pt>
          <cx:pt idx="4355">0</cx:pt>
          <cx:pt idx="4356">0</cx:pt>
          <cx:pt idx="4357">0</cx:pt>
          <cx:pt idx="4358">0</cx:pt>
          <cx:pt idx="4359">0</cx:pt>
          <cx:pt idx="4360">0</cx:pt>
          <cx:pt idx="4361">0</cx:pt>
          <cx:pt idx="4362">0</cx:pt>
          <cx:pt idx="4363">0</cx:pt>
          <cx:pt idx="4364">0</cx:pt>
          <cx:pt idx="4365">0</cx:pt>
          <cx:pt idx="4366">0</cx:pt>
          <cx:pt idx="4367">0</cx:pt>
          <cx:pt idx="4368">0</cx:pt>
          <cx:pt idx="4369">0</cx:pt>
          <cx:pt idx="4370">0</cx:pt>
          <cx:pt idx="4371">0</cx:pt>
          <cx:pt idx="4372">0</cx:pt>
          <cx:pt idx="4373">0</cx:pt>
          <cx:pt idx="4374">0</cx:pt>
          <cx:pt idx="4375">0</cx:pt>
          <cx:pt idx="4376">0</cx:pt>
          <cx:pt idx="4377">0</cx:pt>
          <cx:pt idx="4378">0</cx:pt>
          <cx:pt idx="4379">0</cx:pt>
          <cx:pt idx="4380">0</cx:pt>
          <cx:pt idx="4381">0</cx:pt>
          <cx:pt idx="4382">0</cx:pt>
          <cx:pt idx="4383">0</cx:pt>
          <cx:pt idx="4384">0</cx:pt>
          <cx:pt idx="4385">0</cx:pt>
          <cx:pt idx="4386">0</cx:pt>
          <cx:pt idx="4387">0</cx:pt>
          <cx:pt idx="4388">0</cx:pt>
          <cx:pt idx="4389">0</cx:pt>
          <cx:pt idx="4390">0</cx:pt>
          <cx:pt idx="4391">0</cx:pt>
          <cx:pt idx="4392">0</cx:pt>
          <cx:pt idx="4393">0</cx:pt>
          <cx:pt idx="4394">0</cx:pt>
          <cx:pt idx="4395">0</cx:pt>
          <cx:pt idx="4396">0</cx:pt>
          <cx:pt idx="4397">0</cx:pt>
          <cx:pt idx="4398">0</cx:pt>
          <cx:pt idx="4399">0</cx:pt>
          <cx:pt idx="4400">0</cx:pt>
          <cx:pt idx="4401">0</cx:pt>
          <cx:pt idx="4402">0</cx:pt>
          <cx:pt idx="4403">0</cx:pt>
          <cx:pt idx="4404">0</cx:pt>
          <cx:pt idx="4405">0</cx:pt>
          <cx:pt idx="4406">0</cx:pt>
          <cx:pt idx="4407">0</cx:pt>
          <cx:pt idx="4408">0</cx:pt>
          <cx:pt idx="4409">0</cx:pt>
          <cx:pt idx="4410">0</cx:pt>
          <cx:pt idx="4411">0</cx:pt>
          <cx:pt idx="4412">0</cx:pt>
          <cx:pt idx="4413">0</cx:pt>
          <cx:pt idx="4414">0</cx:pt>
          <cx:pt idx="4415">0</cx:pt>
          <cx:pt idx="4416">0</cx:pt>
          <cx:pt idx="4417">0</cx:pt>
          <cx:pt idx="4418">0</cx:pt>
          <cx:pt idx="4419">0</cx:pt>
          <cx:pt idx="4420">0</cx:pt>
          <cx:pt idx="4421">0</cx:pt>
          <cx:pt idx="4422">0</cx:pt>
          <cx:pt idx="4423">0</cx:pt>
          <cx:pt idx="4424">0</cx:pt>
          <cx:pt idx="4425">0</cx:pt>
          <cx:pt idx="4426">0</cx:pt>
          <cx:pt idx="4427">0</cx:pt>
          <cx:pt idx="4428">0</cx:pt>
          <cx:pt idx="4429">0</cx:pt>
          <cx:pt idx="4430">0</cx:pt>
          <cx:pt idx="4431">0</cx:pt>
          <cx:pt idx="4432">0</cx:pt>
          <cx:pt idx="4433">0</cx:pt>
          <cx:pt idx="4434">0</cx:pt>
          <cx:pt idx="4435">0</cx:pt>
          <cx:pt idx="4436">0</cx:pt>
          <cx:pt idx="4437">0</cx:pt>
          <cx:pt idx="4438">0</cx:pt>
          <cx:pt idx="4439">0</cx:pt>
          <cx:pt idx="4440">0</cx:pt>
          <cx:pt idx="4441">0</cx:pt>
          <cx:pt idx="4442">0</cx:pt>
          <cx:pt idx="4443">0</cx:pt>
          <cx:pt idx="4444">0</cx:pt>
          <cx:pt idx="4445">0</cx:pt>
          <cx:pt idx="4446">0</cx:pt>
          <cx:pt idx="4447">0</cx:pt>
          <cx:pt idx="4448">0</cx:pt>
          <cx:pt idx="4449">0</cx:pt>
          <cx:pt idx="4450">0</cx:pt>
          <cx:pt idx="4451">0</cx:pt>
          <cx:pt idx="4452">0</cx:pt>
          <cx:pt idx="4453">0</cx:pt>
          <cx:pt idx="4454">0</cx:pt>
          <cx:pt idx="4455">0</cx:pt>
          <cx:pt idx="4456">0</cx:pt>
          <cx:pt idx="4457">0</cx:pt>
          <cx:pt idx="4458">0</cx:pt>
          <cx:pt idx="4459">0</cx:pt>
          <cx:pt idx="4460">0</cx:pt>
          <cx:pt idx="4461">0</cx:pt>
          <cx:pt idx="4462">0</cx:pt>
          <cx:pt idx="4463">0</cx:pt>
          <cx:pt idx="4464">0</cx:pt>
          <cx:pt idx="4465">0</cx:pt>
          <cx:pt idx="4466">0</cx:pt>
          <cx:pt idx="4467">0</cx:pt>
          <cx:pt idx="4468">0</cx:pt>
          <cx:pt idx="4469">0</cx:pt>
          <cx:pt idx="4470">0</cx:pt>
          <cx:pt idx="4471">0</cx:pt>
          <cx:pt idx="4472">0</cx:pt>
          <cx:pt idx="4473">0</cx:pt>
          <cx:pt idx="4474">0</cx:pt>
          <cx:pt idx="4475">0</cx:pt>
          <cx:pt idx="4476">0</cx:pt>
          <cx:pt idx="4477">0</cx:pt>
          <cx:pt idx="4478">0</cx:pt>
          <cx:pt idx="4479">0</cx:pt>
          <cx:pt idx="4480">0</cx:pt>
          <cx:pt idx="4481">0</cx:pt>
          <cx:pt idx="4482">0</cx:pt>
          <cx:pt idx="4483">0</cx:pt>
          <cx:pt idx="4484">0</cx:pt>
          <cx:pt idx="4485">0</cx:pt>
          <cx:pt idx="4486">0</cx:pt>
          <cx:pt idx="4487">0</cx:pt>
          <cx:pt idx="4488">0</cx:pt>
          <cx:pt idx="4489">0</cx:pt>
          <cx:pt idx="4490">0</cx:pt>
          <cx:pt idx="4491">0</cx:pt>
          <cx:pt idx="4492">0</cx:pt>
          <cx:pt idx="4493">0</cx:pt>
          <cx:pt idx="4494">0</cx:pt>
          <cx:pt idx="4495">0</cx:pt>
          <cx:pt idx="4496">0</cx:pt>
          <cx:pt idx="4497">0</cx:pt>
          <cx:pt idx="4498">0</cx:pt>
          <cx:pt idx="4499">0</cx:pt>
          <cx:pt idx="4500">0</cx:pt>
          <cx:pt idx="4501">0</cx:pt>
          <cx:pt idx="4502">0</cx:pt>
          <cx:pt idx="4503">0</cx:pt>
          <cx:pt idx="4504">0</cx:pt>
          <cx:pt idx="4505">0</cx:pt>
          <cx:pt idx="4506">0</cx:pt>
          <cx:pt idx="4507">0</cx:pt>
          <cx:pt idx="4508">0</cx:pt>
          <cx:pt idx="4509">0</cx:pt>
          <cx:pt idx="4510">0</cx:pt>
          <cx:pt idx="4511">0</cx:pt>
          <cx:pt idx="4512">0</cx:pt>
          <cx:pt idx="4513">0</cx:pt>
          <cx:pt idx="4514">0</cx:pt>
          <cx:pt idx="4515">0</cx:pt>
          <cx:pt idx="4516">0</cx:pt>
          <cx:pt idx="4517">0</cx:pt>
          <cx:pt idx="4518">0</cx:pt>
          <cx:pt idx="4519">0</cx:pt>
          <cx:pt idx="4520">0</cx:pt>
          <cx:pt idx="4521">0</cx:pt>
          <cx:pt idx="4522">0</cx:pt>
          <cx:pt idx="4523">0</cx:pt>
          <cx:pt idx="4524">0</cx:pt>
          <cx:pt idx="4525">0</cx:pt>
          <cx:pt idx="4526">0</cx:pt>
          <cx:pt idx="4527">0</cx:pt>
          <cx:pt idx="4528">0</cx:pt>
          <cx:pt idx="4529">0</cx:pt>
          <cx:pt idx="4530">0</cx:pt>
          <cx:pt idx="4531">0</cx:pt>
          <cx:pt idx="4532">0</cx:pt>
          <cx:pt idx="4533">0</cx:pt>
          <cx:pt idx="4534">0</cx:pt>
          <cx:pt idx="4535">0</cx:pt>
          <cx:pt idx="4536">0</cx:pt>
          <cx:pt idx="4537">0</cx:pt>
          <cx:pt idx="4538">0</cx:pt>
          <cx:pt idx="4539">0</cx:pt>
          <cx:pt idx="4540">0</cx:pt>
          <cx:pt idx="4541">0</cx:pt>
          <cx:pt idx="4542">0</cx:pt>
          <cx:pt idx="4543">0</cx:pt>
          <cx:pt idx="4544">0</cx:pt>
          <cx:pt idx="4545">0</cx:pt>
          <cx:pt idx="4546">0</cx:pt>
          <cx:pt idx="4547">0</cx:pt>
          <cx:pt idx="4548">0</cx:pt>
          <cx:pt idx="4549">0</cx:pt>
          <cx:pt idx="4550">0</cx:pt>
          <cx:pt idx="4551">0</cx:pt>
          <cx:pt idx="4552">0</cx:pt>
          <cx:pt idx="4553">0</cx:pt>
          <cx:pt idx="4554">0</cx:pt>
          <cx:pt idx="4555">0</cx:pt>
          <cx:pt idx="4556">0</cx:pt>
          <cx:pt idx="4557">0</cx:pt>
          <cx:pt idx="4558">0</cx:pt>
          <cx:pt idx="4559">0</cx:pt>
          <cx:pt idx="4560">0</cx:pt>
          <cx:pt idx="4561">0</cx:pt>
          <cx:pt idx="4562">0</cx:pt>
          <cx:pt idx="4563">0</cx:pt>
          <cx:pt idx="4564">0</cx:pt>
          <cx:pt idx="4565">0</cx:pt>
          <cx:pt idx="4566">0</cx:pt>
          <cx:pt idx="4567">0</cx:pt>
          <cx:pt idx="4568">0</cx:pt>
          <cx:pt idx="4569">0</cx:pt>
          <cx:pt idx="4570">0</cx:pt>
          <cx:pt idx="4571">0</cx:pt>
          <cx:pt idx="4572">0</cx:pt>
          <cx:pt idx="4573">0</cx:pt>
          <cx:pt idx="4574">0</cx:pt>
          <cx:pt idx="4575">0</cx:pt>
          <cx:pt idx="4576">0</cx:pt>
          <cx:pt idx="4577">0</cx:pt>
          <cx:pt idx="4578">0</cx:pt>
          <cx:pt idx="4579">0</cx:pt>
          <cx:pt idx="4580">0</cx:pt>
          <cx:pt idx="4581">0</cx:pt>
          <cx:pt idx="4582">0</cx:pt>
          <cx:pt idx="4583">0</cx:pt>
          <cx:pt idx="4584">0</cx:pt>
          <cx:pt idx="4585">0</cx:pt>
          <cx:pt idx="4586">0</cx:pt>
          <cx:pt idx="4587">0</cx:pt>
          <cx:pt idx="4588">0</cx:pt>
          <cx:pt idx="4589">0</cx:pt>
          <cx:pt idx="4590">0</cx:pt>
          <cx:pt idx="4591">0</cx:pt>
          <cx:pt idx="4592">0</cx:pt>
          <cx:pt idx="4593">0</cx:pt>
          <cx:pt idx="4594">0</cx:pt>
          <cx:pt idx="4595">0</cx:pt>
          <cx:pt idx="4596">0</cx:pt>
          <cx:pt idx="4597">0</cx:pt>
          <cx:pt idx="4598">0</cx:pt>
          <cx:pt idx="4599">0</cx:pt>
          <cx:pt idx="4600">0</cx:pt>
          <cx:pt idx="4601">0</cx:pt>
          <cx:pt idx="4602">0</cx:pt>
          <cx:pt idx="4603">0</cx:pt>
          <cx:pt idx="4604">0</cx:pt>
          <cx:pt idx="4605">0</cx:pt>
          <cx:pt idx="4606">0</cx:pt>
          <cx:pt idx="4607">0</cx:pt>
          <cx:pt idx="4608">0</cx:pt>
          <cx:pt idx="4609">0</cx:pt>
          <cx:pt idx="4610">0</cx:pt>
          <cx:pt idx="4611">0</cx:pt>
          <cx:pt idx="4612">0</cx:pt>
          <cx:pt idx="4613">0</cx:pt>
          <cx:pt idx="4614">0</cx:pt>
          <cx:pt idx="4615">0</cx:pt>
          <cx:pt idx="4616">0</cx:pt>
          <cx:pt idx="4617">0</cx:pt>
          <cx:pt idx="4618">0</cx:pt>
          <cx:pt idx="4619">0</cx:pt>
          <cx:pt idx="4620">0</cx:pt>
          <cx:pt idx="4621">0</cx:pt>
          <cx:pt idx="4622">0</cx:pt>
          <cx:pt idx="4623">0</cx:pt>
          <cx:pt idx="4624">0</cx:pt>
          <cx:pt idx="4625">0</cx:pt>
          <cx:pt idx="4626">0</cx:pt>
          <cx:pt idx="4627">0</cx:pt>
          <cx:pt idx="4628">0</cx:pt>
          <cx:pt idx="4629">0</cx:pt>
          <cx:pt idx="4630">0</cx:pt>
          <cx:pt idx="4631">0</cx:pt>
          <cx:pt idx="4632">0</cx:pt>
          <cx:pt idx="4633">0</cx:pt>
          <cx:pt idx="4634">0</cx:pt>
          <cx:pt idx="4635">0</cx:pt>
          <cx:pt idx="4636">0</cx:pt>
          <cx:pt idx="4637">0</cx:pt>
          <cx:pt idx="4638">0</cx:pt>
          <cx:pt idx="4639">0</cx:pt>
          <cx:pt idx="4640">0</cx:pt>
          <cx:pt idx="4641">0</cx:pt>
          <cx:pt idx="4642">0</cx:pt>
          <cx:pt idx="4643">0</cx:pt>
          <cx:pt idx="4644">0</cx:pt>
          <cx:pt idx="4645">0</cx:pt>
          <cx:pt idx="4646">0</cx:pt>
          <cx:pt idx="4647">0</cx:pt>
          <cx:pt idx="4648">0</cx:pt>
          <cx:pt idx="4649">0</cx:pt>
          <cx:pt idx="4650">0</cx:pt>
          <cx:pt idx="4651">0</cx:pt>
          <cx:pt idx="4652">0</cx:pt>
          <cx:pt idx="4653">0</cx:pt>
          <cx:pt idx="4654">0</cx:pt>
          <cx:pt idx="4655">0</cx:pt>
          <cx:pt idx="4656">0</cx:pt>
          <cx:pt idx="4657">0</cx:pt>
          <cx:pt idx="4658">0</cx:pt>
          <cx:pt idx="4659">0</cx:pt>
          <cx:pt idx="4660">0</cx:pt>
          <cx:pt idx="4661">0</cx:pt>
          <cx:pt idx="4662">0</cx:pt>
          <cx:pt idx="4663">0</cx:pt>
          <cx:pt idx="4664">0</cx:pt>
          <cx:pt idx="4665">0</cx:pt>
          <cx:pt idx="4666">0</cx:pt>
          <cx:pt idx="4667">0</cx:pt>
          <cx:pt idx="4668">0</cx:pt>
          <cx:pt idx="4669">0</cx:pt>
          <cx:pt idx="4670">0</cx:pt>
          <cx:pt idx="4671">0</cx:pt>
          <cx:pt idx="4672">0</cx:pt>
          <cx:pt idx="4673">0</cx:pt>
          <cx:pt idx="4674">0</cx:pt>
          <cx:pt idx="4675">0</cx:pt>
          <cx:pt idx="4676">0</cx:pt>
          <cx:pt idx="4677">0</cx:pt>
          <cx:pt idx="4678">0</cx:pt>
          <cx:pt idx="4679">0</cx:pt>
          <cx:pt idx="4680">0</cx:pt>
          <cx:pt idx="4681">0</cx:pt>
          <cx:pt idx="4682">0</cx:pt>
          <cx:pt idx="4683">0</cx:pt>
          <cx:pt idx="4684">0</cx:pt>
          <cx:pt idx="4685">0</cx:pt>
          <cx:pt idx="4686">0</cx:pt>
          <cx:pt idx="4687">0</cx:pt>
          <cx:pt idx="4688">0</cx:pt>
          <cx:pt idx="4689">0</cx:pt>
          <cx:pt idx="4690">0</cx:pt>
          <cx:pt idx="4691">0</cx:pt>
          <cx:pt idx="4692">0</cx:pt>
          <cx:pt idx="4693">0</cx:pt>
          <cx:pt idx="4694">0</cx:pt>
          <cx:pt idx="4695">0</cx:pt>
          <cx:pt idx="4696">0</cx:pt>
          <cx:pt idx="4697">0</cx:pt>
          <cx:pt idx="4698">0</cx:pt>
          <cx:pt idx="4699">0</cx:pt>
          <cx:pt idx="4700">0</cx:pt>
          <cx:pt idx="4701">0</cx:pt>
          <cx:pt idx="4702">0</cx:pt>
          <cx:pt idx="4703">0</cx:pt>
          <cx:pt idx="4704">0</cx:pt>
          <cx:pt idx="4705">0</cx:pt>
          <cx:pt idx="4706">0</cx:pt>
          <cx:pt idx="4707">0</cx:pt>
          <cx:pt idx="4708">0</cx:pt>
          <cx:pt idx="4709">0</cx:pt>
          <cx:pt idx="4710">0</cx:pt>
          <cx:pt idx="4711">0</cx:pt>
          <cx:pt idx="4712">0</cx:pt>
          <cx:pt idx="4713">0</cx:pt>
          <cx:pt idx="4714">0</cx:pt>
          <cx:pt idx="4715">0</cx:pt>
          <cx:pt idx="4716">0</cx:pt>
          <cx:pt idx="4717">0</cx:pt>
          <cx:pt idx="4718">0</cx:pt>
          <cx:pt idx="4719">0</cx:pt>
          <cx:pt idx="4720">0</cx:pt>
          <cx:pt idx="4721">0</cx:pt>
          <cx:pt idx="4722">0</cx:pt>
          <cx:pt idx="4723">0</cx:pt>
          <cx:pt idx="4724">0</cx:pt>
          <cx:pt idx="4725">0</cx:pt>
          <cx:pt idx="4726">0</cx:pt>
          <cx:pt idx="4727">0</cx:pt>
          <cx:pt idx="4728">0</cx:pt>
          <cx:pt idx="4729">0</cx:pt>
          <cx:pt idx="4730">0</cx:pt>
          <cx:pt idx="4731">0</cx:pt>
          <cx:pt idx="4732">0</cx:pt>
          <cx:pt idx="4733">0</cx:pt>
          <cx:pt idx="4734">0</cx:pt>
          <cx:pt idx="4735">0</cx:pt>
          <cx:pt idx="4736">0</cx:pt>
          <cx:pt idx="4737">0</cx:pt>
          <cx:pt idx="4738">0</cx:pt>
          <cx:pt idx="4739">0</cx:pt>
          <cx:pt idx="4740">0</cx:pt>
          <cx:pt idx="4741">0</cx:pt>
          <cx:pt idx="4742">0</cx:pt>
          <cx:pt idx="4743">0</cx:pt>
          <cx:pt idx="4744">0</cx:pt>
          <cx:pt idx="4745">0</cx:pt>
          <cx:pt idx="4746">0</cx:pt>
          <cx:pt idx="4747">0</cx:pt>
          <cx:pt idx="4748">0</cx:pt>
          <cx:pt idx="4749">0</cx:pt>
          <cx:pt idx="4750">0</cx:pt>
          <cx:pt idx="4751">0</cx:pt>
          <cx:pt idx="4752">0</cx:pt>
          <cx:pt idx="4753">0</cx:pt>
          <cx:pt idx="4754">0</cx:pt>
          <cx:pt idx="4755">0</cx:pt>
          <cx:pt idx="4756">0</cx:pt>
          <cx:pt idx="4757">0</cx:pt>
          <cx:pt idx="4758">0</cx:pt>
          <cx:pt idx="4759">0</cx:pt>
          <cx:pt idx="4760">0</cx:pt>
          <cx:pt idx="4761">0</cx:pt>
          <cx:pt idx="4762">0</cx:pt>
          <cx:pt idx="4763">0</cx:pt>
          <cx:pt idx="4764">0</cx:pt>
          <cx:pt idx="4765">0</cx:pt>
          <cx:pt idx="4766">0</cx:pt>
          <cx:pt idx="4767">0</cx:pt>
          <cx:pt idx="4768">0</cx:pt>
          <cx:pt idx="4769">0</cx:pt>
          <cx:pt idx="4770">0</cx:pt>
          <cx:pt idx="4771">0</cx:pt>
          <cx:pt idx="4772">0</cx:pt>
          <cx:pt idx="4773">0</cx:pt>
          <cx:pt idx="4774">0</cx:pt>
          <cx:pt idx="4775">0</cx:pt>
          <cx:pt idx="4776">0</cx:pt>
          <cx:pt idx="4777">0</cx:pt>
          <cx:pt idx="4778">0</cx:pt>
          <cx:pt idx="4779">0</cx:pt>
          <cx:pt idx="4780">0</cx:pt>
          <cx:pt idx="4781">0</cx:pt>
          <cx:pt idx="4782">0</cx:pt>
          <cx:pt idx="4783">0</cx:pt>
          <cx:pt idx="4784">0</cx:pt>
          <cx:pt idx="4785">0</cx:pt>
          <cx:pt idx="4786">0</cx:pt>
          <cx:pt idx="4787">0</cx:pt>
          <cx:pt idx="4788">0</cx:pt>
          <cx:pt idx="4789">0</cx:pt>
          <cx:pt idx="4790">0</cx:pt>
          <cx:pt idx="4791">0</cx:pt>
          <cx:pt idx="4792">0</cx:pt>
          <cx:pt idx="4793">0</cx:pt>
          <cx:pt idx="4794">0</cx:pt>
          <cx:pt idx="4795">0</cx:pt>
          <cx:pt idx="4796">0</cx:pt>
          <cx:pt idx="4797">0</cx:pt>
          <cx:pt idx="4798">0</cx:pt>
          <cx:pt idx="4799">0</cx:pt>
          <cx:pt idx="4800">0</cx:pt>
          <cx:pt idx="4801">0</cx:pt>
          <cx:pt idx="4802">0</cx:pt>
          <cx:pt idx="4803">0</cx:pt>
          <cx:pt idx="4804">0</cx:pt>
          <cx:pt idx="4805">0</cx:pt>
          <cx:pt idx="4806">0</cx:pt>
          <cx:pt idx="4807">0</cx:pt>
          <cx:pt idx="4808">0</cx:pt>
          <cx:pt idx="4809">0</cx:pt>
          <cx:pt idx="4810">0</cx:pt>
          <cx:pt idx="4811">0</cx:pt>
          <cx:pt idx="4812">0</cx:pt>
          <cx:pt idx="4813">0</cx:pt>
          <cx:pt idx="4814">0</cx:pt>
          <cx:pt idx="4815">0</cx:pt>
          <cx:pt idx="4816">0</cx:pt>
          <cx:pt idx="4817">0</cx:pt>
          <cx:pt idx="4818">0</cx:pt>
          <cx:pt idx="4819">0</cx:pt>
          <cx:pt idx="4820">0</cx:pt>
          <cx:pt idx="4821">0</cx:pt>
          <cx:pt idx="4822">0</cx:pt>
          <cx:pt idx="4823">0</cx:pt>
          <cx:pt idx="4824">0</cx:pt>
          <cx:pt idx="4825">0</cx:pt>
          <cx:pt idx="4826">0</cx:pt>
          <cx:pt idx="4827">0</cx:pt>
          <cx:pt idx="4828">0</cx:pt>
          <cx:pt idx="4829">0</cx:pt>
          <cx:pt idx="4830">0</cx:pt>
          <cx:pt idx="4831">0</cx:pt>
          <cx:pt idx="4832">0</cx:pt>
          <cx:pt idx="4833">0</cx:pt>
          <cx:pt idx="4834">0</cx:pt>
          <cx:pt idx="4835">0</cx:pt>
          <cx:pt idx="4836">0</cx:pt>
          <cx:pt idx="4837">0</cx:pt>
          <cx:pt idx="4838">0</cx:pt>
          <cx:pt idx="4839">0</cx:pt>
          <cx:pt idx="4840">0</cx:pt>
          <cx:pt idx="4841">0</cx:pt>
          <cx:pt idx="4842">0</cx:pt>
          <cx:pt idx="4843">0</cx:pt>
          <cx:pt idx="4844">0</cx:pt>
          <cx:pt idx="4845">0</cx:pt>
          <cx:pt idx="4846">0</cx:pt>
          <cx:pt idx="4847">0</cx:pt>
          <cx:pt idx="4848">0</cx:pt>
          <cx:pt idx="4849">0</cx:pt>
          <cx:pt idx="4850">0</cx:pt>
          <cx:pt idx="4851">0</cx:pt>
          <cx:pt idx="4852">0</cx:pt>
          <cx:pt idx="4853">0</cx:pt>
          <cx:pt idx="4854">0</cx:pt>
          <cx:pt idx="4855">0</cx:pt>
          <cx:pt idx="4856">0</cx:pt>
          <cx:pt idx="4857">0</cx:pt>
          <cx:pt idx="4858">0</cx:pt>
          <cx:pt idx="4859">0</cx:pt>
          <cx:pt idx="4860">0</cx:pt>
          <cx:pt idx="4861">0</cx:pt>
          <cx:pt idx="4862">0</cx:pt>
          <cx:pt idx="4863">0</cx:pt>
          <cx:pt idx="4864">0</cx:pt>
          <cx:pt idx="4865">0</cx:pt>
          <cx:pt idx="4866">0</cx:pt>
          <cx:pt idx="4867">0</cx:pt>
          <cx:pt idx="4868">0</cx:pt>
          <cx:pt idx="4869">0</cx:pt>
          <cx:pt idx="4870">0</cx:pt>
          <cx:pt idx="4871">0</cx:pt>
          <cx:pt idx="4872">0</cx:pt>
          <cx:pt idx="4873">0</cx:pt>
          <cx:pt idx="4874">0</cx:pt>
          <cx:pt idx="4875">0</cx:pt>
          <cx:pt idx="4876">0</cx:pt>
          <cx:pt idx="4877">0</cx:pt>
          <cx:pt idx="4878">0</cx:pt>
          <cx:pt idx="4879">0</cx:pt>
          <cx:pt idx="4880">0</cx:pt>
          <cx:pt idx="4881">0</cx:pt>
          <cx:pt idx="4882">0</cx:pt>
          <cx:pt idx="4883">0</cx:pt>
          <cx:pt idx="4884">0</cx:pt>
          <cx:pt idx="4885">0</cx:pt>
          <cx:pt idx="4886">0</cx:pt>
          <cx:pt idx="4887">0</cx:pt>
          <cx:pt idx="4888">0</cx:pt>
          <cx:pt idx="4889">0</cx:pt>
          <cx:pt idx="4890">0</cx:pt>
          <cx:pt idx="4891">0</cx:pt>
          <cx:pt idx="4892">0</cx:pt>
          <cx:pt idx="4893">0</cx:pt>
          <cx:pt idx="4894">0</cx:pt>
          <cx:pt idx="4895">0</cx:pt>
          <cx:pt idx="4896">0</cx:pt>
          <cx:pt idx="4897">0</cx:pt>
          <cx:pt idx="4898">0</cx:pt>
          <cx:pt idx="4899">0</cx:pt>
          <cx:pt idx="4900">0</cx:pt>
          <cx:pt idx="4901">0</cx:pt>
          <cx:pt idx="4902">0</cx:pt>
          <cx:pt idx="4903">0</cx:pt>
          <cx:pt idx="4904">0</cx:pt>
          <cx:pt idx="4905">0</cx:pt>
          <cx:pt idx="4906">0</cx:pt>
          <cx:pt idx="4907">0</cx:pt>
          <cx:pt idx="4908">0</cx:pt>
          <cx:pt idx="4909">0</cx:pt>
          <cx:pt idx="4910">0</cx:pt>
          <cx:pt idx="4911">0</cx:pt>
          <cx:pt idx="4912">0</cx:pt>
          <cx:pt idx="4913">0</cx:pt>
          <cx:pt idx="4914">0</cx:pt>
          <cx:pt idx="4915">0</cx:pt>
          <cx:pt idx="4916">0</cx:pt>
          <cx:pt idx="4917">0</cx:pt>
          <cx:pt idx="4918">0</cx:pt>
          <cx:pt idx="4919">0</cx:pt>
          <cx:pt idx="4920">0</cx:pt>
          <cx:pt idx="4921">0</cx:pt>
          <cx:pt idx="4922">0</cx:pt>
          <cx:pt idx="4923">0</cx:pt>
          <cx:pt idx="4924">0</cx:pt>
          <cx:pt idx="4925">0</cx:pt>
          <cx:pt idx="4926">0</cx:pt>
          <cx:pt idx="4927">0</cx:pt>
          <cx:pt idx="4928">0</cx:pt>
          <cx:pt idx="4929">0</cx:pt>
          <cx:pt idx="4930">0</cx:pt>
          <cx:pt idx="4931">0</cx:pt>
          <cx:pt idx="4932">0</cx:pt>
          <cx:pt idx="4933">0</cx:pt>
          <cx:pt idx="4934">0</cx:pt>
          <cx:pt idx="4935">0</cx:pt>
          <cx:pt idx="4936">0</cx:pt>
          <cx:pt idx="4937">0</cx:pt>
          <cx:pt idx="4938">0</cx:pt>
          <cx:pt idx="4939">0</cx:pt>
          <cx:pt idx="4940">0</cx:pt>
          <cx:pt idx="4941">0</cx:pt>
          <cx:pt idx="4942">0</cx:pt>
          <cx:pt idx="4943">0</cx:pt>
          <cx:pt idx="4944">0</cx:pt>
          <cx:pt idx="4945">0</cx:pt>
          <cx:pt idx="4946">0</cx:pt>
          <cx:pt idx="4947">0</cx:pt>
          <cx:pt idx="4948">0</cx:pt>
          <cx:pt idx="4949">0</cx:pt>
          <cx:pt idx="4950">0</cx:pt>
          <cx:pt idx="4951">0</cx:pt>
          <cx:pt idx="4952">0</cx:pt>
          <cx:pt idx="4953">0</cx:pt>
          <cx:pt idx="4954">0</cx:pt>
          <cx:pt idx="4955">0</cx:pt>
          <cx:pt idx="4956">0</cx:pt>
          <cx:pt idx="4957">0</cx:pt>
          <cx:pt idx="4958">0</cx:pt>
          <cx:pt idx="4959">0</cx:pt>
          <cx:pt idx="4960">0</cx:pt>
          <cx:pt idx="4961">0</cx:pt>
          <cx:pt idx="4962">0</cx:pt>
          <cx:pt idx="4963">0</cx:pt>
          <cx:pt idx="4964">0</cx:pt>
          <cx:pt idx="4965">0</cx:pt>
          <cx:pt idx="4966">0</cx:pt>
          <cx:pt idx="4967">0</cx:pt>
          <cx:pt idx="4968">0</cx:pt>
          <cx:pt idx="4969">0</cx:pt>
          <cx:pt idx="4970">0</cx:pt>
          <cx:pt idx="4971">0</cx:pt>
          <cx:pt idx="4972">0</cx:pt>
          <cx:pt idx="4973">0</cx:pt>
          <cx:pt idx="4974">0</cx:pt>
          <cx:pt idx="4975">0</cx:pt>
          <cx:pt idx="4976">0</cx:pt>
          <cx:pt idx="4977">0</cx:pt>
          <cx:pt idx="4978">0</cx:pt>
          <cx:pt idx="4979">0</cx:pt>
          <cx:pt idx="4980">0</cx:pt>
          <cx:pt idx="4981">0</cx:pt>
          <cx:pt idx="4982">0</cx:pt>
          <cx:pt idx="4983">0</cx:pt>
          <cx:pt idx="4984">0</cx:pt>
          <cx:pt idx="4985">0</cx:pt>
          <cx:pt idx="4986">0</cx:pt>
          <cx:pt idx="4987">0</cx:pt>
          <cx:pt idx="4988">0</cx:pt>
          <cx:pt idx="4989">0</cx:pt>
          <cx:pt idx="4990">0</cx:pt>
          <cx:pt idx="4991">0</cx:pt>
          <cx:pt idx="4992">0</cx:pt>
          <cx:pt idx="4993">0</cx:pt>
          <cx:pt idx="4994">0</cx:pt>
          <cx:pt idx="4995">0</cx:pt>
          <cx:pt idx="4996">0</cx:pt>
          <cx:pt idx="4997">0</cx:pt>
          <cx:pt idx="4998">0</cx:pt>
          <cx:pt idx="4999">0</cx:pt>
          <cx:pt idx="5000">0</cx:pt>
          <cx:pt idx="5001">0</cx:pt>
          <cx:pt idx="5002">0</cx:pt>
          <cx:pt idx="5003">0</cx:pt>
          <cx:pt idx="5004">0</cx:pt>
          <cx:pt idx="5005">0</cx:pt>
          <cx:pt idx="5006">0</cx:pt>
          <cx:pt idx="5007">0</cx:pt>
          <cx:pt idx="5008">0</cx:pt>
          <cx:pt idx="5009">0</cx:pt>
          <cx:pt idx="5010">0</cx:pt>
          <cx:pt idx="5011">0</cx:pt>
          <cx:pt idx="5012">0</cx:pt>
          <cx:pt idx="5013">0</cx:pt>
          <cx:pt idx="5014">0</cx:pt>
          <cx:pt idx="5015">0</cx:pt>
          <cx:pt idx="5016">0</cx:pt>
          <cx:pt idx="5017">0</cx:pt>
          <cx:pt idx="5018">0</cx:pt>
          <cx:pt idx="5019">0</cx:pt>
          <cx:pt idx="5020">0</cx:pt>
          <cx:pt idx="5021">0</cx:pt>
          <cx:pt idx="5022">0</cx:pt>
          <cx:pt idx="5023">0</cx:pt>
          <cx:pt idx="5024">0</cx:pt>
          <cx:pt idx="5025">0</cx:pt>
          <cx:pt idx="5026">0</cx:pt>
          <cx:pt idx="5027">0</cx:pt>
          <cx:pt idx="5028">0</cx:pt>
          <cx:pt idx="5029">0</cx:pt>
          <cx:pt idx="5030">0</cx:pt>
          <cx:pt idx="5031">0</cx:pt>
          <cx:pt idx="5032">0</cx:pt>
          <cx:pt idx="5033">0</cx:pt>
          <cx:pt idx="5034">0</cx:pt>
          <cx:pt idx="5035">0</cx:pt>
          <cx:pt idx="5036">0</cx:pt>
          <cx:pt idx="5037">0</cx:pt>
          <cx:pt idx="5038">0</cx:pt>
          <cx:pt idx="5039">0</cx:pt>
          <cx:pt idx="5040">0</cx:pt>
          <cx:pt idx="5041">0</cx:pt>
          <cx:pt idx="5042">0</cx:pt>
          <cx:pt idx="5043">0</cx:pt>
          <cx:pt idx="5044">0</cx:pt>
          <cx:pt idx="5045">0</cx:pt>
          <cx:pt idx="5046">0</cx:pt>
          <cx:pt idx="5047">0</cx:pt>
          <cx:pt idx="5048">0</cx:pt>
          <cx:pt idx="5049">0</cx:pt>
          <cx:pt idx="5050">0</cx:pt>
          <cx:pt idx="5051">0</cx:pt>
          <cx:pt idx="5052">0</cx:pt>
          <cx:pt idx="5053">0</cx:pt>
          <cx:pt idx="5054">0</cx:pt>
          <cx:pt idx="5055">0</cx:pt>
          <cx:pt idx="5056">0</cx:pt>
          <cx:pt idx="5057">0</cx:pt>
          <cx:pt idx="5058">0</cx:pt>
          <cx:pt idx="5059">0</cx:pt>
          <cx:pt idx="5060">0</cx:pt>
          <cx:pt idx="5061">0</cx:pt>
          <cx:pt idx="5062">0</cx:pt>
          <cx:pt idx="5063">0</cx:pt>
          <cx:pt idx="5064">0</cx:pt>
          <cx:pt idx="5065">0</cx:pt>
          <cx:pt idx="5066">0</cx:pt>
          <cx:pt idx="5067">0</cx:pt>
          <cx:pt idx="5068">0</cx:pt>
          <cx:pt idx="5069">0</cx:pt>
          <cx:pt idx="5070">0</cx:pt>
          <cx:pt idx="5071">0</cx:pt>
          <cx:pt idx="5072">0</cx:pt>
          <cx:pt idx="5073">0</cx:pt>
          <cx:pt idx="5074">0</cx:pt>
          <cx:pt idx="5075">0</cx:pt>
          <cx:pt idx="5076">0</cx:pt>
          <cx:pt idx="5077">0</cx:pt>
          <cx:pt idx="5078">0</cx:pt>
          <cx:pt idx="5079">0</cx:pt>
          <cx:pt idx="5080">0</cx:pt>
          <cx:pt idx="5081">0</cx:pt>
          <cx:pt idx="5082">0</cx:pt>
          <cx:pt idx="5083">0</cx:pt>
          <cx:pt idx="5084">0</cx:pt>
          <cx:pt idx="5085">0</cx:pt>
          <cx:pt idx="5086">0</cx:pt>
          <cx:pt idx="5087">0</cx:pt>
          <cx:pt idx="5088">0</cx:pt>
          <cx:pt idx="5089">0</cx:pt>
          <cx:pt idx="5090">0</cx:pt>
          <cx:pt idx="5091">0</cx:pt>
          <cx:pt idx="5092">0</cx:pt>
          <cx:pt idx="5093">0</cx:pt>
          <cx:pt idx="5094">0</cx:pt>
          <cx:pt idx="5095">0</cx:pt>
          <cx:pt idx="5096">0</cx:pt>
          <cx:pt idx="5097">0</cx:pt>
          <cx:pt idx="5098">0</cx:pt>
          <cx:pt idx="5099">0</cx:pt>
          <cx:pt idx="5100">0</cx:pt>
          <cx:pt idx="5101">0</cx:pt>
          <cx:pt idx="5102">0</cx:pt>
          <cx:pt idx="5103">0</cx:pt>
          <cx:pt idx="5104">0</cx:pt>
          <cx:pt idx="5105">0</cx:pt>
          <cx:pt idx="5106">0</cx:pt>
          <cx:pt idx="5107">0</cx:pt>
          <cx:pt idx="5108">0</cx:pt>
          <cx:pt idx="5109">0</cx:pt>
          <cx:pt idx="5110">0</cx:pt>
          <cx:pt idx="5111">0</cx:pt>
          <cx:pt idx="5112">0</cx:pt>
          <cx:pt idx="5113">0</cx:pt>
          <cx:pt idx="5114">0</cx:pt>
          <cx:pt idx="5115">0</cx:pt>
          <cx:pt idx="5116">0</cx:pt>
          <cx:pt idx="5117">0</cx:pt>
          <cx:pt idx="5118">0</cx:pt>
          <cx:pt idx="5119">0</cx:pt>
          <cx:pt idx="5120">0</cx:pt>
          <cx:pt idx="5121">0</cx:pt>
          <cx:pt idx="5122">0</cx:pt>
          <cx:pt idx="5123">0</cx:pt>
          <cx:pt idx="5124">0</cx:pt>
          <cx:pt idx="5125">0</cx:pt>
          <cx:pt idx="5126">0</cx:pt>
          <cx:pt idx="5127">0</cx:pt>
          <cx:pt idx="5128">0</cx:pt>
          <cx:pt idx="5129">0</cx:pt>
          <cx:pt idx="5130">0</cx:pt>
          <cx:pt idx="5131">0</cx:pt>
          <cx:pt idx="5132">0</cx:pt>
          <cx:pt idx="5133">0</cx:pt>
          <cx:pt idx="5134">0</cx:pt>
          <cx:pt idx="5135">0</cx:pt>
          <cx:pt idx="5136">0</cx:pt>
          <cx:pt idx="5137">0</cx:pt>
          <cx:pt idx="5138">0</cx:pt>
          <cx:pt idx="5139">0</cx:pt>
          <cx:pt idx="5140">0</cx:pt>
          <cx:pt idx="5141">0</cx:pt>
          <cx:pt idx="5142">0</cx:pt>
          <cx:pt idx="5143">0</cx:pt>
          <cx:pt idx="5144">0</cx:pt>
          <cx:pt idx="5145">0</cx:pt>
          <cx:pt idx="5146">0</cx:pt>
          <cx:pt idx="5147">0</cx:pt>
          <cx:pt idx="5148">0</cx:pt>
          <cx:pt idx="5149">0</cx:pt>
          <cx:pt idx="5150">0</cx:pt>
          <cx:pt idx="5151">0</cx:pt>
          <cx:pt idx="5152">0</cx:pt>
          <cx:pt idx="5153">0</cx:pt>
          <cx:pt idx="5154">0</cx:pt>
          <cx:pt idx="5155">0</cx:pt>
          <cx:pt idx="5156">0</cx:pt>
          <cx:pt idx="5157">0</cx:pt>
          <cx:pt idx="5158">0</cx:pt>
          <cx:pt idx="5159">0</cx:pt>
          <cx:pt idx="5160">0</cx:pt>
          <cx:pt idx="5161">0</cx:pt>
          <cx:pt idx="5162">0</cx:pt>
          <cx:pt idx="5163">0</cx:pt>
          <cx:pt idx="5164">0</cx:pt>
          <cx:pt idx="5165">0</cx:pt>
          <cx:pt idx="5166">0</cx:pt>
          <cx:pt idx="5167">0</cx:pt>
          <cx:pt idx="5168">0</cx:pt>
          <cx:pt idx="5169">0</cx:pt>
          <cx:pt idx="5170">0</cx:pt>
          <cx:pt idx="5171">0</cx:pt>
          <cx:pt idx="5172">0</cx:pt>
          <cx:pt idx="5173">0</cx:pt>
          <cx:pt idx="5174">0</cx:pt>
          <cx:pt idx="5175">0</cx:pt>
          <cx:pt idx="5176">0</cx:pt>
          <cx:pt idx="5177">0</cx:pt>
          <cx:pt idx="5178">0</cx:pt>
          <cx:pt idx="5179">0</cx:pt>
          <cx:pt idx="5180">0</cx:pt>
          <cx:pt idx="5181">0</cx:pt>
          <cx:pt idx="5182">0</cx:pt>
          <cx:pt idx="5183">0</cx:pt>
          <cx:pt idx="5184">0</cx:pt>
          <cx:pt idx="5185">0</cx:pt>
          <cx:pt idx="5186">0</cx:pt>
          <cx:pt idx="5187">0</cx:pt>
          <cx:pt idx="5188">0</cx:pt>
          <cx:pt idx="5189">0</cx:pt>
          <cx:pt idx="5190">0</cx:pt>
          <cx:pt idx="5191">0</cx:pt>
          <cx:pt idx="5192">0</cx:pt>
          <cx:pt idx="5193">0</cx:pt>
          <cx:pt idx="5194">0</cx:pt>
          <cx:pt idx="5195">0</cx:pt>
          <cx:pt idx="5196">0</cx:pt>
          <cx:pt idx="5197">0</cx:pt>
          <cx:pt idx="5198">0</cx:pt>
          <cx:pt idx="5199">0</cx:pt>
          <cx:pt idx="5200">0</cx:pt>
          <cx:pt idx="5201">0</cx:pt>
          <cx:pt idx="5202">0</cx:pt>
          <cx:pt idx="5203">0</cx:pt>
          <cx:pt idx="5204">0</cx:pt>
          <cx:pt idx="5205">0</cx:pt>
          <cx:pt idx="5206">0</cx:pt>
          <cx:pt idx="5207">0</cx:pt>
          <cx:pt idx="5208">0</cx:pt>
          <cx:pt idx="5209">0</cx:pt>
          <cx:pt idx="5210">0</cx:pt>
          <cx:pt idx="5211">0</cx:pt>
          <cx:pt idx="5212">0</cx:pt>
          <cx:pt idx="5213">0</cx:pt>
          <cx:pt idx="5214">0</cx:pt>
          <cx:pt idx="5215">0</cx:pt>
          <cx:pt idx="5216">0</cx:pt>
          <cx:pt idx="5217">0</cx:pt>
          <cx:pt idx="5218">0</cx:pt>
          <cx:pt idx="5219">0</cx:pt>
          <cx:pt idx="5220">0</cx:pt>
          <cx:pt idx="5221">0</cx:pt>
          <cx:pt idx="5222">0</cx:pt>
          <cx:pt idx="5223">0</cx:pt>
          <cx:pt idx="5224">0</cx:pt>
          <cx:pt idx="5225">0</cx:pt>
          <cx:pt idx="5226">0</cx:pt>
          <cx:pt idx="5227">0</cx:pt>
          <cx:pt idx="5228">0</cx:pt>
          <cx:pt idx="5229">0</cx:pt>
          <cx:pt idx="5230">0</cx:pt>
          <cx:pt idx="5231">0</cx:pt>
          <cx:pt idx="5232">0</cx:pt>
          <cx:pt idx="5233">0</cx:pt>
          <cx:pt idx="5234">0</cx:pt>
          <cx:pt idx="5235">0</cx:pt>
          <cx:pt idx="5236">0</cx:pt>
          <cx:pt idx="5237">0</cx:pt>
          <cx:pt idx="5238">0</cx:pt>
          <cx:pt idx="5239">0</cx:pt>
          <cx:pt idx="5240">0</cx:pt>
          <cx:pt idx="5241">0</cx:pt>
          <cx:pt idx="5242">0</cx:pt>
          <cx:pt idx="5243">0</cx:pt>
          <cx:pt idx="5244">0</cx:pt>
          <cx:pt idx="5245">0</cx:pt>
          <cx:pt idx="5246">0</cx:pt>
          <cx:pt idx="5247">0</cx:pt>
          <cx:pt idx="5248">0</cx:pt>
          <cx:pt idx="5249">0</cx:pt>
          <cx:pt idx="5250">0</cx:pt>
          <cx:pt idx="5251">0</cx:pt>
          <cx:pt idx="5252">0</cx:pt>
          <cx:pt idx="5253">0</cx:pt>
          <cx:pt idx="5254">0</cx:pt>
          <cx:pt idx="5255">0</cx:pt>
          <cx:pt idx="5256">0</cx:pt>
          <cx:pt idx="5257">0</cx:pt>
          <cx:pt idx="5258">0</cx:pt>
          <cx:pt idx="5259">0</cx:pt>
          <cx:pt idx="5260">0</cx:pt>
          <cx:pt idx="5261">0</cx:pt>
          <cx:pt idx="5262">0</cx:pt>
          <cx:pt idx="5263">0</cx:pt>
          <cx:pt idx="5264">0</cx:pt>
          <cx:pt idx="5265">0</cx:pt>
          <cx:pt idx="5266">0</cx:pt>
          <cx:pt idx="5267">0</cx:pt>
          <cx:pt idx="5268">0</cx:pt>
          <cx:pt idx="5269">0</cx:pt>
          <cx:pt idx="5270">0</cx:pt>
          <cx:pt idx="5271">0</cx:pt>
          <cx:pt idx="5272">0</cx:pt>
          <cx:pt idx="5273">0</cx:pt>
          <cx:pt idx="5274">0</cx:pt>
          <cx:pt idx="5275">0</cx:pt>
          <cx:pt idx="5276">0</cx:pt>
          <cx:pt idx="5277">0</cx:pt>
          <cx:pt idx="5278">0</cx:pt>
          <cx:pt idx="5279">0</cx:pt>
          <cx:pt idx="5280">0</cx:pt>
          <cx:pt idx="5281">0</cx:pt>
          <cx:pt idx="5282">0</cx:pt>
          <cx:pt idx="5283">0</cx:pt>
          <cx:pt idx="5284">0</cx:pt>
          <cx:pt idx="5285">0</cx:pt>
          <cx:pt idx="5286">0</cx:pt>
          <cx:pt idx="5287">0</cx:pt>
          <cx:pt idx="5288">0</cx:pt>
          <cx:pt idx="5289">0</cx:pt>
          <cx:pt idx="5290">0</cx:pt>
          <cx:pt idx="5291">0</cx:pt>
          <cx:pt idx="5292">0</cx:pt>
          <cx:pt idx="5293">0</cx:pt>
          <cx:pt idx="5294">0</cx:pt>
          <cx:pt idx="5295">0</cx:pt>
          <cx:pt idx="5296">0</cx:pt>
          <cx:pt idx="5297">0</cx:pt>
          <cx:pt idx="5298">0</cx:pt>
          <cx:pt idx="5299">0</cx:pt>
          <cx:pt idx="5300">0</cx:pt>
          <cx:pt idx="5301">0</cx:pt>
          <cx:pt idx="5302">0</cx:pt>
          <cx:pt idx="5303">0</cx:pt>
          <cx:pt idx="5304">0</cx:pt>
          <cx:pt idx="5305">0</cx:pt>
          <cx:pt idx="5306">0</cx:pt>
          <cx:pt idx="5307">0</cx:pt>
          <cx:pt idx="5308">0</cx:pt>
          <cx:pt idx="5309">0</cx:pt>
          <cx:pt idx="5310">0</cx:pt>
          <cx:pt idx="5311">0</cx:pt>
          <cx:pt idx="5312">0</cx:pt>
          <cx:pt idx="5313">0</cx:pt>
          <cx:pt idx="5314">0</cx:pt>
          <cx:pt idx="5315">0</cx:pt>
          <cx:pt idx="5316">0</cx:pt>
          <cx:pt idx="5317">0</cx:pt>
          <cx:pt idx="5318">0</cx:pt>
          <cx:pt idx="5319">0</cx:pt>
          <cx:pt idx="5320">0</cx:pt>
          <cx:pt idx="5321">0</cx:pt>
          <cx:pt idx="5322">0</cx:pt>
          <cx:pt idx="5323">0</cx:pt>
          <cx:pt idx="5324">0</cx:pt>
          <cx:pt idx="5325">0</cx:pt>
          <cx:pt idx="5326">0</cx:pt>
          <cx:pt idx="5327">0</cx:pt>
          <cx:pt idx="5328">0</cx:pt>
          <cx:pt idx="5329">0</cx:pt>
          <cx:pt idx="5330">0</cx:pt>
          <cx:pt idx="5331">0</cx:pt>
          <cx:pt idx="5332">0</cx:pt>
          <cx:pt idx="5333">0</cx:pt>
          <cx:pt idx="5334">0</cx:pt>
          <cx:pt idx="5335">0</cx:pt>
          <cx:pt idx="5336">0</cx:pt>
          <cx:pt idx="5337">0</cx:pt>
          <cx:pt idx="5338">0</cx:pt>
          <cx:pt idx="5339">0</cx:pt>
          <cx:pt idx="5340">0</cx:pt>
          <cx:pt idx="5341">0</cx:pt>
          <cx:pt idx="5342">0</cx:pt>
          <cx:pt idx="5343">0</cx:pt>
          <cx:pt idx="5344">0</cx:pt>
          <cx:pt idx="5345">0</cx:pt>
          <cx:pt idx="5346">0</cx:pt>
          <cx:pt idx="5347">0</cx:pt>
          <cx:pt idx="5348">0</cx:pt>
          <cx:pt idx="5349">0</cx:pt>
          <cx:pt idx="5350">0</cx:pt>
          <cx:pt idx="5351">0</cx:pt>
          <cx:pt idx="5352">0</cx:pt>
          <cx:pt idx="5353">0</cx:pt>
          <cx:pt idx="5354">0</cx:pt>
          <cx:pt idx="5355">0</cx:pt>
          <cx:pt idx="5356">0</cx:pt>
          <cx:pt idx="5357">0</cx:pt>
          <cx:pt idx="5358">0</cx:pt>
          <cx:pt idx="5359">0</cx:pt>
          <cx:pt idx="5360">0</cx:pt>
          <cx:pt idx="5361">0</cx:pt>
          <cx:pt idx="5362">0</cx:pt>
          <cx:pt idx="5363">0</cx:pt>
          <cx:pt idx="5364">0</cx:pt>
          <cx:pt idx="5365">0</cx:pt>
          <cx:pt idx="5366">0</cx:pt>
          <cx:pt idx="5367">0</cx:pt>
          <cx:pt idx="5368">0</cx:pt>
          <cx:pt idx="5369">0</cx:pt>
          <cx:pt idx="5370">0</cx:pt>
          <cx:pt idx="5371">0</cx:pt>
          <cx:pt idx="5372">0</cx:pt>
          <cx:pt idx="5373">0</cx:pt>
          <cx:pt idx="5374">0</cx:pt>
          <cx:pt idx="5375">0</cx:pt>
          <cx:pt idx="5376">0</cx:pt>
          <cx:pt idx="5377">0</cx:pt>
          <cx:pt idx="5378">0</cx:pt>
          <cx:pt idx="5379">0</cx:pt>
          <cx:pt idx="5380">0</cx:pt>
          <cx:pt idx="5381">0</cx:pt>
          <cx:pt idx="5382">0</cx:pt>
          <cx:pt idx="5383">0</cx:pt>
          <cx:pt idx="5384">0</cx:pt>
          <cx:pt idx="5385">0</cx:pt>
          <cx:pt idx="5386">0</cx:pt>
          <cx:pt idx="5387">0</cx:pt>
          <cx:pt idx="5388">0</cx:pt>
          <cx:pt idx="5389">0</cx:pt>
          <cx:pt idx="5390">0</cx:pt>
          <cx:pt idx="5391">0</cx:pt>
          <cx:pt idx="5392">0</cx:pt>
          <cx:pt idx="5393">0</cx:pt>
          <cx:pt idx="5394">0</cx:pt>
          <cx:pt idx="5395">0</cx:pt>
          <cx:pt idx="5396">0</cx:pt>
          <cx:pt idx="5397">0</cx:pt>
          <cx:pt idx="5398">0</cx:pt>
          <cx:pt idx="5399">0</cx:pt>
          <cx:pt idx="5400">0</cx:pt>
          <cx:pt idx="5401">0</cx:pt>
          <cx:pt idx="5402">0</cx:pt>
          <cx:pt idx="5403">0</cx:pt>
          <cx:pt idx="5404">0</cx:pt>
          <cx:pt idx="5405">0</cx:pt>
          <cx:pt idx="5406">0</cx:pt>
          <cx:pt idx="5407">0</cx:pt>
          <cx:pt idx="5408">0</cx:pt>
          <cx:pt idx="5409">0</cx:pt>
          <cx:pt idx="5410">0</cx:pt>
          <cx:pt idx="5411">0</cx:pt>
          <cx:pt idx="5412">0</cx:pt>
          <cx:pt idx="5413">0</cx:pt>
          <cx:pt idx="5414">0</cx:pt>
          <cx:pt idx="5415">0</cx:pt>
          <cx:pt idx="5416">0</cx:pt>
          <cx:pt idx="5417">0</cx:pt>
          <cx:pt idx="5418">0</cx:pt>
          <cx:pt idx="5419">0</cx:pt>
          <cx:pt idx="5420">0</cx:pt>
          <cx:pt idx="5421">0</cx:pt>
          <cx:pt idx="5422">0</cx:pt>
          <cx:pt idx="5423">0</cx:pt>
          <cx:pt idx="5424">0</cx:pt>
          <cx:pt idx="5425">0</cx:pt>
          <cx:pt idx="5426">0</cx:pt>
          <cx:pt idx="5427">0</cx:pt>
          <cx:pt idx="5428">0</cx:pt>
          <cx:pt idx="5429">0</cx:pt>
          <cx:pt idx="5430">0</cx:pt>
          <cx:pt idx="5431">0</cx:pt>
          <cx:pt idx="5432">0</cx:pt>
          <cx:pt idx="5433">0</cx:pt>
          <cx:pt idx="5434">0</cx:pt>
          <cx:pt idx="5435">0</cx:pt>
          <cx:pt idx="5436">0</cx:pt>
          <cx:pt idx="5437">0</cx:pt>
          <cx:pt idx="5438">0</cx:pt>
          <cx:pt idx="5439">0</cx:pt>
          <cx:pt idx="5440">0</cx:pt>
          <cx:pt idx="5441">0</cx:pt>
          <cx:pt idx="5442">0</cx:pt>
          <cx:pt idx="5443">0</cx:pt>
          <cx:pt idx="5444">0</cx:pt>
          <cx:pt idx="5445">0</cx:pt>
          <cx:pt idx="5446">0</cx:pt>
          <cx:pt idx="5447">0</cx:pt>
          <cx:pt idx="5448">0</cx:pt>
          <cx:pt idx="5449">0</cx:pt>
          <cx:pt idx="5450">0</cx:pt>
          <cx:pt idx="5451">0</cx:pt>
          <cx:pt idx="5452">0</cx:pt>
          <cx:pt idx="5453">0</cx:pt>
          <cx:pt idx="5454">0</cx:pt>
          <cx:pt idx="5455">0</cx:pt>
          <cx:pt idx="5456">0</cx:pt>
          <cx:pt idx="5457">0</cx:pt>
          <cx:pt idx="5458">0</cx:pt>
          <cx:pt idx="5459">0</cx:pt>
          <cx:pt idx="5460">0</cx:pt>
          <cx:pt idx="5461">0</cx:pt>
          <cx:pt idx="5462">0</cx:pt>
          <cx:pt idx="5463">0</cx:pt>
          <cx:pt idx="5464">0</cx:pt>
          <cx:pt idx="5465">0</cx:pt>
          <cx:pt idx="5466">0</cx:pt>
          <cx:pt idx="5467">0</cx:pt>
          <cx:pt idx="5468">0</cx:pt>
          <cx:pt idx="5469">0</cx:pt>
          <cx:pt idx="5470">0</cx:pt>
          <cx:pt idx="5471">0</cx:pt>
          <cx:pt idx="5472">0</cx:pt>
          <cx:pt idx="5473">0</cx:pt>
          <cx:pt idx="5474">0</cx:pt>
          <cx:pt idx="5475">0</cx:pt>
          <cx:pt idx="5476">0</cx:pt>
          <cx:pt idx="5477">0</cx:pt>
          <cx:pt idx="5478">0</cx:pt>
          <cx:pt idx="5479">0</cx:pt>
          <cx:pt idx="5480">0</cx:pt>
          <cx:pt idx="5481">0</cx:pt>
          <cx:pt idx="5482">0</cx:pt>
          <cx:pt idx="5483">0</cx:pt>
          <cx:pt idx="5484">0</cx:pt>
          <cx:pt idx="5485">0</cx:pt>
          <cx:pt idx="5486">0</cx:pt>
          <cx:pt idx="5487">0</cx:pt>
          <cx:pt idx="5488">0</cx:pt>
          <cx:pt idx="5489">0</cx:pt>
          <cx:pt idx="5490">0</cx:pt>
          <cx:pt idx="5491">0</cx:pt>
          <cx:pt idx="5492">0</cx:pt>
          <cx:pt idx="5493">0</cx:pt>
          <cx:pt idx="5494">0</cx:pt>
          <cx:pt idx="5495">0</cx:pt>
          <cx:pt idx="5496">0</cx:pt>
          <cx:pt idx="5497">0</cx:pt>
          <cx:pt idx="5498">0</cx:pt>
          <cx:pt idx="5499">0</cx:pt>
          <cx:pt idx="5500">0</cx:pt>
          <cx:pt idx="5501">0</cx:pt>
          <cx:pt idx="5502">0</cx:pt>
          <cx:pt idx="5503">0</cx:pt>
          <cx:pt idx="5504">0</cx:pt>
          <cx:pt idx="5505">0</cx:pt>
          <cx:pt idx="5506">0</cx:pt>
          <cx:pt idx="5507">0</cx:pt>
          <cx:pt idx="5508">0</cx:pt>
          <cx:pt idx="5509">0</cx:pt>
          <cx:pt idx="5510">0</cx:pt>
          <cx:pt idx="5511">0</cx:pt>
          <cx:pt idx="5512">0</cx:pt>
          <cx:pt idx="5513">0</cx:pt>
          <cx:pt idx="5514">0</cx:pt>
          <cx:pt idx="5515">0</cx:pt>
          <cx:pt idx="5516">0</cx:pt>
          <cx:pt idx="5517">0</cx:pt>
          <cx:pt idx="5518">0</cx:pt>
          <cx:pt idx="5519">0</cx:pt>
          <cx:pt idx="5520">0</cx:pt>
          <cx:pt idx="5521">0</cx:pt>
          <cx:pt idx="5522">0</cx:pt>
          <cx:pt idx="5523">0</cx:pt>
          <cx:pt idx="5524">0</cx:pt>
          <cx:pt idx="5525">0</cx:pt>
          <cx:pt idx="5526">0</cx:pt>
          <cx:pt idx="5527">0</cx:pt>
          <cx:pt idx="5528">0</cx:pt>
          <cx:pt idx="5529">0</cx:pt>
          <cx:pt idx="5530">0</cx:pt>
          <cx:pt idx="5531">0</cx:pt>
          <cx:pt idx="5532">0</cx:pt>
          <cx:pt idx="5533">0</cx:pt>
          <cx:pt idx="5534">0</cx:pt>
          <cx:pt idx="5535">0</cx:pt>
          <cx:pt idx="5536">0</cx:pt>
          <cx:pt idx="5537">0</cx:pt>
          <cx:pt idx="5538">0</cx:pt>
          <cx:pt idx="5539">0</cx:pt>
          <cx:pt idx="5540">0</cx:pt>
          <cx:pt idx="5541">0</cx:pt>
          <cx:pt idx="5542">0</cx:pt>
          <cx:pt idx="5543">0</cx:pt>
          <cx:pt idx="5544">0</cx:pt>
          <cx:pt idx="5545">0</cx:pt>
          <cx:pt idx="5546">0</cx:pt>
          <cx:pt idx="5547">0</cx:pt>
          <cx:pt idx="5548">0</cx:pt>
          <cx:pt idx="5549">0</cx:pt>
          <cx:pt idx="5550">0</cx:pt>
          <cx:pt idx="5551">0</cx:pt>
          <cx:pt idx="5552">0</cx:pt>
          <cx:pt idx="5553">0</cx:pt>
          <cx:pt idx="5554">0</cx:pt>
          <cx:pt idx="5555">0</cx:pt>
          <cx:pt idx="5556">0</cx:pt>
          <cx:pt idx="5557">0</cx:pt>
          <cx:pt idx="5558">0</cx:pt>
          <cx:pt idx="5559">0</cx:pt>
          <cx:pt idx="5560">0</cx:pt>
          <cx:pt idx="5561">0</cx:pt>
          <cx:pt idx="5562">0</cx:pt>
          <cx:pt idx="5563">0</cx:pt>
          <cx:pt idx="5564">0</cx:pt>
          <cx:pt idx="5565">0</cx:pt>
          <cx:pt idx="5566">0</cx:pt>
          <cx:pt idx="5567">0</cx:pt>
          <cx:pt idx="5568">0</cx:pt>
          <cx:pt idx="5569">0</cx:pt>
          <cx:pt idx="5570">0</cx:pt>
          <cx:pt idx="5571">0</cx:pt>
          <cx:pt idx="5572">0</cx:pt>
          <cx:pt idx="5573">0</cx:pt>
          <cx:pt idx="5574">0</cx:pt>
          <cx:pt idx="5575">0</cx:pt>
          <cx:pt idx="5576">0</cx:pt>
          <cx:pt idx="5577">0</cx:pt>
          <cx:pt idx="5578">0</cx:pt>
          <cx:pt idx="5579">0</cx:pt>
          <cx:pt idx="5580">0</cx:pt>
          <cx:pt idx="5581">0</cx:pt>
          <cx:pt idx="5582">0</cx:pt>
          <cx:pt idx="5583">0</cx:pt>
          <cx:pt idx="5584">0</cx:pt>
          <cx:pt idx="5585">0</cx:pt>
          <cx:pt idx="5586">0</cx:pt>
          <cx:pt idx="5587">0</cx:pt>
          <cx:pt idx="5588">0</cx:pt>
          <cx:pt idx="5589">0</cx:pt>
          <cx:pt idx="5590">0</cx:pt>
          <cx:pt idx="5591">0</cx:pt>
          <cx:pt idx="5592">0</cx:pt>
          <cx:pt idx="5593">0</cx:pt>
          <cx:pt idx="5594">0</cx:pt>
          <cx:pt idx="5595">0</cx:pt>
          <cx:pt idx="5596">0</cx:pt>
          <cx:pt idx="5597">0</cx:pt>
          <cx:pt idx="5598">0</cx:pt>
          <cx:pt idx="5599">0</cx:pt>
          <cx:pt idx="5600">0</cx:pt>
          <cx:pt idx="5601">0</cx:pt>
          <cx:pt idx="5602">0</cx:pt>
          <cx:pt idx="5603">0</cx:pt>
          <cx:pt idx="5604">0</cx:pt>
          <cx:pt idx="5605">0</cx:pt>
          <cx:pt idx="5606">0</cx:pt>
          <cx:pt idx="5607">0</cx:pt>
          <cx:pt idx="5608">0</cx:pt>
          <cx:pt idx="5609">0</cx:pt>
          <cx:pt idx="5610">0</cx:pt>
          <cx:pt idx="5611">0</cx:pt>
          <cx:pt idx="5612">0</cx:pt>
          <cx:pt idx="5613">0</cx:pt>
          <cx:pt idx="5614">0</cx:pt>
          <cx:pt idx="5615">0</cx:pt>
          <cx:pt idx="5616">0</cx:pt>
          <cx:pt idx="5617">0</cx:pt>
          <cx:pt idx="5618">0</cx:pt>
          <cx:pt idx="5619">0</cx:pt>
          <cx:pt idx="5620">0</cx:pt>
          <cx:pt idx="5621">0</cx:pt>
          <cx:pt idx="5622">0</cx:pt>
          <cx:pt idx="5623">0</cx:pt>
          <cx:pt idx="5624">0</cx:pt>
          <cx:pt idx="5625">0</cx:pt>
          <cx:pt idx="5626">0</cx:pt>
          <cx:pt idx="5627">0</cx:pt>
          <cx:pt idx="5628">0</cx:pt>
          <cx:pt idx="5629">0</cx:pt>
          <cx:pt idx="5630">0</cx:pt>
          <cx:pt idx="5631">0</cx:pt>
          <cx:pt idx="5632">0</cx:pt>
          <cx:pt idx="5633">0</cx:pt>
          <cx:pt idx="5634">0</cx:pt>
          <cx:pt idx="5635">0</cx:pt>
          <cx:pt idx="5636">0</cx:pt>
          <cx:pt idx="5637">0</cx:pt>
          <cx:pt idx="5638">0</cx:pt>
          <cx:pt idx="5639">0</cx:pt>
          <cx:pt idx="5640">0</cx:pt>
          <cx:pt idx="5641">0</cx:pt>
          <cx:pt idx="5642">0</cx:pt>
          <cx:pt idx="5643">0</cx:pt>
          <cx:pt idx="5644">0</cx:pt>
          <cx:pt idx="5645">0</cx:pt>
          <cx:pt idx="5646">0</cx:pt>
          <cx:pt idx="5647">0</cx:pt>
          <cx:pt idx="5648">0</cx:pt>
          <cx:pt idx="5649">0</cx:pt>
          <cx:pt idx="5650">0</cx:pt>
          <cx:pt idx="5651">0</cx:pt>
          <cx:pt idx="5652">0</cx:pt>
          <cx:pt idx="5653">0</cx:pt>
          <cx:pt idx="5654">0</cx:pt>
          <cx:pt idx="5655">0</cx:pt>
          <cx:pt idx="5656">0</cx:pt>
          <cx:pt idx="5657">0</cx:pt>
          <cx:pt idx="5658">0</cx:pt>
          <cx:pt idx="5659">0</cx:pt>
          <cx:pt idx="5660">0</cx:pt>
          <cx:pt idx="5661">0</cx:pt>
          <cx:pt idx="5662">0</cx:pt>
          <cx:pt idx="5663">0</cx:pt>
          <cx:pt idx="5664">0</cx:pt>
          <cx:pt idx="5665">0</cx:pt>
          <cx:pt idx="5666">0</cx:pt>
          <cx:pt idx="5667">0</cx:pt>
          <cx:pt idx="5668">0</cx:pt>
          <cx:pt idx="5669">0</cx:pt>
          <cx:pt idx="5670">0</cx:pt>
          <cx:pt idx="5671">0</cx:pt>
          <cx:pt idx="5672">0</cx:pt>
          <cx:pt idx="5673">0</cx:pt>
          <cx:pt idx="5674">0</cx:pt>
          <cx:pt idx="5675">0</cx:pt>
          <cx:pt idx="5676">0</cx:pt>
          <cx:pt idx="5677">0</cx:pt>
          <cx:pt idx="5678">0</cx:pt>
          <cx:pt idx="5679">0</cx:pt>
          <cx:pt idx="5680">0</cx:pt>
          <cx:pt idx="5681">0</cx:pt>
          <cx:pt idx="5682">0</cx:pt>
          <cx:pt idx="5683">0</cx:pt>
          <cx:pt idx="5684">0</cx:pt>
          <cx:pt idx="5685">0</cx:pt>
          <cx:pt idx="5686">0</cx:pt>
          <cx:pt idx="5687">0</cx:pt>
          <cx:pt idx="5688">0</cx:pt>
          <cx:pt idx="5689">0</cx:pt>
          <cx:pt idx="5690">0</cx:pt>
          <cx:pt idx="5691">0</cx:pt>
          <cx:pt idx="5692">0</cx:pt>
          <cx:pt idx="5693">0</cx:pt>
          <cx:pt idx="5694">0</cx:pt>
          <cx:pt idx="5695">0</cx:pt>
          <cx:pt idx="5696">0</cx:pt>
          <cx:pt idx="5697">0</cx:pt>
          <cx:pt idx="5698">0</cx:pt>
          <cx:pt idx="5699">0</cx:pt>
          <cx:pt idx="5700">0</cx:pt>
          <cx:pt idx="5701">0</cx:pt>
          <cx:pt idx="5702">0</cx:pt>
          <cx:pt idx="5703">0</cx:pt>
          <cx:pt idx="5704">0</cx:pt>
          <cx:pt idx="5705">0</cx:pt>
          <cx:pt idx="5706">0</cx:pt>
          <cx:pt idx="5707">0</cx:pt>
          <cx:pt idx="5708">0</cx:pt>
          <cx:pt idx="5709">0</cx:pt>
          <cx:pt idx="5710">0</cx:pt>
          <cx:pt idx="5711">0</cx:pt>
          <cx:pt idx="5712">0</cx:pt>
          <cx:pt idx="5713">0</cx:pt>
          <cx:pt idx="5714">0</cx:pt>
          <cx:pt idx="5715">0</cx:pt>
          <cx:pt idx="5716">0</cx:pt>
          <cx:pt idx="5717">0</cx:pt>
          <cx:pt idx="5718">0</cx:pt>
          <cx:pt idx="5719">0</cx:pt>
          <cx:pt idx="5720">0</cx:pt>
          <cx:pt idx="5721">0</cx:pt>
          <cx:pt idx="5722">0</cx:pt>
          <cx:pt idx="5723">0</cx:pt>
          <cx:pt idx="5724">0</cx:pt>
          <cx:pt idx="5725">0</cx:pt>
          <cx:pt idx="5726">0</cx:pt>
          <cx:pt idx="5727">0</cx:pt>
          <cx:pt idx="5728">0</cx:pt>
          <cx:pt idx="5729">0</cx:pt>
          <cx:pt idx="5730">0</cx:pt>
          <cx:pt idx="5731">0</cx:pt>
          <cx:pt idx="5732">0</cx:pt>
          <cx:pt idx="5733">0</cx:pt>
          <cx:pt idx="5734">0</cx:pt>
          <cx:pt idx="5735">0</cx:pt>
          <cx:pt idx="5736">0</cx:pt>
          <cx:pt idx="5737">0</cx:pt>
          <cx:pt idx="5738">0</cx:pt>
          <cx:pt idx="5739">0</cx:pt>
          <cx:pt idx="5740">0</cx:pt>
          <cx:pt idx="5741">0</cx:pt>
          <cx:pt idx="5742">0</cx:pt>
          <cx:pt idx="5743">0</cx:pt>
          <cx:pt idx="5744">0</cx:pt>
          <cx:pt idx="5745">0</cx:pt>
          <cx:pt idx="5746">0</cx:pt>
          <cx:pt idx="5747">0</cx:pt>
          <cx:pt idx="5748">0</cx:pt>
          <cx:pt idx="5749">0</cx:pt>
          <cx:pt idx="5750">0</cx:pt>
          <cx:pt idx="5751">0</cx:pt>
          <cx:pt idx="5752">0</cx:pt>
          <cx:pt idx="5753">0</cx:pt>
          <cx:pt idx="5754">0</cx:pt>
          <cx:pt idx="5755">0</cx:pt>
          <cx:pt idx="5756">0</cx:pt>
          <cx:pt idx="5757">0</cx:pt>
          <cx:pt idx="5758">0</cx:pt>
          <cx:pt idx="5759">0</cx:pt>
          <cx:pt idx="5760">0</cx:pt>
          <cx:pt idx="5761">0</cx:pt>
          <cx:pt idx="5762">0</cx:pt>
          <cx:pt idx="5763">0</cx:pt>
          <cx:pt idx="5764">0</cx:pt>
          <cx:pt idx="5765">0</cx:pt>
          <cx:pt idx="5766">0</cx:pt>
          <cx:pt idx="5767">0</cx:pt>
          <cx:pt idx="5768">0</cx:pt>
          <cx:pt idx="5769">0</cx:pt>
          <cx:pt idx="5770">0</cx:pt>
          <cx:pt idx="5771">0</cx:pt>
          <cx:pt idx="5772">0</cx:pt>
          <cx:pt idx="5773">0</cx:pt>
          <cx:pt idx="5774">0</cx:pt>
          <cx:pt idx="5775">0</cx:pt>
          <cx:pt idx="5776">0</cx:pt>
          <cx:pt idx="5777">0</cx:pt>
          <cx:pt idx="5778">0</cx:pt>
          <cx:pt idx="5779">0</cx:pt>
          <cx:pt idx="5780">0</cx:pt>
          <cx:pt idx="5781">0</cx:pt>
          <cx:pt idx="5782">0</cx:pt>
          <cx:pt idx="5783">0</cx:pt>
          <cx:pt idx="5784">0</cx:pt>
          <cx:pt idx="5785">0</cx:pt>
          <cx:pt idx="5786">0</cx:pt>
          <cx:pt idx="5787">0</cx:pt>
          <cx:pt idx="5788">0</cx:pt>
          <cx:pt idx="5789">0</cx:pt>
          <cx:pt idx="5790">0</cx:pt>
          <cx:pt idx="5791">0</cx:pt>
          <cx:pt idx="5792">0</cx:pt>
          <cx:pt idx="5793">0</cx:pt>
          <cx:pt idx="5794">0</cx:pt>
          <cx:pt idx="5795">0</cx:pt>
          <cx:pt idx="5796">0</cx:pt>
          <cx:pt idx="5797">0</cx:pt>
          <cx:pt idx="5798">0</cx:pt>
          <cx:pt idx="5799">0</cx:pt>
          <cx:pt idx="5800">0</cx:pt>
          <cx:pt idx="5801">0</cx:pt>
          <cx:pt idx="5802">0</cx:pt>
          <cx:pt idx="5803">0</cx:pt>
          <cx:pt idx="5804">0</cx:pt>
          <cx:pt idx="5805">0</cx:pt>
          <cx:pt idx="5806">0</cx:pt>
          <cx:pt idx="5807">0</cx:pt>
          <cx:pt idx="5808">0</cx:pt>
          <cx:pt idx="5809">0</cx:pt>
          <cx:pt idx="5810">0</cx:pt>
          <cx:pt idx="5811">0</cx:pt>
          <cx:pt idx="5812">0</cx:pt>
          <cx:pt idx="5813">0</cx:pt>
          <cx:pt idx="5814">0</cx:pt>
          <cx:pt idx="5815">0</cx:pt>
          <cx:pt idx="5816">0</cx:pt>
          <cx:pt idx="5817">0</cx:pt>
          <cx:pt idx="5818">0</cx:pt>
          <cx:pt idx="5819">0</cx:pt>
          <cx:pt idx="5820">0</cx:pt>
          <cx:pt idx="5821">0</cx:pt>
          <cx:pt idx="5822">0</cx:pt>
          <cx:pt idx="5823">0</cx:pt>
          <cx:pt idx="5824">0</cx:pt>
          <cx:pt idx="5825">0</cx:pt>
          <cx:pt idx="5826">0</cx:pt>
          <cx:pt idx="5827">0</cx:pt>
          <cx:pt idx="5828">0</cx:pt>
          <cx:pt idx="5829">0</cx:pt>
          <cx:pt idx="5830">0</cx:pt>
          <cx:pt idx="5831">0</cx:pt>
          <cx:pt idx="5832">0</cx:pt>
          <cx:pt idx="5833">0</cx:pt>
          <cx:pt idx="5834">0</cx:pt>
          <cx:pt idx="5835">0</cx:pt>
          <cx:pt idx="5836">0</cx:pt>
          <cx:pt idx="5837">0</cx:pt>
          <cx:pt idx="5838">0</cx:pt>
          <cx:pt idx="5839">0</cx:pt>
          <cx:pt idx="5840">0</cx:pt>
          <cx:pt idx="5841">0</cx:pt>
          <cx:pt idx="5842">0</cx:pt>
          <cx:pt idx="5843">0</cx:pt>
          <cx:pt idx="5844">0</cx:pt>
          <cx:pt idx="5845">0</cx:pt>
          <cx:pt idx="5846">0</cx:pt>
          <cx:pt idx="5847">0</cx:pt>
          <cx:pt idx="5848">0</cx:pt>
          <cx:pt idx="5849">0</cx:pt>
          <cx:pt idx="5850">0</cx:pt>
          <cx:pt idx="5851">0</cx:pt>
          <cx:pt idx="5852">0</cx:pt>
          <cx:pt idx="5853">0</cx:pt>
          <cx:pt idx="5854">0</cx:pt>
          <cx:pt idx="5855">0</cx:pt>
          <cx:pt idx="5856">0</cx:pt>
          <cx:pt idx="5857">0</cx:pt>
          <cx:pt idx="5858">0</cx:pt>
          <cx:pt idx="5859">0</cx:pt>
          <cx:pt idx="5860">0</cx:pt>
          <cx:pt idx="5861">0</cx:pt>
          <cx:pt idx="5862">0</cx:pt>
          <cx:pt idx="5863">0</cx:pt>
          <cx:pt idx="5864">0</cx:pt>
          <cx:pt idx="5865">0</cx:pt>
          <cx:pt idx="5866">0</cx:pt>
          <cx:pt idx="5867">0</cx:pt>
          <cx:pt idx="5868">0</cx:pt>
          <cx:pt idx="5869">0</cx:pt>
          <cx:pt idx="5870">0</cx:pt>
          <cx:pt idx="5871">0</cx:pt>
          <cx:pt idx="5872">0</cx:pt>
          <cx:pt idx="5873">0</cx:pt>
          <cx:pt idx="5874">0</cx:pt>
          <cx:pt idx="5875">0</cx:pt>
          <cx:pt idx="5876">0</cx:pt>
          <cx:pt idx="5877">0</cx:pt>
          <cx:pt idx="5878">0</cx:pt>
          <cx:pt idx="5879">0</cx:pt>
          <cx:pt idx="5880">0</cx:pt>
          <cx:pt idx="5881">0</cx:pt>
          <cx:pt idx="5882">0</cx:pt>
          <cx:pt idx="5883">0</cx:pt>
          <cx:pt idx="5884">0</cx:pt>
          <cx:pt idx="5885">0</cx:pt>
          <cx:pt idx="5886">0</cx:pt>
          <cx:pt idx="5887">0</cx:pt>
          <cx:pt idx="5888">0</cx:pt>
          <cx:pt idx="5889">0</cx:pt>
          <cx:pt idx="5890">0</cx:pt>
          <cx:pt idx="5891">0</cx:pt>
          <cx:pt idx="5892">0</cx:pt>
          <cx:pt idx="5893">0</cx:pt>
          <cx:pt idx="5894">0</cx:pt>
          <cx:pt idx="5895">0</cx:pt>
          <cx:pt idx="5896">0</cx:pt>
          <cx:pt idx="5897">0</cx:pt>
          <cx:pt idx="5898">0</cx:pt>
          <cx:pt idx="5899">0</cx:pt>
          <cx:pt idx="5900">0</cx:pt>
          <cx:pt idx="5901">0</cx:pt>
          <cx:pt idx="5902">0</cx:pt>
          <cx:pt idx="5903">0</cx:pt>
          <cx:pt idx="5904">0</cx:pt>
          <cx:pt idx="5905">0</cx:pt>
          <cx:pt idx="5906">0</cx:pt>
          <cx:pt idx="5907">0</cx:pt>
          <cx:pt idx="5908">0</cx:pt>
          <cx:pt idx="5909">0</cx:pt>
          <cx:pt idx="5910">0</cx:pt>
          <cx:pt idx="5911">0</cx:pt>
          <cx:pt idx="5912">0</cx:pt>
          <cx:pt idx="5913">0</cx:pt>
          <cx:pt idx="5914">0</cx:pt>
          <cx:pt idx="5915">0</cx:pt>
          <cx:pt idx="5916">0</cx:pt>
          <cx:pt idx="5917">0</cx:pt>
          <cx:pt idx="5918">0</cx:pt>
          <cx:pt idx="5919">0</cx:pt>
          <cx:pt idx="5920">0</cx:pt>
          <cx:pt idx="5921">0</cx:pt>
          <cx:pt idx="5922">0</cx:pt>
          <cx:pt idx="5923">0</cx:pt>
          <cx:pt idx="5924">0</cx:pt>
          <cx:pt idx="5925">0</cx:pt>
          <cx:pt idx="5926">0</cx:pt>
          <cx:pt idx="5927">0</cx:pt>
          <cx:pt idx="5928">0</cx:pt>
          <cx:pt idx="5929">0</cx:pt>
          <cx:pt idx="5930">0</cx:pt>
          <cx:pt idx="5931">0</cx:pt>
          <cx:pt idx="5932">0</cx:pt>
          <cx:pt idx="5933">0</cx:pt>
          <cx:pt idx="5934">0</cx:pt>
          <cx:pt idx="5935">0</cx:pt>
          <cx:pt idx="5936">0</cx:pt>
          <cx:pt idx="5937">0</cx:pt>
          <cx:pt idx="5938">0</cx:pt>
          <cx:pt idx="5939">0</cx:pt>
          <cx:pt idx="5940">0</cx:pt>
          <cx:pt idx="5941">0</cx:pt>
          <cx:pt idx="5942">0</cx:pt>
          <cx:pt idx="5943">0</cx:pt>
          <cx:pt idx="5944">0</cx:pt>
          <cx:pt idx="5945">0</cx:pt>
          <cx:pt idx="5946">0</cx:pt>
          <cx:pt idx="5947">0</cx:pt>
          <cx:pt idx="5948">0</cx:pt>
          <cx:pt idx="5949">0</cx:pt>
          <cx:pt idx="5950">0</cx:pt>
          <cx:pt idx="5951">0</cx:pt>
          <cx:pt idx="5952">0</cx:pt>
          <cx:pt idx="5953">0</cx:pt>
          <cx:pt idx="5954">0</cx:pt>
          <cx:pt idx="5955">0</cx:pt>
          <cx:pt idx="5956">0</cx:pt>
          <cx:pt idx="5957">0</cx:pt>
          <cx:pt idx="5958">0</cx:pt>
          <cx:pt idx="5959">0</cx:pt>
          <cx:pt idx="5960">0</cx:pt>
          <cx:pt idx="5961">0</cx:pt>
          <cx:pt idx="5962">0</cx:pt>
          <cx:pt idx="5963">0</cx:pt>
          <cx:pt idx="5964">0</cx:pt>
          <cx:pt idx="5965">0</cx:pt>
          <cx:pt idx="5966">0</cx:pt>
          <cx:pt idx="5967">0</cx:pt>
          <cx:pt idx="5968">0</cx:pt>
          <cx:pt idx="5969">0</cx:pt>
          <cx:pt idx="5970">0</cx:pt>
          <cx:pt idx="5971">0</cx:pt>
          <cx:pt idx="5972">0</cx:pt>
          <cx:pt idx="5973">0</cx:pt>
          <cx:pt idx="5974">0</cx:pt>
          <cx:pt idx="5975">0</cx:pt>
          <cx:pt idx="5976">0</cx:pt>
          <cx:pt idx="5977">0</cx:pt>
          <cx:pt idx="5978">0</cx:pt>
          <cx:pt idx="5979">0</cx:pt>
          <cx:pt idx="5980">0</cx:pt>
          <cx:pt idx="5981">0</cx:pt>
          <cx:pt idx="5982">0</cx:pt>
          <cx:pt idx="5983">0</cx:pt>
          <cx:pt idx="5984">0</cx:pt>
          <cx:pt idx="5985">0</cx:pt>
          <cx:pt idx="5986">0</cx:pt>
          <cx:pt idx="5987">0</cx:pt>
          <cx:pt idx="5988">0</cx:pt>
          <cx:pt idx="5989">0</cx:pt>
          <cx:pt idx="5990">0</cx:pt>
          <cx:pt idx="5991">0</cx:pt>
          <cx:pt idx="5992">0</cx:pt>
          <cx:pt idx="5993">0</cx:pt>
          <cx:pt idx="5994">0</cx:pt>
          <cx:pt idx="5995">0</cx:pt>
          <cx:pt idx="5996">0</cx:pt>
          <cx:pt idx="5997">0</cx:pt>
          <cx:pt idx="5998">0</cx:pt>
          <cx:pt idx="5999">0</cx:pt>
          <cx:pt idx="6000">0</cx:pt>
          <cx:pt idx="6001">0</cx:pt>
          <cx:pt idx="6002">0</cx:pt>
          <cx:pt idx="6003">0</cx:pt>
          <cx:pt idx="6004">0</cx:pt>
          <cx:pt idx="6005">0</cx:pt>
          <cx:pt idx="6006">0</cx:pt>
          <cx:pt idx="6007">0</cx:pt>
          <cx:pt idx="6008">0</cx:pt>
          <cx:pt idx="6009">0</cx:pt>
          <cx:pt idx="6010">0</cx:pt>
          <cx:pt idx="6011">0</cx:pt>
          <cx:pt idx="6012">0</cx:pt>
          <cx:pt idx="6013">0</cx:pt>
          <cx:pt idx="6014">0</cx:pt>
          <cx:pt idx="6015">0</cx:pt>
          <cx:pt idx="6016">0</cx:pt>
          <cx:pt idx="6017">0</cx:pt>
          <cx:pt idx="6018">0</cx:pt>
          <cx:pt idx="6019">0</cx:pt>
          <cx:pt idx="6020">0</cx:pt>
          <cx:pt idx="6021">0</cx:pt>
          <cx:pt idx="6022">0</cx:pt>
          <cx:pt idx="6023">0</cx:pt>
          <cx:pt idx="6024">0</cx:pt>
          <cx:pt idx="6025">0</cx:pt>
          <cx:pt idx="6026">0</cx:pt>
          <cx:pt idx="6027">0</cx:pt>
          <cx:pt idx="6028">0</cx:pt>
          <cx:pt idx="6029">0</cx:pt>
          <cx:pt idx="6030">0</cx:pt>
          <cx:pt idx="6031">0</cx:pt>
          <cx:pt idx="6032">0</cx:pt>
          <cx:pt idx="6033">0</cx:pt>
          <cx:pt idx="6034">0</cx:pt>
          <cx:pt idx="6035">0</cx:pt>
          <cx:pt idx="6036">0</cx:pt>
          <cx:pt idx="6037">0</cx:pt>
          <cx:pt idx="6038">0</cx:pt>
          <cx:pt idx="6039">0</cx:pt>
          <cx:pt idx="6040">0</cx:pt>
          <cx:pt idx="6041">0</cx:pt>
          <cx:pt idx="6042">0</cx:pt>
          <cx:pt idx="6043">0</cx:pt>
          <cx:pt idx="6044">0</cx:pt>
          <cx:pt idx="6045">0</cx:pt>
          <cx:pt idx="6046">0</cx:pt>
          <cx:pt idx="6047">0</cx:pt>
          <cx:pt idx="6048">0</cx:pt>
          <cx:pt idx="6049">0</cx:pt>
          <cx:pt idx="6050">0</cx:pt>
          <cx:pt idx="6051">0</cx:pt>
          <cx:pt idx="6052">0</cx:pt>
          <cx:pt idx="6053">0</cx:pt>
          <cx:pt idx="6054">0</cx:pt>
          <cx:pt idx="6055">0</cx:pt>
          <cx:pt idx="6056">0</cx:pt>
          <cx:pt idx="6057">0</cx:pt>
          <cx:pt idx="6058">0</cx:pt>
          <cx:pt idx="6059">0</cx:pt>
          <cx:pt idx="6060">0</cx:pt>
          <cx:pt idx="6061">0</cx:pt>
          <cx:pt idx="6062">0</cx:pt>
          <cx:pt idx="6063">0</cx:pt>
          <cx:pt idx="6064">0</cx:pt>
          <cx:pt idx="6065">0</cx:pt>
          <cx:pt idx="6066">0</cx:pt>
          <cx:pt idx="6067">0</cx:pt>
          <cx:pt idx="6068">0</cx:pt>
          <cx:pt idx="6069">0</cx:pt>
          <cx:pt idx="6070">0</cx:pt>
          <cx:pt idx="6071">0</cx:pt>
          <cx:pt idx="6072">0</cx:pt>
          <cx:pt idx="6073">0</cx:pt>
          <cx:pt idx="6074">0</cx:pt>
          <cx:pt idx="6075">0</cx:pt>
          <cx:pt idx="6076">0</cx:pt>
          <cx:pt idx="6077">0</cx:pt>
          <cx:pt idx="6078">0</cx:pt>
          <cx:pt idx="6079">0</cx:pt>
          <cx:pt idx="6080">0</cx:pt>
          <cx:pt idx="6081">0</cx:pt>
          <cx:pt idx="6082">0</cx:pt>
          <cx:pt idx="6083">0</cx:pt>
          <cx:pt idx="6084">0</cx:pt>
          <cx:pt idx="6085">0</cx:pt>
          <cx:pt idx="6086">0</cx:pt>
          <cx:pt idx="6087">0</cx:pt>
          <cx:pt idx="6088">0</cx:pt>
          <cx:pt idx="6089">0</cx:pt>
          <cx:pt idx="6090">0</cx:pt>
          <cx:pt idx="6091">0</cx:pt>
          <cx:pt idx="6092">0</cx:pt>
          <cx:pt idx="6093">0</cx:pt>
          <cx:pt idx="6094">0</cx:pt>
          <cx:pt idx="6095">0</cx:pt>
          <cx:pt idx="6096">0</cx:pt>
          <cx:pt idx="6097">0</cx:pt>
          <cx:pt idx="6098">0</cx:pt>
          <cx:pt idx="6099">0</cx:pt>
          <cx:pt idx="6100">0</cx:pt>
          <cx:pt idx="6101">0</cx:pt>
          <cx:pt idx="6102">0</cx:pt>
          <cx:pt idx="6103">0</cx:pt>
          <cx:pt idx="6104">0</cx:pt>
          <cx:pt idx="6105">0</cx:pt>
          <cx:pt idx="6106">0</cx:pt>
          <cx:pt idx="6107">0</cx:pt>
          <cx:pt idx="6108">0</cx:pt>
          <cx:pt idx="6109">0</cx:pt>
          <cx:pt idx="6110">0</cx:pt>
          <cx:pt idx="6111">0</cx:pt>
          <cx:pt idx="6112">0</cx:pt>
          <cx:pt idx="6113">0</cx:pt>
          <cx:pt idx="6114">0</cx:pt>
          <cx:pt idx="6115">0</cx:pt>
          <cx:pt idx="6116">0</cx:pt>
          <cx:pt idx="6117">0</cx:pt>
          <cx:pt idx="6118">0</cx:pt>
          <cx:pt idx="6119">0</cx:pt>
          <cx:pt idx="6120">0</cx:pt>
          <cx:pt idx="6121">0</cx:pt>
          <cx:pt idx="6122">0</cx:pt>
          <cx:pt idx="6123">0</cx:pt>
          <cx:pt idx="6124">0</cx:pt>
          <cx:pt idx="6125">0</cx:pt>
          <cx:pt idx="6126">0</cx:pt>
          <cx:pt idx="6127">0</cx:pt>
          <cx:pt idx="6128">0</cx:pt>
          <cx:pt idx="6129">0</cx:pt>
          <cx:pt idx="6130">0</cx:pt>
          <cx:pt idx="6131">0</cx:pt>
          <cx:pt idx="6132">0</cx:pt>
          <cx:pt idx="6133">0</cx:pt>
          <cx:pt idx="6134">0</cx:pt>
          <cx:pt idx="6135">0</cx:pt>
          <cx:pt idx="6136">0</cx:pt>
          <cx:pt idx="6137">0</cx:pt>
          <cx:pt idx="6138">0</cx:pt>
          <cx:pt idx="6139">0</cx:pt>
          <cx:pt idx="6140">0</cx:pt>
          <cx:pt idx="6141">0</cx:pt>
          <cx:pt idx="6142">0</cx:pt>
          <cx:pt idx="6143">0</cx:pt>
          <cx:pt idx="6144">0</cx:pt>
          <cx:pt idx="6145">0</cx:pt>
          <cx:pt idx="6146">0</cx:pt>
          <cx:pt idx="6147">0</cx:pt>
          <cx:pt idx="6148">0</cx:pt>
          <cx:pt idx="6149">0</cx:pt>
          <cx:pt idx="6150">0</cx:pt>
          <cx:pt idx="6151">0</cx:pt>
          <cx:pt idx="6152">0</cx:pt>
          <cx:pt idx="6153">0</cx:pt>
          <cx:pt idx="6154">0</cx:pt>
          <cx:pt idx="6155">0</cx:pt>
          <cx:pt idx="6156">0</cx:pt>
          <cx:pt idx="6157">0</cx:pt>
          <cx:pt idx="6158">0</cx:pt>
          <cx:pt idx="6159">0</cx:pt>
          <cx:pt idx="6160">0</cx:pt>
          <cx:pt idx="6161">0</cx:pt>
          <cx:pt idx="6162">0</cx:pt>
          <cx:pt idx="6163">0</cx:pt>
          <cx:pt idx="6164">0</cx:pt>
          <cx:pt idx="6165">0</cx:pt>
          <cx:pt idx="6166">0</cx:pt>
          <cx:pt idx="6167">0</cx:pt>
          <cx:pt idx="6168">0</cx:pt>
          <cx:pt idx="6169">0</cx:pt>
          <cx:pt idx="6170">0</cx:pt>
          <cx:pt idx="6171">0</cx:pt>
          <cx:pt idx="6172">0</cx:pt>
          <cx:pt idx="6173">0</cx:pt>
          <cx:pt idx="6174">0</cx:pt>
          <cx:pt idx="6175">0</cx:pt>
          <cx:pt idx="6176">0</cx:pt>
          <cx:pt idx="6177">0</cx:pt>
          <cx:pt idx="6178">0</cx:pt>
          <cx:pt idx="6179">0</cx:pt>
          <cx:pt idx="6180">0</cx:pt>
          <cx:pt idx="6181">0</cx:pt>
          <cx:pt idx="6182">0</cx:pt>
          <cx:pt idx="6183">0</cx:pt>
          <cx:pt idx="6184">0</cx:pt>
          <cx:pt idx="6185">0</cx:pt>
          <cx:pt idx="6186">0</cx:pt>
          <cx:pt idx="6187">0</cx:pt>
          <cx:pt idx="6188">0</cx:pt>
          <cx:pt idx="6189">0</cx:pt>
          <cx:pt idx="6190">0</cx:pt>
          <cx:pt idx="6191">0</cx:pt>
          <cx:pt idx="6192">0</cx:pt>
          <cx:pt idx="6193">0</cx:pt>
          <cx:pt idx="6194">0</cx:pt>
          <cx:pt idx="6195">0</cx:pt>
          <cx:pt idx="6196">0</cx:pt>
          <cx:pt idx="6197">0</cx:pt>
          <cx:pt idx="6198">0</cx:pt>
          <cx:pt idx="6199">0</cx:pt>
          <cx:pt idx="6200">0</cx:pt>
          <cx:pt idx="6201">0</cx:pt>
          <cx:pt idx="6202">0</cx:pt>
          <cx:pt idx="6203">0</cx:pt>
          <cx:pt idx="6204">0</cx:pt>
          <cx:pt idx="6205">0</cx:pt>
          <cx:pt idx="6206">0</cx:pt>
          <cx:pt idx="6207">0</cx:pt>
          <cx:pt idx="6208">0</cx:pt>
          <cx:pt idx="6209">0</cx:pt>
          <cx:pt idx="6210">0</cx:pt>
          <cx:pt idx="6211">0</cx:pt>
          <cx:pt idx="6212">0</cx:pt>
          <cx:pt idx="6213">0</cx:pt>
          <cx:pt idx="6214">0</cx:pt>
          <cx:pt idx="6215">0</cx:pt>
          <cx:pt idx="6216">0</cx:pt>
          <cx:pt idx="6217">0</cx:pt>
          <cx:pt idx="6218">0</cx:pt>
          <cx:pt idx="6219">0</cx:pt>
          <cx:pt idx="6220">0</cx:pt>
          <cx:pt idx="6221">0</cx:pt>
          <cx:pt idx="6222">0</cx:pt>
          <cx:pt idx="6223">0</cx:pt>
          <cx:pt idx="6224">0</cx:pt>
          <cx:pt idx="6225">0</cx:pt>
          <cx:pt idx="6226">0</cx:pt>
          <cx:pt idx="6227">0</cx:pt>
          <cx:pt idx="6228">0</cx:pt>
          <cx:pt idx="6229">0</cx:pt>
          <cx:pt idx="6230">0</cx:pt>
          <cx:pt idx="6231">0</cx:pt>
          <cx:pt idx="6232">0</cx:pt>
          <cx:pt idx="6233">0</cx:pt>
          <cx:pt idx="6234">0</cx:pt>
          <cx:pt idx="6235">0</cx:pt>
          <cx:pt idx="6236">0</cx:pt>
          <cx:pt idx="6237">0</cx:pt>
          <cx:pt idx="6238">0</cx:pt>
          <cx:pt idx="6239">0</cx:pt>
          <cx:pt idx="6240">0</cx:pt>
          <cx:pt idx="6241">0</cx:pt>
          <cx:pt idx="6242">0</cx:pt>
          <cx:pt idx="6243">0</cx:pt>
          <cx:pt idx="6244">0</cx:pt>
          <cx:pt idx="6245">0</cx:pt>
          <cx:pt idx="6246">0</cx:pt>
          <cx:pt idx="6247">0</cx:pt>
          <cx:pt idx="6248">0</cx:pt>
          <cx:pt idx="6249">0</cx:pt>
          <cx:pt idx="6250">0</cx:pt>
          <cx:pt idx="6251">0</cx:pt>
          <cx:pt idx="6252">0</cx:pt>
          <cx:pt idx="6253">0</cx:pt>
          <cx:pt idx="6254">0</cx:pt>
          <cx:pt idx="6255">0</cx:pt>
          <cx:pt idx="6256">0</cx:pt>
          <cx:pt idx="6257">0</cx:pt>
          <cx:pt idx="6258">0</cx:pt>
          <cx:pt idx="6259">0</cx:pt>
          <cx:pt idx="6260">0</cx:pt>
          <cx:pt idx="6261">0</cx:pt>
          <cx:pt idx="6262">0</cx:pt>
          <cx:pt idx="6263">0</cx:pt>
          <cx:pt idx="6264">0</cx:pt>
          <cx:pt idx="6265">0</cx:pt>
          <cx:pt idx="6266">0</cx:pt>
          <cx:pt idx="6267">0</cx:pt>
          <cx:pt idx="6268">0</cx:pt>
          <cx:pt idx="6269">0</cx:pt>
          <cx:pt idx="6270">0</cx:pt>
          <cx:pt idx="6271">0</cx:pt>
          <cx:pt idx="6272">0</cx:pt>
          <cx:pt idx="6273">0</cx:pt>
          <cx:pt idx="6274">0</cx:pt>
          <cx:pt idx="6275">0</cx:pt>
          <cx:pt idx="6276">0</cx:pt>
          <cx:pt idx="6277">0</cx:pt>
          <cx:pt idx="6278">0</cx:pt>
          <cx:pt idx="6279">0</cx:pt>
          <cx:pt idx="6280">0</cx:pt>
          <cx:pt idx="6281">0</cx:pt>
          <cx:pt idx="6282">0</cx:pt>
          <cx:pt idx="6283">0</cx:pt>
          <cx:pt idx="6284">0</cx:pt>
          <cx:pt idx="6285">0</cx:pt>
          <cx:pt idx="6286">0</cx:pt>
          <cx:pt idx="6287">0</cx:pt>
          <cx:pt idx="6288">0</cx:pt>
          <cx:pt idx="6289">0</cx:pt>
          <cx:pt idx="6290">0</cx:pt>
          <cx:pt idx="6291">0</cx:pt>
          <cx:pt idx="6292">0</cx:pt>
          <cx:pt idx="6293">0</cx:pt>
          <cx:pt idx="6294">0</cx:pt>
          <cx:pt idx="6295">0</cx:pt>
          <cx:pt idx="6296">0</cx:pt>
          <cx:pt idx="6297">0</cx:pt>
          <cx:pt idx="6298">0</cx:pt>
          <cx:pt idx="6299">0</cx:pt>
          <cx:pt idx="6300">0</cx:pt>
          <cx:pt idx="6301">0</cx:pt>
          <cx:pt idx="6302">0</cx:pt>
          <cx:pt idx="6303">0</cx:pt>
          <cx:pt idx="6304">0</cx:pt>
          <cx:pt idx="6305">0</cx:pt>
          <cx:pt idx="6306">0</cx:pt>
          <cx:pt idx="6307">0</cx:pt>
          <cx:pt idx="6308">0</cx:pt>
          <cx:pt idx="6309">0</cx:pt>
          <cx:pt idx="6310">0</cx:pt>
          <cx:pt idx="6311">0</cx:pt>
          <cx:pt idx="6312">0</cx:pt>
          <cx:pt idx="6313">0</cx:pt>
          <cx:pt idx="6314">0</cx:pt>
          <cx:pt idx="6315">0</cx:pt>
          <cx:pt idx="6316">0</cx:pt>
          <cx:pt idx="6317">0</cx:pt>
          <cx:pt idx="6318">0</cx:pt>
          <cx:pt idx="6319">0</cx:pt>
          <cx:pt idx="6320">0</cx:pt>
          <cx:pt idx="6321">0</cx:pt>
          <cx:pt idx="6322">0</cx:pt>
          <cx:pt idx="6323">0</cx:pt>
          <cx:pt idx="6324">0</cx:pt>
          <cx:pt idx="6325">0</cx:pt>
          <cx:pt idx="6326">0</cx:pt>
          <cx:pt idx="6327">0</cx:pt>
          <cx:pt idx="6328">0</cx:pt>
          <cx:pt idx="6329">0</cx:pt>
          <cx:pt idx="6330">0</cx:pt>
          <cx:pt idx="6331">0</cx:pt>
          <cx:pt idx="6332">0</cx:pt>
          <cx:pt idx="6333">0</cx:pt>
          <cx:pt idx="6334">0</cx:pt>
          <cx:pt idx="6335">0</cx:pt>
          <cx:pt idx="6336">0</cx:pt>
          <cx:pt idx="6337">0</cx:pt>
          <cx:pt idx="6338">0</cx:pt>
          <cx:pt idx="6339">0</cx:pt>
          <cx:pt idx="6340">0</cx:pt>
          <cx:pt idx="6341">0</cx:pt>
          <cx:pt idx="6342">0</cx:pt>
          <cx:pt idx="6343">0</cx:pt>
          <cx:pt idx="6344">0</cx:pt>
          <cx:pt idx="6345">0</cx:pt>
          <cx:pt idx="6346">0</cx:pt>
          <cx:pt idx="6347">0</cx:pt>
          <cx:pt idx="6348">0</cx:pt>
          <cx:pt idx="6349">0</cx:pt>
          <cx:pt idx="6350">0</cx:pt>
          <cx:pt idx="6351">0</cx:pt>
          <cx:pt idx="6352">0</cx:pt>
          <cx:pt idx="6353">0</cx:pt>
          <cx:pt idx="6354">0</cx:pt>
          <cx:pt idx="6355">0</cx:pt>
          <cx:pt idx="6356">0</cx:pt>
          <cx:pt idx="6357">0</cx:pt>
          <cx:pt idx="6358">0</cx:pt>
          <cx:pt idx="6359">0</cx:pt>
          <cx:pt idx="6360">0</cx:pt>
          <cx:pt idx="6361">0</cx:pt>
          <cx:pt idx="6362">0</cx:pt>
          <cx:pt idx="6363">0</cx:pt>
          <cx:pt idx="6364">0</cx:pt>
          <cx:pt idx="6365">0</cx:pt>
          <cx:pt idx="6366">0</cx:pt>
          <cx:pt idx="6367">0</cx:pt>
          <cx:pt idx="6368">0</cx:pt>
          <cx:pt idx="6369">0</cx:pt>
          <cx:pt idx="6370">0</cx:pt>
          <cx:pt idx="6371">0</cx:pt>
          <cx:pt idx="6372">0</cx:pt>
          <cx:pt idx="6373">0</cx:pt>
          <cx:pt idx="6374">0</cx:pt>
          <cx:pt idx="6375">0</cx:pt>
          <cx:pt idx="6376">0</cx:pt>
          <cx:pt idx="6377">0</cx:pt>
          <cx:pt idx="6378">0</cx:pt>
          <cx:pt idx="6379">0</cx:pt>
          <cx:pt idx="6380">0</cx:pt>
          <cx:pt idx="6381">0</cx:pt>
          <cx:pt idx="6382">0</cx:pt>
          <cx:pt idx="6383">0</cx:pt>
          <cx:pt idx="6384">0</cx:pt>
          <cx:pt idx="6385">0</cx:pt>
          <cx:pt idx="6386">0</cx:pt>
          <cx:pt idx="6387">0</cx:pt>
          <cx:pt idx="6388">0</cx:pt>
          <cx:pt idx="6389">0</cx:pt>
          <cx:pt idx="6390">0</cx:pt>
          <cx:pt idx="6391">0</cx:pt>
          <cx:pt idx="6392">0</cx:pt>
          <cx:pt idx="6393">0</cx:pt>
          <cx:pt idx="6394">0</cx:pt>
          <cx:pt idx="6395">0</cx:pt>
          <cx:pt idx="6396">0</cx:pt>
          <cx:pt idx="6397">0</cx:pt>
          <cx:pt idx="6398">0</cx:pt>
          <cx:pt idx="6399">0</cx:pt>
          <cx:pt idx="6400">0</cx:pt>
          <cx:pt idx="6401">0</cx:pt>
          <cx:pt idx="6402">0</cx:pt>
          <cx:pt idx="6403">0</cx:pt>
          <cx:pt idx="6404">0</cx:pt>
          <cx:pt idx="6405">0</cx:pt>
          <cx:pt idx="6406">0</cx:pt>
          <cx:pt idx="6407">0</cx:pt>
          <cx:pt idx="6408">0</cx:pt>
          <cx:pt idx="6409">0</cx:pt>
          <cx:pt idx="6410">0</cx:pt>
          <cx:pt idx="6411">0</cx:pt>
          <cx:pt idx="6412">0</cx:pt>
          <cx:pt idx="6413">0</cx:pt>
          <cx:pt idx="6414">0</cx:pt>
          <cx:pt idx="6415">0</cx:pt>
          <cx:pt idx="6416">0</cx:pt>
          <cx:pt idx="6417">0</cx:pt>
          <cx:pt idx="6418">0</cx:pt>
          <cx:pt idx="6419">0</cx:pt>
          <cx:pt idx="6420">0</cx:pt>
          <cx:pt idx="6421">0</cx:pt>
          <cx:pt idx="6422">0</cx:pt>
          <cx:pt idx="6423">0</cx:pt>
          <cx:pt idx="6424">0</cx:pt>
          <cx:pt idx="6425">0</cx:pt>
          <cx:pt idx="6426">0</cx:pt>
          <cx:pt idx="6427">0</cx:pt>
          <cx:pt idx="6428">0</cx:pt>
          <cx:pt idx="6429">0</cx:pt>
          <cx:pt idx="6430">0</cx:pt>
          <cx:pt idx="6431">0</cx:pt>
          <cx:pt idx="6432">0</cx:pt>
          <cx:pt idx="6433">0</cx:pt>
          <cx:pt idx="6434">0</cx:pt>
          <cx:pt idx="6435">0</cx:pt>
          <cx:pt idx="6436">0</cx:pt>
          <cx:pt idx="6437">0</cx:pt>
          <cx:pt idx="6438">0</cx:pt>
          <cx:pt idx="6439">0</cx:pt>
          <cx:pt idx="6440">0</cx:pt>
          <cx:pt idx="6441">0</cx:pt>
          <cx:pt idx="6442">0</cx:pt>
          <cx:pt idx="6443">0</cx:pt>
          <cx:pt idx="6444">0</cx:pt>
          <cx:pt idx="6445">0</cx:pt>
          <cx:pt idx="6446">0</cx:pt>
          <cx:pt idx="6447">0</cx:pt>
          <cx:pt idx="6448">0</cx:pt>
          <cx:pt idx="6449">0</cx:pt>
          <cx:pt idx="6450">0</cx:pt>
          <cx:pt idx="6451">0</cx:pt>
          <cx:pt idx="6452">0</cx:pt>
          <cx:pt idx="6453">0</cx:pt>
          <cx:pt idx="6454">0</cx:pt>
          <cx:pt idx="6455">0</cx:pt>
          <cx:pt idx="6456">0</cx:pt>
          <cx:pt idx="6457">0</cx:pt>
          <cx:pt idx="6458">0</cx:pt>
          <cx:pt idx="6459">0</cx:pt>
          <cx:pt idx="6460">0</cx:pt>
          <cx:pt idx="6461">0</cx:pt>
          <cx:pt idx="6462">0</cx:pt>
          <cx:pt idx="6463">0</cx:pt>
          <cx:pt idx="6464">0</cx:pt>
          <cx:pt idx="6465">0</cx:pt>
          <cx:pt idx="6466">0</cx:pt>
          <cx:pt idx="6467">0</cx:pt>
          <cx:pt idx="6468">0</cx:pt>
          <cx:pt idx="6469">0</cx:pt>
          <cx:pt idx="6470">0</cx:pt>
          <cx:pt idx="6471">0</cx:pt>
          <cx:pt idx="6472">0</cx:pt>
          <cx:pt idx="6473">0</cx:pt>
          <cx:pt idx="6474">0</cx:pt>
          <cx:pt idx="6475">0</cx:pt>
          <cx:pt idx="6476">0</cx:pt>
          <cx:pt idx="6477">0</cx:pt>
          <cx:pt idx="6478">0</cx:pt>
          <cx:pt idx="6479">0</cx:pt>
          <cx:pt idx="6480">0</cx:pt>
          <cx:pt idx="6481">0</cx:pt>
          <cx:pt idx="6482">0</cx:pt>
          <cx:pt idx="6483">0</cx:pt>
          <cx:pt idx="6484">0</cx:pt>
          <cx:pt idx="6485">0</cx:pt>
          <cx:pt idx="6486">0</cx:pt>
          <cx:pt idx="6487">0</cx:pt>
          <cx:pt idx="6488">0</cx:pt>
          <cx:pt idx="6489">0</cx:pt>
          <cx:pt idx="6490">0</cx:pt>
          <cx:pt idx="6491">0</cx:pt>
          <cx:pt idx="6492">0</cx:pt>
          <cx:pt idx="6493">0</cx:pt>
          <cx:pt idx="6494">0</cx:pt>
          <cx:pt idx="6495">0</cx:pt>
          <cx:pt idx="6496">0</cx:pt>
          <cx:pt idx="6497">0</cx:pt>
          <cx:pt idx="6498">0</cx:pt>
          <cx:pt idx="6499">0</cx:pt>
          <cx:pt idx="6500">0</cx:pt>
          <cx:pt idx="6501">0</cx:pt>
          <cx:pt idx="6502">0</cx:pt>
          <cx:pt idx="6503">0</cx:pt>
          <cx:pt idx="6504">0</cx:pt>
          <cx:pt idx="6505">0</cx:pt>
          <cx:pt idx="6506">0</cx:pt>
          <cx:pt idx="6507">0</cx:pt>
          <cx:pt idx="6508">0</cx:pt>
          <cx:pt idx="6509">0</cx:pt>
          <cx:pt idx="6510">0</cx:pt>
          <cx:pt idx="6511">0</cx:pt>
          <cx:pt idx="6512">0</cx:pt>
          <cx:pt idx="6513">0</cx:pt>
          <cx:pt idx="6514">0</cx:pt>
          <cx:pt idx="6515">0</cx:pt>
          <cx:pt idx="6516">0</cx:pt>
          <cx:pt idx="6517">0</cx:pt>
          <cx:pt idx="6518">0</cx:pt>
          <cx:pt idx="6519">0</cx:pt>
          <cx:pt idx="6520">0</cx:pt>
          <cx:pt idx="6521">0</cx:pt>
          <cx:pt idx="6522">0</cx:pt>
          <cx:pt idx="6523">0</cx:pt>
          <cx:pt idx="6524">0</cx:pt>
          <cx:pt idx="6525">0</cx:pt>
          <cx:pt idx="6526">0</cx:pt>
          <cx:pt idx="6527">0</cx:pt>
          <cx:pt idx="6528">0</cx:pt>
          <cx:pt idx="6529">0</cx:pt>
          <cx:pt idx="6530">0</cx:pt>
          <cx:pt idx="6531">0</cx:pt>
          <cx:pt idx="6532">0</cx:pt>
          <cx:pt idx="6533">0</cx:pt>
          <cx:pt idx="6534">0</cx:pt>
          <cx:pt idx="6535">0</cx:pt>
          <cx:pt idx="6536">0</cx:pt>
          <cx:pt idx="6537">0</cx:pt>
          <cx:pt idx="6538">0</cx:pt>
          <cx:pt idx="6539">0</cx:pt>
          <cx:pt idx="6540">0</cx:pt>
          <cx:pt idx="6541">0</cx:pt>
          <cx:pt idx="6542">0</cx:pt>
          <cx:pt idx="6543">0</cx:pt>
          <cx:pt idx="6544">0</cx:pt>
          <cx:pt idx="6545">0</cx:pt>
          <cx:pt idx="6546">0</cx:pt>
          <cx:pt idx="6547">0</cx:pt>
          <cx:pt idx="6548">0</cx:pt>
          <cx:pt idx="6549">0</cx:pt>
          <cx:pt idx="6550">0</cx:pt>
          <cx:pt idx="6551">0</cx:pt>
          <cx:pt idx="6552">0</cx:pt>
          <cx:pt idx="6553">0</cx:pt>
          <cx:pt idx="6554">0</cx:pt>
          <cx:pt idx="6555">0</cx:pt>
          <cx:pt idx="6556">0</cx:pt>
          <cx:pt idx="6557">0</cx:pt>
          <cx:pt idx="6558">0</cx:pt>
          <cx:pt idx="6559">0</cx:pt>
          <cx:pt idx="6560">0</cx:pt>
          <cx:pt idx="6561">0</cx:pt>
          <cx:pt idx="6562">0</cx:pt>
          <cx:pt idx="6563">0</cx:pt>
          <cx:pt idx="6564">0</cx:pt>
          <cx:pt idx="6565">0</cx:pt>
          <cx:pt idx="6566">0</cx:pt>
          <cx:pt idx="6567">0</cx:pt>
          <cx:pt idx="6568">0</cx:pt>
          <cx:pt idx="6569">0</cx:pt>
          <cx:pt idx="6570">0</cx:pt>
          <cx:pt idx="6571">0</cx:pt>
          <cx:pt idx="6572">0</cx:pt>
          <cx:pt idx="6573">0</cx:pt>
          <cx:pt idx="6574">0</cx:pt>
          <cx:pt idx="6575">0</cx:pt>
          <cx:pt idx="6576">0</cx:pt>
          <cx:pt idx="6577">0</cx:pt>
          <cx:pt idx="6578">0</cx:pt>
          <cx:pt idx="6579">0</cx:pt>
          <cx:pt idx="6580">0</cx:pt>
          <cx:pt idx="6581">0</cx:pt>
          <cx:pt idx="6582">0</cx:pt>
          <cx:pt idx="6583">0</cx:pt>
          <cx:pt idx="6584">0</cx:pt>
          <cx:pt idx="6585">0</cx:pt>
          <cx:pt idx="6586">0</cx:pt>
          <cx:pt idx="6587">0</cx:pt>
          <cx:pt idx="6588">0</cx:pt>
          <cx:pt idx="6589">0</cx:pt>
          <cx:pt idx="6590">0</cx:pt>
          <cx:pt idx="6591">0</cx:pt>
          <cx:pt idx="6592">0</cx:pt>
          <cx:pt idx="6593">0</cx:pt>
          <cx:pt idx="6594">0</cx:pt>
          <cx:pt idx="6595">0</cx:pt>
          <cx:pt idx="6596">0</cx:pt>
          <cx:pt idx="6597">0</cx:pt>
          <cx:pt idx="6598">0</cx:pt>
          <cx:pt idx="6599">0</cx:pt>
          <cx:pt idx="6600">0</cx:pt>
          <cx:pt idx="6601">0</cx:pt>
          <cx:pt idx="6602">0</cx:pt>
          <cx:pt idx="6603">0</cx:pt>
          <cx:pt idx="6604">0</cx:pt>
          <cx:pt idx="6605">0</cx:pt>
          <cx:pt idx="6606">0</cx:pt>
          <cx:pt idx="6607">0</cx:pt>
          <cx:pt idx="6608">0</cx:pt>
          <cx:pt idx="6609">0</cx:pt>
          <cx:pt idx="6610">0</cx:pt>
          <cx:pt idx="6611">0</cx:pt>
          <cx:pt idx="6612">0</cx:pt>
          <cx:pt idx="6613">0</cx:pt>
          <cx:pt idx="6614">0</cx:pt>
          <cx:pt idx="6615">0</cx:pt>
          <cx:pt idx="6616">0</cx:pt>
          <cx:pt idx="6617">0</cx:pt>
          <cx:pt idx="6618">0</cx:pt>
          <cx:pt idx="6619">0</cx:pt>
          <cx:pt idx="6620">0</cx:pt>
          <cx:pt idx="6621">0</cx:pt>
          <cx:pt idx="6622">0</cx:pt>
          <cx:pt idx="6623">0</cx:pt>
          <cx:pt idx="6624">0</cx:pt>
          <cx:pt idx="6625">0</cx:pt>
          <cx:pt idx="6626">0</cx:pt>
          <cx:pt idx="6627">0</cx:pt>
          <cx:pt idx="6628">0</cx:pt>
          <cx:pt idx="6629">0</cx:pt>
          <cx:pt idx="6630">0</cx:pt>
          <cx:pt idx="6631">0</cx:pt>
          <cx:pt idx="6632">0</cx:pt>
          <cx:pt idx="6633">0</cx:pt>
          <cx:pt idx="6634">0</cx:pt>
          <cx:pt idx="6635">0</cx:pt>
          <cx:pt idx="6636">0</cx:pt>
          <cx:pt idx="6637">0</cx:pt>
          <cx:pt idx="6638">0</cx:pt>
          <cx:pt idx="6639">0</cx:pt>
          <cx:pt idx="6640">0</cx:pt>
          <cx:pt idx="6641">0</cx:pt>
          <cx:pt idx="6642">0</cx:pt>
          <cx:pt idx="6643">0</cx:pt>
          <cx:pt idx="6644">0</cx:pt>
          <cx:pt idx="6645">0</cx:pt>
          <cx:pt idx="6646">0</cx:pt>
          <cx:pt idx="6647">0</cx:pt>
          <cx:pt idx="6648">0</cx:pt>
          <cx:pt idx="6649">0</cx:pt>
          <cx:pt idx="6650">0</cx:pt>
          <cx:pt idx="6651">0</cx:pt>
          <cx:pt idx="6652">0</cx:pt>
          <cx:pt idx="6653">0</cx:pt>
          <cx:pt idx="6654">0</cx:pt>
          <cx:pt idx="6655">0</cx:pt>
          <cx:pt idx="6656">0</cx:pt>
          <cx:pt idx="6657">0</cx:pt>
          <cx:pt idx="6658">0</cx:pt>
          <cx:pt idx="6659">0</cx:pt>
          <cx:pt idx="6660">0</cx:pt>
          <cx:pt idx="6661">0</cx:pt>
          <cx:pt idx="6662">0</cx:pt>
          <cx:pt idx="6663">0</cx:pt>
          <cx:pt idx="6664">0</cx:pt>
          <cx:pt idx="6665">0</cx:pt>
          <cx:pt idx="6666">0</cx:pt>
          <cx:pt idx="6667">0</cx:pt>
          <cx:pt idx="6668">0</cx:pt>
          <cx:pt idx="6669">0</cx:pt>
          <cx:pt idx="6670">0</cx:pt>
          <cx:pt idx="6671">0</cx:pt>
          <cx:pt idx="6672">0</cx:pt>
          <cx:pt idx="6673">0</cx:pt>
          <cx:pt idx="6674">0</cx:pt>
          <cx:pt idx="6675">0</cx:pt>
          <cx:pt idx="6676">0</cx:pt>
          <cx:pt idx="6677">0</cx:pt>
          <cx:pt idx="6678">0</cx:pt>
          <cx:pt idx="6679">0</cx:pt>
          <cx:pt idx="6680">0</cx:pt>
          <cx:pt idx="6681">0</cx:pt>
          <cx:pt idx="6682">0</cx:pt>
          <cx:pt idx="6683">0</cx:pt>
          <cx:pt idx="6684">0</cx:pt>
          <cx:pt idx="6685">0</cx:pt>
          <cx:pt idx="6686">0</cx:pt>
          <cx:pt idx="6687">0</cx:pt>
          <cx:pt idx="6688">0</cx:pt>
          <cx:pt idx="6689">0</cx:pt>
          <cx:pt idx="6690">0</cx:pt>
          <cx:pt idx="6691">0</cx:pt>
          <cx:pt idx="6692">0</cx:pt>
          <cx:pt idx="6693">0</cx:pt>
          <cx:pt idx="6694">0</cx:pt>
          <cx:pt idx="6695">0</cx:pt>
          <cx:pt idx="6696">0</cx:pt>
          <cx:pt idx="6697">0</cx:pt>
          <cx:pt idx="6698">0</cx:pt>
          <cx:pt idx="6699">0</cx:pt>
          <cx:pt idx="6700">0</cx:pt>
          <cx:pt idx="6701">0</cx:pt>
          <cx:pt idx="6702">0</cx:pt>
          <cx:pt idx="6703">0</cx:pt>
          <cx:pt idx="6704">0</cx:pt>
          <cx:pt idx="6705">0</cx:pt>
          <cx:pt idx="6706">0</cx:pt>
          <cx:pt idx="6707">0</cx:pt>
          <cx:pt idx="6708">0</cx:pt>
          <cx:pt idx="6709">0</cx:pt>
          <cx:pt idx="6710">0</cx:pt>
          <cx:pt idx="6711">0</cx:pt>
          <cx:pt idx="6712">0</cx:pt>
          <cx:pt idx="6713">0</cx:pt>
          <cx:pt idx="6714">0</cx:pt>
          <cx:pt idx="6715">0</cx:pt>
          <cx:pt idx="6716">0</cx:pt>
          <cx:pt idx="6717">0</cx:pt>
          <cx:pt idx="6718">0</cx:pt>
          <cx:pt idx="6719">0</cx:pt>
          <cx:pt idx="6720">0</cx:pt>
          <cx:pt idx="6721">0</cx:pt>
          <cx:pt idx="6722">0</cx:pt>
          <cx:pt idx="6723">0</cx:pt>
          <cx:pt idx="6724">0</cx:pt>
          <cx:pt idx="6725">0</cx:pt>
          <cx:pt idx="6726">0</cx:pt>
          <cx:pt idx="6727">0</cx:pt>
          <cx:pt idx="6728">0</cx:pt>
          <cx:pt idx="6729">0</cx:pt>
          <cx:pt idx="6730">0</cx:pt>
          <cx:pt idx="6731">0</cx:pt>
          <cx:pt idx="6732">0</cx:pt>
          <cx:pt idx="6733">0</cx:pt>
          <cx:pt idx="6734">0</cx:pt>
          <cx:pt idx="6735">0</cx:pt>
          <cx:pt idx="6736">0</cx:pt>
          <cx:pt idx="6737">0</cx:pt>
          <cx:pt idx="6738">0</cx:pt>
          <cx:pt idx="6739">0</cx:pt>
          <cx:pt idx="6740">0</cx:pt>
          <cx:pt idx="6741">0</cx:pt>
          <cx:pt idx="6742">0</cx:pt>
          <cx:pt idx="6743">0</cx:pt>
          <cx:pt idx="6744">0</cx:pt>
          <cx:pt idx="6745">0</cx:pt>
          <cx:pt idx="6746">0</cx:pt>
          <cx:pt idx="6747">0</cx:pt>
          <cx:pt idx="6748">0</cx:pt>
          <cx:pt idx="6749">0</cx:pt>
          <cx:pt idx="6750">0</cx:pt>
          <cx:pt idx="6751">0</cx:pt>
          <cx:pt idx="6752">0</cx:pt>
          <cx:pt idx="6753">0</cx:pt>
          <cx:pt idx="6754">0</cx:pt>
          <cx:pt idx="6755">0</cx:pt>
          <cx:pt idx="6756">0</cx:pt>
          <cx:pt idx="6757">0</cx:pt>
          <cx:pt idx="6758">0</cx:pt>
          <cx:pt idx="6759">0</cx:pt>
          <cx:pt idx="6760">0</cx:pt>
          <cx:pt idx="6761">0</cx:pt>
          <cx:pt idx="6762">0</cx:pt>
          <cx:pt idx="6763">0</cx:pt>
          <cx:pt idx="6764">0</cx:pt>
          <cx:pt idx="6765">0</cx:pt>
          <cx:pt idx="6766">0</cx:pt>
          <cx:pt idx="6767">0</cx:pt>
          <cx:pt idx="6768">0</cx:pt>
          <cx:pt idx="6769">0</cx:pt>
          <cx:pt idx="6770">0</cx:pt>
          <cx:pt idx="6771">0</cx:pt>
          <cx:pt idx="6772">0</cx:pt>
          <cx:pt idx="6773">0</cx:pt>
          <cx:pt idx="6774">0</cx:pt>
          <cx:pt idx="6775">0</cx:pt>
          <cx:pt idx="6776">0</cx:pt>
          <cx:pt idx="6777">0</cx:pt>
          <cx:pt idx="6778">0</cx:pt>
          <cx:pt idx="6779">0</cx:pt>
          <cx:pt idx="6780">0</cx:pt>
          <cx:pt idx="6781">0</cx:pt>
          <cx:pt idx="6782">0</cx:pt>
          <cx:pt idx="6783">0</cx:pt>
          <cx:pt idx="6784">0</cx:pt>
          <cx:pt idx="6785">0</cx:pt>
          <cx:pt idx="6786">0</cx:pt>
          <cx:pt idx="6787">0</cx:pt>
          <cx:pt idx="6788">0</cx:pt>
          <cx:pt idx="6789">0</cx:pt>
          <cx:pt idx="6790">0</cx:pt>
          <cx:pt idx="6791">0</cx:pt>
          <cx:pt idx="6792">0</cx:pt>
          <cx:pt idx="6793">0</cx:pt>
          <cx:pt idx="6794">0</cx:pt>
          <cx:pt idx="6795">0</cx:pt>
          <cx:pt idx="6796">0</cx:pt>
          <cx:pt idx="6797">0</cx:pt>
          <cx:pt idx="6798">0</cx:pt>
          <cx:pt idx="6799">0</cx:pt>
          <cx:pt idx="6800">0</cx:pt>
          <cx:pt idx="6801">0</cx:pt>
          <cx:pt idx="6802">0</cx:pt>
          <cx:pt idx="6803">0</cx:pt>
          <cx:pt idx="6804">0</cx:pt>
          <cx:pt idx="6805">0</cx:pt>
          <cx:pt idx="6806">0</cx:pt>
          <cx:pt idx="6807">0</cx:pt>
          <cx:pt idx="6808">0</cx:pt>
          <cx:pt idx="6809">0</cx:pt>
          <cx:pt idx="6810">0</cx:pt>
          <cx:pt idx="6811">0</cx:pt>
          <cx:pt idx="6812">0</cx:pt>
          <cx:pt idx="6813">0</cx:pt>
          <cx:pt idx="6814">0</cx:pt>
          <cx:pt idx="6815">0</cx:pt>
          <cx:pt idx="6816">0</cx:pt>
          <cx:pt idx="6817">0</cx:pt>
          <cx:pt idx="6818">0</cx:pt>
          <cx:pt idx="6819">0</cx:pt>
          <cx:pt idx="6820">0</cx:pt>
          <cx:pt idx="6821">0</cx:pt>
          <cx:pt idx="6822">0</cx:pt>
          <cx:pt idx="6823">0</cx:pt>
          <cx:pt idx="6824">0</cx:pt>
          <cx:pt idx="6825">0</cx:pt>
          <cx:pt idx="6826">0</cx:pt>
          <cx:pt idx="6827">0</cx:pt>
          <cx:pt idx="6828">0</cx:pt>
          <cx:pt idx="6829">0</cx:pt>
          <cx:pt idx="6830">0</cx:pt>
          <cx:pt idx="6831">0</cx:pt>
          <cx:pt idx="6832">0</cx:pt>
          <cx:pt idx="6833">0</cx:pt>
          <cx:pt idx="6834">0</cx:pt>
          <cx:pt idx="6835">0</cx:pt>
          <cx:pt idx="6836">0</cx:pt>
          <cx:pt idx="6837">0</cx:pt>
          <cx:pt idx="6838">0</cx:pt>
          <cx:pt idx="6839">0</cx:pt>
          <cx:pt idx="6840">0</cx:pt>
          <cx:pt idx="6841">0</cx:pt>
          <cx:pt idx="6842">0</cx:pt>
          <cx:pt idx="6843">0</cx:pt>
          <cx:pt idx="6844">0</cx:pt>
          <cx:pt idx="6845">0</cx:pt>
          <cx:pt idx="6846">0</cx:pt>
          <cx:pt idx="6847">0</cx:pt>
          <cx:pt idx="6848">0</cx:pt>
          <cx:pt idx="6849">0</cx:pt>
          <cx:pt idx="6850">0</cx:pt>
          <cx:pt idx="6851">0</cx:pt>
          <cx:pt idx="6852">0</cx:pt>
          <cx:pt idx="6853">0</cx:pt>
          <cx:pt idx="6854">0</cx:pt>
          <cx:pt idx="6855">0</cx:pt>
          <cx:pt idx="6856">0</cx:pt>
          <cx:pt idx="6857">0</cx:pt>
          <cx:pt idx="6858">0</cx:pt>
          <cx:pt idx="6859">0</cx:pt>
          <cx:pt idx="6860">0</cx:pt>
          <cx:pt idx="6861">0</cx:pt>
          <cx:pt idx="6862">0</cx:pt>
          <cx:pt idx="6863">0</cx:pt>
          <cx:pt idx="6864">0</cx:pt>
          <cx:pt idx="6865">0</cx:pt>
          <cx:pt idx="6866">0</cx:pt>
          <cx:pt idx="6867">0</cx:pt>
          <cx:pt idx="6868">0</cx:pt>
          <cx:pt idx="6869">0</cx:pt>
          <cx:pt idx="6870">0</cx:pt>
          <cx:pt idx="6871">0</cx:pt>
          <cx:pt idx="6872">0</cx:pt>
          <cx:pt idx="6873">0</cx:pt>
          <cx:pt idx="6874">0</cx:pt>
          <cx:pt idx="6875">0</cx:pt>
          <cx:pt idx="6876">0</cx:pt>
          <cx:pt idx="6877">0</cx:pt>
          <cx:pt idx="6878">0</cx:pt>
          <cx:pt idx="6879">0</cx:pt>
          <cx:pt idx="6880">0</cx:pt>
          <cx:pt idx="6881">0</cx:pt>
          <cx:pt idx="6882">0</cx:pt>
          <cx:pt idx="6883">0</cx:pt>
          <cx:pt idx="6884">0</cx:pt>
          <cx:pt idx="6885">0</cx:pt>
          <cx:pt idx="6886">0</cx:pt>
          <cx:pt idx="6887">0</cx:pt>
          <cx:pt idx="6888">0</cx:pt>
          <cx:pt idx="6889">0</cx:pt>
          <cx:pt idx="6890">0</cx:pt>
          <cx:pt idx="6891">0</cx:pt>
          <cx:pt idx="6892">0</cx:pt>
          <cx:pt idx="6893">0</cx:pt>
          <cx:pt idx="6894">0</cx:pt>
          <cx:pt idx="6895">0</cx:pt>
          <cx:pt idx="6896">0</cx:pt>
          <cx:pt idx="6897">0</cx:pt>
          <cx:pt idx="6898">0</cx:pt>
          <cx:pt idx="6899">0</cx:pt>
          <cx:pt idx="6900">0</cx:pt>
          <cx:pt idx="6901">0</cx:pt>
          <cx:pt idx="6902">0</cx:pt>
          <cx:pt idx="6903">0</cx:pt>
          <cx:pt idx="6904">0</cx:pt>
          <cx:pt idx="6905">0</cx:pt>
          <cx:pt idx="6906">0</cx:pt>
          <cx:pt idx="6907">0</cx:pt>
          <cx:pt idx="6908">0</cx:pt>
          <cx:pt idx="6909">0</cx:pt>
          <cx:pt idx="6910">0</cx:pt>
          <cx:pt idx="6911">0</cx:pt>
          <cx:pt idx="6912">0</cx:pt>
          <cx:pt idx="6913">0</cx:pt>
          <cx:pt idx="6914">0</cx:pt>
          <cx:pt idx="6915">0</cx:pt>
          <cx:pt idx="6916">0</cx:pt>
          <cx:pt idx="6917">0</cx:pt>
          <cx:pt idx="6918">0</cx:pt>
          <cx:pt idx="6919">0</cx:pt>
          <cx:pt idx="6920">0</cx:pt>
          <cx:pt idx="6921">0</cx:pt>
          <cx:pt idx="6922">0</cx:pt>
          <cx:pt idx="6923">0</cx:pt>
          <cx:pt idx="6924">0</cx:pt>
          <cx:pt idx="6925">0</cx:pt>
          <cx:pt idx="6926">0</cx:pt>
          <cx:pt idx="6927">0</cx:pt>
          <cx:pt idx="6928">0</cx:pt>
          <cx:pt idx="6929">0</cx:pt>
          <cx:pt idx="6930">0</cx:pt>
          <cx:pt idx="6931">0</cx:pt>
          <cx:pt idx="6932">0</cx:pt>
        </cx:lvl>
      </cx:numDim>
    </cx:data>
    <cx:data id="6">
      <cx:numDim type="val">
        <cx:f>'Desalination_Unit_Data (3)'!$G$3:$G$7000</cx:f>
        <cx:lvl ptCount="6933" formatCode="General">
          <cx:pt idx="0">0</cx:pt>
          <cx:pt idx="1">0</cx:pt>
          <cx:pt idx="2">378.11279999999999</cx:pt>
          <cx:pt idx="3">379.0283</cx:pt>
          <cx:pt idx="4">378.95991880000003</cx:pt>
          <cx:pt idx="5">378.11279999999999</cx:pt>
          <cx:pt idx="6">376.2817</cx:pt>
          <cx:pt idx="7">379.94380000000001</cx:pt>
          <cx:pt idx="8">376.2817</cx:pt>
          <cx:pt idx="9">379.0283</cx:pt>
          <cx:pt idx="10">378.86536039999999</cx:pt>
          <cx:pt idx="11">378.26025270000002</cx:pt>
          <cx:pt idx="12">378.22140569999999</cx:pt>
          <cx:pt idx="13">378.21378440000001</cx:pt>
          <cx:pt idx="14">378.11279999999999</cx:pt>
          <cx:pt idx="15">378.11279999999999</cx:pt>
          <cx:pt idx="16">377.65503860000001</cx:pt>
          <cx:pt idx="17">377.19729999999998</cx:pt>
          <cx:pt idx="18">378.24099610000002</cx:pt>
          <cx:pt idx="19">379.0283</cx:pt>
          <cx:pt idx="20">378.65219880000001</cx:pt>
          <cx:pt idx="21">377.73524680000003</cx:pt>
          <cx:pt idx="22">376.76662859999999</cx:pt>
          <cx:pt idx="23">376.60441109999999</cx:pt>
          <cx:pt idx="24">376.2817</cx:pt>
          <cx:pt idx="25">379.94380000000001</cx:pt>
          <cx:pt idx="26">379.94380000000001</cx:pt>
          <cx:pt idx="27">379.94380000000001</cx:pt>
          <cx:pt idx="28">376.2817</cx:pt>
          <cx:pt idx="29">379.94380000000001</cx:pt>
          <cx:pt idx="30">380.35687869999998</cx:pt>
          <cx:pt idx="31">380.85939999999999</cx:pt>
          <cx:pt idx="32">376.2817</cx:pt>
          <cx:pt idx="33">376.59740149999999</cx:pt>
          <cx:pt idx="34">377.29181840000001</cx:pt>
          <cx:pt idx="35">378.11279999999999</cx:pt>
          <cx:pt idx="36">378.11279999999999</cx:pt>
          <cx:pt idx="37">378.11279999999999</cx:pt>
          <cx:pt idx="38">378.11279999999999</cx:pt>
          <cx:pt idx="39">378.13624049999999</cx:pt>
          <cx:pt idx="40">378.16755330000001</cx:pt>
          <cx:pt idx="41">378.18317639999998</cx:pt>
          <cx:pt idx="42">378.19898740000002</cx:pt>
          <cx:pt idx="43">378.4494229</cx:pt>
          <cx:pt idx="44">378.54317730000002</cx:pt>
          <cx:pt idx="45">378.7701136</cx:pt>
          <cx:pt idx="46">378.82486290000003</cx:pt>
          <cx:pt idx="47">378.95005140000001</cx:pt>
          <cx:pt idx="48">379.0283</cx:pt>
          <cx:pt idx="49">380.85939999999999</cx:pt>
          <cx:pt idx="50">377.19729999999998</cx:pt>
          <cx:pt idx="51">378.06245139999999</cx:pt>
          <cx:pt idx="52">378.11279999999999</cx:pt>
          <cx:pt idx="53">378.35063719999999</cx:pt>
          <cx:pt idx="54">378.36935349999999</cx:pt>
          <cx:pt idx="55">378.46091180000002</cx:pt>
          <cx:pt idx="56">378.55247919999999</cx:pt>
          <cx:pt idx="57">378.57048129999998</cx:pt>
          <cx:pt idx="58">379.0283</cx:pt>
          <cx:pt idx="59">378.5905032</cx:pt>
          <cx:pt idx="60">377.19729999999998</cx:pt>
          <cx:pt idx="61">378.70977349999998</cx:pt>
          <cx:pt idx="62">379.0283</cx:pt>
          <cx:pt idx="63">375.36619999999999</cx:pt>
          <cx:pt idx="64">377.19729999999998</cx:pt>
          <cx:pt idx="65">377.87560070000001</cx:pt>
          <cx:pt idx="66">379.14287480000002</cx:pt>
          <cx:pt idx="67">379.94380000000001</cx:pt>
          <cx:pt idx="68">378.11279999999999</cx:pt>
          <cx:pt idx="69">378.11279999999999</cx:pt>
          <cx:pt idx="70">378.11279999999999</cx:pt>
          <cx:pt idx="71">378.11279999999999</cx:pt>
          <cx:pt idx="72">378.11279999999999</cx:pt>
          <cx:pt idx="73">378.11279999999999</cx:pt>
          <cx:pt idx="74">378.11279999999999</cx:pt>
          <cx:pt idx="75">378.3464616</cx:pt>
          <cx:pt idx="76">378.3663578</cx:pt>
          <cx:pt idx="77">379.0283</cx:pt>
          <cx:pt idx="78">377.19729999999998</cx:pt>
          <cx:pt idx="79">377.19729999999998</cx:pt>
          <cx:pt idx="80">379.01741019999997</cx:pt>
          <cx:pt idx="81">380.85939999999999</cx:pt>
          <cx:pt idx="82">377.19729999999998</cx:pt>
          <cx:pt idx="83">377.31644069999999</cx:pt>
          <cx:pt idx="84">379.94380000000001</cx:pt>
          <cx:pt idx="85">378.11279999999999</cx:pt>
          <cx:pt idx="86">377.7969713</cx:pt>
          <cx:pt idx="87">377.76570329999998</cx:pt>
          <cx:pt idx="88">377.59178409999998</cx:pt>
          <cx:pt idx="89">377.57628019999999</cx:pt>
          <cx:pt idx="90">377.49738020000001</cx:pt>
          <cx:pt idx="91">377.24493189999998</cx:pt>
          <cx:pt idx="92">377.22917560000002</cx:pt>
          <cx:pt idx="93">377.21280380000002</cx:pt>
          <cx:pt idx="94">377.19729999999998</cx:pt>
          <cx:pt idx="95">378.11279999999999</cx:pt>
          <cx:pt idx="96">378.11279999999999</cx:pt>
          <cx:pt idx="97">378.6626493</cx:pt>
          <cx:pt idx="98">379.94380000000001</cx:pt>
          <cx:pt idx="99">376.2817</cx:pt>
          <cx:pt idx="100">379.94380000000001</cx:pt>
          <cx:pt idx="101">378.11279999999999</cx:pt>
          <cx:pt idx="102">378.11279999999999</cx:pt>
          <cx:pt idx="103">378.11279999999999</cx:pt>
          <cx:pt idx="104">378.11279999999999</cx:pt>
          <cx:pt idx="105">378.11279999999999</cx:pt>
          <cx:pt idx="106">378.11279999999999</cx:pt>
          <cx:pt idx="107">377.39075680000002</cx:pt>
          <cx:pt idx="108">377.27962079999998</cx:pt>
          <cx:pt idx="109">377.19729999999998</cx:pt>
          <cx:pt idx="110">380.85939999999999</cx:pt>
          <cx:pt idx="111">379.0283</cx:pt>
          <cx:pt idx="112">378.89185149999997</cx:pt>
          <cx:pt idx="113">378.8704214</cx:pt>
          <cx:pt idx="114">378.67042470000001</cx:pt>
          <cx:pt idx="115">378.5967824</cx:pt>
          <cx:pt idx="116">378.40729549999998</cx:pt>
          <cx:pt idx="117">378.1967889</cx:pt>
          <cx:pt idx="118">378.15508130000001</cx:pt>
          <cx:pt idx="119">378.12314670000001</cx:pt>
          <cx:pt idx="120">378.11279999999999</cx:pt>
          <cx:pt idx="121">377.19729999999998</cx:pt>
          <cx:pt idx="122">377.46459449999998</cx:pt>
          <cx:pt idx="123">377.86279730000001</cx:pt>
          <cx:pt idx="124">378.72985190000003</cx:pt>
          <cx:pt idx="125">379.0283</cx:pt>
          <cx:pt idx="126">378.11279999999999</cx:pt>
          <cx:pt idx="127">378.11279999999999</cx:pt>
          <cx:pt idx="128">378.11279999999999</cx:pt>
          <cx:pt idx="129">378.11279999999999</cx:pt>
          <cx:pt idx="130">378.11279999999999</cx:pt>
          <cx:pt idx="131">378.11279999999999</cx:pt>
          <cx:pt idx="132">378.11279999999999</cx:pt>
          <cx:pt idx="133">377.96050209999999</cx:pt>
          <cx:pt idx="134">377.93905690000003</cx:pt>
          <cx:pt idx="135">377.43689490000003</cx:pt>
          <cx:pt idx="136">377.26196279999999</cx:pt>
          <cx:pt idx="137">377.19729999999998</cx:pt>
          <cx:pt idx="138">380.85939999999999</cx:pt>
          <cx:pt idx="139">377.19729999999998</cx:pt>
          <cx:pt idx="140">377.77011399999998</cx:pt>
          <cx:pt idx="141">378.11279999999999</cx:pt>
          <cx:pt idx="142">378.11279999999999</cx:pt>
          <cx:pt idx="143">378.11279999999999</cx:pt>
          <cx:pt idx="144">378.11279999999999</cx:pt>
          <cx:pt idx="145">378.11279999999999</cx:pt>
          <cx:pt idx="146">378.11279999999999</cx:pt>
          <cx:pt idx="147">378.11279999999999</cx:pt>
          <cx:pt idx="148">378.11279999999999</cx:pt>
          <cx:pt idx="149">378.11279999999999</cx:pt>
          <cx:pt idx="150">379.0283</cx:pt>
          <cx:pt idx="151">378.54240069999997</cx:pt>
          <cx:pt idx="152">378.26118819999999</cx:pt>
          <cx:pt idx="153">377.77528890000002</cx:pt>
          <cx:pt idx="154">376.36230310000002</cx:pt>
          <cx:pt idx="155">376.2817</cx:pt>
          <cx:pt idx="156">378.11279999999999</cx:pt>
          <cx:pt idx="157">378.05412610000002</cx:pt>
          <cx:pt idx="158">378.04259669999999</cx:pt>
          <cx:pt idx="159">378.03042190000002</cx:pt>
          <cx:pt idx="160">377.85440620000003</cx:pt>
          <cx:pt idx="161">377.58493470000002</cx:pt>
          <cx:pt idx="162">377.19729999999998</cx:pt>
          <cx:pt idx="163">377.19729999999998</cx:pt>
          <cx:pt idx="164">377.19729999999998</cx:pt>
          <cx:pt idx="165">377.19729999999998</cx:pt>
          <cx:pt idx="166">377.19729999999998</cx:pt>
          <cx:pt idx="167">377.19729999999998</cx:pt>
          <cx:pt idx="168">377.19729999999998</cx:pt>
          <cx:pt idx="169">379.94380000000001</cx:pt>
          <cx:pt idx="170">378.11279999999999</cx:pt>
          <cx:pt idx="171">379.94380000000001</cx:pt>
          <cx:pt idx="172">378.11279999999999</cx:pt>
          <cx:pt idx="173">377.87906040000001</cx:pt>
          <cx:pt idx="174">377.76222710000002</cx:pt>
          <cx:pt idx="175">377.73298110000002</cx:pt>
          <cx:pt idx="176">377.65496230000002</cx:pt>
          <cx:pt idx="177">377.36280369999997</cx:pt>
          <cx:pt idx="178">377.32414</cx:pt>
          <cx:pt idx="179">377.19729999999998</cx:pt>
          <cx:pt idx="180">375.36619999999999</cx:pt>
          <cx:pt idx="181">377.19729999999998</cx:pt>
          <cx:pt idx="182">377.19729999999998</cx:pt>
          <cx:pt idx="183">377.19729999999998</cx:pt>
          <cx:pt idx="184">377.19729999999998</cx:pt>
          <cx:pt idx="185">379.94380000000001</cx:pt>
          <cx:pt idx="186">376.2817</cx:pt>
          <cx:pt idx="187">376.50606570000002</cx:pt>
          <cx:pt idx="188">376.51861179999997</cx:pt>
          <cx:pt idx="189">376.53106439999999</cx:pt>
          <cx:pt idx="190">377.00479460000003</cx:pt>
          <cx:pt idx="191">377.01656200000002</cx:pt>
          <cx:pt idx="192">377.51487980000002</cx:pt>
          <cx:pt idx="193">377.54005910000001</cx:pt>
          <cx:pt idx="194">377.78900620000002</cx:pt>
          <cx:pt idx="195">377.88883299999998</cx:pt>
          <cx:pt idx="196">377.9011797</cx:pt>
          <cx:pt idx="197">377.96329350000002</cx:pt>
          <cx:pt idx="198">378.10093910000001</cx:pt>
          <cx:pt idx="199">378.11279999999999</cx:pt>
          <cx:pt idx="200">378.51632519999998</cx:pt>
          <cx:pt idx="201">378.67149139999998</cx:pt>
          <cx:pt idx="202">379.0283</cx:pt>
          <cx:pt idx="203">378.34124609999998</cx:pt>
          <cx:pt idx="204">378.2270517</cx:pt>
          <cx:pt idx="205">378.11279999999999</cx:pt>
          <cx:pt idx="206">378.11279999999999</cx:pt>
          <cx:pt idx="207">378.11279999999999</cx:pt>
          <cx:pt idx="208">378.11279999999999</cx:pt>
          <cx:pt idx="209">378.11279999999999</cx:pt>
          <cx:pt idx="210">378.11279999999999</cx:pt>
          <cx:pt idx="211">378.11279999999999</cx:pt>
          <cx:pt idx="212">378.11279999999999</cx:pt>
          <cx:pt idx="213">379.94380000000001</cx:pt>
          <cx:pt idx="214">376.2817</cx:pt>
          <cx:pt idx="215">377.30352809999999</cx:pt>
          <cx:pt idx="216">379.0283</cx:pt>
          <cx:pt idx="217">378.70800070000001</cx:pt>
          <cx:pt idx="218">378.5259011</cx:pt>
          <cx:pt idx="219">378.4560917</cx:pt>
          <cx:pt idx="220">378.31879600000002</cx:pt>
          <cx:pt idx="221">378.27308799999997</cx:pt>
          <cx:pt idx="222">378.25023399999998</cx:pt>
          <cx:pt idx="223">378.18293089999997</cx:pt>
          <cx:pt idx="224">377.70087969999997</cx:pt>
          <cx:pt idx="225">377.33452899999997</cx:pt>
          <cx:pt idx="226">377.12868279999998</cx:pt>
          <cx:pt idx="227">377.01405799999998</cx:pt>
          <cx:pt idx="228">376.8096309</cx:pt>
          <cx:pt idx="229">376.2817</cx:pt>
          <cx:pt idx="230">378.11279999999999</cx:pt>
          <cx:pt idx="231">377.98907789999998</cx:pt>
          <cx:pt idx="232">377.9408262</cx:pt>
          <cx:pt idx="233">377.89160959999998</cx:pt>
          <cx:pt idx="234">377.71692630000001</cx:pt>
          <cx:pt idx="235">376.67892230000001</cx:pt>
          <cx:pt idx="236">376.52914429999998</cx:pt>
          <cx:pt idx="237">376.30776830000002</cx:pt>
          <cx:pt idx="238">376.2817</cx:pt>
          <cx:pt idx="239">379.94380000000001</cx:pt>
          <cx:pt idx="240">379.2355058</cx:pt>
          <cx:pt idx="241">379.02643160000002</cx:pt>
          <cx:pt idx="242">378.61944269999998</cx:pt>
          <cx:pt idx="243">377.50334420000002</cx:pt>
          <cx:pt idx="244">377.19729999999998</cx:pt>
          <cx:pt idx="245">377.84564769999997</cx:pt>
          <cx:pt idx="246">378.1683286</cx:pt>
          <cx:pt idx="247">378.32991120000003</cx:pt>
          <cx:pt idx="248">378.38360160000002</cx:pt>
          <cx:pt idx="249">378.54475380000002</cx:pt>
          <cx:pt idx="250">379.94380000000001</cx:pt>
          <cx:pt idx="251">378.69708780000002</cx:pt>
          <cx:pt idx="252">377.50905899999998</cx:pt>
          <cx:pt idx="253">376.2817</cx:pt>
          <cx:pt idx="254">377.40461670000002</cx:pt>
          <cx:pt idx="255">377.49495359999997</cx:pt>
          <cx:pt idx="256">377.58635470000002</cx:pt>
          <cx:pt idx="257">378.18156640000001</cx:pt>
          <cx:pt idx="258">378.57056189999997</cx:pt>
          <cx:pt idx="259">378.59484559999999</cx:pt>
          <cx:pt idx="260">378.70803560000002</cx:pt>
          <cx:pt idx="261">379.0283</cx:pt>
          <cx:pt idx="262">378.7057251</cx:pt>
          <cx:pt idx="263">378.18698669999998</cx:pt>
          <cx:pt idx="264">378.11279999999999</cx:pt>
          <cx:pt idx="265">377.19729999999998</cx:pt>
          <cx:pt idx="266">377.57433609999998</cx:pt>
          <cx:pt idx="267">377.64602589999998</cx:pt>
          <cx:pt idx="268">377.71686319999998</cx:pt>
          <cx:pt idx="269">378.11279999999999</cx:pt>
          <cx:pt idx="270">378.11279999999999</cx:pt>
          <cx:pt idx="271">378.11279999999999</cx:pt>
          <cx:pt idx="272">378.11279999999999</cx:pt>
          <cx:pt idx="273">379.94380000000001</cx:pt>
          <cx:pt idx="274">376.2817</cx:pt>
          <cx:pt idx="275">378.11279999999999</cx:pt>
          <cx:pt idx="276">378.11279999999999</cx:pt>
          <cx:pt idx="277">378.11279999999999</cx:pt>
          <cx:pt idx="278">378.3462528</cx:pt>
          <cx:pt idx="279">378.7310028</cx:pt>
          <cx:pt idx="280">379.0283</cx:pt>
          <cx:pt idx="281">375.36619999999999</cx:pt>
          <cx:pt idx="282">378.0631947</cx:pt>
          <cx:pt idx="283">378.25708309999999</cx:pt>
          <cx:pt idx="284">379.0283</cx:pt>
          <cx:pt idx="285">377.19729999999998</cx:pt>
          <cx:pt idx="286">380.85939999999999</cx:pt>
          <cx:pt idx="287">377.19729999999998</cx:pt>
          <cx:pt idx="288">377.74065669999999</cx:pt>
          <cx:pt idx="289">378.82842360000001</cx:pt>
          <cx:pt idx="290">379.0283</cx:pt>
          <cx:pt idx="291">377.19729999999998</cx:pt>
          <cx:pt idx="292">377.19729999999998</cx:pt>
          <cx:pt idx="293">377.19729999999998</cx:pt>
          <cx:pt idx="294">377.19729999999998</cx:pt>
          <cx:pt idx="295">377.19729999999998</cx:pt>
          <cx:pt idx="296">377.19729999999998</cx:pt>
          <cx:pt idx="297">380.85939999999999</cx:pt>
          <cx:pt idx="298">378.40666069999997</cx:pt>
          <cx:pt idx="299">376.2817</cx:pt>
          <cx:pt idx="300">377.52198859999999</cx:pt>
          <cx:pt idx="301">377.78801149999998</cx:pt>
          <cx:pt idx="302">378.31456489999999</cx:pt>
          <cx:pt idx="303">378.4078457</cx:pt>
          <cx:pt idx="304">379.0283</cx:pt>
          <cx:pt idx="305">376.2817</cx:pt>
          <cx:pt idx="306">378.11279999999999</cx:pt>
          <cx:pt idx="307">379.0283</cx:pt>
          <cx:pt idx="308">378.94458859999997</cx:pt>
          <cx:pt idx="309">377.19729999999998</cx:pt>
          <cx:pt idx="310">377.27141499999999</cx:pt>
          <cx:pt idx="311">377.31986819999997</cx:pt>
          <cx:pt idx="312">377.91495370000001</cx:pt>
          <cx:pt idx="313">378.11279999999999</cx:pt>
          <cx:pt idx="314">377.19729999999998</cx:pt>
          <cx:pt idx="315">378.53184240000002</cx:pt>
          <cx:pt idx="316">378.95746800000001</cx:pt>
          <cx:pt idx="317">379.0283</cx:pt>
          <cx:pt idx="318">379.0283</cx:pt>
          <cx:pt idx="319">378.11279999999999</cx:pt>
          <cx:pt idx="320">378.2998035</cx:pt>
          <cx:pt idx="321">378.33097729999997</cx:pt>
          <cx:pt idx="322">378.35437510000003</cx:pt>
          <cx:pt idx="323">378.41666809999998</cx:pt>
          <cx:pt idx="324">378.43229000000002</cx:pt>
          <cx:pt idx="325">378.68900009999999</cx:pt>
          <cx:pt idx="326">378.93094139999999</cx:pt>
          <cx:pt idx="327">378.93871739999997</cx:pt>
          <cx:pt idx="328">378.96989500000001</cx:pt>
          <cx:pt idx="329">379.0867634</cx:pt>
          <cx:pt idx="330">379.21141169999999</cx:pt>
          <cx:pt idx="331">379.23474720000002</cx:pt>
          <cx:pt idx="332">379.49978249999998</cx:pt>
          <cx:pt idx="333">379.59319470000003</cx:pt>
          <cx:pt idx="334">379.71747670000002</cx:pt>
          <cx:pt idx="335">379.73339859999999</cx:pt>
          <cx:pt idx="336">379.74901670000003</cx:pt>
          <cx:pt idx="337">379.94380000000001</cx:pt>
          <cx:pt idx="338">378.11279999999999</cx:pt>
          <cx:pt idx="339">378.05373359999999</cx:pt>
          <cx:pt idx="340">377.91197119999998</cx:pt>
          <cx:pt idx="341">377.87654020000002</cx:pt>
          <cx:pt idx="342">377.7938413</cx:pt>
          <cx:pt idx="343">377.71704019999999</cx:pt>
          <cx:pt idx="344">377.54574459999998</cx:pt>
          <cx:pt idx="345">377.53984689999999</cx:pt>
          <cx:pt idx="346">377.53394909999997</cx:pt>
          <cx:pt idx="347">377.19729999999998</cx:pt>
          <cx:pt idx="348">380.68532149999999</cx:pt>
          <cx:pt idx="349">380.85939999999999</cx:pt>
          <cx:pt idx="350">380.08343489999999</cx:pt>
          <cx:pt idx="351">379.96374100000003</cx:pt>
          <cx:pt idx="352">379.90411799999998</cx:pt>
          <cx:pt idx="353">379.72480109999998</cx:pt>
          <cx:pt idx="354">379.42579030000002</cx:pt>
          <cx:pt idx="355">379.3070219</cx:pt>
          <cx:pt idx="356">378.76859350000001</cx:pt>
          <cx:pt idx="357">378.11279999999999</cx:pt>
          <cx:pt idx="358">378.08446220000002</cx:pt>
          <cx:pt idx="359">377.99959510000002</cx:pt>
          <cx:pt idx="360">377.97125740000001</cx:pt>
          <cx:pt idx="361">377.92407489999999</cx:pt>
          <cx:pt idx="362">377.7919546</cx:pt>
          <cx:pt idx="363">377.74477689999998</cx:pt>
          <cx:pt idx="364">377.67860350000001</cx:pt>
          <cx:pt idx="365">377.66925659999998</cx:pt>
          <cx:pt idx="366">377.65026569999998</cx:pt>
          <cx:pt idx="367">377.61265179999998</cx:pt>
          <cx:pt idx="368">377.48053149999998</cx:pt>
          <cx:pt idx="369">377.43335380000002</cx:pt>
          <cx:pt idx="370">377.19729999999998</cx:pt>
          <cx:pt idx="371">377.29174130000001</cx:pt>
          <cx:pt idx="372">377.30750380000001</cx:pt>
          <cx:pt idx="373">377.90741300000002</cx:pt>
          <cx:pt idx="374">377.93893020000002</cx:pt>
          <cx:pt idx="375">377.97058170000003</cx:pt>
          <cx:pt idx="376">378.11279999999999</cx:pt>
          <cx:pt idx="377">379.0283</cx:pt>
          <cx:pt idx="378">378.92848509999999</cx:pt>
          <cx:pt idx="379">378.72884690000001</cx:pt>
          <cx:pt idx="380">378.59566599999999</cx:pt>
          <cx:pt idx="381">378.56244149999998</cx:pt>
          <cx:pt idx="382">378.32944570000001</cx:pt>
          <cx:pt idx="383">378.11279999999999</cx:pt>
          <cx:pt idx="384">378.11279999999999</cx:pt>
          <cx:pt idx="385">378.11279999999999</cx:pt>
          <cx:pt idx="386">378.11279999999999</cx:pt>
          <cx:pt idx="387">378.11279999999999</cx:pt>
          <cx:pt idx="388">378.11279999999999</cx:pt>
          <cx:pt idx="389">378.11279999999999</cx:pt>
          <cx:pt idx="390">378.11279999999999</cx:pt>
          <cx:pt idx="391">378.11279999999999</cx:pt>
          <cx:pt idx="392">377.88690689999999</cx:pt>
          <cx:pt idx="393">377.87458409999999</cx:pt>
          <cx:pt idx="394">377.83671889999999</cx:pt>
          <cx:pt idx="395">377.72382570000002</cx:pt>
          <cx:pt idx="396">377.67383210000003</cx:pt>
          <cx:pt idx="397">377.66111419999999</cx:pt>
          <cx:pt idx="398">377.64879139999999</cx:pt>
          <cx:pt idx="399">377.3227167</cx:pt>
          <cx:pt idx="400">377.25981710000002</cx:pt>
          <cx:pt idx="401">377.20962909999997</cx:pt>
          <cx:pt idx="402">377.19729999999998</cx:pt>
          <cx:pt idx="403">377.32780559999998</cx:pt>
          <cx:pt idx="404">377.72030280000001</cx:pt>
          <cx:pt idx="405">378.11279999999999</cx:pt>
          <cx:pt idx="406">378.07765719999998</cx:pt>
          <cx:pt idx="407">377.79578409999999</cx:pt>
          <cx:pt idx="408">377.47917310000003</cx:pt>
          <cx:pt idx="409">377.46159729999999</cx:pt>
          <cx:pt idx="410">377.19729999999998</cx:pt>
          <cx:pt idx="411">377.19729999999998</cx:pt>
          <cx:pt idx="412">378.11279999999999</cx:pt>
          <cx:pt idx="413">378.11279999999999</cx:pt>
          <cx:pt idx="414">378.11279999999999</cx:pt>
          <cx:pt idx="415">378.11279999999999</cx:pt>
          <cx:pt idx="416">378.11279999999999</cx:pt>
          <cx:pt idx="417">378.11279999999999</cx:pt>
          <cx:pt idx="418">378.11279999999999</cx:pt>
          <cx:pt idx="419">378.11279999999999</cx:pt>
          <cx:pt idx="420">377.55344680000002</cx:pt>
          <cx:pt idx="421">376.2817</cx:pt>
          <cx:pt idx="422">379.94380000000001</cx:pt>
          <cx:pt idx="423">376.2817</cx:pt>
          <cx:pt idx="424">376.5678451</cx:pt>
          <cx:pt idx="425">377.25439319999998</cx:pt>
          <cx:pt idx="426">377.36865089999998</cx:pt>
          <cx:pt idx="427">378.11279999999999</cx:pt>
          <cx:pt idx="428">378.11279999999999</cx:pt>
          <cx:pt idx="429">378.11279999999999</cx:pt>
          <cx:pt idx="430">378.11279999999999</cx:pt>
          <cx:pt idx="431">377.4452948</cx:pt>
          <cx:pt idx="432">377.27361710000002</cx:pt>
          <cx:pt idx="433">377.19729999999998</cx:pt>
          <cx:pt idx="434">378.11279999999999</cx:pt>
          <cx:pt idx="435">378.11279999999999</cx:pt>
          <cx:pt idx="436">378.11279999999999</cx:pt>
          <cx:pt idx="437">378.11279999999999</cx:pt>
          <cx:pt idx="438">378.11279999999999</cx:pt>
          <cx:pt idx="439">378.11279999999999</cx:pt>
          <cx:pt idx="440">378.11279999999999</cx:pt>
          <cx:pt idx="441">378.11279999999999</cx:pt>
          <cx:pt idx="442">378.11279999999999</cx:pt>
          <cx:pt idx="443">378.11279999999999</cx:pt>
          <cx:pt idx="444">378.11279999999999</cx:pt>
          <cx:pt idx="445">378.11279999999999</cx:pt>
          <cx:pt idx="446">378.11279999999999</cx:pt>
          <cx:pt idx="447">378.11279999999999</cx:pt>
          <cx:pt idx="448">378.11279999999999</cx:pt>
          <cx:pt idx="449">377.89735810000002</cx:pt>
          <cx:pt idx="450">377.8436256</cx:pt>
          <cx:pt idx="451">377.78943529999998</cx:pt>
          <cx:pt idx="452">377.19729999999998</cx:pt>
          <cx:pt idx="453">377.40823740000002</cx:pt>
          <cx:pt idx="454">378.67615080000002</cx:pt>
          <cx:pt idx="455">379.0283</cx:pt>
          <cx:pt idx="456">378.11279999999999</cx:pt>
          <cx:pt idx="457">378.11279999999999</cx:pt>
          <cx:pt idx="458">378.11279999999999</cx:pt>
          <cx:pt idx="459">378.11279999999999</cx:pt>
          <cx:pt idx="460">378.11279999999999</cx:pt>
          <cx:pt idx="461">378.11279999999999</cx:pt>
          <cx:pt idx="462">378.11279999999999</cx:pt>
          <cx:pt idx="463">378.11279999999999</cx:pt>
          <cx:pt idx="464">378.11279999999999</cx:pt>
          <cx:pt idx="465">378.11279999999999</cx:pt>
          <cx:pt idx="466">378.11279999999999</cx:pt>
          <cx:pt idx="467">378.11279999999999</cx:pt>
          <cx:pt idx="468">378.11279999999999</cx:pt>
          <cx:pt idx="469">378.11279999999999</cx:pt>
          <cx:pt idx="470">378.11279999999999</cx:pt>
          <cx:pt idx="471">378.11279999999999</cx:pt>
          <cx:pt idx="472">378.11279999999999</cx:pt>
          <cx:pt idx="473">378.11279999999999</cx:pt>
          <cx:pt idx="474">378.11279999999999</cx:pt>
          <cx:pt idx="475">378.11279999999999</cx:pt>
          <cx:pt idx="476">378.11279999999999</cx:pt>
          <cx:pt idx="477">378.11279999999999</cx:pt>
          <cx:pt idx="478">378.11279999999999</cx:pt>
          <cx:pt idx="479">378.11279999999999</cx:pt>
          <cx:pt idx="480">378.11279999999999</cx:pt>
          <cx:pt idx="481">378.73523089999998</cx:pt>
          <cx:pt idx="482">379.13864239999998</cx:pt>
          <cx:pt idx="483">379.21146590000001</cx:pt>
          <cx:pt idx="484">379.32138739999999</cx:pt>
          <cx:pt idx="485">379.50524869999998</cx:pt>
          <cx:pt idx="486">379.687408</cx:pt>
          <cx:pt idx="487">379.8333111</cx:pt>
          <cx:pt idx="488">379.87126940000002</cx:pt>
          <cx:pt idx="489">379.94380000000001</cx:pt>
          <cx:pt idx="490">376.2817</cx:pt>
          <cx:pt idx="491">377.72693550000002</cx:pt>
          <cx:pt idx="492">378.11279999999999</cx:pt>
          <cx:pt idx="493">378.11279999999999</cx:pt>
          <cx:pt idx="494">378.11279999999999</cx:pt>
          <cx:pt idx="495">378.11279999999999</cx:pt>
          <cx:pt idx="496">380.85939999999999</cx:pt>
          <cx:pt idx="497">376.2817</cx:pt>
          <cx:pt idx="498">376.34838350000001</cx:pt>
          <cx:pt idx="499">377.16269610000001</cx:pt>
          <cx:pt idx="500">377.29711459999999</cx:pt>
          <cx:pt idx="501">377.63626449999998</cx:pt>
          <cx:pt idx="502">378.86014160000002</cx:pt>
          <cx:pt idx="503">379.3326586</cx:pt>
          <cx:pt idx="504">379.94380000000001</cx:pt>
          <cx:pt idx="505">379.35583279999997</cx:pt>
          <cx:pt idx="506">379.08531729999999</cx:pt>
          <cx:pt idx="507">379.03876550000001</cx:pt>
          <cx:pt idx="508">378.85852729999999</cx:pt>
          <cx:pt idx="509">378.7227383</cx:pt>
          <cx:pt idx="510">378.00004460000002</cx:pt>
          <cx:pt idx="511">377.86461730000002</cx:pt>
          <cx:pt idx="512">377.54682650000001</cx:pt>
          <cx:pt idx="513">377.32180010000002</cx:pt>
          <cx:pt idx="514">376.2817</cx:pt>
          <cx:pt idx="515">378.89082810000002</cx:pt>
          <cx:pt idx="516">378.98295669999999</cx:pt>
          <cx:pt idx="517">379.0283</cx:pt>
          <cx:pt idx="518">379.13552149999998</cx:pt>
          <cx:pt idx="519">379.22033690000001</cx:pt>
          <cx:pt idx="520">379.28439530000003</cx:pt>
          <cx:pt idx="521">379.70995119999998</cx:pt>
          <cx:pt idx="522">379.79509639999998</cx:pt>
          <cx:pt idx="523">379.85899519999998</cx:pt>
          <cx:pt idx="524">379.94380000000001</cx:pt>
          <cx:pt idx="525">378.74688759999998</cx:pt>
          <cx:pt idx="526">378.11279999999999</cx:pt>
          <cx:pt idx="527">378.11279999999999</cx:pt>
          <cx:pt idx="528">378.11279999999999</cx:pt>
          <cx:pt idx="529">378.11279999999999</cx:pt>
          <cx:pt idx="530">378.11279999999999</cx:pt>
          <cx:pt idx="531">378.11279999999999</cx:pt>
          <cx:pt idx="532">378.11279999999999</cx:pt>
          <cx:pt idx="533">377.19729999999998</cx:pt>
          <cx:pt idx="534">378.11279999999999</cx:pt>
          <cx:pt idx="535">378.11279999999999</cx:pt>
          <cx:pt idx="536">378.11279999999999</cx:pt>
          <cx:pt idx="537">378.11279999999999</cx:pt>
          <cx:pt idx="538">378.11279999999999</cx:pt>
          <cx:pt idx="539">378.11279999999999</cx:pt>
          <cx:pt idx="540">378.11279999999999</cx:pt>
          <cx:pt idx="541">378.11279999999999</cx:pt>
          <cx:pt idx="542">378.11279999999999</cx:pt>
          <cx:pt idx="543">378.11279999999999</cx:pt>
          <cx:pt idx="544">378.11279999999999</cx:pt>
          <cx:pt idx="545">380.25873960000001</cx:pt>
          <cx:pt idx="546">380.85939999999999</cx:pt>
          <cx:pt idx="547">377.19729999999998</cx:pt>
          <cx:pt idx="548">377.29034789999997</cx:pt>
          <cx:pt idx="549">377.38860460000001</cx:pt>
          <cx:pt idx="550">377.76681009999999</cx:pt>
          <cx:pt idx="551">378.52180049999998</cx:pt>
          <cx:pt idx="552">379.8514624</cx:pt>
          <cx:pt idx="553">379.94380000000001</cx:pt>
          <cx:pt idx="554">379.87142640000002</cx:pt>
          <cx:pt idx="555">379.73684250000002</cx:pt>
          <cx:pt idx="556">379.72659659999999</cx:pt>
          <cx:pt idx="557">379.7057787</cx:pt>
          <cx:pt idx="558">379.59225570000001</cx:pt>
          <cx:pt idx="559">379.5711948</cx:pt>
          <cx:pt idx="560">379.55078049999997</cx:pt>
          <cx:pt idx="561">379.50954830000001</cx:pt>
          <cx:pt idx="562">379.43669369999998</cx:pt>
          <cx:pt idx="563">379.41611899999998</cx:pt>
          <cx:pt idx="564">379.29185860000001</cx:pt>
          <cx:pt idx="565">379.28145230000001</cx:pt>
          <cx:pt idx="566">379.09531270000002</cx:pt>
          <cx:pt idx="567">379.0540805</cx:pt>
          <cx:pt idx="568">379.0439121</cx:pt>
          <cx:pt idx="569">378.22656610000001</cx:pt>
          <cx:pt idx="570">378.12296839999999</cx:pt>
          <cx:pt idx="571">378.11279999999999</cx:pt>
          <cx:pt idx="572">378.11279999999999</cx:pt>
          <cx:pt idx="573">378.11279999999999</cx:pt>
          <cx:pt idx="574">378.11279999999999</cx:pt>
          <cx:pt idx="575">378.11279999999999</cx:pt>
          <cx:pt idx="576">378.11279999999999</cx:pt>
          <cx:pt idx="577">378.11279999999999</cx:pt>
          <cx:pt idx="578">378.11279999999999</cx:pt>
          <cx:pt idx="579">376.2817</cx:pt>
          <cx:pt idx="580">379.94380000000001</cx:pt>
          <cx:pt idx="581">378.6304586</cx:pt>
          <cx:pt idx="582">378.40063609999999</cx:pt>
          <cx:pt idx="583">378.1717003</cx:pt>
          <cx:pt idx="584">378.11279999999999</cx:pt>
          <cx:pt idx="585">378.40846979999998</cx:pt>
          <cx:pt idx="586">378.43600400000003</cx:pt>
          <cx:pt idx="587">378.57028059999999</cx:pt>
          <cx:pt idx="588">378.59676409999997</cx:pt>
          <cx:pt idx="589">378.65140150000002</cx:pt>
          <cx:pt idx="590">378.73252250000002</cx:pt>
          <cx:pt idx="591">378.84011340000001</cx:pt>
          <cx:pt idx="592">379.35118069999999</cx:pt>
          <cx:pt idx="593">379.94380000000001</cx:pt>
          <cx:pt idx="594">378.11279999999999</cx:pt>
          <cx:pt idx="595">378.11279999999999</cx:pt>
          <cx:pt idx="596">378.11279999999999</cx:pt>
          <cx:pt idx="597">378.11279999999999</cx:pt>
          <cx:pt idx="598">378.11279999999999</cx:pt>
          <cx:pt idx="599">378.11279999999999</cx:pt>
          <cx:pt idx="600">378.23478319999998</cx:pt>
          <cx:pt idx="601">378.35484220000001</cx:pt>
          <cx:pt idx="602">379.02807089999999</cx:pt>
          <cx:pt idx="603">379.08906250000001</cx:pt>
          <cx:pt idx="604">379.3348919</cx:pt>
          <cx:pt idx="605">379.94380000000001</cx:pt>
          <cx:pt idx="606">376.2817</cx:pt>
          <cx:pt idx="607">379.0283</cx:pt>
          <cx:pt idx="608">378.8001021</cx:pt>
          <cx:pt idx="609">378.76142379999999</cx:pt>
          <cx:pt idx="610">378.11279999999999</cx:pt>
          <cx:pt idx="611">378.11279999999999</cx:pt>
          <cx:pt idx="612">379.94380000000001</cx:pt>
          <cx:pt idx="613">376.2817</cx:pt>
          <cx:pt idx="614">380.85939999999999</cx:pt>
          <cx:pt idx="615">377.19729999999998</cx:pt>
          <cx:pt idx="616">377.19729999999998</cx:pt>
          <cx:pt idx="617">377.19729999999998</cx:pt>
          <cx:pt idx="618">377.19729999999998</cx:pt>
          <cx:pt idx="619">377.19729999999998</cx:pt>
          <cx:pt idx="620">377.9788355</cx:pt>
          <cx:pt idx="621">379.0283</cx:pt>
          <cx:pt idx="622">378.25567160000003</cx:pt>
          <cx:pt idx="623">378.22743070000001</cx:pt>
          <cx:pt idx="624">378.21269849999999</cx:pt>
          <cx:pt idx="625">378.11279999999999</cx:pt>
          <cx:pt idx="626">378.11279999999999</cx:pt>
          <cx:pt idx="627">378.11279999999999</cx:pt>
          <cx:pt idx="628">378.11279999999999</cx:pt>
          <cx:pt idx="629">378.11279999999999</cx:pt>
          <cx:pt idx="630">378.11279999999999</cx:pt>
          <cx:pt idx="631">378.11279999999999</cx:pt>
          <cx:pt idx="632">378.11279999999999</cx:pt>
          <cx:pt idx="633">378.11279999999999</cx:pt>
          <cx:pt idx="634">378.11279999999999</cx:pt>
          <cx:pt idx="635">378.11279999999999</cx:pt>
          <cx:pt idx="636">378.34735439999997</cx:pt>
          <cx:pt idx="637">378.44153799999998</cx:pt>
          <cx:pt idx="638">378.534265</cx:pt>
          <cx:pt idx="639">378.86704379999998</cx:pt>
          <cx:pt idx="640">379.14630549999998</cx:pt>
          <cx:pt idx="641">379.47798010000002</cx:pt>
          <cx:pt idx="642">379.80270080000003</cx:pt>
          <cx:pt idx="643">379.89798860000002</cx:pt>
          <cx:pt idx="644">379.94380000000001</cx:pt>
          <cx:pt idx="645">379.91548089999998</cx:pt>
          <cx:pt idx="646">378.68828600000001</cx:pt>
          <cx:pt idx="647">378.35977029999998</cx:pt>
          <cx:pt idx="648">378.30505629999999</cx:pt>
          <cx:pt idx="649">378.11279999999999</cx:pt>
          <cx:pt idx="650">378.11279999999999</cx:pt>
          <cx:pt idx="651">378.82112860000001</cx:pt>
          <cx:pt idx="652">378.93260429999998</cx:pt>
          <cx:pt idx="653">378.94117110000002</cx:pt>
          <cx:pt idx="654">379.0283</cx:pt>
          <cx:pt idx="655">378.98038330000003</cx:pt>
          <cx:pt idx="656">378.95623230000001</cx:pt>
          <cx:pt idx="657">378.11279999999999</cx:pt>
          <cx:pt idx="658">378.11279999999999</cx:pt>
          <cx:pt idx="659">381.7749</cx:pt>
          <cx:pt idx="660">378.11279999999999</cx:pt>
          <cx:pt idx="661">379.0283</cx:pt>
          <cx:pt idx="662">378.97945340000001</cx:pt>
          <cx:pt idx="663">378.5928116</cx:pt>
          <cx:pt idx="664">378.42410059999997</cx:pt>
          <cx:pt idx="665">378.32904489999999</cx:pt>
          <cx:pt idx="666">378.11279999999999</cx:pt>
          <cx:pt idx="667">378.15003059999998</cx:pt>
          <cx:pt idx="668">378.17506229999998</cx:pt>
          <cx:pt idx="669">378.18697370000001</cx:pt>
          <cx:pt idx="670">378.3291476</cx:pt>
          <cx:pt idx="671">378.36628239999999</cx:pt>
          <cx:pt idx="672">378.39145619999999</cx:pt>
          <cx:pt idx="673">378.71867950000001</cx:pt>
          <cx:pt idx="674">378.72499850000003</cx:pt>
          <cx:pt idx="675">378.73116909999999</cx:pt>
          <cx:pt idx="676">378.79299859999998</cx:pt>
          <cx:pt idx="677">378.80544179999998</cx:pt>
          <cx:pt idx="678">378.82429669999999</cx:pt>
          <cx:pt idx="679">378.84855549999997</cx:pt>
          <cx:pt idx="680">378.96647050000001</cx:pt>
          <cx:pt idx="681">379.0032683</cx:pt>
          <cx:pt idx="682">379.01556620000002</cx:pt>
          <cx:pt idx="683">379.0283</cx:pt>
          <cx:pt idx="684">378.54089679999998</cx:pt>
          <cx:pt idx="685">376.2817</cx:pt>
          <cx:pt idx="686">379.94380000000001</cx:pt>
          <cx:pt idx="687">379.94380000000001</cx:pt>
          <cx:pt idx="688">376.2817</cx:pt>
          <cx:pt idx="689">376.61654340000001</cx:pt>
          <cx:pt idx="690">379.0283</cx:pt>
          <cx:pt idx="691">379.0283</cx:pt>
          <cx:pt idx="692">379.0283</cx:pt>
          <cx:pt idx="693">379.0283</cx:pt>
          <cx:pt idx="694">379.0283</cx:pt>
          <cx:pt idx="695">379.0283</cx:pt>
          <cx:pt idx="696">379.0283</cx:pt>
          <cx:pt idx="697">379.0283</cx:pt>
          <cx:pt idx="698">379.0283</cx:pt>
          <cx:pt idx="699">379.0283</cx:pt>
          <cx:pt idx="700">379.0283</cx:pt>
          <cx:pt idx="701">379.0283</cx:pt>
          <cx:pt idx="702">379.0283</cx:pt>
          <cx:pt idx="703">379.0283</cx:pt>
          <cx:pt idx="704">379.0283</cx:pt>
          <cx:pt idx="705">379.0283</cx:pt>
          <cx:pt idx="706">379.0283</cx:pt>
          <cx:pt idx="707">379.0283</cx:pt>
          <cx:pt idx="708">379.0283</cx:pt>
          <cx:pt idx="709">379.0283</cx:pt>
          <cx:pt idx="710">379.0283</cx:pt>
          <cx:pt idx="711">379.0283</cx:pt>
          <cx:pt idx="712">379.0283</cx:pt>
          <cx:pt idx="713">379.0283</cx:pt>
          <cx:pt idx="714">379.0283</cx:pt>
          <cx:pt idx="715">379.0283</cx:pt>
          <cx:pt idx="716">379.0283</cx:pt>
          <cx:pt idx="717">378.97785770000002</cx:pt>
          <cx:pt idx="718">378.94431759999998</cx:pt>
          <cx:pt idx="719">378.65875899999998</cx:pt>
          <cx:pt idx="720">378.65050730000002</cx:pt>
          <cx:pt idx="721">378.64146620000002</cx:pt>
          <cx:pt idx="722">378.52433430000002</cx:pt>
          <cx:pt idx="723">378.51607840000003</cx:pt>
          <cx:pt idx="724">378.50703720000001</cx:pt>
          <cx:pt idx="725">378.42305490000001</cx:pt>
          <cx:pt idx="726">378.40687480000003</cx:pt>
          <cx:pt idx="727">378.35590760000002</cx:pt>
          <cx:pt idx="728">378.16317520000001</cx:pt>
          <cx:pt idx="729">378.11279999999999</cx:pt>
          <cx:pt idx="730">378.11279999999999</cx:pt>
          <cx:pt idx="731">378.11279999999999</cx:pt>
          <cx:pt idx="732">378.11279999999999</cx:pt>
          <cx:pt idx="733">378.11279999999999</cx:pt>
          <cx:pt idx="734">378.11279999999999</cx:pt>
          <cx:pt idx="735">378.11279999999999</cx:pt>
          <cx:pt idx="736">378.11279999999999</cx:pt>
          <cx:pt idx="737">378.11279999999999</cx:pt>
          <cx:pt idx="738">378.11279999999999</cx:pt>
          <cx:pt idx="739">378.11279999999999</cx:pt>
          <cx:pt idx="740">378.11279999999999</cx:pt>
          <cx:pt idx="741">378.11279999999999</cx:pt>
          <cx:pt idx="742">378.11279999999999</cx:pt>
          <cx:pt idx="743">378.11279999999999</cx:pt>
          <cx:pt idx="744">378.5035335</cx:pt>
          <cx:pt idx="745">378.55616320000001</cx:pt>
          <cx:pt idx="746">378.63594469999998</cx:pt>
          <cx:pt idx="747">378.71428759999998</cx:pt>
          <cx:pt idx="748">378.7646939</cx:pt>
          <cx:pt idx="749">378.97402240000002</cx:pt>
          <cx:pt idx="750">379.00054649999998</cx:pt>
          <cx:pt idx="751">379.0283</cx:pt>
          <cx:pt idx="752">378.11279999999999</cx:pt>
          <cx:pt idx="753">380.85939999999999</cx:pt>
          <cx:pt idx="754">379.0283</cx:pt>
          <cx:pt idx="755">377.98882400000002</cx:pt>
          <cx:pt idx="756">377.3278148</cx:pt>
          <cx:pt idx="757">377.19729999999998</cx:pt>
          <cx:pt idx="758">377.72402240000002</cx:pt>
          <cx:pt idx="759">378.2362382</cx:pt>
          <cx:pt idx="760">378.77944539999999</cx:pt>
          <cx:pt idx="761">379.0283</cx:pt>
          <cx:pt idx="762">379.04664559999998</cx:pt>
          <cx:pt idx="763">379.79313430000002</cx:pt>
          <cx:pt idx="764">379.83185980000002</cx:pt>
          <cx:pt idx="765">379.94380000000001</cx:pt>
          <cx:pt idx="766">376.2817</cx:pt>
          <cx:pt idx="767">379.0283</cx:pt>
          <cx:pt idx="768">378.6274186</cx:pt>
          <cx:pt idx="769">378.60334269999998</cx:pt>
          <cx:pt idx="770">378.11279999999999</cx:pt>
          <cx:pt idx="771">378.11279999999999</cx:pt>
          <cx:pt idx="772">378.11279999999999</cx:pt>
          <cx:pt idx="773">378.11279999999999</cx:pt>
          <cx:pt idx="774">378.11279999999999</cx:pt>
          <cx:pt idx="775">378.11279999999999</cx:pt>
          <cx:pt idx="776">378.11279999999999</cx:pt>
          <cx:pt idx="777">378.11279999999999</cx:pt>
          <cx:pt idx="778">378.11279999999999</cx:pt>
          <cx:pt idx="779">378.11279999999999</cx:pt>
          <cx:pt idx="780">378.11279999999999</cx:pt>
          <cx:pt idx="781">378.11279999999999</cx:pt>
          <cx:pt idx="782">378.11279999999999</cx:pt>
          <cx:pt idx="783">378.11279999999999</cx:pt>
          <cx:pt idx="784">378.11279999999999</cx:pt>
          <cx:pt idx="785">378.11279999999999</cx:pt>
          <cx:pt idx="786">378.11279999999999</cx:pt>
          <cx:pt idx="787">378.11279999999999</cx:pt>
          <cx:pt idx="788">378.11279999999999</cx:pt>
          <cx:pt idx="789">378.11279999999999</cx:pt>
          <cx:pt idx="790">378.11279999999999</cx:pt>
          <cx:pt idx="791">378.11279999999999</cx:pt>
          <cx:pt idx="792">378.11279999999999</cx:pt>
          <cx:pt idx="793">378.11279999999999</cx:pt>
          <cx:pt idx="794">378.11279999999999</cx:pt>
          <cx:pt idx="795">378.11279999999999</cx:pt>
          <cx:pt idx="796">378.11279999999999</cx:pt>
          <cx:pt idx="797">378.11279999999999</cx:pt>
          <cx:pt idx="798">378.11279999999999</cx:pt>
          <cx:pt idx="799">378.11279999999999</cx:pt>
          <cx:pt idx="800">378.11279999999999</cx:pt>
          <cx:pt idx="801">378.11279999999999</cx:pt>
          <cx:pt idx="802">378.11279999999999</cx:pt>
          <cx:pt idx="803">378.11279999999999</cx:pt>
          <cx:pt idx="804">378.12654620000001</cx:pt>
          <cx:pt idx="805">378.14486290000002</cx:pt>
          <cx:pt idx="806">378.14914750000003</cx:pt>
          <cx:pt idx="807">378.21352280000002</cx:pt>
          <cx:pt idx="808">378.30021340000002</cx:pt>
          <cx:pt idx="809">378.30963839999998</cx:pt>
          <cx:pt idx="810">378.3508425</cx:pt>
          <cx:pt idx="811">378.35541319999999</cx:pt>
          <cx:pt idx="812">378.37347820000002</cx:pt>
          <cx:pt idx="813">378.40097050000003</cx:pt>
          <cx:pt idx="814">378.42378689999998</cx:pt>
          <cx:pt idx="815">378.49251770000001</cx:pt>
          <cx:pt idx="816">378.4970884</cx:pt>
          <cx:pt idx="817">378.61609129999999</cx:pt>
          <cx:pt idx="818">378.7902575</cx:pt>
          <cx:pt idx="819">378.84035110000002</cx:pt>
          <cx:pt idx="820">378.86352460000001</cx:pt>
          <cx:pt idx="821">378.87723410000001</cx:pt>
          <cx:pt idx="822">378.93218439999998</cx:pt>
          <cx:pt idx="823">378.93646890000002</cx:pt>
          <cx:pt idx="824">378.9685662</cx:pt>
          <cx:pt idx="825">378.98688299999998</cx:pt>
          <cx:pt idx="826">378.99623709999997</cx:pt>
          <cx:pt idx="827">379.00084429999998</cx:pt>
          <cx:pt idx="828">379.00512880000002</cx:pt>
          <cx:pt idx="829">379.01455379999999</cx:pt>
          <cx:pt idx="830">379.0283</cx:pt>
          <cx:pt idx="831">379.3057402</cx:pt>
          <cx:pt idx="832">379.88660429999999</cx:pt>
          <cx:pt idx="833">380.30450569999999</cx:pt>
          <cx:pt idx="834">380.6375754</cx:pt>
          <cx:pt idx="835">380.85939999999999</cx:pt>
          <cx:pt idx="836">377.19729999999998</cx:pt>
          <cx:pt idx="837">377.8202986</cx:pt>
          <cx:pt idx="838">377.85140680000001</cx:pt>
          <cx:pt idx="839">377.91847840000003</cx:pt>
          <cx:pt idx="840">379.42229959999997</cx:pt>
          <cx:pt idx="841">379.9126918</cx:pt>
          <cx:pt idx="842">379.94380000000001</cx:pt>
          <cx:pt idx="843">379.90679699999998</cx:pt>
          <cx:pt idx="844">379.7313752</cx:pt>
          <cx:pt idx="845">379.59076010000001</cx:pt>
          <cx:pt idx="846">379.55539119999997</cx:pt>
          <cx:pt idx="847">379.0283</cx:pt>
          <cx:pt idx="848">378.53147610000002</cx:pt>
          <cx:pt idx="849">378.40068480000002</cx:pt>
          <cx:pt idx="850">378.11279999999999</cx:pt>
          <cx:pt idx="851">378.11279999999999</cx:pt>
          <cx:pt idx="852">376.2817</cx:pt>
          <cx:pt idx="853">378.11279999999999</cx:pt>
          <cx:pt idx="854">378.11279999999999</cx:pt>
          <cx:pt idx="855">378.11279999999999</cx:pt>
          <cx:pt idx="856">378.11279999999999</cx:pt>
          <cx:pt idx="857">378.11279999999999</cx:pt>
          <cx:pt idx="858">378.11279999999999</cx:pt>
          <cx:pt idx="859">378.11279999999999</cx:pt>
          <cx:pt idx="860">378.11279999999999</cx:pt>
          <cx:pt idx="861">377.6976252</cx:pt>
          <cx:pt idx="862">376.68584529999998</cx:pt>
          <cx:pt idx="863">376.2817</cx:pt>
          <cx:pt idx="864">379.94380000000001</cx:pt>
          <cx:pt idx="865">379.36318699999998</cx:pt>
          <cx:pt idx="866">379.07410290000001</cx:pt>
          <cx:pt idx="867">379.05077169999998</cx:pt>
          <cx:pt idx="868">379.0283</cx:pt>
          <cx:pt idx="869">379.0283</cx:pt>
          <cx:pt idx="870">379.0283</cx:pt>
          <cx:pt idx="871">379.0283</cx:pt>
          <cx:pt idx="872">379.0283</cx:pt>
          <cx:pt idx="873">379.0283</cx:pt>
          <cx:pt idx="874">379.0283</cx:pt>
          <cx:pt idx="875">379.0283</cx:pt>
          <cx:pt idx="876">379.0283</cx:pt>
          <cx:pt idx="877">379.0283</cx:pt>
          <cx:pt idx="878">379.0283</cx:pt>
          <cx:pt idx="879">379.0283</cx:pt>
          <cx:pt idx="880">379.0283</cx:pt>
          <cx:pt idx="881">379.0283</cx:pt>
          <cx:pt idx="882">379.0283</cx:pt>
          <cx:pt idx="883">379.30286869999998</cx:pt>
          <cx:pt idx="884">379.37160249999999</cx:pt>
          <cx:pt idx="885">379.41731049999999</cx:pt>
          <cx:pt idx="886">379.53175229999999</cx:pt>
          <cx:pt idx="887">379.62334010000001</cx:pt>
          <cx:pt idx="888">379.94380000000001</cx:pt>
          <cx:pt idx="889">378.72323519999998</cx:pt>
          <cx:pt idx="890">378.11279999999999</cx:pt>
          <cx:pt idx="891">378.11279999999999</cx:pt>
          <cx:pt idx="892">378.11279999999999</cx:pt>
          <cx:pt idx="893">378.11279999999999</cx:pt>
          <cx:pt idx="894">378.11279999999999</cx:pt>
          <cx:pt idx="895">378.11279999999999</cx:pt>
          <cx:pt idx="896">379.94380000000001</cx:pt>
          <cx:pt idx="897">378.11279999999999</cx:pt>
          <cx:pt idx="898">378.00115670000002</cx:pt>
          <cx:pt idx="899">377.97885930000001</cx:pt>
          <cx:pt idx="900">377.88950210000002</cx:pt>
          <cx:pt idx="901">377.57684719999997</cx:pt>
          <cx:pt idx="902">377.19729999999998</cx:pt>
          <cx:pt idx="903">378.11279999999999</cx:pt>
          <cx:pt idx="904">377.86442219999998</cx:pt>
          <cx:pt idx="905">377.83343309999998</cx:pt>
          <cx:pt idx="906">377.8024441</cx:pt>
          <cx:pt idx="907">376.68669899999998</cx:pt>
          <cx:pt idx="908">376.65401850000001</cx:pt>
          <cx:pt idx="909">376.59205589999999</cx:pt>
          <cx:pt idx="910">376.2817</cx:pt>
          <cx:pt idx="911">379.94380000000001</cx:pt>
          <cx:pt idx="912">379.84196100000003</cx:pt>
          <cx:pt idx="913">379.1637293</cx:pt>
          <cx:pt idx="914">379.12986769999998</cx:pt>
          <cx:pt idx="915">379.09760010000002</cx:pt>
          <cx:pt idx="916">379.0283</cx:pt>
          <cx:pt idx="917">377.19729999999998</cx:pt>
          <cx:pt idx="918">378.53320550000001</cx:pt>
          <cx:pt idx="919">378.97833420000001</cx:pt>
          <cx:pt idx="920">379.20117679999998</cx:pt>
          <cx:pt idx="921">379.94380000000001</cx:pt>
          <cx:pt idx="922">379.63887790000001</cx:pt>
          <cx:pt idx="923">379.61525799999998</cx:pt>
          <cx:pt idx="924">379.52149450000002</cx:pt>
          <cx:pt idx="925">379.49805070000002</cx:pt>
          <cx:pt idx="926">379.17041269999999</cx:pt>
          <cx:pt idx="927">379.09881339999998</cx:pt>
          <cx:pt idx="928">379.05192579999999</cx:pt>
          <cx:pt idx="929">378.95797449999998</cx:pt>
          <cx:pt idx="930">378.8640231</cx:pt>
          <cx:pt idx="931">378.79370349999999</cx:pt>
          <cx:pt idx="932">378.69975210000001</cx:pt>
          <cx:pt idx="933">378.53529329999998</cx:pt>
          <cx:pt idx="934">378.51184949999998</cx:pt>
          <cx:pt idx="935">378.3475785</cx:pt>
          <cx:pt idx="936">378.11279999999999</cx:pt>
          <cx:pt idx="937">378.3417895</cx:pt>
          <cx:pt idx="938">378.39892950000001</cx:pt>
          <cx:pt idx="939">379.0283</cx:pt>
          <cx:pt idx="940">380.85939999999999</cx:pt>
          <cx:pt idx="941">376.2817</cx:pt>
          <cx:pt idx="942">377.34961220000002</cx:pt>
          <cx:pt idx="943">379.94380000000001</cx:pt>
          <cx:pt idx="944">379.94380000000001</cx:pt>
          <cx:pt idx="945">379.94380000000001</cx:pt>
          <cx:pt idx="946">379.94380000000001</cx:pt>
          <cx:pt idx="947">379.94380000000001</cx:pt>
          <cx:pt idx="948">379.94380000000001</cx:pt>
          <cx:pt idx="949">379.94380000000001</cx:pt>
          <cx:pt idx="950">379.94380000000001</cx:pt>
          <cx:pt idx="951">378.11279999999999</cx:pt>
          <cx:pt idx="952">377.83272190000002</cx:pt>
          <cx:pt idx="953">377.78971209999997</cx:pt>
          <cx:pt idx="954">377.76812380000001</cx:pt>
          <cx:pt idx="955">377.72502780000002</cx:pt>
          <cx:pt idx="956">377.70352020000001</cx:pt>
          <cx:pt idx="957">377.56348379999997</cx:pt>
          <cx:pt idx="958">377.46653809999998</cx:pt>
          <cx:pt idx="959">377.4557843</cx:pt>
          <cx:pt idx="960">377.19729999999998</cx:pt>
          <cx:pt idx="961">379.0283</cx:pt>
          <cx:pt idx="962">378.99833439999998</cx:pt>
          <cx:pt idx="963">378.93827570000002</cx:pt>
          <cx:pt idx="964">378.39798710000002</cx:pt>
          <cx:pt idx="965">378.11279999999999</cx:pt>
          <cx:pt idx="966">378.24742459999999</cx:pt>
          <cx:pt idx="967">379.0283</cx:pt>
          <cx:pt idx="968">379.0283</cx:pt>
          <cx:pt idx="969">379.0283</cx:pt>
          <cx:pt idx="970">376.2817</cx:pt>
          <cx:pt idx="971">379.94380000000001</cx:pt>
          <cx:pt idx="972">377.19729999999998</cx:pt>
          <cx:pt idx="973">380.85939999999999</cx:pt>
          <cx:pt idx="974">377.68474179999998</cx:pt>
          <cx:pt idx="975">377.19729999999998</cx:pt>
          <cx:pt idx="976">377.60351079999998</cx:pt>
          <cx:pt idx="977">377.80814190000001</cx:pt>
          <cx:pt idx="978">379.0283</cx:pt>
          <cx:pt idx="979">378.7230189</cx:pt>
          <cx:pt idx="980">378.71222340000003</cx:pt>
          <cx:pt idx="981">378.6795755</cx:pt>
          <cx:pt idx="982">378.47248889999997</cx:pt>
          <cx:pt idx="983">378.27627960000001</cx:pt>
          <cx:pt idx="984">378.11279999999999</cx:pt>
          <cx:pt idx="985">378.20673199999999</cx:pt>
          <cx:pt idx="986">379.94380000000001</cx:pt>
          <cx:pt idx="987">378.11279999999999</cx:pt>
          <cx:pt idx="988">381.7749</cx:pt>
          <cx:pt idx="989">377.19729999999998</cx:pt>
          <cx:pt idx="990">378.13223850000003</cx:pt>
          <cx:pt idx="991">379.0283</cx:pt>
          <cx:pt idx="992">378.72363080000002</cx:pt>
          <cx:pt idx="993">377.50266540000001</cx:pt>
          <cx:pt idx="994">376.2817</cx:pt>
          <cx:pt idx="995">379.94380000000001</cx:pt>
          <cx:pt idx="996">379.94380000000001</cx:pt>
          <cx:pt idx="997">379.94380000000001</cx:pt>
          <cx:pt idx="998">378.11279999999999</cx:pt>
          <cx:pt idx="999">379.0283</cx:pt>
          <cx:pt idx="1000">378.6281606</cx:pt>
          <cx:pt idx="1001">378.57099369999997</cx:pt>
          <cx:pt idx="1002">378.11279999999999</cx:pt>
          <cx:pt idx="1003">378.3387487</cx:pt>
          <cx:pt idx="1004">378.36202589999999</cx:pt>
          <cx:pt idx="1005">378.36771909999999</cx:pt>
          <cx:pt idx="1006">378.65174780000001</cx:pt>
          <cx:pt idx="1007">378.7038187</cx:pt>
          <cx:pt idx="1008">378.71543409999998</cx:pt>
          <cx:pt idx="1009">378.78494990000002</cx:pt>
          <cx:pt idx="1010">378.89505439999999</cx:pt>
          <cx:pt idx="1011">378.93559690000001</cx:pt>
          <cx:pt idx="1012">378.9530881</cx:pt>
          <cx:pt idx="1013">378.98784740000002</cx:pt>
          <cx:pt idx="1014">379.0283</cx:pt>
          <cx:pt idx="1015">379.12503600000002</cx:pt>
          <cx:pt idx="1016">379.36584040000002</cx:pt>
          <cx:pt idx="1017">379.38951270000001</cx:pt>
          <cx:pt idx="1018">379.41373879999998</cx:pt>
          <cx:pt idx="1019">379.94380000000001</cx:pt>
          <cx:pt idx="1020">378.11279999999999</cx:pt>
          <cx:pt idx="1021">378.11279999999999</cx:pt>
          <cx:pt idx="1022">378.11279999999999</cx:pt>
          <cx:pt idx="1023">378.11279999999999</cx:pt>
          <cx:pt idx="1024">378.11279999999999</cx:pt>
          <cx:pt idx="1025">378.11279999999999</cx:pt>
          <cx:pt idx="1026">378.11279999999999</cx:pt>
          <cx:pt idx="1027">378.11279999999999</cx:pt>
          <cx:pt idx="1028">378.11279999999999</cx:pt>
          <cx:pt idx="1029">378.1951388</cx:pt>
          <cx:pt idx="1030">378.46127739999997</cx:pt>
          <cx:pt idx="1031">379.0283</cx:pt>
          <cx:pt idx="1032">379.0283</cx:pt>
          <cx:pt idx="1033">379.0283</cx:pt>
          <cx:pt idx="1034">379.0283</cx:pt>
          <cx:pt idx="1035">379.0283</cx:pt>
          <cx:pt idx="1036">379.0283</cx:pt>
          <cx:pt idx="1037">378.55659309999999</cx:pt>
          <cx:pt idx="1038">378.50119519999998</cx:pt>
          <cx:pt idx="1039">378.11279999999999</cx:pt>
          <cx:pt idx="1040">378.44564100000002</cx:pt>
          <cx:pt idx="1041">378.63996470000001</cx:pt>
          <cx:pt idx="1042">378.75098100000002</cx:pt>
          <cx:pt idx="1043">378.83408029999998</cx:pt>
          <cx:pt idx="1044">378.97279179999998</cx:pt>
          <cx:pt idx="1045">379.05437949999998</cx:pt>
          <cx:pt idx="1046">379.2208</cx:pt>
          <cx:pt idx="1047">379.554057</cx:pt>
          <cx:pt idx="1048">379.94380000000001</cx:pt>
          <cx:pt idx="1049">377.59141920000002</cx:pt>
          <cx:pt idx="1050">377.32628929999998</cx:pt>
          <cx:pt idx="1051">377.19729999999998</cx:pt>
          <cx:pt idx="1052">377.44765260000003</cx:pt>
          <cx:pt idx="1053">377.94706919999999</cx:pt>
          <cx:pt idx="1054">378.44648569999998</cx:pt>
          <cx:pt idx="1055">379.0283</cx:pt>
          <cx:pt idx="1056">378.98608300000001</cx:pt>
          <cx:pt idx="1057">378.9664922</cx:pt>
          <cx:pt idx="1058">378.88446599999997</cx:pt>
          <cx:pt idx="1059">378.86247780000002</cx:pt>
          <cx:pt idx="1060">378.82265819999998</cx:pt>
          <cx:pt idx="1061">378.63612369999998</cx:pt>
          <cx:pt idx="1062">378.41106600000001</cx:pt>
          <cx:pt idx="1063">378.39035360000003</cx:pt>
          <cx:pt idx="1064">378.2450791</cx:pt>
          <cx:pt idx="1065">378.2256529</cx:pt>
          <cx:pt idx="1066">377.19729999999998</cx:pt>
          <cx:pt idx="1067">377.69920610000003</cx:pt>
          <cx:pt idx="1068">378.11279999999999</cx:pt>
          <cx:pt idx="1069">378.11279999999999</cx:pt>
          <cx:pt idx="1070">378.11279999999999</cx:pt>
          <cx:pt idx="1071">378.11279999999999</cx:pt>
          <cx:pt idx="1072">378.11279999999999</cx:pt>
          <cx:pt idx="1073">378.11279999999999</cx:pt>
          <cx:pt idx="1074">378.11279999999999</cx:pt>
          <cx:pt idx="1075">378.11279999999999</cx:pt>
          <cx:pt idx="1076">378.11279999999999</cx:pt>
          <cx:pt idx="1077">378.11279999999999</cx:pt>
          <cx:pt idx="1078">378.11988730000002</cx:pt>
          <cx:pt idx="1079">378.14243299999998</cx:pt>
          <cx:pt idx="1080">378.17241890000003</cx:pt>
          <cx:pt idx="1081">378.18752819999997</cx:pt>
          <cx:pt idx="1082">378.60027689999998</cx:pt>
          <cx:pt idx="1083">378.6379882</cx:pt>
          <cx:pt idx="1084">378.69795620000002</cx:pt>
          <cx:pt idx="1085">378.74304760000001</cx:pt>
          <cx:pt idx="1086">378.78035349999999</cx:pt>
          <cx:pt idx="1087">378.788139</cx:pt>
          <cx:pt idx="1088">378.80307190000002</cx:pt>
          <cx:pt idx="1089">378.81068850000003</cx:pt>
          <cx:pt idx="1090">378.86315619999999</cx:pt>
          <cx:pt idx="1091">378.96083929999998</cx:pt>
          <cx:pt idx="1092">378.98373409999999</cx:pt>
          <cx:pt idx="1093">379.0283</cx:pt>
          <cx:pt idx="1094">378.7915228</cx:pt>
          <cx:pt idx="1095">378.67545209999997</cx:pt>
          <cx:pt idx="1096">378.37513280000002</cx:pt>
          <cx:pt idx="1097">378.08355349999999</cx:pt>
          <cx:pt idx="1098">377.90618469999998</cx:pt>
          <cx:pt idx="1099">377.19729999999998</cx:pt>
          <cx:pt idx="1100">378.89367049999998</cx:pt>
          <cx:pt idx="1101">379.0283</cx:pt>
          <cx:pt idx="1102">378.11279999999999</cx:pt>
          <cx:pt idx="1103">377.97242660000001</cx:pt>
          <cx:pt idx="1104">377.93716740000002</cx:pt>
          <cx:pt idx="1105">377.91336000000001</cx:pt>
          <cx:pt idx="1106">377.8774669</cx:pt>
          <cx:pt idx="1107">377.80805789999999</cx:pt>
          <cx:pt idx="1108">377.50268190000003</cx:pt>
          <cx:pt idx="1109">377.43198749999999</cx:pt>
          <cx:pt idx="1110">377.36185060000003</cx:pt>
          <cx:pt idx="1111">377.33831320000002</cx:pt>
          <cx:pt idx="1112">377.2679005</cx:pt>
          <cx:pt idx="1113">377.20892780000003</cx:pt>
          <cx:pt idx="1114">377.19729999999998</cx:pt>
          <cx:pt idx="1115">380.85939999999999</cx:pt>
          <cx:pt idx="1116">380.38623799999999</cx:pt>
          <cx:pt idx="1117">379.93406490000001</cx:pt>
          <cx:pt idx="1118">377.62437770000003</cx:pt>
          <cx:pt idx="1119">377.19729999999998</cx:pt>
          <cx:pt idx="1120">377.2535944</cx:pt>
          <cx:pt idx="1121">377.71188130000002</cx:pt>
          <cx:pt idx="1122">378.0562908</cx:pt>
          <cx:pt idx="1123">378.51503589999999</cx:pt>
          <cx:pt idx="1124">379.0283</cx:pt>
          <cx:pt idx="1125">379.0283</cx:pt>
          <cx:pt idx="1126">378.55713350000002</cx:pt>
          <cx:pt idx="1127">378.52727729999998</cx:pt>
          <cx:pt idx="1128">378.24994679999998</cx:pt>
          <cx:pt idx="1129">378.2239874</cx:pt>
          <cx:pt idx="1130">378.11279999999999</cx:pt>
          <cx:pt idx="1131">378.11279999999999</cx:pt>
          <cx:pt idx="1132">378.11279999999999</cx:pt>
          <cx:pt idx="1133">377.94012140000001</cx:pt>
          <cx:pt idx="1134">377.19729999999998</cx:pt>
          <cx:pt idx="1135">377.56546839999999</cx:pt>
          <cx:pt idx="1136">378.11279999999999</cx:pt>
          <cx:pt idx="1137">378.11279999999999</cx:pt>
          <cx:pt idx="1138">378.11279999999999</cx:pt>
          <cx:pt idx="1139">378.11279999999999</cx:pt>
          <cx:pt idx="1140">378.11279999999999</cx:pt>
          <cx:pt idx="1141">378.11279999999999</cx:pt>
          <cx:pt idx="1142">378.11279999999999</cx:pt>
          <cx:pt idx="1143">378.11279999999999</cx:pt>
          <cx:pt idx="1144">378.11279999999999</cx:pt>
          <cx:pt idx="1145">378.11279999999999</cx:pt>
          <cx:pt idx="1146">378.11279999999999</cx:pt>
          <cx:pt idx="1147">378.11279999999999</cx:pt>
          <cx:pt idx="1148">378.11279999999999</cx:pt>
          <cx:pt idx="1149">378.11279999999999</cx:pt>
          <cx:pt idx="1150">378.11279999999999</cx:pt>
          <cx:pt idx="1151">378.11279999999999</cx:pt>
          <cx:pt idx="1152">377.8011449</cx:pt>
          <cx:pt idx="1153">377.19729999999998</cx:pt>
          <cx:pt idx="1154">380.85939999999999</cx:pt>
          <cx:pt idx="1155">376.2817</cx:pt>
          <cx:pt idx="1156">377.22665439999997</cx:pt>
          <cx:pt idx="1157">378.60140480000001</cx:pt>
          <cx:pt idx="1158">379.94380000000001</cx:pt>
          <cx:pt idx="1159">378.28016960000002</cx:pt>
          <cx:pt idx="1160">378.11279999999999</cx:pt>
          <cx:pt idx="1161">378.17143670000002</cx:pt>
          <cx:pt idx="1162">378.81518449999999</cx:pt>
          <cx:pt idx="1163">379.0283</cx:pt>
          <cx:pt idx="1164">378.11279999999999</cx:pt>
          <cx:pt idx="1165">378.11279999999999</cx:pt>
          <cx:pt idx="1166">378.11279999999999</cx:pt>
          <cx:pt idx="1167">378.11279999999999</cx:pt>
          <cx:pt idx="1168">378.11279999999999</cx:pt>
          <cx:pt idx="1169">378.11279999999999</cx:pt>
          <cx:pt idx="1170">378.11279999999999</cx:pt>
          <cx:pt idx="1171">378.11279999999999</cx:pt>
          <cx:pt idx="1172">379.94380000000001</cx:pt>
          <cx:pt idx="1173">376.2817</cx:pt>
          <cx:pt idx="1174">379.94380000000001</cx:pt>
          <cx:pt idx="1175">376.2817</cx:pt>
          <cx:pt idx="1176">379.94380000000001</cx:pt>
          <cx:pt idx="1177">379.65812629999999</cx:pt>
          <cx:pt idx="1178">378.72172560000001</cx:pt>
          <cx:pt idx="1179">378.5798772</cx:pt>
          <cx:pt idx="1180">378.5445454</cx:pt>
          <cx:pt idx="1181">378.32838509999999</cx:pt>
          <cx:pt idx="1182">378.11279999999999</cx:pt>
          <cx:pt idx="1183">378.15264239999999</cx:pt>
          <cx:pt idx="1184">379.0283</cx:pt>
          <cx:pt idx="1185">378.89180720000002</cx:pt>
          <cx:pt idx="1186">378.33824679999998</cx:pt>
          <cx:pt idx="1187">378.11279999999999</cx:pt>
          <cx:pt idx="1188">378.11279999999999</cx:pt>
          <cx:pt idx="1189">378.11279999999999</cx:pt>
          <cx:pt idx="1190">378.11279999999999</cx:pt>
          <cx:pt idx="1191">378.11279999999999</cx:pt>
          <cx:pt idx="1192">378.11279999999999</cx:pt>
          <cx:pt idx="1193">378.49538660000002</cx:pt>
          <cx:pt idx="1194">378.64007620000001</cx:pt>
          <cx:pt idx="1195">378.68816149999998</cx:pt>
          <cx:pt idx="1196">379.0283</cx:pt>
          <cx:pt idx="1197">379.0283</cx:pt>
          <cx:pt idx="1198">379.0283</cx:pt>
          <cx:pt idx="1199">379.0283</cx:pt>
          <cx:pt idx="1200">378.84530590000003</cx:pt>
          <cx:pt idx="1201">378.60988400000002</cx:pt>
          <cx:pt idx="1202">377.9807103</cx:pt>
          <cx:pt idx="1203">377.85136030000001</cx:pt>
          <cx:pt idx="1204">377.82525750000002</cx:pt>
          <cx:pt idx="1205">377.24993710000001</cx:pt>
          <cx:pt idx="1206">377.19729999999998</cx:pt>
          <cx:pt idx="1207">377.34976899999998</cx:pt>
          <cx:pt idx="1208">379.0283</cx:pt>
          <cx:pt idx="1209">379.0283</cx:pt>
          <cx:pt idx="1210">379.0283</cx:pt>
          <cx:pt idx="1211">379.0283</cx:pt>
          <cx:pt idx="1212">379.0283</cx:pt>
          <cx:pt idx="1213">379.0283</cx:pt>
          <cx:pt idx="1214">379.0283</cx:pt>
          <cx:pt idx="1215">379.0283</cx:pt>
          <cx:pt idx="1216">378.67384290000001</cx:pt>
          <cx:pt idx="1217">378.61487740000001</cx:pt>
          <cx:pt idx="1218">378.55753600000003</cx:pt>
          <cx:pt idx="1219">378.14251890000003</cx:pt>
          <cx:pt idx="1220">378.11279999999999</cx:pt>
          <cx:pt idx="1221">379.0283</cx:pt>
          <cx:pt idx="1222">378.68082129999999</cx:pt>
          <cx:pt idx="1223">378.6614179</cx:pt>
          <cx:pt idx="1224">378.51520629999999</cx:pt>
          <cx:pt idx="1225">378.11279999999999</cx:pt>
          <cx:pt idx="1226">380.85939999999999</cx:pt>
          <cx:pt idx="1227">377.19729999999998</cx:pt>
          <cx:pt idx="1228">377.19729999999998</cx:pt>
          <cx:pt idx="1229">377.19729999999998</cx:pt>
          <cx:pt idx="1230">377.19729999999998</cx:pt>
          <cx:pt idx="1231">377.19729999999998</cx:pt>
          <cx:pt idx="1232">377.19729999999998</cx:pt>
          <cx:pt idx="1233">377.19729999999998</cx:pt>
          <cx:pt idx="1234">378.11279999999999</cx:pt>
          <cx:pt idx="1235">378.11279999999999</cx:pt>
          <cx:pt idx="1236">378.11279999999999</cx:pt>
          <cx:pt idx="1237">378.03468090000001</cx:pt>
          <cx:pt idx="1238">377.44289529999998</cx:pt>
          <cx:pt idx="1239">377.19729999999998</cx:pt>
          <cx:pt idx="1240">379.0283</cx:pt>
          <cx:pt idx="1241">378.99717120000003</cx:pt>
          <cx:pt idx="1242">378.96633850000001</cx:pt>
          <cx:pt idx="1243">378.95872159999999</cx:pt>
          <cx:pt idx="1244">378.92836949999997</cx:pt>
          <cx:pt idx="1245">378.92027200000001</cx:pt>
          <cx:pt idx="1246">378.9052767</cx:pt>
          <cx:pt idx="1247">378.83611739999998</cx:pt>
          <cx:pt idx="1248">378.69767969999998</cx:pt>
          <cx:pt idx="1249">378.28200889999999</cx:pt>
          <cx:pt idx="1250">378.1743386</cx:pt>
          <cx:pt idx="1251">378.11279999999999</cx:pt>
          <cx:pt idx="1252">378.65317299999998</cx:pt>
          <cx:pt idx="1253">378.76105849999999</cx:pt>
          <cx:pt idx="1254">378.86602599999998</cx:pt>
          <cx:pt idx="1255">379.0283</cx:pt>
          <cx:pt idx="1256">379.0283</cx:pt>
          <cx:pt idx="1257">379.0283</cx:pt>
          <cx:pt idx="1258">379.00843609999998</cx:pt>
          <cx:pt idx="1259">378.82927310000002</cx:pt>
          <cx:pt idx="1260">378.70989070000002</cx:pt>
          <cx:pt idx="1261">378.57062459999997</cx:pt>
          <cx:pt idx="1262">378.43230399999999</cx:pt>
          <cx:pt idx="1263">378.41134540000002</cx:pt>
          <cx:pt idx="1264">378.3715977</cx:pt>
          <cx:pt idx="1265">378.2930379</cx:pt>
          <cx:pt idx="1266">378.23326709999998</cx:pt>
          <cx:pt idx="1267">378.11279999999999</cx:pt>
          <cx:pt idx="1268">377.31548290000001</cx:pt>
          <cx:pt idx="1269">377.19729999999998</cx:pt>
          <cx:pt idx="1270">377.4122314</cx:pt>
          <cx:pt idx="1271">377.4505997</cx:pt>
          <cx:pt idx="1272">377.95690980000001</cx:pt>
          <cx:pt idx="1273">379.1500709</cx:pt>
          <cx:pt idx="1274">379.4030813</cx:pt>
          <cx:pt idx="1275">379.43946069999998</cx:pt>
          <cx:pt idx="1276">379.76468749999998</cx:pt>
          <cx:pt idx="1277">379.94380000000001</cx:pt>
          <cx:pt idx="1278">376.2817</cx:pt>
          <cx:pt idx="1279">378.95146849999998</cx:pt>
          <cx:pt idx="1280">380.85939999999999</cx:pt>
          <cx:pt idx="1281">380.75087259999998</cx:pt>
          <cx:pt idx="1282">379.88831670000002</cx:pt>
          <cx:pt idx="1283">379.46256770000002</cx:pt>
          <cx:pt idx="1284">378.81463939999998</cx:pt>
          <cx:pt idx="1285">377.19729999999998</cx:pt>
          <cx:pt idx="1286">377.19729999999998</cx:pt>
          <cx:pt idx="1287">377.19729999999998</cx:pt>
          <cx:pt idx="1288">377.19729999999998</cx:pt>
          <cx:pt idx="1289">377.19729999999998</cx:pt>
          <cx:pt idx="1290">377.19729999999998</cx:pt>
          <cx:pt idx="1291">377.19729999999998</cx:pt>
          <cx:pt idx="1292">377.19729999999998</cx:pt>
          <cx:pt idx="1293">377.19729999999998</cx:pt>
          <cx:pt idx="1294">377.19729999999998</cx:pt>
          <cx:pt idx="1295">377.19729999999998</cx:pt>
          <cx:pt idx="1296">377.19729999999998</cx:pt>
          <cx:pt idx="1297">377.19729999999998</cx:pt>
          <cx:pt idx="1298">377.19729999999998</cx:pt>
          <cx:pt idx="1299">377.19729999999998</cx:pt>
          <cx:pt idx="1300">377.19729999999998</cx:pt>
          <cx:pt idx="1301">379.0283</cx:pt>
          <cx:pt idx="1302">378.74272459999997</cx:pt>
          <cx:pt idx="1303">378.72595130000002</cx:pt>
          <cx:pt idx="1304">378.69234160000002</cx:pt>
          <cx:pt idx="1305">378.6839549</cx:pt>
          <cx:pt idx="1306">378.66711859999998</cx:pt>
          <cx:pt idx="1307">378.47398140000001</cx:pt>
          <cx:pt idx="1308">378.46559480000002</cx:pt>
          <cx:pt idx="1309">378.42360259999998</cx:pt>
          <cx:pt idx="1310">378.26400799999999</cx:pt>
          <cx:pt idx="1311">378.20517519999999</cx:pt>
          <cx:pt idx="1312">378.18840189999997</cx:pt>
          <cx:pt idx="1313">378.11279999999999</cx:pt>
          <cx:pt idx="1314">378.11279999999999</cx:pt>
          <cx:pt idx="1315">378.11279999999999</cx:pt>
          <cx:pt idx="1316">378.11279999999999</cx:pt>
          <cx:pt idx="1317">378.11279999999999</cx:pt>
          <cx:pt idx="1318">378.11279999999999</cx:pt>
          <cx:pt idx="1319">378.11279999999999</cx:pt>
          <cx:pt idx="1320">378.11279999999999</cx:pt>
          <cx:pt idx="1321">378.11279999999999</cx:pt>
          <cx:pt idx="1322">378.11279999999999</cx:pt>
          <cx:pt idx="1323">378.11279999999999</cx:pt>
          <cx:pt idx="1324">378.11279999999999</cx:pt>
          <cx:pt idx="1325">378.11279999999999</cx:pt>
          <cx:pt idx="1326">378.11279999999999</cx:pt>
          <cx:pt idx="1327">378.11279999999999</cx:pt>
          <cx:pt idx="1328">378.28202490000001</cx:pt>
          <cx:pt idx="1329">378.34359549999999</cx:pt>
          <cx:pt idx="1330">378.45137290000002</cx:pt>
          <cx:pt idx="1331">378.66668140000002</cx:pt>
          <cx:pt idx="1332">378.92832759999999</cx:pt>
          <cx:pt idx="1333">379.05134570000001</cx:pt>
          <cx:pt idx="1334">379.06682489999997</cx:pt>
          <cx:pt idx="1335">379.78993889999998</cx:pt>
          <cx:pt idx="1336">379.94380000000001</cx:pt>
          <cx:pt idx="1337">379.89550989999998</cx:pt>
          <cx:pt idx="1338">379.84740049999999</cx:pt>
          <cx:pt idx="1339">379.67865619999998</cx:pt>
          <cx:pt idx="1340">379.60650420000002</cx:pt>
          <cx:pt idx="1341">379.55839479999997</cx:pt>
          <cx:pt idx="1342">379.48604999999998</cx:pt>
          <cx:pt idx="1343">379.43794059999999</cx:pt>
          <cx:pt idx="1344">379.293251</cx:pt>
          <cx:pt idx="1345">379.0283</cx:pt>
          <cx:pt idx="1346">379.0283</cx:pt>
          <cx:pt idx="1347">379.18614209999998</cx:pt>
          <cx:pt idx="1348">379.375742</cx:pt>
          <cx:pt idx="1349">379.88077370000002</cx:pt>
          <cx:pt idx="1350">379.94380000000001</cx:pt>
          <cx:pt idx="1351">379.94380000000001</cx:pt>
          <cx:pt idx="1352">379.94380000000001</cx:pt>
          <cx:pt idx="1353">379.94380000000001</cx:pt>
          <cx:pt idx="1354">379.94380000000001</cx:pt>
          <cx:pt idx="1355">379.94380000000001</cx:pt>
          <cx:pt idx="1356">382.69040000000001</cx:pt>
          <cx:pt idx="1357">379.0283</cx:pt>
          <cx:pt idx="1358">377.7263749</cx:pt>
          <cx:pt idx="1359">377.6041821</cx:pt>
          <cx:pt idx="1360">377.27855840000001</cx:pt>
          <cx:pt idx="1361">377.19729999999998</cx:pt>
          <cx:pt idx="1362">380.85939999999999</cx:pt>
          <cx:pt idx="1363">379.0283</cx:pt>
          <cx:pt idx="1364">379.0283</cx:pt>
          <cx:pt idx="1365">379.0283</cx:pt>
          <cx:pt idx="1366">379.0283</cx:pt>
          <cx:pt idx="1367">379.0283</cx:pt>
          <cx:pt idx="1368">379.0283</cx:pt>
          <cx:pt idx="1369">379.0283</cx:pt>
          <cx:pt idx="1370">378.14538019999998</cx:pt>
          <cx:pt idx="1371">377.94803150000001</cx:pt>
          <cx:pt idx="1372">377.06663200000003</cx:pt>
          <cx:pt idx="1373">376.67414150000002</cx:pt>
          <cx:pt idx="1374">376.3795897</cx:pt>
          <cx:pt idx="1375">376.2817</cx:pt>
          <cx:pt idx="1376">379.94380000000001</cx:pt>
          <cx:pt idx="1377">379.0283</cx:pt>
          <cx:pt idx="1378">379.32097779999998</cx:pt>
          <cx:pt idx="1379">379.36599389999998</cx:pt>
          <cx:pt idx="1380">379.38097679999998</cx:pt>
          <cx:pt idx="1381">379.4561387</cx:pt>
          <cx:pt idx="1382">379.50109479999998</cx:pt>
          <cx:pt idx="1383">379.94380000000001</cx:pt>
          <cx:pt idx="1384">378.11279999999999</cx:pt>
          <cx:pt idx="1385">377.49428979999999</cx:pt>
          <cx:pt idx="1386">377.22200379999998</cx:pt>
          <cx:pt idx="1387">377.19729999999998</cx:pt>
          <cx:pt idx="1388">379.0283</cx:pt>
          <cx:pt idx="1389">379.0283</cx:pt>
          <cx:pt idx="1390">379.0283</cx:pt>
          <cx:pt idx="1391">379.0283</cx:pt>
          <cx:pt idx="1392">379.0283</cx:pt>
          <cx:pt idx="1393">379.01436969999997</cx:pt>
          <cx:pt idx="1394">378.11279999999999</cx:pt>
          <cx:pt idx="1395">378.23092380000003</cx:pt>
          <cx:pt idx="1396">378.3877334</cx:pt>
          <cx:pt idx="1397">378.407984</cx:pt>
          <cx:pt idx="1398">378.585059</cx:pt>
          <cx:pt idx="1399">378.64423160000001</cx:pt>
          <cx:pt idx="1400">379.0283</cx:pt>
          <cx:pt idx="1401">380.85939999999999</cx:pt>
          <cx:pt idx="1402">377.19729999999998</cx:pt>
          <cx:pt idx="1403">379.94380000000001</cx:pt>
          <cx:pt idx="1404">379.31849010000002</cx:pt>
          <cx:pt idx="1405">379.0283</cx:pt>
          <cx:pt idx="1406">380.85939999999999</cx:pt>
          <cx:pt idx="1407">377.19729999999998</cx:pt>
          <cx:pt idx="1408">378.20423219999998</cx:pt>
          <cx:pt idx="1409">378.57059320000002</cx:pt>
          <cx:pt idx="1410">380.85939999999999</cx:pt>
          <cx:pt idx="1411">377.19729999999998</cx:pt>
          <cx:pt idx="1412">377.67505590000002</cx:pt>
          <cx:pt idx="1413">377.83391019999999</cx:pt>
          <cx:pt idx="1414">378.31102970000001</cx:pt>
          <cx:pt idx="1415">379.0283</cx:pt>
          <cx:pt idx="1416">379.0283</cx:pt>
          <cx:pt idx="1417">379.0283</cx:pt>
          <cx:pt idx="1418">379.0283</cx:pt>
          <cx:pt idx="1419">379.0283</cx:pt>
          <cx:pt idx="1420">379.0283</cx:pt>
          <cx:pt idx="1421">379.0283</cx:pt>
          <cx:pt idx="1422">379.0283</cx:pt>
          <cx:pt idx="1423">379.0283</cx:pt>
          <cx:pt idx="1424">379.0283</cx:pt>
          <cx:pt idx="1425">379.0283</cx:pt>
          <cx:pt idx="1426">379.0283</cx:pt>
          <cx:pt idx="1427">379.0283</cx:pt>
          <cx:pt idx="1428">379.0283</cx:pt>
          <cx:pt idx="1429">379.0283</cx:pt>
          <cx:pt idx="1430">379.0283</cx:pt>
          <cx:pt idx="1431">379.0283</cx:pt>
          <cx:pt idx="1432">379.0283</cx:pt>
          <cx:pt idx="1433">379.0283</cx:pt>
          <cx:pt idx="1434">379.0283</cx:pt>
          <cx:pt idx="1435">379.1418031</cx:pt>
          <cx:pt idx="1436">379.94380000000001</cx:pt>
          <cx:pt idx="1437">379.80625420000001</cx:pt>
          <cx:pt idx="1438">379.77591219999999</cx:pt>
          <cx:pt idx="1439">379.0283</cx:pt>
          <cx:pt idx="1440">379.0283</cx:pt>
          <cx:pt idx="1441">379.0283</cx:pt>
          <cx:pt idx="1442">379.0283</cx:pt>
          <cx:pt idx="1443">378.8099373</cx:pt>
          <cx:pt idx="1444">377.71064840000003</cx:pt>
          <cx:pt idx="1445">377.19729999999998</cx:pt>
          <cx:pt idx="1446">380.85939999999999</cx:pt>
          <cx:pt idx="1447">380.14726109999998</cx:pt>
          <cx:pt idx="1448">379.79139500000002</cx:pt>
          <cx:pt idx="1449">379.53707789999999</cx:pt>
          <cx:pt idx="1450">379.0276806</cx:pt>
          <cx:pt idx="1451">378.11279999999999</cx:pt>
          <cx:pt idx="1452">378.41802339999998</cx:pt>
          <cx:pt idx="1453">378.48834040000003</cx:pt>
          <cx:pt idx="1454">378.53539439999997</cx:pt>
          <cx:pt idx="1455">379.94380000000001</cx:pt>
          <cx:pt idx="1456">379.5847665</cx:pt>
          <cx:pt idx="1457">378.66927099999998</cx:pt>
          <cx:pt idx="1458">378.6513458</cx:pt>
          <cx:pt idx="1459">378.59715729999999</cx:pt>
          <cx:pt idx="1460">378.11279999999999</cx:pt>
          <cx:pt idx="1461">379.94380000000001</cx:pt>
          <cx:pt idx="1462">379.0283</cx:pt>
          <cx:pt idx="1463">382.69040000000001</cx:pt>
          <cx:pt idx="1464">379.0283</cx:pt>
          <cx:pt idx="1465">382.69040000000001</cx:pt>
          <cx:pt idx="1466">378.11279999999999</cx:pt>
          <cx:pt idx="1467">378.11279999999999</cx:pt>
          <cx:pt idx="1468">378.11279999999999</cx:pt>
          <cx:pt idx="1469">378.11279999999999</cx:pt>
          <cx:pt idx="1470">378.11279999999999</cx:pt>
          <cx:pt idx="1471">378.11279999999999</cx:pt>
          <cx:pt idx="1472">381.7749</cx:pt>
          <cx:pt idx="1473">380.9468632</cx:pt>
          <cx:pt idx="1474">380.90298280000002</cx:pt>
          <cx:pt idx="1475">380.77308570000002</cx:pt>
          <cx:pt idx="1476">378.11279999999999</cx:pt>
          <cx:pt idx="1477">379.94380000000001</cx:pt>
          <cx:pt idx="1478">379.94380000000001</cx:pt>
          <cx:pt idx="1479">379.94380000000001</cx:pt>
          <cx:pt idx="1480">379.0283</cx:pt>
          <cx:pt idx="1481">382.69040000000001</cx:pt>
          <cx:pt idx="1482">382.01567970000002</cx:pt>
          <cx:pt idx="1483">381.14560879999999</cx:pt>
          <cx:pt idx="1484">380.9547857</cx:pt>
          <cx:pt idx="1485">379.0283</cx:pt>
          <cx:pt idx="1486">381.48962519999998</cx:pt>
          <cx:pt idx="1487">381.7749</cx:pt>
          <cx:pt idx="1488">381.6842474</cx:pt>
          <cx:pt idx="1489">381.62993749999998</cx:pt>
          <cx:pt idx="1490">380.45149959999998</cx:pt>
          <cx:pt idx="1491">380.39677269999999</cx:pt>
          <cx:pt idx="1492">380.28801679999998</cx:pt>
          <cx:pt idx="1493">380.2519552</cx:pt>
          <cx:pt idx="1494">379.94380000000001</cx:pt>
          <cx:pt idx="1495">383.60590000000002</cx:pt>
          <cx:pt idx="1496">379.94380000000001</cx:pt>
          <cx:pt idx="1497">379.0283</cx:pt>
          <cx:pt idx="1498">382.69040000000001</cx:pt>
          <cx:pt idx="1499">382.36869100000001</cx:pt>
          <cx:pt idx="1500">382.27223120000002</cx:pt>
          <cx:pt idx="1501">382.14419650000002</cx:pt>
          <cx:pt idx="1502">380.85939999999999</cx:pt>
          <cx:pt idx="1503">380.5535304</cx:pt>
          <cx:pt idx="1504">380.35082940000001</cx:pt>
          <cx:pt idx="1505">379.94380000000001</cx:pt>
          <cx:pt idx="1506">383.60590000000002</cx:pt>
          <cx:pt idx="1507">381.968097</cx:pt>
          <cx:pt idx="1508">381.58237430000003</cx:pt>
          <cx:pt idx="1509">379.94380000000001</cx:pt>
          <cx:pt idx="1510">382.69040000000001</cx:pt>
          <cx:pt idx="1511">381.67318460000001</cx:pt>
          <cx:pt idx="1512">381.3878646</cx:pt>
          <cx:pt idx="1513">381.3050192</cx:pt>
          <cx:pt idx="1514">380.85939999999999</cx:pt>
          <cx:pt idx="1515">381.5422059</cx:pt>
          <cx:pt idx="1516">381.58007040000001</cx:pt>
          <cx:pt idx="1517">381.58750220000002</cx:pt>
          <cx:pt idx="1518">381.7749</cx:pt>
          <cx:pt idx="1519">381.72245850000002</cx:pt>
          <cx:pt idx="1520">381.67646789999998</cx:pt>
          <cx:pt idx="1521">381.6633645</cx:pt>
          <cx:pt idx="1522">381.56493239999998</cx:pt>
          <cx:pt idx="1523">381.56155439999998</cx:pt>
          <cx:pt idx="1524">381.55832900000001</cx:pt>
          <cx:pt idx="1525">381.4992858</cx:pt>
          <cx:pt idx="1526">381.48605279999998</cx:pt>
          <cx:pt idx="1527">381.38777490000001</cx:pt>
          <cx:pt idx="1528">381.3221284</cx:pt>
          <cx:pt idx="1529">381.31887669999998</cx:pt>
          <cx:pt idx="1530">381.3121979</cx:pt>
          <cx:pt idx="1531">381.30574869999998</cx:pt>
          <cx:pt idx="1532">381.1449447</cx:pt>
          <cx:pt idx="1533">381.13841839999998</cx:pt>
          <cx:pt idx="1534">381.05306510000003</cx:pt>
          <cx:pt idx="1535">380.96771009999998</cx:pt>
          <cx:pt idx="1536">380.94142620000002</cx:pt>
          <cx:pt idx="1537">380.85939999999999</cx:pt>
          <cx:pt idx="1538">381.7749</cx:pt>
          <cx:pt idx="1539">382.68898089999999</cx:pt>
          <cx:pt idx="1540">382.871083</cx:pt>
          <cx:pt idx="1541">383.1467538</cx:pt>
          <cx:pt idx="1542">383.60590000000002</cx:pt>
          <cx:pt idx="1543">381.7749</cx:pt>
          <cx:pt idx="1544">381.7749</cx:pt>
          <cx:pt idx="1545">381.7749</cx:pt>
          <cx:pt idx="1546">381.7749</cx:pt>
          <cx:pt idx="1547">381.7749</cx:pt>
          <cx:pt idx="1548">381.7749</cx:pt>
          <cx:pt idx="1549">380.85939999999999</cx:pt>
          <cx:pt idx="1550">382.69040000000001</cx:pt>
          <cx:pt idx="1551">382.1367022</cx:pt>
          <cx:pt idx="1552">382.11192089999997</cx:pt>
          <cx:pt idx="1553">382.06441640000003</cx:pt>
          <cx:pt idx="1554">381.7749</cx:pt>
          <cx:pt idx="1555">381.4111671</cx:pt>
          <cx:pt idx="1556">381.28613919999998</cx:pt>
          <cx:pt idx="1557">381.23565639999998</cx:pt>
          <cx:pt idx="1558">381.19789780000002</cx:pt>
          <cx:pt idx="1559">381.16023330000002</cx:pt>
          <cx:pt idx="1560">380.85939999999999</cx:pt>
          <cx:pt idx="1561">384.5215</cx:pt>
          <cx:pt idx="1562">380.85939999999999</cx:pt>
          <cx:pt idx="1563">381.02056750000003</cx:pt>
          <cx:pt idx="1564">381.06409530000002</cx:pt>
          <cx:pt idx="1565">381.0753583</cx:pt>
          <cx:pt idx="1566">381.09611230000002</cx:pt>
          <cx:pt idx="1567">381.63465339999999</cx:pt>
          <cx:pt idx="1568">381.6457441</cx:pt>
          <cx:pt idx="1569">381.7749</cx:pt>
          <cx:pt idx="1570">381.7749</cx:pt>
          <cx:pt idx="1571">381.7749</cx:pt>
          <cx:pt idx="1572">381.7749</cx:pt>
          <cx:pt idx="1573">381.7749</cx:pt>
          <cx:pt idx="1574">381.7749</cx:pt>
          <cx:pt idx="1575">381.31355380000002</cx:pt>
          <cx:pt idx="1576">380.85939999999999</cx:pt>
          <cx:pt idx="1577">382.69040000000001</cx:pt>
          <cx:pt idx="1578">382.25320579999999</cx:pt>
          <cx:pt idx="1579">382.08000340000001</cx:pt>
          <cx:pt idx="1580">382.04712410000002</cx:pt>
          <cx:pt idx="1581">381.98098169999997</cx:pt>
          <cx:pt idx="1582">381.7749</cx:pt>
          <cx:pt idx="1583">380.23666780000002</cx:pt>
          <cx:pt idx="1584">380.16127749999998</cx:pt>
          <cx:pt idx="1585">379.97992349999998</cx:pt>
          <cx:pt idx="1586">379.0283</cx:pt>
          <cx:pt idx="1587">382.69040000000001</cx:pt>
          <cx:pt idx="1588">381.7749</cx:pt>
          <cx:pt idx="1589">382.69040000000001</cx:pt>
          <cx:pt idx="1590">381.7749</cx:pt>
          <cx:pt idx="1591">381.7749</cx:pt>
          <cx:pt idx="1592">381.7749</cx:pt>
          <cx:pt idx="1593">381.7749</cx:pt>
          <cx:pt idx="1594">381.7749</cx:pt>
          <cx:pt idx="1595">381.7749</cx:pt>
          <cx:pt idx="1596">381.7749</cx:pt>
          <cx:pt idx="1597">381.7749</cx:pt>
          <cx:pt idx="1598">381.753151</cx:pt>
          <cx:pt idx="1599">381.40477490000001</cx:pt>
          <cx:pt idx="1600">380.85939999999999</cx:pt>
          <cx:pt idx="1601">382.69040000000001</cx:pt>
          <cx:pt idx="1602">382.37115510000001</cx:pt>
          <cx:pt idx="1603">382.29241020000001</cx:pt>
          <cx:pt idx="1604">382.06278229999998</cx:pt>
          <cx:pt idx="1605">381.7749</cx:pt>
          <cx:pt idx="1606">381.7749</cx:pt>
          <cx:pt idx="1607">381.7749</cx:pt>
          <cx:pt idx="1608">381.7749</cx:pt>
          <cx:pt idx="1609">381.7749</cx:pt>
          <cx:pt idx="1610">381.7749</cx:pt>
          <cx:pt idx="1611">381.7749</cx:pt>
          <cx:pt idx="1612">381.7749</cx:pt>
          <cx:pt idx="1613">381.7749</cx:pt>
          <cx:pt idx="1614">381.7749</cx:pt>
          <cx:pt idx="1615">381.7749</cx:pt>
          <cx:pt idx="1616">381.7749</cx:pt>
          <cx:pt idx="1617">381.7749</cx:pt>
          <cx:pt idx="1618">381.7749</cx:pt>
          <cx:pt idx="1619">381.7749</cx:pt>
          <cx:pt idx="1620">381.7749</cx:pt>
          <cx:pt idx="1621">380.85939999999999</cx:pt>
          <cx:pt idx="1622">380.96944380000002</cx:pt>
          <cx:pt idx="1623">381.0346601</cx:pt>
          <cx:pt idx="1624">381.3394821</cx:pt>
          <cx:pt idx="1625">381.53409699999997</cx:pt>
          <cx:pt idx="1626">381.5993024</cx:pt>
          <cx:pt idx="1627">381.64430399999998</cx:pt>
          <cx:pt idx="1628">381.70952039999997</cx:pt>
          <cx:pt idx="1629">381.7749</cx:pt>
          <cx:pt idx="1630">381.79774259999999</cx:pt>
          <cx:pt idx="1631">382.6446919</cx:pt>
          <cx:pt idx="1632">382.69040000000001</cx:pt>
          <cx:pt idx="1633">380.85939999999999</cx:pt>
          <cx:pt idx="1634">382.69040000000001</cx:pt>
          <cx:pt idx="1635">381.7749</cx:pt>
          <cx:pt idx="1636">379.94380000000001</cx:pt>
          <cx:pt idx="1637">383.60590000000002</cx:pt>
          <cx:pt idx="1638">379.94380000000001</cx:pt>
          <cx:pt idx="1639">383.60590000000002</cx:pt>
          <cx:pt idx="1640">381.7749</cx:pt>
          <cx:pt idx="1641">382.25361839999999</cx:pt>
          <cx:pt idx="1642">382.28448459999998</cx:pt>
          <cx:pt idx="1643">382.28999909999999</cx:pt>
          <cx:pt idx="1644">382.3105645</cx:pt>
          <cx:pt idx="1645">382.69040000000001</cx:pt>
          <cx:pt idx="1646">382.5004199</cx:pt>
          <cx:pt idx="1647">382.48635589999998</cx:pt>
          <cx:pt idx="1648">382.39477140000002</cx:pt>
          <cx:pt idx="1649">382.38754649999998</cx:pt>
          <cx:pt idx="1650">381.97206970000002</cx:pt>
          <cx:pt idx="1651">381.7749</cx:pt>
          <cx:pt idx="1652">381.7749</cx:pt>
          <cx:pt idx="1653">381.7749</cx:pt>
          <cx:pt idx="1654">381.7749</cx:pt>
          <cx:pt idx="1655">381.7749</cx:pt>
          <cx:pt idx="1656">381.7749</cx:pt>
          <cx:pt idx="1657">381.7749</cx:pt>
          <cx:pt idx="1658">381.7749</cx:pt>
          <cx:pt idx="1659">381.7749</cx:pt>
          <cx:pt idx="1660">381.7749</cx:pt>
          <cx:pt idx="1661">381.7749</cx:pt>
          <cx:pt idx="1662">381.7749</cx:pt>
          <cx:pt idx="1663">381.7749</cx:pt>
          <cx:pt idx="1664">381.7749</cx:pt>
          <cx:pt idx="1665">381.7749</cx:pt>
          <cx:pt idx="1666">381.7749</cx:pt>
          <cx:pt idx="1667">381.7749</cx:pt>
          <cx:pt idx="1668">381.7749</cx:pt>
          <cx:pt idx="1669">381.7749</cx:pt>
          <cx:pt idx="1670">381.7749</cx:pt>
          <cx:pt idx="1671">381.7749</cx:pt>
          <cx:pt idx="1672">381.7749</cx:pt>
          <cx:pt idx="1673">381.7749</cx:pt>
          <cx:pt idx="1674">381.7749</cx:pt>
          <cx:pt idx="1675">381.7749</cx:pt>
          <cx:pt idx="1676">381.7749</cx:pt>
          <cx:pt idx="1677">381.7749</cx:pt>
          <cx:pt idx="1678">381.7749</cx:pt>
          <cx:pt idx="1679">381.7749</cx:pt>
          <cx:pt idx="1680">381.7749</cx:pt>
          <cx:pt idx="1681">381.7749</cx:pt>
          <cx:pt idx="1682">381.7749</cx:pt>
          <cx:pt idx="1683">381.7749</cx:pt>
          <cx:pt idx="1684">381.7749</cx:pt>
          <cx:pt idx="1685">381.7749</cx:pt>
          <cx:pt idx="1686">381.7749</cx:pt>
          <cx:pt idx="1687">381.7749</cx:pt>
          <cx:pt idx="1688">381.7749</cx:pt>
          <cx:pt idx="1689">381.7749</cx:pt>
          <cx:pt idx="1690">381.7749</cx:pt>
          <cx:pt idx="1691">381.7749</cx:pt>
          <cx:pt idx="1692">381.7749</cx:pt>
          <cx:pt idx="1693">381.7749</cx:pt>
          <cx:pt idx="1694">381.7749</cx:pt>
          <cx:pt idx="1695">381.7749</cx:pt>
          <cx:pt idx="1696">381.7749</cx:pt>
          <cx:pt idx="1697">381.7749</cx:pt>
          <cx:pt idx="1698">381.7749</cx:pt>
          <cx:pt idx="1699">381.7749</cx:pt>
          <cx:pt idx="1700">381.7749</cx:pt>
          <cx:pt idx="1701">381.7749</cx:pt>
          <cx:pt idx="1702">381.7749</cx:pt>
          <cx:pt idx="1703">381.7749</cx:pt>
          <cx:pt idx="1704">381.7749</cx:pt>
          <cx:pt idx="1705">381.7749</cx:pt>
          <cx:pt idx="1706">381.7749</cx:pt>
          <cx:pt idx="1707">381.7749</cx:pt>
          <cx:pt idx="1708">381.7749</cx:pt>
          <cx:pt idx="1709">381.7749</cx:pt>
          <cx:pt idx="1710">381.7749</cx:pt>
          <cx:pt idx="1711">381.7749</cx:pt>
          <cx:pt idx="1712">381.7749</cx:pt>
          <cx:pt idx="1713">381.7749</cx:pt>
          <cx:pt idx="1714">381.7749</cx:pt>
          <cx:pt idx="1715">381.7749</cx:pt>
          <cx:pt idx="1716">381.7749</cx:pt>
          <cx:pt idx="1717">381.7749</cx:pt>
          <cx:pt idx="1718">381.7749</cx:pt>
          <cx:pt idx="1719">381.7749</cx:pt>
          <cx:pt idx="1720">381.7749</cx:pt>
          <cx:pt idx="1721">381.7749</cx:pt>
          <cx:pt idx="1722">381.7749</cx:pt>
          <cx:pt idx="1723">381.7749</cx:pt>
          <cx:pt idx="1724">381.7749</cx:pt>
          <cx:pt idx="1725">381.7749</cx:pt>
          <cx:pt idx="1726">381.7749</cx:pt>
          <cx:pt idx="1727">381.7749</cx:pt>
          <cx:pt idx="1728">381.7749</cx:pt>
          <cx:pt idx="1729">381.7749</cx:pt>
          <cx:pt idx="1730">381.7749</cx:pt>
          <cx:pt idx="1731">381.7749</cx:pt>
          <cx:pt idx="1732">381.7749</cx:pt>
          <cx:pt idx="1733">381.7749</cx:pt>
          <cx:pt idx="1734">381.7749</cx:pt>
          <cx:pt idx="1735">381.7749</cx:pt>
          <cx:pt idx="1736">381.7749</cx:pt>
          <cx:pt idx="1737">381.7749</cx:pt>
          <cx:pt idx="1738">381.7749</cx:pt>
          <cx:pt idx="1739">381.7749</cx:pt>
          <cx:pt idx="1740">381.7749</cx:pt>
          <cx:pt idx="1741">381.7749</cx:pt>
          <cx:pt idx="1742">381.7749</cx:pt>
          <cx:pt idx="1743">381.7749</cx:pt>
          <cx:pt idx="1744">381.7749</cx:pt>
          <cx:pt idx="1745">381.7749</cx:pt>
          <cx:pt idx="1746">381.7749</cx:pt>
          <cx:pt idx="1747">381.7749</cx:pt>
          <cx:pt idx="1748">381.4121591</cx:pt>
          <cx:pt idx="1749">381.04648839999999</cx:pt>
          <cx:pt idx="1750">380.67514139999997</cx:pt>
          <cx:pt idx="1751">380.31514709999999</cx:pt>
          <cx:pt idx="1752">379.94380000000001</cx:pt>
          <cx:pt idx="1753">380.8556969</cx:pt>
          <cx:pt idx="1754">381.7749</cx:pt>
          <cx:pt idx="1755">381.7749</cx:pt>
          <cx:pt idx="1756">381.7749</cx:pt>
          <cx:pt idx="1757">381.7749</cx:pt>
          <cx:pt idx="1758">381.7749</cx:pt>
          <cx:pt idx="1759">381.7749</cx:pt>
          <cx:pt idx="1760">381.7749</cx:pt>
          <cx:pt idx="1761">381.7749</cx:pt>
          <cx:pt idx="1762">381.7749</cx:pt>
          <cx:pt idx="1763">381.7749</cx:pt>
          <cx:pt idx="1764">381.7749</cx:pt>
          <cx:pt idx="1765">381.7749</cx:pt>
          <cx:pt idx="1766">381.7749</cx:pt>
          <cx:pt idx="1767">381.7749</cx:pt>
          <cx:pt idx="1768">381.7749</cx:pt>
          <cx:pt idx="1769">381.7749</cx:pt>
          <cx:pt idx="1770">381.7749</cx:pt>
          <cx:pt idx="1771">381.7749</cx:pt>
          <cx:pt idx="1772">381.7749</cx:pt>
          <cx:pt idx="1773">381.7749</cx:pt>
          <cx:pt idx="1774">381.7749</cx:pt>
          <cx:pt idx="1775">381.7749</cx:pt>
          <cx:pt idx="1776">381.7749</cx:pt>
          <cx:pt idx="1777">381.7749</cx:pt>
          <cx:pt idx="1778">381.7749</cx:pt>
          <cx:pt idx="1779">381.7749</cx:pt>
          <cx:pt idx="1780">381.7749</cx:pt>
          <cx:pt idx="1781">381.7749</cx:pt>
          <cx:pt idx="1782">381.7749</cx:pt>
          <cx:pt idx="1783">381.7749</cx:pt>
          <cx:pt idx="1784">381.7749</cx:pt>
          <cx:pt idx="1785">381.7749</cx:pt>
          <cx:pt idx="1786">381.7749</cx:pt>
          <cx:pt idx="1787">381.7749</cx:pt>
          <cx:pt idx="1788">381.7749</cx:pt>
          <cx:pt idx="1789">381.7749</cx:pt>
          <cx:pt idx="1790">381.7749</cx:pt>
          <cx:pt idx="1791">381.7749</cx:pt>
          <cx:pt idx="1792">381.7749</cx:pt>
          <cx:pt idx="1793">381.7749</cx:pt>
          <cx:pt idx="1794">381.7749</cx:pt>
          <cx:pt idx="1795">381.7749</cx:pt>
          <cx:pt idx="1796">381.7749</cx:pt>
          <cx:pt idx="1797">381.7749</cx:pt>
          <cx:pt idx="1798">381.7749</cx:pt>
          <cx:pt idx="1799">381.7749</cx:pt>
          <cx:pt idx="1800">381.7749</cx:pt>
          <cx:pt idx="1801">381.7749</cx:pt>
          <cx:pt idx="1802">381.7749</cx:pt>
          <cx:pt idx="1803">381.7749</cx:pt>
          <cx:pt idx="1804">381.7749</cx:pt>
          <cx:pt idx="1805">381.7749</cx:pt>
          <cx:pt idx="1806">381.7749</cx:pt>
          <cx:pt idx="1807">381.7749</cx:pt>
          <cx:pt idx="1808">381.7749</cx:pt>
          <cx:pt idx="1809">381.7749</cx:pt>
          <cx:pt idx="1810">381.7749</cx:pt>
          <cx:pt idx="1811">381.7749</cx:pt>
          <cx:pt idx="1812">381.7749</cx:pt>
          <cx:pt idx="1813">381.7749</cx:pt>
          <cx:pt idx="1814">381.7749</cx:pt>
          <cx:pt idx="1815">381.7749</cx:pt>
          <cx:pt idx="1816">381.7749</cx:pt>
          <cx:pt idx="1817">381.7749</cx:pt>
          <cx:pt idx="1818">381.7749</cx:pt>
          <cx:pt idx="1819">381.7749</cx:pt>
          <cx:pt idx="1820">381.7749</cx:pt>
          <cx:pt idx="1821">381.7749</cx:pt>
          <cx:pt idx="1822">381.7749</cx:pt>
          <cx:pt idx="1823">381.7749</cx:pt>
          <cx:pt idx="1824">381.7749</cx:pt>
          <cx:pt idx="1825">381.7749</cx:pt>
          <cx:pt idx="1826">381.7749</cx:pt>
          <cx:pt idx="1827">381.7749</cx:pt>
          <cx:pt idx="1828">381.7749</cx:pt>
          <cx:pt idx="1829">381.7749</cx:pt>
          <cx:pt idx="1830">381.7749</cx:pt>
          <cx:pt idx="1831">381.7749</cx:pt>
          <cx:pt idx="1832">381.7749</cx:pt>
          <cx:pt idx="1833">381.7749</cx:pt>
          <cx:pt idx="1834">381.7749</cx:pt>
          <cx:pt idx="1835">381.7749</cx:pt>
          <cx:pt idx="1836">381.7749</cx:pt>
          <cx:pt idx="1837">381.7749</cx:pt>
          <cx:pt idx="1838">381.7749</cx:pt>
          <cx:pt idx="1839">381.7749</cx:pt>
          <cx:pt idx="1840">381.7749</cx:pt>
          <cx:pt idx="1841">381.7749</cx:pt>
          <cx:pt idx="1842">381.7749</cx:pt>
          <cx:pt idx="1843">381.7749</cx:pt>
          <cx:pt idx="1844">381.7749</cx:pt>
          <cx:pt idx="1845">381.7749</cx:pt>
          <cx:pt idx="1846">381.7749</cx:pt>
          <cx:pt idx="1847">381.7749</cx:pt>
          <cx:pt idx="1848">381.7749</cx:pt>
          <cx:pt idx="1849">381.7749</cx:pt>
          <cx:pt idx="1850">381.7749</cx:pt>
          <cx:pt idx="1851">381.7749</cx:pt>
          <cx:pt idx="1852">381.7749</cx:pt>
          <cx:pt idx="1853">381.7749</cx:pt>
          <cx:pt idx="1854">381.7749</cx:pt>
          <cx:pt idx="1855">381.7749</cx:pt>
          <cx:pt idx="1856">381.7749</cx:pt>
          <cx:pt idx="1857">381.7749</cx:pt>
          <cx:pt idx="1858">381.7749</cx:pt>
          <cx:pt idx="1859">381.7749</cx:pt>
          <cx:pt idx="1860">381.7749</cx:pt>
          <cx:pt idx="1861">381.7749</cx:pt>
          <cx:pt idx="1862">381.7749</cx:pt>
          <cx:pt idx="1863">381.7749</cx:pt>
          <cx:pt idx="1864">381.7749</cx:pt>
          <cx:pt idx="1865">381.7749</cx:pt>
          <cx:pt idx="1866">381.7749</cx:pt>
          <cx:pt idx="1867">381.7749</cx:pt>
          <cx:pt idx="1868">381.7749</cx:pt>
          <cx:pt idx="1869">381.7749</cx:pt>
          <cx:pt idx="1870">381.7749</cx:pt>
          <cx:pt idx="1871">381.7749</cx:pt>
          <cx:pt idx="1872">381.7749</cx:pt>
          <cx:pt idx="1873">381.7749</cx:pt>
          <cx:pt idx="1874">381.7749</cx:pt>
          <cx:pt idx="1875">381.7749</cx:pt>
          <cx:pt idx="1876">381.7749</cx:pt>
          <cx:pt idx="1877">381.7749</cx:pt>
          <cx:pt idx="1878">381.7749</cx:pt>
          <cx:pt idx="1879">381.7749</cx:pt>
          <cx:pt idx="1880">381.7749</cx:pt>
          <cx:pt idx="1881">381.7749</cx:pt>
          <cx:pt idx="1882">381.7749</cx:pt>
          <cx:pt idx="1883">381.7749</cx:pt>
          <cx:pt idx="1884">381.7749</cx:pt>
          <cx:pt idx="1885">381.7749</cx:pt>
          <cx:pt idx="1886">381.7749</cx:pt>
          <cx:pt idx="1887">381.7749</cx:pt>
          <cx:pt idx="1888">381.7749</cx:pt>
          <cx:pt idx="1889">381.7749</cx:pt>
          <cx:pt idx="1890">381.7749</cx:pt>
          <cx:pt idx="1891">381.7749</cx:pt>
          <cx:pt idx="1892">381.7749</cx:pt>
          <cx:pt idx="1893">381.7749</cx:pt>
          <cx:pt idx="1894">381.7749</cx:pt>
          <cx:pt idx="1895">381.75443669999999</cx:pt>
          <cx:pt idx="1896">381.74392210000002</cx:pt>
          <cx:pt idx="1897">381.7337316</cx:pt>
          <cx:pt idx="1898">381.71318589999998</cx:pt>
          <cx:pt idx="1899">381.70299540000002</cx:pt>
          <cx:pt idx="1900">381.69255800000002</cx:pt>
          <cx:pt idx="1901">381.68244979999997</cx:pt>
          <cx:pt idx="1902">381.6412813</cx:pt>
          <cx:pt idx="1903">381.63100850000001</cx:pt>
          <cx:pt idx="1904">381.62057620000002</cx:pt>
          <cx:pt idx="1905">381.6001129</cx:pt>
          <cx:pt idx="1906">381.58968060000001</cx:pt>
          <cx:pt idx="1907">381.57956730000001</cx:pt>
          <cx:pt idx="1908">381.56921210000002</cx:pt>
          <cx:pt idx="1909">381.55886220000002</cx:pt>
          <cx:pt idx="1910">381.5486717</cx:pt>
          <cx:pt idx="1911">381.53823940000001</cx:pt>
          <cx:pt idx="1912">381.5176937</cx:pt>
          <cx:pt idx="1913">381.50750319999997</cx:pt>
          <cx:pt idx="1914">381.49706579999997</cx:pt>
          <cx:pt idx="1915">381.48695759999998</cx:pt>
          <cx:pt idx="1916">381.47668479999999</cx:pt>
          <cx:pt idx="1917">381.46632959999999</cx:pt>
          <cx:pt idx="1918">381.45606199999997</cx:pt>
          <cx:pt idx="1919">381.44578910000001</cx:pt>
          <cx:pt idx="1920">381.42508400000003</cx:pt>
          <cx:pt idx="1921">381.41497070000003</cx:pt>
          <cx:pt idx="1922">381.4044561</cx:pt>
          <cx:pt idx="1923">381.39105560000002</cx:pt>
          <cx:pt idx="1924">381.38391560000002</cx:pt>
          <cx:pt idx="1925">381.37380230000002</cx:pt>
          <cx:pt idx="1926">381.36336999999997</cx:pt>
          <cx:pt idx="1927">381.32227870000003</cx:pt>
          <cx:pt idx="1928">381.23978240000002</cx:pt>
          <cx:pt idx="1929">381.22959179999998</cx:pt>
          <cx:pt idx="1930">381.21947849999998</cx:pt>
          <cx:pt idx="1931">381.19885570000002</cx:pt>
          <cx:pt idx="1932">381.18842339999998</cx:pt>
          <cx:pt idx="1933">381.17831009999998</cx:pt>
          <cx:pt idx="1934">381.16803720000001</cx:pt>
          <cx:pt idx="1935">381.1474144</cx:pt>
          <cx:pt idx="1936">381.13714160000001</cx:pt>
          <cx:pt idx="1937">381.12663220000002</cx:pt>
          <cx:pt idx="1938">381.106246</cx:pt>
          <cx:pt idx="1939">381.09581370000001</cx:pt>
          <cx:pt idx="1940">381.08570040000001</cx:pt>
          <cx:pt idx="1941">381.0649181</cx:pt>
          <cx:pt idx="1942">381.05480469999998</cx:pt>
          <cx:pt idx="1943">381.04437250000001</cx:pt>
          <cx:pt idx="1944">381.02383200000003</cx:pt>
          <cx:pt idx="1945">381.0137186</cx:pt>
          <cx:pt idx="1946">381.00328630000001</cx:pt>
          <cx:pt idx="1947">380.982823</cx:pt>
          <cx:pt idx="1948">380.97239070000001</cx:pt>
          <cx:pt idx="1949">380.9622774</cx:pt>
          <cx:pt idx="1950">380.9414951</cx:pt>
          <cx:pt idx="1951">380.93138169999997</cx:pt>
          <cx:pt idx="1952">380.92110889999998</cx:pt>
          <cx:pt idx="1953">380.90048610000002</cx:pt>
          <cx:pt idx="1954">380.89005379999998</cx:pt>
          <cx:pt idx="1955">380.86950819999998</cx:pt>
          <cx:pt idx="1956">380.85939999999999</cx:pt>
          <cx:pt idx="1957">380.88562159999998</cx:pt>
          <cx:pt idx="1958">380.89868009999998</cx:pt>
          <cx:pt idx="1959">380.91203940000003</cx:pt>
          <cx:pt idx="1960">380.93805170000002</cx:pt>
          <cx:pt idx="1961">380.9643714</cx:pt>
          <cx:pt idx="1962">380.97712259999997</cx:pt>
          <cx:pt idx="1963">380.99038380000002</cx:pt>
          <cx:pt idx="1964">381.01639610000001</cx:pt>
          <cx:pt idx="1965">381.0296573</cx:pt>
          <cx:pt idx="1966">381.04251310000001</cx:pt>
          <cx:pt idx="1967">381.06872809999999</cx:pt>
          <cx:pt idx="1968">381.08178659999999</cx:pt>
          <cx:pt idx="1969">381.09484509999999</cx:pt>
          <cx:pt idx="1970">381.12096209999999</cx:pt>
          <cx:pt idx="1971">381.13422329999997</cx:pt>
          <cx:pt idx="1972">381.14717710000002</cx:pt>
          <cx:pt idx="1973">381.17349680000001</cx:pt>
          <cx:pt idx="1974">381.18645070000002</cx:pt>
          <cx:pt idx="1975">381.19950920000002</cx:pt>
          <cx:pt idx="1976">381.22562620000002</cx:pt>
          <cx:pt idx="1977">381.23867810000002</cx:pt>
          <cx:pt idx="1978">381.2518412</cx:pt>
          <cx:pt idx="1979">381.26510239999999</cx:pt>
          <cx:pt idx="1980">381.31732979999998</cx:pt>
          <cx:pt idx="1981">381.33049290000002</cx:pt>
          <cx:pt idx="1982">381.35670800000003</cx:pt>
          <cx:pt idx="1983">381.36089299999998</cx:pt>
          <cx:pt idx="1984">381.36945909999997</cx:pt>
          <cx:pt idx="1985">381.38261569999997</cx:pt>
          <cx:pt idx="1986">381.40873269999997</cx:pt>
          <cx:pt idx="1987">381.42179119999997</cx:pt>
          <cx:pt idx="1988">381.43505240000002</cx:pt>
          <cx:pt idx="1989">381.44800620000001</cx:pt>
          <cx:pt idx="1990">381.47412320000001</cx:pt>
          <cx:pt idx="1991">381.4873844</cx:pt>
          <cx:pt idx="1992">381.50024020000001</cx:pt>
          <cx:pt idx="1993">381.52645530000001</cx:pt>
          <cx:pt idx="1994">381.53971639999997</cx:pt>
          <cx:pt idx="1995">381.55257219999999</cx:pt>
          <cx:pt idx="1996">381.57878729999999</cx:pt>
          <cx:pt idx="1997">381.59184579999999</cx:pt>
          <cx:pt idx="1998">381.60510699999998</cx:pt>
          <cx:pt idx="1999">381.63121740000003</cx:pt>
          <cx:pt idx="2000">381.64417780000002</cx:pt>
          <cx:pt idx="2001">381.65722979999998</cx:pt>
          <cx:pt idx="2002">381.68334670000002</cx:pt>
          <cx:pt idx="2003">381.69671260000001</cx:pt>
          <cx:pt idx="2004">381.70956180000002</cx:pt>
          <cx:pt idx="2005">381.72282300000001</cx:pt>
          <cx:pt idx="2006">381.74873730000002</cx:pt>
          <cx:pt idx="2007">381.76179569999999</cx:pt>
          <cx:pt idx="2008">381.7880108</cx:pt>
          <cx:pt idx="2009">381.89257020000002</cx:pt>
          <cx:pt idx="2010">381.90583140000001</cx:pt>
          <cx:pt idx="2011">381.91879180000001</cx:pt>
          <cx:pt idx="2012">381.94490230000002</cx:pt>
          <cx:pt idx="2013">381.95816350000001</cx:pt>
          <cx:pt idx="2014">381.97112390000001</cx:pt>
          <cx:pt idx="2015">381.9841758</cx:pt>
          <cx:pt idx="2016">381.9972343</cx:pt>
          <cx:pt idx="2017">382.0102928</cx:pt>
          <cx:pt idx="2018">382.02345589999999</cx:pt>
          <cx:pt idx="2019">382.03661249999999</cx:pt>
          <cx:pt idx="2020">382.04956629999998</cx:pt>
          <cx:pt idx="2021">382.06282750000003</cx:pt>
          <cx:pt idx="2022">382.07568329999998</cx:pt>
          <cx:pt idx="2023">382.10189839999998</cx:pt>
          <cx:pt idx="2024">382.11495689999998</cx:pt>
          <cx:pt idx="2025">382.12801539999998</cx:pt>
          <cx:pt idx="2026">382.154335</cx:pt>
          <cx:pt idx="2027">382.16728890000002</cx:pt>
          <cx:pt idx="2028">382.18034740000002</cx:pt>
          <cx:pt idx="2029">382.20645780000001</cx:pt>
          <cx:pt idx="2030">382.21951630000001</cx:pt>
          <cx:pt idx="2031">382.2327775</cx:pt>
          <cx:pt idx="2032">382.24573789999999</cx:pt>
          <cx:pt idx="2033">382.25878990000001</cx:pt>
          <cx:pt idx="2034">382.2720511</cx:pt>
          <cx:pt idx="2035">382.2850115</cx:pt>
          <cx:pt idx="2036">382.33723889999999</cx:pt>
          <cx:pt idx="2037">382.35029739999999</cx:pt>
          <cx:pt idx="2038">382.40283210000001</cx:pt>
          <cx:pt idx="2039">382.41578600000003</cx:pt>
          <cx:pt idx="2040">382.42904720000001</cx:pt>
          <cx:pt idx="2041">382.45516409999999</cx:pt>
          <cx:pt idx="2042">382.46801340000002</cx:pt>
          <cx:pt idx="2043">382.4811765</cx:pt>
          <cx:pt idx="2044">382.5334039</cx:pt>
          <cx:pt idx="2045">382.559619</cx:pt>
          <cx:pt idx="2046">382.57288019999999</cx:pt>
          <cx:pt idx="2047">382.58573589999997</cx:pt>
          <cx:pt idx="2048">382.61185289999997</cx:pt>
          <cx:pt idx="2049">382.62500949999998</cx:pt>
          <cx:pt idx="2050">382.63827070000002</cx:pt>
          <cx:pt idx="2051">382.66438770000002</cx:pt>
          <cx:pt idx="2052">382.67734150000001</cx:pt>
          <cx:pt idx="2053">382.69040000000001</cx:pt>
          <cx:pt idx="2054">382.67837150000003</cx:pt>
          <cx:pt idx="2055">382.66615619999999</cx:pt>
          <cx:pt idx="2056">382.65432040000002</cx:pt>
          <cx:pt idx="2057">382.6421052</cx:pt>
          <cx:pt idx="2058">382.61795169999999</cx:pt>
          <cx:pt idx="2059">382.60611590000002</cx:pt>
          <cx:pt idx="2060">382.59390070000001</cx:pt>
          <cx:pt idx="2061">382.58196249999997</cx:pt>
          <cx:pt idx="2062">382.56993990000001</cx:pt>
          <cx:pt idx="2063">382.47343460000002</cx:pt>
          <cx:pt idx="2064">382.4613157</cx:pt>
          <cx:pt idx="2065">382.44947389999999</cx:pt>
          <cx:pt idx="2066">382.43725860000001</cx:pt>
          <cx:pt idx="2067">382.42542279999998</cx:pt>
          <cx:pt idx="2068">382.41320760000002</cx:pt>
          <cx:pt idx="2069">382.40117900000001</cx:pt>
          <cx:pt idx="2070">382.38924079999998</cx:pt>
          <cx:pt idx="2071">382.37721829999998</cx:pt>
          <cx:pt idx="2072">382.3651898</cx:pt>
          <cx:pt idx="2073">382.35297450000002</cx:pt>
          <cx:pt idx="2074">382.32901379999998</cx:pt>
          <cx:pt idx="2075">382.3169853</cx:pt>
          <cx:pt idx="2076">382.30495669999999</cx:pt>
          <cx:pt idx="2077">382.28080929999999</cx:pt>
          <cx:pt idx="2078">382.2687808</cx:pt>
          <cx:pt idx="2079">382.25656550000002</cx:pt>
          <cx:pt idx="2080">382.24472370000001</cx:pt>
          <cx:pt idx="2081">382.23250849999999</cx:pt>
          <cx:pt idx="2082">382.2205763</cx:pt>
          <cx:pt idx="2083">382.2085477</cx:pt>
          <cx:pt idx="2084">382.18449670000001</cx:pt>
          <cx:pt idx="2085">382.17237180000001</cx:pt>
          <cx:pt idx="2086">382.16025289999999</cx:pt>
          <cx:pt idx="2087">382.11223510000002</cx:pt>
          <cx:pt idx="2088">382.1083802</cx:pt>
          <cx:pt idx="2089">382.1001162</cx:pt>
          <cx:pt idx="2090">382.07587239999998</cx:pt>
          <cx:pt idx="2091">382.06403060000002</cx:pt>
          <cx:pt idx="2092">382.05181540000001</cx:pt>
          <cx:pt idx="2093">382.03988320000002</cx:pt>
          <cx:pt idx="2094">382.01582610000003</cx:pt>
          <cx:pt idx="2095">382.00361090000001</cx:pt>
          <cx:pt idx="2096">381.99177509999998</cx:pt>
          <cx:pt idx="2097">381.94338390000001</cx:pt>
          <cx:pt idx="2098">381.93144569999998</cx:pt>
          <cx:pt idx="2099">381.91941709999998</cx:pt>
          <cx:pt idx="2100">381.90739459999998</cx:pt>
          <cx:pt idx="2101">381.89517940000002</cx:pt>
          <cx:pt idx="2102">381.88333749999998</cx:pt>
          <cx:pt idx="2103">381.85900340000001</cx:pt>
          <cx:pt idx="2104">381.84716159999999</cx:pt>
          <cx:pt idx="2105">381.83494630000001</cx:pt>
          <cx:pt idx="2106">381.8231045</cx:pt>
          <cx:pt idx="2107">381.7989571</cx:pt>
          <cx:pt idx="2108">381.78674180000002</cx:pt>
          <cx:pt idx="2109">381.7749</cx:pt>
          <cx:pt idx="2110">381.73454720000001</cx:pt>
          <cx:pt idx="2111">381.69512950000001</cx:pt>
          <cx:pt idx="2112">381.65477670000001</cx:pt>
          <cx:pt idx="2113">381.6156575</cx:pt>
          <cx:pt idx="2114">381.53620530000001</cx:pt>
          <cx:pt idx="2115">381.496151</cx:pt>
          <cx:pt idx="2116">381.45579809999998</cx:pt>
          <cx:pt idx="2117">381.37634600000001</cx:pt>
          <cx:pt idx="2118">381.3372268</cx:pt>
          <cx:pt idx="2119">381.21710350000001</cx:pt>
          <cx:pt idx="2120">381.13763139999998</cx:pt>
          <cx:pt idx="2121">381.09789540000003</cx:pt>
          <cx:pt idx="2122">381.08547920000001</cx:pt>
          <cx:pt idx="2123">381.05847779999999</cx:pt>
          <cx:pt idx="2124">380.89923520000002</cx:pt>
          <cx:pt idx="2125">380.85888240000003</cx:pt>
          <cx:pt idx="2126">380.78004709999999</cx:pt>
          <cx:pt idx="2127">380.7396943</cx:pt>
          <cx:pt idx="2128">380.69963990000002</cx:pt>
          <cx:pt idx="2129">380.62018769999997</cx:pt>
          <cx:pt idx="2130">380.58106859999998</cx:pt>
          <cx:pt idx="2131">380.54071570000002</cx:pt>
          <cx:pt idx="2132">380.50068119999997</cx:pt>
          <cx:pt idx="2133">380.48762820000002</cx:pt>
          <cx:pt idx="2134">380.46156209999998</cx:pt>
          <cx:pt idx="2135">380.42182600000001</cx:pt>
          <cx:pt idx="2136">380.38147320000002</cx:pt>
          <cx:pt idx="2137">380.342354</cx:pt>
          <cx:pt idx="2138">380.30200120000001</cx:pt>
          <cx:pt idx="2139">380.26258350000001</cx:pt>
          <cx:pt idx="2140">380.22223070000001</cx:pt>
          <cx:pt idx="2141">380.18313139999998</cx:pt>
          <cx:pt idx="2142">380.103341</cx:pt>
          <cx:pt idx="2143">380.06298809999998</cx:pt>
          <cx:pt idx="2144">380.02388889999997</cx:pt>
          <cx:pt idx="2145">379.94380000000001</cx:pt>
          <cx:pt idx="2146">380.30766890000001</cx:pt>
          <cx:pt idx="2147">380.68017079999998</cx:pt>
          <cx:pt idx="2148">381.7749</cx:pt>
          <cx:pt idx="2149">381.7749</cx:pt>
          <cx:pt idx="2150">381.7749</cx:pt>
          <cx:pt idx="2151">381.7749</cx:pt>
          <cx:pt idx="2152">381.7749</cx:pt>
          <cx:pt idx="2153">381.7749</cx:pt>
          <cx:pt idx="2154">381.7749</cx:pt>
          <cx:pt idx="2155">381.7749</cx:pt>
          <cx:pt idx="2156">381.7749</cx:pt>
          <cx:pt idx="2157">381.7749</cx:pt>
          <cx:pt idx="2158">381.7749</cx:pt>
          <cx:pt idx="2159">381.7749</cx:pt>
          <cx:pt idx="2160">381.7749</cx:pt>
          <cx:pt idx="2161">381.7749</cx:pt>
          <cx:pt idx="2162">381.7749</cx:pt>
          <cx:pt idx="2163">381.7749</cx:pt>
          <cx:pt idx="2164">381.7749</cx:pt>
          <cx:pt idx="2165">381.7749</cx:pt>
          <cx:pt idx="2166">381.7749</cx:pt>
          <cx:pt idx="2167">381.7749</cx:pt>
          <cx:pt idx="2168">381.7749</cx:pt>
          <cx:pt idx="2169">381.7749</cx:pt>
          <cx:pt idx="2170">381.7749</cx:pt>
          <cx:pt idx="2171">381.7749</cx:pt>
          <cx:pt idx="2172">381.7749</cx:pt>
          <cx:pt idx="2173">381.7749</cx:pt>
          <cx:pt idx="2174">381.7749</cx:pt>
          <cx:pt idx="2175">381.7749</cx:pt>
          <cx:pt idx="2176">381.7749</cx:pt>
          <cx:pt idx="2177">381.7749</cx:pt>
          <cx:pt idx="2178">381.7749</cx:pt>
          <cx:pt idx="2179">381.7749</cx:pt>
          <cx:pt idx="2180">381.7749</cx:pt>
          <cx:pt idx="2181">381.7749</cx:pt>
          <cx:pt idx="2182">381.7749</cx:pt>
          <cx:pt idx="2183">381.7749</cx:pt>
          <cx:pt idx="2184">381.7749</cx:pt>
          <cx:pt idx="2185">381.7749</cx:pt>
          <cx:pt idx="2186">381.7749</cx:pt>
          <cx:pt idx="2187">381.7749</cx:pt>
          <cx:pt idx="2188">381.7749</cx:pt>
          <cx:pt idx="2189">381.7749</cx:pt>
          <cx:pt idx="2190">381.7749</cx:pt>
          <cx:pt idx="2191">381.7749</cx:pt>
          <cx:pt idx="2192">381.7749</cx:pt>
          <cx:pt idx="2193">381.7749</cx:pt>
          <cx:pt idx="2194">381.7749</cx:pt>
          <cx:pt idx="2195">381.7749</cx:pt>
          <cx:pt idx="2196">381.7749</cx:pt>
          <cx:pt idx="2197">381.7749</cx:pt>
          <cx:pt idx="2198">381.7749</cx:pt>
          <cx:pt idx="2199">381.7749</cx:pt>
          <cx:pt idx="2200">381.7749</cx:pt>
          <cx:pt idx="2201">381.7749</cx:pt>
          <cx:pt idx="2202">381.7749</cx:pt>
          <cx:pt idx="2203">381.7749</cx:pt>
          <cx:pt idx="2204">381.7749</cx:pt>
          <cx:pt idx="2205">381.7749</cx:pt>
          <cx:pt idx="2206">381.7749</cx:pt>
          <cx:pt idx="2207">381.7749</cx:pt>
          <cx:pt idx="2208">381.7749</cx:pt>
          <cx:pt idx="2209">381.7749</cx:pt>
          <cx:pt idx="2210">381.7749</cx:pt>
          <cx:pt idx="2211">381.7749</cx:pt>
          <cx:pt idx="2212">381.7749</cx:pt>
          <cx:pt idx="2213">381.7749</cx:pt>
          <cx:pt idx="2214">381.7749</cx:pt>
          <cx:pt idx="2215">381.7749</cx:pt>
          <cx:pt idx="2216">381.7749</cx:pt>
          <cx:pt idx="2217">381.7749</cx:pt>
          <cx:pt idx="2218">381.7749</cx:pt>
          <cx:pt idx="2219">381.7749</cx:pt>
          <cx:pt idx="2220">381.7749</cx:pt>
          <cx:pt idx="2221">381.7749</cx:pt>
          <cx:pt idx="2222">381.7749</cx:pt>
          <cx:pt idx="2223">381.7749</cx:pt>
          <cx:pt idx="2224">381.7749</cx:pt>
          <cx:pt idx="2225">381.7749</cx:pt>
          <cx:pt idx="2226">381.7749</cx:pt>
          <cx:pt idx="2227">381.7749</cx:pt>
          <cx:pt idx="2228">381.7749</cx:pt>
          <cx:pt idx="2229">381.7749</cx:pt>
          <cx:pt idx="2230">381.7749</cx:pt>
          <cx:pt idx="2231">381.7749</cx:pt>
          <cx:pt idx="2232">381.7749</cx:pt>
          <cx:pt idx="2233">381.7749</cx:pt>
          <cx:pt idx="2234">381.7749</cx:pt>
          <cx:pt idx="2235">381.7749</cx:pt>
          <cx:pt idx="2236">381.7749</cx:pt>
          <cx:pt idx="2237">381.7749</cx:pt>
          <cx:pt idx="2238">381.7749</cx:pt>
          <cx:pt idx="2239">381.7749</cx:pt>
          <cx:pt idx="2240">381.7749</cx:pt>
          <cx:pt idx="2241">381.7749</cx:pt>
          <cx:pt idx="2242">381.7749</cx:pt>
          <cx:pt idx="2243">381.7749</cx:pt>
          <cx:pt idx="2244">381.7749</cx:pt>
          <cx:pt idx="2245">381.7749</cx:pt>
          <cx:pt idx="2246">381.7749</cx:pt>
          <cx:pt idx="2247">381.7749</cx:pt>
          <cx:pt idx="2248">381.7749</cx:pt>
          <cx:pt idx="2249">381.7749</cx:pt>
          <cx:pt idx="2250">381.7749</cx:pt>
          <cx:pt idx="2251">381.7749</cx:pt>
          <cx:pt idx="2252">381.7749</cx:pt>
          <cx:pt idx="2253">381.7749</cx:pt>
          <cx:pt idx="2254">381.7749</cx:pt>
          <cx:pt idx="2255">381.7749</cx:pt>
          <cx:pt idx="2256">381.7749</cx:pt>
          <cx:pt idx="2257">381.7749</cx:pt>
          <cx:pt idx="2258">381.7749</cx:pt>
          <cx:pt idx="2259">381.7749</cx:pt>
          <cx:pt idx="2260">381.7749</cx:pt>
          <cx:pt idx="2261">381.7749</cx:pt>
          <cx:pt idx="2262">381.7749</cx:pt>
          <cx:pt idx="2263">381.7749</cx:pt>
          <cx:pt idx="2264">381.7749</cx:pt>
          <cx:pt idx="2265">381.745183</cx:pt>
          <cx:pt idx="2266">381.59733629999999</cx:pt>
          <cx:pt idx="2267">381.33203880000002</cx:pt>
          <cx:pt idx="2268">381.30210039999997</cx:pt>
          <cx:pt idx="2269">381.27307730000001</cx:pt>
          <cx:pt idx="2270">381.24291740000001</cx:pt>
          <cx:pt idx="2271">381.21389429999999</cx:pt>
          <cx:pt idx="2272">381.12546680000003</cx:pt>
          <cx:pt idx="2273">381.00708600000002</cx:pt>
          <cx:pt idx="2274">380.9179646</cx:pt>
          <cx:pt idx="2275">380.74109470000002</cx:pt>
          <cx:pt idx="2276">380.62340790000002</cx:pt>
          <cx:pt idx="2277">380.53452270000002</cx:pt>
          <cx:pt idx="2278">380.38735500000001</cx:pt>
          <cx:pt idx="2279">379.94380000000001</cx:pt>
          <cx:pt idx="2280">383.60590000000002</cx:pt>
          <cx:pt idx="2281">383.37667479999999</cx:pt>
          <cx:pt idx="2282">383.09127960000001</cx:pt>
          <cx:pt idx="2283">382.97579519999999</cx:pt>
          <cx:pt idx="2284">382.69040000000001</cx:pt>
          <cx:pt idx="2285">383.90899739999998</cx:pt>
          <cx:pt idx="2286">384.5215</cx:pt>
          <cx:pt idx="2287">382.69040000000001</cx:pt>
          <cx:pt idx="2288">382.64802270000001</cx:pt>
          <cx:pt idx="2289">382.60564119999998</cx:pt>
          <cx:pt idx="2290">382.5632597</cx:pt>
          <cx:pt idx="2291">382.4954917</cx:pt>
          <cx:pt idx="2292">382.47843310000002</cx:pt>
          <cx:pt idx="2293">382.06303070000001</cx:pt>
          <cx:pt idx="2294">382.01225340000002</cx:pt>
          <cx:pt idx="2295">381.94455319999997</cx:pt>
          <cx:pt idx="2296">381.92749459999999</cx:pt>
          <cx:pt idx="2297">381.8767173</cx:pt>
          <cx:pt idx="2298">381.84279939999999</cx:pt>
          <cx:pt idx="2299">381.80055349999998</cx:pt>
          <cx:pt idx="2300">381.7749</cx:pt>
          <cx:pt idx="2301">381.7749</cx:pt>
          <cx:pt idx="2302">381.7749</cx:pt>
          <cx:pt idx="2303">381.7749</cx:pt>
          <cx:pt idx="2304">381.7749</cx:pt>
          <cx:pt idx="2305">381.87354749999997</cx:pt>
          <cx:pt idx="2306">382.0471182</cx:pt>
          <cx:pt idx="2307">382.19577629999998</cx:pt>
          <cx:pt idx="2308">382.21971109999998</cx:pt>
          <cx:pt idx="2309">382.26972169999999</cx:pt>
          <cx:pt idx="2310">382.39366539999997</cx:pt>
          <cx:pt idx="2311">382.61665260000001</cx:pt>
          <cx:pt idx="2312">382.69040000000001</cx:pt>
          <cx:pt idx="2313">382.16487760000001</cx:pt>
          <cx:pt idx="2314">381.96122969999999</cx:pt>
          <cx:pt idx="2315">381.7749</cx:pt>
          <cx:pt idx="2316">382.29774579999997</cx:pt>
          <cx:pt idx="2317">382.38613620000001</cx:pt>
          <cx:pt idx="2318">382.47252170000002</cx:pt>
          <cx:pt idx="2319">382.64655670000002</cx:pt>
          <cx:pt idx="2320">383.0824068</cx:pt>
          <cx:pt idx="2321">383.25648539999997</cx:pt>
          <cx:pt idx="2322">383.3455295</cx:pt>
          <cx:pt idx="2323">383.43121769999999</cx:pt>
          <cx:pt idx="2324">383.51825700000001</cx:pt>
          <cx:pt idx="2325">383.60525259999997</cx:pt>
          <cx:pt idx="2326">383.69364300000001</cx:pt>
          <cx:pt idx="2327">383.78068230000002</cx:pt>
          <cx:pt idx="2328">383.86772159999998</cx:pt>
          <cx:pt idx="2329">383.9547609</cx:pt>
          <cx:pt idx="2330">384.12949320000001</cx:pt>
          <cx:pt idx="2331">384.47830399999998</cx:pt>
          <cx:pt idx="2332">384.56399219999997</cx:pt>
          <cx:pt idx="2333">384.65303640000002</cx:pt>
          <cx:pt idx="2334">384.91345680000001</cx:pt>
          <cx:pt idx="2335">385.08818910000002</cx:pt>
          <cx:pt idx="2336">385.174531</cx:pt>
          <cx:pt idx="2337">385.2622677</cx:pt>
          <cx:pt idx="2338">385.2629215</cx:pt>
          <cx:pt idx="2339">385.34860959999997</cx:pt>
          <cx:pt idx="2340">385.43700000000001</cx:pt>
          <cx:pt idx="2341">381.80424090000002</cx:pt>
          <cx:pt idx="2342">381.7749</cx:pt>
          <cx:pt idx="2343">381.74466660000002</cx:pt>
          <cx:pt idx="2344">381.71394470000001</cx:pt>
          <cx:pt idx="2345">381.59182049999998</cx:pt>
          <cx:pt idx="2346">381.53110939999999</cx:pt>
          <cx:pt idx="2347">380.79851680000002</cx:pt>
          <cx:pt idx="2348">380.64589969999997</cx:pt>
          <cx:pt idx="2349">380.6154373</cx:pt>
          <cx:pt idx="2350">380.58448659999999</cx:pt>
          <cx:pt idx="2351">380.55423789999998</cx:pt>
          <cx:pt idx="2352">380.40139190000002</cx:pt>
          <cx:pt idx="2353">380.37115840000001</cx:pt>
          <cx:pt idx="2354">380.15760130000001</cx:pt>
          <cx:pt idx="2355">380.09640180000002</cx:pt>
          <cx:pt idx="2356">379.97427759999999</cx:pt>
          <cx:pt idx="2357">379.94380000000001</cx:pt>
          <cx:pt idx="2358">380.85935000000001</cx:pt>
          <cx:pt idx="2359">381.7749</cx:pt>
          <cx:pt idx="2360">381.79103149999997</cx:pt>
          <cx:pt idx="2361">381.88546050000002</cx:pt>
          <cx:pt idx="2362">381.9328605</cx:pt>
          <cx:pt idx="2363">381.98013420000001</cx:pt>
          <cx:pt idx="2364">381.99602099999998</cx:pt>
          <cx:pt idx="2365">382.02741579999997</cx:pt>
          <cx:pt idx="2366">382.09057630000001</cx:pt>
          <cx:pt idx="2367">382.12221579999999</cx:pt>
          <cx:pt idx="2368">382.13797629999999</cx:pt>
          <cx:pt idx="2369">382.18525</cx:pt>
          <cx:pt idx="2370">382.23277630000001</cx:pt>
          <cx:pt idx="2371">382.29581050000002</cx:pt>
          <cx:pt idx="2372">382.37484999999998</cx:pt>
          <cx:pt idx="2373">382.46940530000001</cx:pt>
          <cx:pt idx="2374">382.54832629999999</cx:pt>
          <cx:pt idx="2375">382.62723949999997</cx:pt>
          <cx:pt idx="2376">382.69040000000001</cx:pt>
          <cx:pt idx="2377">382.58803360000002</cx:pt>
          <cx:pt idx="2378">382.38497910000001</cx:pt>
          <cx:pt idx="2379">381.97876819999999</cx:pt>
          <cx:pt idx="2380">381.7749</cx:pt>
          <cx:pt idx="2381">381.7749</cx:pt>
          <cx:pt idx="2382">381.7749</cx:pt>
          <cx:pt idx="2383">381.7749</cx:pt>
          <cx:pt idx="2384">381.7749</cx:pt>
          <cx:pt idx="2385">381.7749</cx:pt>
          <cx:pt idx="2386">381.7749</cx:pt>
          <cx:pt idx="2387">381.7749</cx:pt>
          <cx:pt idx="2388">381.7749</cx:pt>
          <cx:pt idx="2389">381.7749</cx:pt>
          <cx:pt idx="2390">381.7749</cx:pt>
          <cx:pt idx="2391">381.7749</cx:pt>
          <cx:pt idx="2392">381.7749</cx:pt>
          <cx:pt idx="2393">381.7749</cx:pt>
          <cx:pt idx="2394">381.7749</cx:pt>
          <cx:pt idx="2395">381.7749</cx:pt>
          <cx:pt idx="2396">381.7749</cx:pt>
          <cx:pt idx="2397">381.7749</cx:pt>
          <cx:pt idx="2398">381.7749</cx:pt>
          <cx:pt idx="2399">381.7749</cx:pt>
          <cx:pt idx="2400">381.7749</cx:pt>
          <cx:pt idx="2401">381.7749</cx:pt>
          <cx:pt idx="2402">381.9276969</cx:pt>
          <cx:pt idx="2403">383.60590000000002</cx:pt>
          <cx:pt idx="2404">381.7749</cx:pt>
          <cx:pt idx="2405">382.35382049999998</cx:pt>
          <cx:pt idx="2406">382.69040000000001</cx:pt>
          <cx:pt idx="2407">382.6987871</cx:pt>
          <cx:pt idx="2408">382.72375099999999</cx:pt>
          <cx:pt idx="2409">382.74917269999997</cx:pt>
          <cx:pt idx="2410">382.7911039</cx:pt>
          <cx:pt idx="2411">382.799554</cx:pt>
          <cx:pt idx="2412">382.83309819999999</cx:pt>
          <cx:pt idx="2413">382.89193390000003</cx:pt>
          <cx:pt idx="2414">382.91709520000001</cx:pt>
          <cx:pt idx="2415">382.9339324</cx:pt>
          <cx:pt idx="2416">382.9507696</cx:pt>
          <cx:pt idx="2417">382.9674766</cx:pt>
          <cx:pt idx="2418">383.00947500000001</cx:pt>
          <cx:pt idx="2419">383.0346993</cx:pt>
          <cx:pt idx="2420">383.10205230000003</cx:pt>
          <cx:pt idx="2421">383.12707920000003</cx:pt>
          <cx:pt idx="2422">383.19430190000003</cx:pt>
          <cx:pt idx="2423">383.22804350000001</cx:pt>
          <cx:pt idx="2424">383.37912879999999</cx:pt>
          <cx:pt idx="2425">383.38744869999999</cx:pt>
          <cx:pt idx="2426">383.40428589999999</cx:pt>
          <cx:pt idx="2427">383.67304259999997</cx:pt>
          <cx:pt idx="2428">384.5215</cx:pt>
          <cx:pt idx="2429">380.85939999999999</cx:pt>
          <cx:pt idx="2430">381.7749</cx:pt>
          <cx:pt idx="2431">379.94380000000001</cx:pt>
          <cx:pt idx="2432">382.69040000000001</cx:pt>
          <cx:pt idx="2433">380.85939999999999</cx:pt>
          <cx:pt idx="2434">381.7749</cx:pt>
          <cx:pt idx="2435">381.7749</cx:pt>
          <cx:pt idx="2436">381.7749</cx:pt>
          <cx:pt idx="2437">379.94380000000001</cx:pt>
          <cx:pt idx="2438">381.7749</cx:pt>
          <cx:pt idx="2439">381.67902099999998</cx:pt>
          <cx:pt idx="2440">379.94380000000001</cx:pt>
          <cx:pt idx="2441">383.60590000000002</cx:pt>
          <cx:pt idx="2442">379.94380000000001</cx:pt>
          <cx:pt idx="2443">380.85939999999999</cx:pt>
          <cx:pt idx="2444">380.85939999999999</cx:pt>
          <cx:pt idx="2445">380.85939999999999</cx:pt>
          <cx:pt idx="2446">380.85939999999999</cx:pt>
          <cx:pt idx="2447">381.7749</cx:pt>
          <cx:pt idx="2448">380.3997708</cx:pt>
          <cx:pt idx="2449">379.0283</cx:pt>
          <cx:pt idx="2450">382.69040000000001</cx:pt>
          <cx:pt idx="2451">382.69040000000001</cx:pt>
          <cx:pt idx="2452">382.69040000000001</cx:pt>
          <cx:pt idx="2453">382.69040000000001</cx:pt>
          <cx:pt idx="2454">382.69040000000001</cx:pt>
          <cx:pt idx="2455">382.69040000000001</cx:pt>
          <cx:pt idx="2456">382.69040000000001</cx:pt>
          <cx:pt idx="2457">382.69040000000001</cx:pt>
          <cx:pt idx="2458">382.69040000000001</cx:pt>
          <cx:pt idx="2459">382.69040000000001</cx:pt>
          <cx:pt idx="2460">382.69040000000001</cx:pt>
          <cx:pt idx="2461">379.0283</cx:pt>
          <cx:pt idx="2462">379.04258110000001</cx:pt>
          <cx:pt idx="2463">379.05720100000002</cx:pt>
          <cx:pt idx="2464">379.07159739999997</cx:pt>
          <cx:pt idx="2465">379.1146713</cx:pt>
          <cx:pt idx="2466">379.12906779999997</cx:pt>
          <cx:pt idx="2467">379.15796879999999</cx:pt>
          <cx:pt idx="2468">379.17258870000001</cx:pt>
          <cx:pt idx="2469">379.25907539999997</cx:pt>
          <cx:pt idx="2470">379.35995129999998</cx:pt>
          <cx:pt idx="2471">379.46082719999998</cx:pt>
          <cx:pt idx="2472">379.4897282</cx:pt>
          <cx:pt idx="2473">379.51840570000002</cx:pt>
          <cx:pt idx="2474">379.5329175</cx:pt>
          <cx:pt idx="2475">379.56159500000001</cx:pt>
          <cx:pt idx="2476">379.59049599999997</cx:pt>
          <cx:pt idx="2477">379.6196276</cx:pt>
          <cx:pt idx="2478">379.64818980000001</cx:pt>
          <cx:pt idx="2479">379.66269440000002</cx:pt>
          <cx:pt idx="2480">379.67709079999997</cx:pt>
          <cx:pt idx="2481">379.69148719999998</cx:pt>
          <cx:pt idx="2482">379.69160260000001</cx:pt>
          <cx:pt idx="2483">379.70588359999999</cx:pt>
          <cx:pt idx="2484">379.7635775</cx:pt>
          <cx:pt idx="2485">379.82137949999998</cx:pt>
          <cx:pt idx="2486">379.82149479999998</cx:pt>
          <cx:pt idx="2487">379.83566050000002</cx:pt>
          <cx:pt idx="2488">379.85005699999999</cx:pt>
          <cx:pt idx="2489">379.8644534</cx:pt>
          <cx:pt idx="2490">379.89324620000002</cx:pt>
          <cx:pt idx="2491">379.93665179999999</cx:pt>
          <cx:pt idx="2492">379.96544460000001</cx:pt>
          <cx:pt idx="2493">379.97984109999999</cx:pt>
          <cx:pt idx="2494">379.99423030000003</cx:pt>
          <cx:pt idx="2495">380.00862669999998</cx:pt>
          <cx:pt idx="2496">380.00874210000001</cx:pt>
          <cx:pt idx="2497">380.03775839999997</cx:pt>
          <cx:pt idx="2498">380.05203949999998</cx:pt>
          <cx:pt idx="2499">380.06643589999999</cx:pt>
          <cx:pt idx="2500">380.0808323</cx:pt>
          <cx:pt idx="2501">380.09522149999998</cx:pt>
          <cx:pt idx="2502">380.10950980000001</cx:pt>
          <cx:pt idx="2503">380.13851899999997</cx:pt>
          <cx:pt idx="2504">380.15291539999998</cx:pt>
          <cx:pt idx="2505">380.16719649999999</cx:pt>
          <cx:pt idx="2506">380.21049390000002</cx:pt>
          <cx:pt idx="2507">380.22500559999997</cx:pt>
          <cx:pt idx="2508">380.26841839999997</cx:pt>
          <cx:pt idx="2509">380.29709589999999</cx:pt>
          <cx:pt idx="2510">380.3257734</cx:pt>
          <cx:pt idx="2511">380.3547825</cx:pt>
          <cx:pt idx="2512">380.38346009999998</cx:pt>
          <cx:pt idx="2513">380.41236830000003</cx:pt>
          <cx:pt idx="2514">380.42675750000001</cx:pt>
          <cx:pt idx="2515">380.47028560000001</cx:pt>
          <cx:pt idx="2516">380.49896310000003</cx:pt>
          <cx:pt idx="2517">380.51324419999997</cx:pt>
          <cx:pt idx="2518">380.52764059999998</cx:pt>
          <cx:pt idx="2519">380.5422605</cx:pt>
          <cx:pt idx="2520">380.57093800000001</cx:pt>
          <cx:pt idx="2521">380.61412009999998</cx:pt>
          <cx:pt idx="2522">380.62863179999999</cx:pt>
          <cx:pt idx="2523">380.67192929999999</cx:pt>
          <cx:pt idx="2524">380.70094560000001</cx:pt>
          <cx:pt idx="2525">380.71511129999999</cx:pt>
          <cx:pt idx="2526">380.74401230000001</cx:pt>
          <cx:pt idx="2527">380.75830059999998</cx:pt>
          <cx:pt idx="2528">380.85939999999999</cx:pt>
          <cx:pt idx="2529">380.85939999999999</cx:pt>
          <cx:pt idx="2530">380.85939999999999</cx:pt>
          <cx:pt idx="2531">380.85939999999999</cx:pt>
          <cx:pt idx="2532">380.85939999999999</cx:pt>
          <cx:pt idx="2533">380.85939999999999</cx:pt>
          <cx:pt idx="2534">380.85939999999999</cx:pt>
          <cx:pt idx="2535">380.85939999999999</cx:pt>
          <cx:pt idx="2536">380.85939999999999</cx:pt>
          <cx:pt idx="2537">380.85939999999999</cx:pt>
          <cx:pt idx="2538">380.85939999999999</cx:pt>
          <cx:pt idx="2539">380.85939999999999</cx:pt>
          <cx:pt idx="2540">380.85939999999999</cx:pt>
          <cx:pt idx="2541">380.85939999999999</cx:pt>
          <cx:pt idx="2542">380.85939999999999</cx:pt>
          <cx:pt idx="2543">380.85939999999999</cx:pt>
          <cx:pt idx="2544">380.85939999999999</cx:pt>
          <cx:pt idx="2545">380.85939999999999</cx:pt>
          <cx:pt idx="2546">380.85939999999999</cx:pt>
          <cx:pt idx="2547">380.85939999999999</cx:pt>
          <cx:pt idx="2548">380.85939999999999</cx:pt>
          <cx:pt idx="2549">380.85939999999999</cx:pt>
          <cx:pt idx="2550">380.85939999999999</cx:pt>
          <cx:pt idx="2551">380.85939999999999</cx:pt>
          <cx:pt idx="2552">380.85939999999999</cx:pt>
          <cx:pt idx="2553">380.85939999999999</cx:pt>
          <cx:pt idx="2554">380.85939999999999</cx:pt>
          <cx:pt idx="2555">380.85939999999999</cx:pt>
          <cx:pt idx="2556">380.85939999999999</cx:pt>
          <cx:pt idx="2557">380.85939999999999</cx:pt>
          <cx:pt idx="2558">380.85939999999999</cx:pt>
          <cx:pt idx="2559">380.85939999999999</cx:pt>
          <cx:pt idx="2560">380.85939999999999</cx:pt>
          <cx:pt idx="2561">380.85939999999999</cx:pt>
          <cx:pt idx="2562">380.85939999999999</cx:pt>
          <cx:pt idx="2563">380.84247349999998</cx:pt>
          <cx:pt idx="2564">380.81695230000003</cx:pt>
          <cx:pt idx="2565">380.74066010000001</cx:pt>
          <cx:pt idx="2566">380.6814215</cx:pt>
          <cx:pt idx="2567">380.65596820000002</cx:pt>
          <cx:pt idx="2568">380.65590040000001</cx:pt>
          <cx:pt idx="2569">380.63891030000002</cx:pt>
          <cx:pt idx="2570">380.6135883</cx:pt>
          <cx:pt idx="2571">380.60512929999999</cx:pt>
          <cx:pt idx="2572">380.58807139999999</cx:pt>
          <cx:pt idx="2573">380.57114489999998</cx:pt>
          <cx:pt idx="2574">380.56274939999997</cx:pt>
          <cx:pt idx="2575">380.55428619999998</cx:pt>
          <cx:pt idx="2576">380.54569149999998</cx:pt>
          <cx:pt idx="2577">380.53729609999999</cx:pt>
          <cx:pt idx="2578">380.53722829999998</cx:pt>
          <cx:pt idx="2579">380.52883279999998</cx:pt>
          <cx:pt idx="2580">380.52030600000001</cx:pt>
          <cx:pt idx="2581">380.50337949999999</cx:pt>
          <cx:pt idx="2582">380.48645299999998</cx:pt>
          <cx:pt idx="2583">380.40169750000001</cx:pt>
          <cx:pt idx="2584">380.39317060000002</cx:pt>
          <cx:pt idx="2585">380.3593176</cx:pt>
          <cx:pt idx="2586">380.34153500000002</cx:pt>
          <cx:pt idx="2587">380.30834729999998</cx:pt>
          <cx:pt idx="2588">380.28295759999997</cx:pt>
          <cx:pt idx="2589">380.23218229999998</cx:pt>
          <cx:pt idx="2590">380.16428550000001</cx:pt>
          <cx:pt idx="2591">380.15589</cx:pt>
          <cx:pt idx="2592">380.14742680000001</cx:pt>
          <cx:pt idx="2593">380.1388321</cx:pt>
          <cx:pt idx="2594">380.13003830000002</cx:pt>
          <cx:pt idx="2595">380.1219734</cx:pt>
          <cx:pt idx="2596">380.11351020000001</cx:pt>
          <cx:pt idx="2597">380.09658789999997</cx:pt>
          <cx:pt idx="2598">380.06253989999999</cx:pt>
          <cx:pt idx="2599">380.05420800000002</cx:pt>
          <cx:pt idx="2600">380.03721789999997</cx:pt>
          <cx:pt idx="2601">380.02875469999998</cx:pt>
          <cx:pt idx="2602">380.01169679999998</cx:pt>
          <cx:pt idx="2603">379.98637480000002</cx:pt>
          <cx:pt idx="2604">379.96085790000001</cx:pt>
          <cx:pt idx="2605">379.94386359999999</cx:pt>
          <cx:pt idx="2606">379.94380000000001</cx:pt>
          <cx:pt idx="2607">380.09462430000002</cx:pt>
          <cx:pt idx="2608">380.39687959999998</cx:pt>
          <cx:pt idx="2609">380.4737705</cx:pt>
          <cx:pt idx="2610">380.85939999999999</cx:pt>
          <cx:pt idx="2611">380.85939999999999</cx:pt>
          <cx:pt idx="2612">380.85939999999999</cx:pt>
          <cx:pt idx="2613">380.85939999999999</cx:pt>
          <cx:pt idx="2614">380.85939999999999</cx:pt>
          <cx:pt idx="2615">380.85939999999999</cx:pt>
          <cx:pt idx="2616">380.85939999999999</cx:pt>
          <cx:pt idx="2617">380.85939999999999</cx:pt>
          <cx:pt idx="2618">380.85939999999999</cx:pt>
          <cx:pt idx="2619">380.85939999999999</cx:pt>
          <cx:pt idx="2620">380.85939999999999</cx:pt>
          <cx:pt idx="2621">380.85939999999999</cx:pt>
          <cx:pt idx="2622">380.85939999999999</cx:pt>
          <cx:pt idx="2623">380.85939999999999</cx:pt>
          <cx:pt idx="2624">380.85939999999999</cx:pt>
          <cx:pt idx="2625">380.85939999999999</cx:pt>
          <cx:pt idx="2626">380.85939999999999</cx:pt>
          <cx:pt idx="2627">380.85939999999999</cx:pt>
          <cx:pt idx="2628">380.85939999999999</cx:pt>
          <cx:pt idx="2629">380.85939999999999</cx:pt>
          <cx:pt idx="2630">380.85939999999999</cx:pt>
          <cx:pt idx="2631">380.85939999999999</cx:pt>
          <cx:pt idx="2632">380.85939999999999</cx:pt>
          <cx:pt idx="2633">380.85939999999999</cx:pt>
          <cx:pt idx="2634">380.85939999999999</cx:pt>
          <cx:pt idx="2635">380.85939999999999</cx:pt>
          <cx:pt idx="2636">380.85939999999999</cx:pt>
          <cx:pt idx="2637">380.85939999999999</cx:pt>
          <cx:pt idx="2638">380.85939999999999</cx:pt>
          <cx:pt idx="2639">380.85939999999999</cx:pt>
          <cx:pt idx="2640">380.85939999999999</cx:pt>
          <cx:pt idx="2641">380.85939999999999</cx:pt>
          <cx:pt idx="2642">380.85939999999999</cx:pt>
          <cx:pt idx="2643">380.85939999999999</cx:pt>
          <cx:pt idx="2644">380.85939999999999</cx:pt>
          <cx:pt idx="2645">380.85939999999999</cx:pt>
          <cx:pt idx="2646">380.85939999999999</cx:pt>
          <cx:pt idx="2647">380.85939999999999</cx:pt>
          <cx:pt idx="2648">380.85939999999999</cx:pt>
          <cx:pt idx="2649">380.85939999999999</cx:pt>
          <cx:pt idx="2650">380.85939999999999</cx:pt>
          <cx:pt idx="2651">380.85939999999999</cx:pt>
          <cx:pt idx="2652">380.85939999999999</cx:pt>
          <cx:pt idx="2653">380.85939999999999</cx:pt>
          <cx:pt idx="2654">380.85939999999999</cx:pt>
          <cx:pt idx="2655">380.85939999999999</cx:pt>
          <cx:pt idx="2656">380.85939999999999</cx:pt>
          <cx:pt idx="2657">380.85939999999999</cx:pt>
          <cx:pt idx="2658">380.85939999999999</cx:pt>
          <cx:pt idx="2659">380.85939999999999</cx:pt>
          <cx:pt idx="2660">380.85939999999999</cx:pt>
          <cx:pt idx="2661">380.85939999999999</cx:pt>
          <cx:pt idx="2662">380.85939999999999</cx:pt>
          <cx:pt idx="2663">380.85939999999999</cx:pt>
          <cx:pt idx="2664">380.85939999999999</cx:pt>
          <cx:pt idx="2665">380.85939999999999</cx:pt>
          <cx:pt idx="2666">380.85939999999999</cx:pt>
          <cx:pt idx="2667">380.85939999999999</cx:pt>
          <cx:pt idx="2668">380.85939999999999</cx:pt>
          <cx:pt idx="2669">380.85939999999999</cx:pt>
          <cx:pt idx="2670">380.85939999999999</cx:pt>
          <cx:pt idx="2671">380.85939999999999</cx:pt>
          <cx:pt idx="2672">380.85939999999999</cx:pt>
          <cx:pt idx="2673">380.85939999999999</cx:pt>
          <cx:pt idx="2674">380.85939999999999</cx:pt>
          <cx:pt idx="2675">380.85939999999999</cx:pt>
          <cx:pt idx="2676">380.85939999999999</cx:pt>
          <cx:pt idx="2677">380.85939999999999</cx:pt>
          <cx:pt idx="2678">380.85939999999999</cx:pt>
          <cx:pt idx="2679">380.85939999999999</cx:pt>
          <cx:pt idx="2680">380.79496369999998</cx:pt>
          <cx:pt idx="2681">380.78209570000001</cx:pt>
          <cx:pt idx="2682">380.76872520000001</cx:pt>
          <cx:pt idx="2683">380.75626319999998</cx:pt>
          <cx:pt idx="2684">380.74349840000002</cx:pt>
          <cx:pt idx="2685">380.73052730000001</cx:pt>
          <cx:pt idx="2686">380.7176594</cx:pt>
          <cx:pt idx="2687">380.70479790000002</cx:pt>
          <cx:pt idx="2688">380.69182690000002</cx:pt>
          <cx:pt idx="2689">380.62729389999998</cx:pt>
          <cx:pt idx="2690">380.56285759999997</cx:pt>
          <cx:pt idx="2691">380.48575949999997</cx:pt>
          <cx:pt idx="2692">380.4727949</cx:pt>
          <cx:pt idx="2693">380.446956</cx:pt>
          <cx:pt idx="2694">380.4211234</cx:pt>
          <cx:pt idx="2695">380.39498809999998</cx:pt>
          <cx:pt idx="2696">380.38231990000003</cx:pt>
          <cx:pt idx="2697">380.35679019999998</cx:pt>
          <cx:pt idx="2698">380.34392229999997</cx:pt>
          <cx:pt idx="2699">380.3305517</cx:pt>
          <cx:pt idx="2700">380.31778689999999</cx:pt>
          <cx:pt idx="2701">380.15061969999999</cx:pt>
          <cx:pt idx="2702">380.11191930000001</cx:pt>
          <cx:pt idx="2703">379.90574880000003</cx:pt>
          <cx:pt idx="2704">379.80261849999999</cx:pt>
          <cx:pt idx="2705">379.63464579999999</cx:pt>
          <cx:pt idx="2706">379.62168120000001</cx:pt>
          <cx:pt idx="2707">379.59644800000001</cx:pt>
          <cx:pt idx="2708">379.58358010000001</cx:pt>
          <cx:pt idx="2709">379.5448796</cx:pt>
          <cx:pt idx="2710">379.51924680000002</cx:pt>
          <cx:pt idx="2711">379.50587630000001</cx:pt>
          <cx:pt idx="2712">379.46747870000002</cx:pt>
          <cx:pt idx="2713">379.45451409999998</cx:pt>
          <cx:pt idx="2714">379.42847540000002</cx:pt>
          <cx:pt idx="2715">379.41551079999999</cx:pt>
          <cx:pt idx="2716">379.38967179999997</cx:pt>
          <cx:pt idx="2717">379.37701010000001</cx:pt>
          <cx:pt idx="2718">379.3643419</cx:pt>
          <cx:pt idx="2719">379.2866381</cx:pt>
          <cx:pt idx="2720">379.27417609999998</cx:pt>
          <cx:pt idx="2721">379.24804080000001</cx:pt>
          <cx:pt idx="2722">379.22271080000002</cx:pt>
          <cx:pt idx="2723">379.20984290000001</cx:pt>
          <cx:pt idx="2724">379.19657549999999</cx:pt>
          <cx:pt idx="2725">379.18390729999999</cx:pt>
          <cx:pt idx="2726">379.17123909999998</cx:pt>
          <cx:pt idx="2727">379.1577719</cx:pt>
          <cx:pt idx="2728">379.1454066</cx:pt>
          <cx:pt idx="2729">379.13193940000002</cx:pt>
          <cx:pt idx="2730">379.11927120000001</cx:pt>
          <cx:pt idx="2731">379.10660949999999</cx:pt>
          <cx:pt idx="2732">379.09383819999999</cx:pt>
          <cx:pt idx="2733">379.06770280000001</cx:pt>
          <cx:pt idx="2734">379.0283</cx:pt>
          <cx:pt idx="2735">382.69040000000001</cx:pt>
          <cx:pt idx="2736">381.6263687</cx:pt>
          <cx:pt idx="2737">379.94380000000001</cx:pt>
          <cx:pt idx="2738">380.14065840000001</cx:pt>
          <cx:pt idx="2739">380.43079239999997</cx:pt>
          <cx:pt idx="2740">380.46523120000001</cx:pt>
          <cx:pt idx="2741">380.47725350000002</cx:pt>
          <cx:pt idx="2742">380.68576919999998</cx:pt>
          <cx:pt idx="2743">380.69716</cx:pt>
          <cx:pt idx="2744">380.70854489999999</cx:pt>
          <cx:pt idx="2745">380.73223030000003</cx:pt>
          <cx:pt idx="2746">380.74361520000002</cx:pt>
          <cx:pt idx="2747">380.76639669999997</cx:pt>
          <cx:pt idx="2748">380.77841319999999</cx:pt>
          <cx:pt idx="2749">380.81285200000002</cx:pt>
          <cx:pt idx="2750">380.85939999999999</cx:pt>
          <cx:pt idx="2751">380.92774489999999</cx:pt>
          <cx:pt idx="2752">380.96020870000001</cx:pt>
          <cx:pt idx="2753">380.99531159999998</cx:pt>
          <cx:pt idx="2754">381.06181249999997</cx:pt>
          <cx:pt idx="2755">381.13069869999998</cx:pt>
          <cx:pt idx="2756">381.1971997</cx:pt>
          <cx:pt idx="2757">381.23098299999998</cx:pt>
          <cx:pt idx="2758">381.29880350000002</cx:pt>
          <cx:pt idx="2759">381.33390630000002</cx:pt>
          <cx:pt idx="2760">381.33522590000001</cx:pt>
          <cx:pt idx="2761">381.40040729999998</cx:pt>
          <cx:pt idx="2762">381.4336662</cx:pt>
          <cx:pt idx="2763">381.46770329999998</cx:pt>
          <cx:pt idx="2764">381.50280620000001</cx:pt>
          <cx:pt idx="2765">381.5693071</cx:pt>
          <cx:pt idx="2766">381.63687379999999</cx:pt>
          <cx:pt idx="2767">381.67197670000002</cx:pt>
          <cx:pt idx="2768">381.67354999999998</cx:pt>
          <cx:pt idx="2769">381.70521869999999</cx:pt>
          <cx:pt idx="2770">381.77358049999998</cx:pt>
          <cx:pt idx="2771">381.7749</cx:pt>
          <cx:pt idx="2772">381.06128519999999</cx:pt>
          <cx:pt idx="2773">380.98274040000001</cx:pt>
          <cx:pt idx="2774">380.89924159999998</cx:pt>
          <cx:pt idx="2775">380.82069689999997</cx:pt>
          <cx:pt idx="2776">380.74219199999999</cx:pt>
          <cx:pt idx="2777">380.58074779999998</cx:pt>
          <cx:pt idx="2778">380.41934350000002</cx:pt>
          <cx:pt idx="2779">380.34079869999999</cx:pt>
          <cx:pt idx="2780">380.26229389999997</cx:pt>
          <cx:pt idx="2781">380.1837491</cx:pt>
          <cx:pt idx="2782">379.94380000000001</cx:pt>
          <cx:pt idx="2783">380.1783393</cx:pt>
          <cx:pt idx="2784">380.18947830000002</cx:pt>
          <cx:pt idx="2785">380.24519579999998</cx:pt>
          <cx:pt idx="2786">380.41357060000001</cx:pt>
          <cx:pt idx="2787">380.42410690000003</cx:pt>
          <cx:pt idx="2788">380.55791490000001</cx:pt>
          <cx:pt idx="2789">380.58046080000003</cx:pt>
          <cx:pt idx="2790">380.68049450000001</cx:pt>
          <cx:pt idx="2791">380.81491080000001</cx:pt>
          <cx:pt idx="2792">380.83685400000002</cx:pt>
          <cx:pt idx="2793">380.85939999999999</cx:pt>
          <cx:pt idx="2794">380.85939999999999</cx:pt>
          <cx:pt idx="2795">380.85939999999999</cx:pt>
          <cx:pt idx="2796">380.85939999999999</cx:pt>
          <cx:pt idx="2797">380.85939999999999</cx:pt>
          <cx:pt idx="2798">380.85939999999999</cx:pt>
          <cx:pt idx="2799">380.85939999999999</cx:pt>
          <cx:pt idx="2800">380.85939999999999</cx:pt>
          <cx:pt idx="2801">380.85939999999999</cx:pt>
          <cx:pt idx="2802">380.85939999999999</cx:pt>
          <cx:pt idx="2803">380.85939999999999</cx:pt>
          <cx:pt idx="2804">380.85939999999999</cx:pt>
          <cx:pt idx="2805">380.85939999999999</cx:pt>
          <cx:pt idx="2806">380.85939999999999</cx:pt>
          <cx:pt idx="2807">380.85939999999999</cx:pt>
          <cx:pt idx="2808">380.85939999999999</cx:pt>
          <cx:pt idx="2809">380.85939999999999</cx:pt>
          <cx:pt idx="2810">380.85939999999999</cx:pt>
          <cx:pt idx="2811">380.85939999999999</cx:pt>
          <cx:pt idx="2812">380.85939999999999</cx:pt>
          <cx:pt idx="2813">380.85939999999999</cx:pt>
          <cx:pt idx="2814">380.85939999999999</cx:pt>
          <cx:pt idx="2815">380.85939999999999</cx:pt>
          <cx:pt idx="2816">380.85939999999999</cx:pt>
          <cx:pt idx="2817">380.85939999999999</cx:pt>
          <cx:pt idx="2818">380.85939999999999</cx:pt>
          <cx:pt idx="2819">380.85939999999999</cx:pt>
          <cx:pt idx="2820">380.85939999999999</cx:pt>
          <cx:pt idx="2821">380.85939999999999</cx:pt>
          <cx:pt idx="2822">380.85939999999999</cx:pt>
          <cx:pt idx="2823">380.85939999999999</cx:pt>
          <cx:pt idx="2824">380.85939999999999</cx:pt>
          <cx:pt idx="2825">380.85939999999999</cx:pt>
          <cx:pt idx="2826">380.85939999999999</cx:pt>
          <cx:pt idx="2827">380.85939999999999</cx:pt>
          <cx:pt idx="2828">380.85939999999999</cx:pt>
          <cx:pt idx="2829">380.85939999999999</cx:pt>
          <cx:pt idx="2830">380.85939999999999</cx:pt>
          <cx:pt idx="2831">380.85939999999999</cx:pt>
          <cx:pt idx="2832">380.85939999999999</cx:pt>
          <cx:pt idx="2833">380.85939999999999</cx:pt>
          <cx:pt idx="2834">380.85939999999999</cx:pt>
          <cx:pt idx="2835">380.85939999999999</cx:pt>
          <cx:pt idx="2836">380.85939999999999</cx:pt>
          <cx:pt idx="2837">380.85939999999999</cx:pt>
          <cx:pt idx="2838">380.85939999999999</cx:pt>
          <cx:pt idx="2839">380.85939999999999</cx:pt>
          <cx:pt idx="2840">380.85939999999999</cx:pt>
          <cx:pt idx="2841">380.85939999999999</cx:pt>
          <cx:pt idx="2842">380.85939999999999</cx:pt>
          <cx:pt idx="2843">380.85939999999999</cx:pt>
          <cx:pt idx="2844">380.85939999999999</cx:pt>
          <cx:pt idx="2845">380.85939999999999</cx:pt>
          <cx:pt idx="2846">380.85939999999999</cx:pt>
          <cx:pt idx="2847">380.85939999999999</cx:pt>
          <cx:pt idx="2848">380.85939999999999</cx:pt>
          <cx:pt idx="2849">380.85939999999999</cx:pt>
          <cx:pt idx="2850">380.85939999999999</cx:pt>
          <cx:pt idx="2851">381.40499519999997</cx:pt>
          <cx:pt idx="2852">382.26290829999999</cx:pt>
          <cx:pt idx="2853">382.62423769999998</cx:pt>
          <cx:pt idx="2854">382.69040000000001</cx:pt>
          <cx:pt idx="2855">380.85939999999999</cx:pt>
          <cx:pt idx="2856">381.02008380000001</cx:pt>
          <cx:pt idx="2857">381.25900159999998</cx:pt>
          <cx:pt idx="2858">382.13198399999999</cx:pt>
          <cx:pt idx="2859">382.69040000000001</cx:pt>
          <cx:pt idx="2860">382.4275265</cx:pt>
          <cx:pt idx="2861">381.90381230000003</cx:pt>
          <cx:pt idx="2862">381.7749</cx:pt>
          <cx:pt idx="2863">381.7749</cx:pt>
          <cx:pt idx="2864">381.7749</cx:pt>
          <cx:pt idx="2865">381.7749</cx:pt>
          <cx:pt idx="2866">381.7749</cx:pt>
          <cx:pt idx="2867">381.7749</cx:pt>
          <cx:pt idx="2868">381.7749</cx:pt>
          <cx:pt idx="2869">381.7749</cx:pt>
          <cx:pt idx="2870">381.7749</cx:pt>
          <cx:pt idx="2871">381.7749</cx:pt>
          <cx:pt idx="2872">381.7749</cx:pt>
          <cx:pt idx="2873">381.7749</cx:pt>
          <cx:pt idx="2874">381.7749</cx:pt>
          <cx:pt idx="2875">381.7749</cx:pt>
          <cx:pt idx="2876">381.7749</cx:pt>
          <cx:pt idx="2877">381.7749</cx:pt>
          <cx:pt idx="2878">381.7749</cx:pt>
          <cx:pt idx="2879">381.7749</cx:pt>
          <cx:pt idx="2880">381.7749</cx:pt>
          <cx:pt idx="2881">381.7749</cx:pt>
          <cx:pt idx="2882">381.7749</cx:pt>
          <cx:pt idx="2883">381.7749</cx:pt>
          <cx:pt idx="2884">381.7749</cx:pt>
          <cx:pt idx="2885">381.7749</cx:pt>
          <cx:pt idx="2886">381.7749</cx:pt>
          <cx:pt idx="2887">381.7749</cx:pt>
          <cx:pt idx="2888">381.7749</cx:pt>
          <cx:pt idx="2889">381.7749</cx:pt>
          <cx:pt idx="2890">381.7749</cx:pt>
          <cx:pt idx="2891">381.7749</cx:pt>
          <cx:pt idx="2892">381.7749</cx:pt>
          <cx:pt idx="2893">381.7749</cx:pt>
          <cx:pt idx="2894">381.7749</cx:pt>
          <cx:pt idx="2895">381.7749</cx:pt>
          <cx:pt idx="2896">381.7749</cx:pt>
          <cx:pt idx="2897">381.7749</cx:pt>
          <cx:pt idx="2898">381.7749</cx:pt>
          <cx:pt idx="2899">381.7749</cx:pt>
          <cx:pt idx="2900">381.7749</cx:pt>
          <cx:pt idx="2901">381.7749</cx:pt>
          <cx:pt idx="2902">381.7749</cx:pt>
          <cx:pt idx="2903">381.7749</cx:pt>
          <cx:pt idx="2904">381.7749</cx:pt>
          <cx:pt idx="2905">381.7749</cx:pt>
          <cx:pt idx="2906">381.7749</cx:pt>
          <cx:pt idx="2907">381.7749</cx:pt>
          <cx:pt idx="2908">381.7749</cx:pt>
          <cx:pt idx="2909">381.7749</cx:pt>
          <cx:pt idx="2910">381.7749</cx:pt>
          <cx:pt idx="2911">381.7749</cx:pt>
          <cx:pt idx="2912">382.08786170000002</cx:pt>
          <cx:pt idx="2913">382.0882264</cx:pt>
          <cx:pt idx="2914">382.12227619999999</cx:pt>
          <cx:pt idx="2915">382.13365900000002</cx:pt>
          <cx:pt idx="2916">382.14521539999998</cx:pt>
          <cx:pt idx="2917">382.15704970000002</cx:pt>
          <cx:pt idx="2918">382.18089209999999</cx:pt>
          <cx:pt idx="2919">382.62093979999997</cx:pt>
          <cx:pt idx="2920">382.64324790000001</cx:pt>
          <cx:pt idx="2921">382.69040000000001</cx:pt>
          <cx:pt idx="2922">379.0283</cx:pt>
          <cx:pt idx="2923">381.52882929999998</cx:pt>
          <cx:pt idx="2924">381.7749</cx:pt>
          <cx:pt idx="2925">381.7749</cx:pt>
          <cx:pt idx="2926">381.7749</cx:pt>
          <cx:pt idx="2927">381.7749</cx:pt>
          <cx:pt idx="2928">381.7749</cx:pt>
          <cx:pt idx="2929">381.7749</cx:pt>
          <cx:pt idx="2930">381.7749</cx:pt>
          <cx:pt idx="2931">381.7749</cx:pt>
          <cx:pt idx="2932">381.7749</cx:pt>
          <cx:pt idx="2933">381.7749</cx:pt>
          <cx:pt idx="2934">381.7749</cx:pt>
          <cx:pt idx="2935">381.7749</cx:pt>
          <cx:pt idx="2936">381.7749</cx:pt>
          <cx:pt idx="2937">381.7749</cx:pt>
          <cx:pt idx="2938">381.7749</cx:pt>
          <cx:pt idx="2939">381.7749</cx:pt>
          <cx:pt idx="2940">381.7749</cx:pt>
          <cx:pt idx="2941">381.7749</cx:pt>
          <cx:pt idx="2942">381.7749</cx:pt>
          <cx:pt idx="2943">381.7749</cx:pt>
          <cx:pt idx="2944">381.7749</cx:pt>
          <cx:pt idx="2945">381.7749</cx:pt>
          <cx:pt idx="2946">381.7749</cx:pt>
          <cx:pt idx="2947">381.7749</cx:pt>
          <cx:pt idx="2948">381.7749</cx:pt>
          <cx:pt idx="2949">381.7749</cx:pt>
          <cx:pt idx="2950">381.7749</cx:pt>
          <cx:pt idx="2951">381.7749</cx:pt>
          <cx:pt idx="2952">381.7749</cx:pt>
          <cx:pt idx="2953">381.7749</cx:pt>
          <cx:pt idx="2954">381.7749</cx:pt>
          <cx:pt idx="2955">381.7749</cx:pt>
          <cx:pt idx="2956">381.7749</cx:pt>
          <cx:pt idx="2957">381.7749</cx:pt>
          <cx:pt idx="2958">381.7749</cx:pt>
          <cx:pt idx="2959">381.7749</cx:pt>
          <cx:pt idx="2960">381.7749</cx:pt>
          <cx:pt idx="2961">381.7749</cx:pt>
          <cx:pt idx="2962">381.7749</cx:pt>
          <cx:pt idx="2963">381.7749</cx:pt>
          <cx:pt idx="2964">381.7749</cx:pt>
          <cx:pt idx="2965">381.7749</cx:pt>
          <cx:pt idx="2966">381.7749</cx:pt>
          <cx:pt idx="2967">381.7749</cx:pt>
          <cx:pt idx="2968">381.7749</cx:pt>
          <cx:pt idx="2969">381.7749</cx:pt>
          <cx:pt idx="2970">381.7749</cx:pt>
          <cx:pt idx="2971">381.7749</cx:pt>
          <cx:pt idx="2972">381.7749</cx:pt>
          <cx:pt idx="2973">381.7749</cx:pt>
          <cx:pt idx="2974">381.7749</cx:pt>
          <cx:pt idx="2975">381.7749</cx:pt>
          <cx:pt idx="2976">381.7749</cx:pt>
          <cx:pt idx="2977">381.7749</cx:pt>
          <cx:pt idx="2978">381.7749</cx:pt>
          <cx:pt idx="2979">381.7749</cx:pt>
          <cx:pt idx="2980">381.7749</cx:pt>
          <cx:pt idx="2981">381.7749</cx:pt>
          <cx:pt idx="2982">381.7749</cx:pt>
          <cx:pt idx="2983">381.7749</cx:pt>
          <cx:pt idx="2984">381.7749</cx:pt>
          <cx:pt idx="2985">381.7749</cx:pt>
          <cx:pt idx="2986">381.7749</cx:pt>
          <cx:pt idx="2987">381.7749</cx:pt>
          <cx:pt idx="2988">381.7749</cx:pt>
          <cx:pt idx="2989">381.7749</cx:pt>
          <cx:pt idx="2990">381.7749</cx:pt>
          <cx:pt idx="2991">381.7749</cx:pt>
          <cx:pt idx="2992">381.7749</cx:pt>
          <cx:pt idx="2993">381.7749</cx:pt>
          <cx:pt idx="2994">382.25822310000001</cx:pt>
          <cx:pt idx="2995">382.45288219999998</cx:pt>
          <cx:pt idx="2996">382.64228930000002</cx:pt>
          <cx:pt idx="2997">382.73851070000001</cx:pt>
          <cx:pt idx="2998">382.73928160000003</cx:pt>
          <cx:pt idx="2999">382.83699660000002</cx:pt>
          <cx:pt idx="3000">383.12638340000001</cx:pt>
          <cx:pt idx="3001">383.1301416</cx:pt>
          <cx:pt idx="3002">383.31579049999999</cx:pt>
          <cx:pt idx="3003">383.51044960000002</cx:pt>
          <cx:pt idx="3004">383.60590000000002</cx:pt>
          <cx:pt idx="3005">383.47146770000001</cx:pt>
          <cx:pt idx="3006">383.40107979999999</cx:pt>
          <cx:pt idx="3007">383.33442339999999</cx:pt>
          <cx:pt idx="3008">383.26773300000002</cx:pt>
          <cx:pt idx="3009">383.19999109999998</cx:pt>
          <cx:pt idx="3010">383.13068870000001</cx:pt>
          <cx:pt idx="3011">383.0639984</cx:pt>
          <cx:pt idx="3012">382.99361049999999</cx:pt>
          <cx:pt idx="3013">382.92695409999999</cx:pt>
          <cx:pt idx="3014">382.86026370000002</cx:pt>
          <cx:pt idx="3015">382.65652899999998</cx:pt>
          <cx:pt idx="3016">382.51945080000002</cx:pt>
          <cx:pt idx="3017">382.45279440000002</cx:pt>
          <cx:pt idx="3018">382.18131779999999</cx:pt>
          <cx:pt idx="3019">381.90560090000002</cx:pt>
          <cx:pt idx="3020">381.7749</cx:pt>
          <cx:pt idx="3021">381.74222889999999</cx:pt>
          <cx:pt idx="3022">381.72338020000001</cx:pt>
          <cx:pt idx="3023">381.6716606</cx:pt>
          <cx:pt idx="3024">381.6201891</cx:pt>
          <cx:pt idx="3025">381.57470080000002</cx:pt>
          <cx:pt idx="3026">381.51071510000003</cx:pt>
          <cx:pt idx="3027">381.50402939999998</cx:pt>
          <cx:pt idx="3028">381.4976982</cx:pt>
          <cx:pt idx="3029">381.4846781</cx:pt>
          <cx:pt idx="3030">381.4783468</cx:pt>
          <cx:pt idx="3031">381.47201239999998</cx:pt>
          <cx:pt idx="3032">381.44577559999999</cx:pt>
          <cx:pt idx="3033">381.41395829999999</cx:pt>
          <cx:pt idx="3034">381.40068689999998</cx:pt>
          <cx:pt idx="3035">381.3557528</cx:pt>
          <cx:pt idx="3036">381.34308709999999</cx:pt>
          <cx:pt idx="3037">381.33006699999999</cx:pt>
          <cx:pt idx="3038">381.32373580000001</cx:pt>
          <cx:pt idx="3039">381.31740129999997</cx:pt>
          <cx:pt idx="3040">381.3107157</cx:pt>
          <cx:pt idx="3041">381.29799839999998</cx:pt>
          <cx:pt idx="3042">381.27869859999998</cx:pt>
          <cx:pt idx="3043">381.27201300000002</cx:pt>
          <cx:pt idx="3044">381.25266160000001</cx:pt>
          <cx:pt idx="3045">381.22064460000001</cx:pt>
          <cx:pt idx="3046">381.21431009999998</cx:pt>
          <cx:pt idx="3047">381.20762439999999</cx:pt>
          <cx:pt idx="3048">381.19495869999997</cx:pt>
          <cx:pt idx="3049">381.18194190000003</cx:pt>
          <cx:pt idx="3050">381.17560739999999</cx:pt>
          <cx:pt idx="3051">381.168722</cx:pt>
          <cx:pt idx="3052">381.1173536</cx:pt>
          <cx:pt idx="3053">381.11101910000002</cx:pt>
          <cx:pt idx="3054">381.10468470000001</cx:pt>
          <cx:pt idx="3055">381.09166779999998</cx:pt>
          <cx:pt idx="3056">381.07865090000001</cx:pt>
          <cx:pt idx="3057">381.06598200000002</cx:pt>
          <cx:pt idx="3058">381.05296509999999</cx:pt>
          <cx:pt idx="3059">381.04663060000001</cx:pt>
          <cx:pt idx="3060">381.02727929999998</cx:pt>
          <cx:pt idx="3061">381.02094799999998</cx:pt>
          <cx:pt idx="3062">381.00792790000003</cx:pt>
          <cx:pt idx="3063">381.00154509999999</cx:pt>
          <cx:pt idx="3064">380.994911</cx:pt>
          <cx:pt idx="3065">380.97555970000002</cx:pt>
          <cx:pt idx="3066">380.96942819999998</cx:pt>
          <cx:pt idx="3067">380.96274249999999</cx:pt>
          <cx:pt idx="3068">380.95007679999998</cx:pt>
          <cx:pt idx="3069">380.93072230000001</cx:pt>
          <cx:pt idx="3070">380.9240398</cx:pt>
          <cx:pt idx="3071">380.9238368</cx:pt>
          <cx:pt idx="3072">380.91137090000001</cx:pt>
          <cx:pt idx="3073">380.89835399999998</cx:pt>
          <cx:pt idx="3074">380.89201960000003</cx:pt>
          <cx:pt idx="3075">380.88533710000002</cx:pt>
          <cx:pt idx="3076">380.87266820000002</cx:pt>
          <cx:pt idx="3077">380.8596513</cx:pt>
          <cx:pt idx="3078">380.85939999999999</cx:pt>
          <cx:pt idx="3079">381.2795701</cx:pt>
          <cx:pt idx="3080">381.92594389999999</cx:pt>
          <cx:pt idx="3081">382.15041680000002</cx:pt>
          <cx:pt idx="3082">382.36309820000002</cx:pt>
          <cx:pt idx="3083">382.57567130000001</cx:pt>
          <cx:pt idx="3084">382.80014419999998</cx:pt>
          <cx:pt idx="3085">383.22539870000003</cx:pt>
          <cx:pt idx="3086">383.8802106</cx:pt>
          <cx:pt idx="3087">384.30546509999999</cx:pt>
          <cx:pt idx="3088">384.5215</cx:pt>
          <cx:pt idx="3089">384.36858100000001</cx:pt>
          <cx:pt idx="3090">384.28949019999999</cx:pt>
          <cx:pt idx="3091">384.214518</cx:pt>
          <cx:pt idx="3092">384.13954569999999</cx:pt>
          <cx:pt idx="3093">383.98548269999998</cx:pt>
          <cx:pt idx="3094">383.83141970000003</cx:pt>
          <cx:pt idx="3095">383.82962739999999</cx:pt>
          <cx:pt idx="3096">383.68147520000002</cx:pt>
          <cx:pt idx="3097">383.60238440000001</cx:pt>
          <cx:pt idx="3098">383.52741220000001</cx:pt>
          <cx:pt idx="3099">383.37632359999998</cx:pt>
          <cx:pt idx="3100">383.2234047</cx:pt>
          <cx:pt idx="3101">382.99436939999998</cx:pt>
          <cx:pt idx="3102">382.91943529999998</cx:pt>
          <cx:pt idx="3103">382.76533410000002</cx:pt>
          <cx:pt idx="3104">382.69040000000001</cx:pt>
          <cx:pt idx="3105">382.69040000000001</cx:pt>
          <cx:pt idx="3106">382.69040000000001</cx:pt>
          <cx:pt idx="3107">382.69040000000001</cx:pt>
          <cx:pt idx="3108">382.69040000000001</cx:pt>
          <cx:pt idx="3109">382.69040000000001</cx:pt>
          <cx:pt idx="3110">382.69040000000001</cx:pt>
          <cx:pt idx="3111">382.69040000000001</cx:pt>
          <cx:pt idx="3112">382.69040000000001</cx:pt>
          <cx:pt idx="3113">382.69040000000001</cx:pt>
          <cx:pt idx="3114">382.69040000000001</cx:pt>
          <cx:pt idx="3115">382.69040000000001</cx:pt>
          <cx:pt idx="3116">382.69040000000001</cx:pt>
          <cx:pt idx="3117">382.69040000000001</cx:pt>
          <cx:pt idx="3118">382.69040000000001</cx:pt>
          <cx:pt idx="3119">382.69040000000001</cx:pt>
          <cx:pt idx="3120">382.69040000000001</cx:pt>
          <cx:pt idx="3121">382.69040000000001</cx:pt>
          <cx:pt idx="3122">382.69040000000001</cx:pt>
          <cx:pt idx="3123">382.69040000000001</cx:pt>
          <cx:pt idx="3124">382.69040000000001</cx:pt>
          <cx:pt idx="3125">382.69040000000001</cx:pt>
          <cx:pt idx="3126">382.69040000000001</cx:pt>
          <cx:pt idx="3127">382.69040000000001</cx:pt>
          <cx:pt idx="3128">382.69040000000001</cx:pt>
          <cx:pt idx="3129">382.69040000000001</cx:pt>
          <cx:pt idx="3130">382.69040000000001</cx:pt>
          <cx:pt idx="3131">382.69040000000001</cx:pt>
          <cx:pt idx="3132">382.69040000000001</cx:pt>
          <cx:pt idx="3133">382.69040000000001</cx:pt>
          <cx:pt idx="3134">382.69040000000001</cx:pt>
          <cx:pt idx="3135">382.69040000000001</cx:pt>
          <cx:pt idx="3136">382.69040000000001</cx:pt>
          <cx:pt idx="3137">382.69040000000001</cx:pt>
          <cx:pt idx="3138">382.69040000000001</cx:pt>
          <cx:pt idx="3139">382.69040000000001</cx:pt>
          <cx:pt idx="3140">382.69040000000001</cx:pt>
          <cx:pt idx="3141">382.69040000000001</cx:pt>
          <cx:pt idx="3142">382.69040000000001</cx:pt>
          <cx:pt idx="3143">382.69040000000001</cx:pt>
          <cx:pt idx="3144">382.69040000000001</cx:pt>
          <cx:pt idx="3145">382.69040000000001</cx:pt>
          <cx:pt idx="3146">382.69040000000001</cx:pt>
          <cx:pt idx="3147">382.69040000000001</cx:pt>
          <cx:pt idx="3148">382.69040000000001</cx:pt>
          <cx:pt idx="3149">382.69040000000001</cx:pt>
          <cx:pt idx="3150">382.69040000000001</cx:pt>
          <cx:pt idx="3151">382.69040000000001</cx:pt>
          <cx:pt idx="3152">382.69040000000001</cx:pt>
          <cx:pt idx="3153">382.69040000000001</cx:pt>
          <cx:pt idx="3154">382.69040000000001</cx:pt>
          <cx:pt idx="3155">382.69040000000001</cx:pt>
          <cx:pt idx="3156">382.69040000000001</cx:pt>
          <cx:pt idx="3157">382.69040000000001</cx:pt>
          <cx:pt idx="3158">382.69040000000001</cx:pt>
          <cx:pt idx="3159">382.69040000000001</cx:pt>
          <cx:pt idx="3160">382.68516060000002</cx:pt>
          <cx:pt idx="3161">382.67970739999998</cx:pt>
          <cx:pt idx="3162">382.67394910000002</cx:pt>
          <cx:pt idx="3163">382.6572817</cx:pt>
          <cx:pt idx="3164">382.64061420000002</cx:pt>
          <cx:pt idx="3165">382.64043939999999</cx:pt>
          <cx:pt idx="3166">382.63528880000001</cx:pt>
          <cx:pt idx="3167">382.63524439999998</cx:pt>
          <cx:pt idx="3168">382.62407730000001</cx:pt>
          <cx:pt idx="3169">382.612863</cx:pt>
          <cx:pt idx="3170">382.60740989999999</cx:pt>
          <cx:pt idx="3171">382.59619559999999</cx:pt>
          <cx:pt idx="3172">382.58528660000002</cx:pt>
          <cx:pt idx="3173">382.5686192</cx:pt>
          <cx:pt idx="3174">382.55740489999999</cx:pt>
          <cx:pt idx="3175">382.55186570000001</cx:pt>
          <cx:pt idx="3176">382.54640979999999</cx:pt>
          <cx:pt idx="3177">382.52974239999998</cx:pt>
          <cx:pt idx="3178">382.4964076</cx:pt>
          <cx:pt idx="3179">382.4851961</cx:pt>
          <cx:pt idx="3180">382.47428430000002</cx:pt>
          <cx:pt idx="3181">382.46878679999998</cx:pt>
          <cx:pt idx="3182">382.45211940000002</cx:pt>
          <cx:pt idx="3183">382.44090790000001</cx:pt>
          <cx:pt idx="3184">382.435452</cx:pt>
          <cx:pt idx="3185">382.42969360000001</cx:pt>
          <cx:pt idx="3186">382.4242405</cx:pt>
          <cx:pt idx="3187">382.41878459999998</cx:pt>
          <cx:pt idx="3188">382.40757309999998</cx:pt>
          <cx:pt idx="3189">382.40211720000002</cx:pt>
          <cx:pt idx="3190">382.39635879999997</cx:pt>
          <cx:pt idx="3191">382.39090290000001</cx:pt>
          <cx:pt idx="3192">382.31869419999998</cx:pt>
          <cx:pt idx="3193">382.30778240000001</cx:pt>
          <cx:pt idx="3194">382.2965264</cx:pt>
          <cx:pt idx="3195">382.28561739999998</cx:pt>
          <cx:pt idx="3196">382.27440589999998</cx:pt>
          <cx:pt idx="3197">382.25773850000002</cx:pt>
          <cx:pt idx="3198">382.24652420000001</cx:pt>
          <cx:pt idx="3199">382.23561519999998</cx:pt>
          <cx:pt idx="3200">382.22440369999998</cx:pt>
          <cx:pt idx="3201">382.21881739999998</cx:pt>
          <cx:pt idx="3202">382.20790840000001</cx:pt>
          <cx:pt idx="3203">382.1966941</cx:pt>
          <cx:pt idx="3204">382.19124099999999</cx:pt>
          <cx:pt idx="3205">382.18002669999998</cx:pt>
          <cx:pt idx="3206">382.15790620000001</cx:pt>
          <cx:pt idx="3207">382.1412388</cx:pt>
          <cx:pt idx="3208">382.12457139999998</cx:pt>
          <cx:pt idx="3209">382.02473900000001</cx:pt>
          <cx:pt idx="3210">382.00807159999999</cx:pt>
          <cx:pt idx="3211">382.0023132</cx:pt>
          <cx:pt idx="3212">382.00218280000001</cx:pt>
          <cx:pt idx="3213">381.99685729999999</cx:pt>
          <cx:pt idx="3214">381.99140419999998</cx:pt>
          <cx:pt idx="3215">381.98564579999999</cx:pt>
          <cx:pt idx="3216">381.98018990000003</cx:pt>
          <cx:pt idx="3217">381.95256910000001</cx:pt>
          <cx:pt idx="3218">381.83035530000001</cx:pt>
          <cx:pt idx="3219">381.8249022</cx:pt>
          <cx:pt idx="3220">381.81901340000002</cx:pt>
          <cx:pt idx="3221">381.81368789999999</cx:pt>
          <cx:pt idx="3222">381.80247639999999</cx:pt>
          <cx:pt idx="3223">381.79156740000002</cx:pt>
          <cx:pt idx="3224">381.7861115</cx:pt>
          <cx:pt idx="3225">381.78018109999999</cx:pt>
          <cx:pt idx="3226">381.7749</cx:pt>
          <cx:pt idx="3227">381.88669340000001</cx:pt>
          <cx:pt idx="3228">382.11642130000001</cx:pt>
          <cx:pt idx="3229">382.56973599999998</cx:pt>
          <cx:pt idx="3230">382.69040000000001</cx:pt>
          <cx:pt idx="3231">382.72698109999999</cx:pt>
          <cx:pt idx="3232">382.84034810000003</cx:pt>
          <cx:pt idx="3233">382.88110610000001</cx:pt>
          <cx:pt idx="3234">382.91742019999998</cx:pt>
          <cx:pt idx="3235">382.99447320000002</cx:pt>
          <cx:pt idx="3236">383.10902270000003</cx:pt>
          <cx:pt idx="3237">383.14651930000002</cx:pt>
          <cx:pt idx="3238">383.2235723</cx:pt>
          <cx:pt idx="3239">383.22446869999999</cx:pt>
          <cx:pt idx="3240">383.2610689</cx:pt>
          <cx:pt idx="3241">383.33812180000001</cx:pt>
          <cx:pt idx="3242">383.37561840000001</cx:pt>
          <cx:pt idx="3243">383.52764550000001</cx:pt>
          <cx:pt idx="3244">383.56514199999998</cx:pt>
          <cx:pt idx="3245">383.56544719999999</cx:pt>
          <cx:pt idx="3246">383.60471749999999</cx:pt>
          <cx:pt idx="3247">383.60590000000002</cx:pt>
          <cx:pt idx="3248">382.70901629999997</cx:pt>
          <cx:pt idx="3249">381.7749</cx:pt>
          <cx:pt idx="3250">381.91056680000003</cx:pt>
          <cx:pt idx="3251">381.9510689</cx:pt>
          <cx:pt idx="3252">382.05945860000003</cx:pt>
          <cx:pt idx="3253">382.1001708</cx:pt>
          <cx:pt idx="3254">382.11423639999998</cx:pt>
          <cx:pt idx="3255">382.14088989999999</cx:pt>
          <cx:pt idx="3256">382.15494869999998</cx:pt>
          <cx:pt idx="3257">382.16827540000003</cx:pt>
          <cx:pt idx="3258">382.18160210000002</cx:pt>
          <cx:pt idx="3259">382.35798790000001</cx:pt>
          <cx:pt idx="3260">382.38569200000001</cx:pt>
          <cx:pt idx="3261">382.53489569999999</cx:pt>
          <cx:pt idx="3262">382.54758520000001</cx:pt>
          <cx:pt idx="3263">382.58830419999998</cx:pt>
          <cx:pt idx="3264">382.6430752</cx:pt>
          <cx:pt idx="3265">382.65640200000001</cx:pt>
          <cx:pt idx="3266">382.72397100000001</cx:pt>
          <cx:pt idx="3267">382.75136329999998</cx:pt>
          <cx:pt idx="3268">382.76468319999998</cx:pt>
          <cx:pt idx="3269">382.77800989999997</cx:pt>
          <cx:pt idx="3270">382.79207550000001</cx:pt>
          <cx:pt idx="3271">382.8054022</cx:pt>
          <cx:pt idx="3272">382.83278780000001</cx:pt>
          <cx:pt idx="3273">382.90025509999998</cx:pt>
          <cx:pt idx="3274">382.96835290000001</cx:pt>
          <cx:pt idx="3275">382.98167960000001</cx:pt>
          <cx:pt idx="3276">383.00906509999999</cx:pt>
          <cx:pt idx="3277">383.02239179999998</cx:pt>
          <cx:pt idx="3278">383.02292060000002</cx:pt>
          <cx:pt idx="3279">383.03571849999997</cx:pt>
          <cx:pt idx="3280">383.10423659999998</cx:pt>
          <cx:pt idx="3281">383.29405750000001</cx:pt>
          <cx:pt idx="3282">383.3069572</cx:pt>
          <cx:pt idx="3283">383.33434269999998</cx:pt>
          <cx:pt idx="3284">383.34766939999997</cx:pt>
          <cx:pt idx="3285">383.36098939999999</cx:pt>
          <cx:pt idx="3286">383.41608580000002</cx:pt>
          <cx:pt idx="3287">383.44242059999999</cx:pt>
          <cx:pt idx="3288">383.45647939999998</cx:pt>
          <cx:pt idx="3289">383.46980619999999</cx:pt>
          <cx:pt idx="3290">383.48334299999999</cx:pt>
          <cx:pt idx="3291">383.49666300000001</cx:pt>
          <cx:pt idx="3292">383.51072850000003</cx:pt>
          <cx:pt idx="3293">383.53737519999999</cx:pt>
          <cx:pt idx="3294">383.56518779999999</cx:pt>
          <cx:pt idx="3295">383.57808740000002</cx:pt>
          <cx:pt idx="3296">383.59141410000001</cx:pt>
          <cx:pt idx="3297">383.60547969999999</cx:pt>
          <cx:pt idx="3298">383.60590000000002</cx:pt>
          <cx:pt idx="3299">383.58715530000001</cx:pt>
          <cx:pt idx="3300">383.54738200000003</cx:pt>
          <cx:pt idx="3301">383.52802700000001</cx:pt>
          <cx:pt idx="3302">383.52725909999998</cx:pt>
          <cx:pt idx="3303">383.50868179999998</cx:pt>
          <cx:pt idx="3304">383.40962259999998</cx:pt>
          <cx:pt idx="3305">383.39026760000002</cx:pt>
          <cx:pt idx="3306">383.37092239999998</cx:pt>
          <cx:pt idx="3307">383.35049429999998</cx:pt>
          <cx:pt idx="3308">383.29136590000002</cx:pt>
          <cx:pt idx="3309">383.2720109</cx:pt>
          <cx:pt idx="3310">383.03626539999999</cx:pt>
          <cx:pt idx="3311">383.01583729999999</cx:pt>
          <cx:pt idx="3312">382.97713709999999</cx:pt>
          <cx:pt idx="3313">382.95670890000002</cx:pt>
          <cx:pt idx="3314">382.93735390000001</cx:pt>
          <cx:pt idx="3315">382.93658599999998</cx:pt>
          <cx:pt idx="3316">382.89742310000003</cx:pt>
          <cx:pt idx="3317">382.87745760000001</cx:pt>
          <cx:pt idx="3318">382.83937759999998</cx:pt>
          <cx:pt idx="3319">382.79959450000001</cx:pt>
          <cx:pt idx="3320">382.75982119999998</cx:pt>
          <cx:pt idx="3321">382.70069280000001</cx:pt>
          <cx:pt idx="3322">382.66198279999998</cx:pt>
          <cx:pt idx="3323">382.64156450000002</cx:pt>
          <cx:pt idx="3324">382.62220939999997</cx:pt>
          <cx:pt idx="3325">382.6214415</cx:pt>
          <cx:pt idx="3326">382.58320400000002</cx:pt>
          <cx:pt idx="3327">382.56277590000002</cx:pt>
          <cx:pt idx="3328">382.5434209</cx:pt>
          <cx:pt idx="3329">382.52407570000003</cx:pt>
          <cx:pt idx="3330">382.5036475</cx:pt>
          <cx:pt idx="3331">382.48429249999998</cx:pt>
          <cx:pt idx="3332">382.44559229999999</cx:pt>
          <cx:pt idx="3333">382.44543479999999</cx:pt>
          <cx:pt idx="3334">382.42516419999998</cx:pt>
          <cx:pt idx="3335">382.42455380000001</cx:pt>
          <cx:pt idx="3336">382.38646390000002</cx:pt>
          <cx:pt idx="3337">382.36603580000002</cx:pt>
          <cx:pt idx="3338">382.34576520000002</cx:pt>
          <cx:pt idx="3339">382.32733560000003</cx:pt>
          <cx:pt idx="3340">382.3067499</cx:pt>
          <cx:pt idx="3341">382.24870449999997</cx:pt>
          <cx:pt idx="3342">382.22827640000003</cx:pt>
          <cx:pt idx="3343">382.20892140000001</cx:pt>
          <cx:pt idx="3344">382.18957619999998</cx:pt>
          <cx:pt idx="3345">382.14979299999999</cx:pt>
          <cx:pt idx="3346">382.13044780000001</cx:pt>
          <cx:pt idx="3347">382.05089140000001</cx:pt>
          <cx:pt idx="3348">382.01187609999999</cx:pt>
          <cx:pt idx="3349">381.95197990000003</cx:pt>
          <cx:pt idx="3350">381.93340260000002</cx:pt>
          <cx:pt idx="3351">381.9126693</cx:pt>
          <cx:pt idx="3352">381.89361939999998</cx:pt>
          <cx:pt idx="3353">381.7749</cx:pt>
          <cx:pt idx="3354">381.83382110000002</cx:pt>
          <cx:pt idx="3355">381.90322759999998</cx:pt>
          <cx:pt idx="3356">381.90848770000002</cx:pt>
          <cx:pt idx="3357">381.91930500000001</cx:pt>
          <cx:pt idx="3358">381.9245651</cx:pt>
          <cx:pt idx="3359">381.9298278</cx:pt>
          <cx:pt idx="3360">381.93538239999998</cx:pt>
          <cx:pt idx="3361">381.94064250000002</cx:pt>
          <cx:pt idx="3362">381.94590529999999</cx:pt>
          <cx:pt idx="3363">381.95125100000001</cx:pt>
          <cx:pt idx="3364">381.98340589999998</cx:pt>
          <cx:pt idx="3365">381.99442929999998</cx:pt>
          <cx:pt idx="3366">382.00503780000003</cx:pt>
          <cx:pt idx="3367">382.01556069999998</cx:pt>
          <cx:pt idx="3368">382.0424956</cx:pt>
          <cx:pt idx="3369">382.04775840000002</cx:pt>
          <cx:pt idx="3370">382.06383579999999</cx:pt>
          <cx:pt idx="3371">382.09047889999999</cx:pt>
          <cx:pt idx="3372">382.09603079999999</cx:pt>
          <cx:pt idx="3373">382.10655630000002</cx:pt>
          <cx:pt idx="3374">382.11185920000003</cx:pt>
          <cx:pt idx="3375">382.11753959999999</cx:pt>
          <cx:pt idx="3376">382.1226739</cx:pt>
          <cx:pt idx="3377">382.13328239999998</cx:pt>
          <cx:pt idx="3378">382.13875130000002</cx:pt>
          <cx:pt idx="3379">382.1548287</cx:pt>
          <cx:pt idx="3380">382.16009150000002</cx:pt>
          <cx:pt idx="3381">382.17616889999999</cx:pt>
          <cx:pt idx="3382">382.18172349999998</cx:pt>
          <cx:pt idx="3383">382.1869835</cx:pt>
          <cx:pt idx="3384">382.19232929999998</cx:pt>
          <cx:pt idx="3385">382.20314660000003</cx:pt>
          <cx:pt idx="3386">382.20840670000001</cx:pt>
          <cx:pt idx="3387">382.21366949999998</cx:pt>
          <cx:pt idx="3388">382.21893230000001</cx:pt>
          <cx:pt idx="3389">382.33677710000001</cx:pt>
          <cx:pt idx="3390">382.37427769999999</cx:pt>
          <cx:pt idx="3391">382.39561789999999</cx:pt>
          <cx:pt idx="3392">382.40129560000003</cx:pt>
          <cx:pt idx="3393">382.40643249999999</cx:pt>
          <cx:pt idx="3394">382.41169530000002</cx:pt>
          <cx:pt idx="3395">382.43307570000002</cx:pt>
          <cx:pt idx="3396">382.43863019999998</cx:pt>
          <cx:pt idx="3397">382.50302290000002</cx:pt>
          <cx:pt idx="3398">382.55096329999998</cx:pt>
          <cx:pt idx="3399">382.55121500000001</cx:pt>
          <cx:pt idx="3400">382.56704079999997</cx:pt>
          <cx:pt idx="3401">382.57785539999998</cx:pt>
          <cx:pt idx="3402">382.57798120000001</cx:pt>
          <cx:pt idx="3403">382.5883809</cx:pt>
          <cx:pt idx="3404">382.59368389999997</cx:pt>
          <cx:pt idx="3405">382.60449849999998</cx:pt>
          <cx:pt idx="3406">382.6097613</cx:pt>
          <cx:pt idx="3407">382.62057590000001</cx:pt>
          <cx:pt idx="3408">382.62583869999997</cx:pt>
          <cx:pt idx="3409">382.63139330000001</cx:pt>
          <cx:pt idx="3410">382.64747069999999</cx:pt>
          <cx:pt idx="3411">382.65273079999997</cx:pt>
          <cx:pt idx="3412">382.66354810000001</cx:pt>
          <cx:pt idx="3413">382.6688082</cx:pt>
          <cx:pt idx="3414">382.67432259999998</cx:pt>
          <cx:pt idx="3415">382.67941669999999</cx:pt>
          <cx:pt idx="3416">382.68497129999997</cx:pt>
          <cx:pt idx="3417">382.69040000000001</cx:pt>
          <cx:pt idx="3418">382.78717790000002</cx:pt>
          <cx:pt idx="3419">382.89270299999998</cx:pt>
          <cx:pt idx="3420">383.09261579999998</cx:pt>
          <cx:pt idx="3421">383.19259770000002</cx:pt>
          <cx:pt idx="3422">383.39805369999999</cx:pt>
          <cx:pt idx="3423">383.60350979999998</cx:pt>
          <cx:pt idx="3424">383.60590000000002</cx:pt>
          <cx:pt idx="3425">383.59665319999999</cx:pt>
          <cx:pt idx="3426">383.5871798</cx:pt>
          <cx:pt idx="3427">383.57710900000001</cx:pt>
          <cx:pt idx="3428">383.55816720000001</cx:pt>
          <cx:pt idx="3429">383.53907120000002</cx:pt>
          <cx:pt idx="3430">383.52922690000003</cx:pt>
          <cx:pt idx="3431">383.51975349999998</cx:pt>
          <cx:pt idx="3432">383.50028650000002</cx:pt>
          <cx:pt idx="3433">383.4808147</cx:pt>
          <cx:pt idx="3434">383.47134620000003</cx:pt>
          <cx:pt idx="3435">383.46187279999998</cx:pt>
          <cx:pt idx="3436">383.44240580000002</cx:pt>
          <cx:pt idx="3437">383.43278309999999</cx:pt>
          <cx:pt idx="3438">383.42330980000003</cx:pt>
          <cx:pt idx="3439">383.39436949999998</cx:pt>
          <cx:pt idx="3440">383.3749024</cx:pt>
          <cx:pt idx="3441">383.3559558</cx:pt>
          <cx:pt idx="3442">383.33648879999998</cx:pt>
          <cx:pt idx="3443">383.30754839999997</cx:pt>
          <cx:pt idx="3444">383.24959059999998</cx:pt>
          <cx:pt idx="3445">383.21118180000002</cx:pt>
          <cx:pt idx="3446">383.19170989999998</cx:pt>
          <cx:pt idx="3447">383.17276809999998</cx:pt>
          <cx:pt idx="3448">383.16276959999999</cx:pt>
          <cx:pt idx="3449">383.12420650000001</cx:pt>
          <cx:pt idx="3450">383.11473799999999</cx:pt>
          <cx:pt idx="3451">383.07632430000001</cx:pt>
          <cx:pt idx="3452">383.06685099999999</cx:pt>
          <cx:pt idx="3453">383.01844360000001</cx:pt>
          <cx:pt idx="3454">382.99889949999999</cx:pt>
          <cx:pt idx="3455">382.96048580000001</cx:pt>
          <cx:pt idx="3456">382.93154550000003</cx:pt>
          <cx:pt idx="3457">382.922077</cx:pt>
          <cx:pt idx="3458">382.90260510000002</cx:pt>
          <cx:pt idx="3459">382.89313659999999</cx:pt>
          <cx:pt idx="3460">382.87366479999997</cx:pt>
          <cx:pt idx="3461">382.84510030000001</cx:pt>
          <cx:pt idx="3462">382.82563329999999</cx:pt>
          <cx:pt idx="3463">382.8161599</cx:pt>
          <cx:pt idx="3464">382.80616140000001</cx:pt>
          <cx:pt idx="3465">382.7582792</cx:pt>
          <cx:pt idx="3466">382.71986559999999</cx:pt>
          <cx:pt idx="3467">382.71024770000002</cx:pt>
          <cx:pt idx="3468">382.69077579999998</cx:pt>
          <cx:pt idx="3469">382.69040000000001</cx:pt>
          <cx:pt idx="3470">382.69040000000001</cx:pt>
          <cx:pt idx="3471">382.69040000000001</cx:pt>
          <cx:pt idx="3472">382.69040000000001</cx:pt>
          <cx:pt idx="3473">382.69040000000001</cx:pt>
          <cx:pt idx="3474">382.69040000000001</cx:pt>
          <cx:pt idx="3475">382.69040000000001</cx:pt>
          <cx:pt idx="3476">382.69040000000001</cx:pt>
          <cx:pt idx="3477">382.69040000000001</cx:pt>
          <cx:pt idx="3478">382.69040000000001</cx:pt>
          <cx:pt idx="3479">382.69040000000001</cx:pt>
          <cx:pt idx="3480">382.69040000000001</cx:pt>
          <cx:pt idx="3481">382.69040000000001</cx:pt>
          <cx:pt idx="3482">382.69040000000001</cx:pt>
          <cx:pt idx="3483">382.69040000000001</cx:pt>
          <cx:pt idx="3484">382.69040000000001</cx:pt>
          <cx:pt idx="3485">382.69040000000001</cx:pt>
          <cx:pt idx="3486">382.69040000000001</cx:pt>
          <cx:pt idx="3487">382.69040000000001</cx:pt>
          <cx:pt idx="3488">382.69040000000001</cx:pt>
          <cx:pt idx="3489">382.71992690000002</cx:pt>
          <cx:pt idx="3490">382.72087299999998</cx:pt>
          <cx:pt idx="3491">382.74991169999998</cx:pt>
          <cx:pt idx="3492">382.81180380000001</cx:pt>
          <cx:pt idx="3493">382.84180370000001</cx:pt>
          <cx:pt idx="3494">382.87178849999998</cx:pt>
          <cx:pt idx="3495">382.96343639999998</cx:pt>
          <cx:pt idx="3496">383.08674760000002</cx:pt>
          <cx:pt idx="3497">383.5449873</cx:pt>
          <cx:pt idx="3498">383.78732179999997</cx:pt>
          <cx:pt idx="3499">384.03322700000001</cx:pt>
          <cx:pt idx="3500">384.52171079999999</cx:pt>
          <cx:pt idx="3501">384.55193969999999</cx:pt>
          <cx:pt idx="3502">384.70285510000002</cx:pt>
          <cx:pt idx="3503">385.31487900000002</cx:pt>
          <cx:pt idx="3504">385.43700000000001</cx:pt>
          <cx:pt idx="3505">381.7749</cx:pt>
          <cx:pt idx="3506">381.7945555</cx:pt>
          <cx:pt idx="3507">381.85724900000002</cx:pt>
          <cx:pt idx="3508">381.87770610000001</cx:pt>
          <cx:pt idx="3509">381.94023299999998</cx:pt>
          <cx:pt idx="3510">382.00276000000002</cx:pt>
          <cx:pt idx="3511">382.02436219999998</cx:pt>
          <cx:pt idx="3512">382.06528689999999</cx:pt>
          <cx:pt idx="3513">382.10735670000003</cx:pt>
          <cx:pt idx="3514">382.14844790000001</cx:pt>
          <cx:pt idx="3515">382.19050729999998</cx:pt>
          <cx:pt idx="3516">382.23257710000001</cx:pt>
          <cx:pt idx="3517">382.2530342</cx:pt>
          <cx:pt idx="3518">382.37825470000001</cx:pt>
          <cx:pt idx="3519">382.4191793</cx:pt>
          <cx:pt idx="3520">382.44094819999998</cx:pt>
          <cx:pt idx="3521">382.48187280000002</cx:pt>
          <cx:pt idx="3522">382.54439969999999</cx:pt>
          <cx:pt idx="3523">382.56485679999997</cx:pt>
          <cx:pt idx="3524">382.62738380000002</cx:pt>
          <cx:pt idx="3525">382.6694536</cx:pt>
          <cx:pt idx="3526">382.71151300000002</cx:pt>
          <cx:pt idx="3527">382.73262599999998</cx:pt>
          <cx:pt idx="3528">382.75260420000001</cx:pt>
          <cx:pt idx="3529">382.94084090000001</cx:pt>
          <cx:pt idx="3530">382.96162070000003</cx:pt>
          <cx:pt idx="3531">383.377228</cx:pt>
          <cx:pt idx="3532">383.60590000000002</cx:pt>
          <cx:pt idx="3533">383.60590000000002</cx:pt>
          <cx:pt idx="3534">383.60590000000002</cx:pt>
          <cx:pt idx="3535">383.60590000000002</cx:pt>
          <cx:pt idx="3536">383.60590000000002</cx:pt>
          <cx:pt idx="3537">383.60590000000002</cx:pt>
          <cx:pt idx="3538">383.60590000000002</cx:pt>
          <cx:pt idx="3539">383.60590000000002</cx:pt>
          <cx:pt idx="3540">383.60590000000002</cx:pt>
          <cx:pt idx="3541">383.60590000000002</cx:pt>
          <cx:pt idx="3542">383.60590000000002</cx:pt>
          <cx:pt idx="3543">383.60590000000002</cx:pt>
          <cx:pt idx="3544">383.60590000000002</cx:pt>
          <cx:pt idx="3545">383.60590000000002</cx:pt>
          <cx:pt idx="3546">383.60590000000002</cx:pt>
          <cx:pt idx="3547">383.60590000000002</cx:pt>
          <cx:pt idx="3548">383.60590000000002</cx:pt>
          <cx:pt idx="3549">383.60590000000002</cx:pt>
          <cx:pt idx="3550">383.60590000000002</cx:pt>
          <cx:pt idx="3551">383.60590000000002</cx:pt>
          <cx:pt idx="3552">383.60590000000002</cx:pt>
          <cx:pt idx="3553">383.60590000000002</cx:pt>
          <cx:pt idx="3554">383.60590000000002</cx:pt>
          <cx:pt idx="3555">383.60590000000002</cx:pt>
          <cx:pt idx="3556">383.60590000000002</cx:pt>
          <cx:pt idx="3557">383.60590000000002</cx:pt>
          <cx:pt idx="3558">383.60590000000002</cx:pt>
          <cx:pt idx="3559">383.60590000000002</cx:pt>
          <cx:pt idx="3560">383.60590000000002</cx:pt>
          <cx:pt idx="3561">383.60590000000002</cx:pt>
          <cx:pt idx="3562">383.60590000000002</cx:pt>
          <cx:pt idx="3563">383.60590000000002</cx:pt>
          <cx:pt idx="3564">383.60590000000002</cx:pt>
          <cx:pt idx="3565">383.60590000000002</cx:pt>
          <cx:pt idx="3566">383.13175819999998</cx:pt>
          <cx:pt idx="3567">383.06510609999998</cx:pt>
          <cx:pt idx="3568">382.92971690000002</cx:pt>
          <cx:pt idx="3569">382.86123409999999</cx:pt>
          <cx:pt idx="3570">382.79273430000001</cx:pt>
          <cx:pt idx="3571">382.72609920000002</cx:pt>
          <cx:pt idx="3572">382.69092549999999</cx:pt>
          <cx:pt idx="3573">382.69040000000001</cx:pt>
          <cx:pt idx="3574">382.71895999999998</cx:pt>
          <cx:pt idx="3575">382.71989029999997</cx:pt>
          <cx:pt idx="3576">382.7786347</cx:pt>
          <cx:pt idx="3577">382.83692129999997</cx:pt>
          <cx:pt idx="3578">382.8380732</cx:pt>
          <cx:pt idx="3579">383.33889210000001</cx:pt>
          <cx:pt idx="3580">383.36792459999998</cx:pt>
          <cx:pt idx="3581">383.45661719999998</cx:pt>
          <cx:pt idx="3582">383.51627710000002</cx:pt>
          <cx:pt idx="3583">383.54530970000002</cx:pt>
          <cx:pt idx="3584">383.57595190000001</cx:pt>
          <cx:pt idx="3585">383.60496970000003</cx:pt>
          <cx:pt idx="3586">383.60590000000002</cx:pt>
          <cx:pt idx="3587">383.60211170000002</cx:pt>
          <cx:pt idx="3588">383.58201969999999</cx:pt>
          <cx:pt idx="3589">383.54639830000002</cx:pt>
          <cx:pt idx="3590">383.5422059</cx:pt>
          <cx:pt idx="3591">383.4984187</cx:pt>
          <cx:pt idx="3592">383.48255089999998</cx:pt>
          <cx:pt idx="3593">383.44286260000001</cx:pt>
          <cx:pt idx="3594">383.43071939999999</cx:pt>
          <cx:pt idx="3595">383.39901170000002</cx:pt>
          <cx:pt idx="3596">383.39488299999999</cx:pt>
          <cx:pt idx="3597">383.39485109999998</cx:pt>
          <cx:pt idx="3598">383.39096929999999</cx:pt>
          <cx:pt idx="3599">383.3870556</cx:pt>
          <cx:pt idx="3600">383.38693219999999</cx:pt>
          <cx:pt idx="3601">383.37901319999997</cx:pt>
          <cx:pt idx="3602">383.3433301</cx:pt>
          <cx:pt idx="3603">383.31128200000001</cx:pt>
          <cx:pt idx="3604">383.3033949</cx:pt>
          <cx:pt idx="3605">383.2994812</cx:pt>
          <cx:pt idx="3606">383.2955675</cx:pt>
          <cx:pt idx="3607">383.18389580000002</cx:pt>
          <cx:pt idx="3608">383.17613210000002</cx:pt>
          <cx:pt idx="3609">383.1719377</cx:pt>
          <cx:pt idx="3610">383.1281505</cx:pt>
          <cx:pt idx="3611">383.08455049999998</cx:pt>
          <cx:pt idx="3612">383.04054430000002</cx:pt>
          <cx:pt idx="3613">383.03657090000002</cx:pt>
          <cx:pt idx="3614">382.98880830000002</cx:pt>
          <cx:pt idx="3615">382.94899450000003</cx:pt>
          <cx:pt idx="3616">382.94502110000002</cx:pt>
          <cx:pt idx="3617">382.94116910000002</cx:pt>
          <cx:pt idx="3618">382.93318840000001</cx:pt>
          <cx:pt idx="3619">382.92927470000001</cx:pt>
          <cx:pt idx="3620">382.92123229999999</cx:pt>
          <cx:pt idx="3621">382.91706979999998</cx:pt>
          <cx:pt idx="3622">382.91318799999999</cx:pt>
          <cx:pt idx="3623">382.90927629999999</cx:pt>
          <cx:pt idx="3624">382.90918269999997</cx:pt>
          <cx:pt idx="3625">382.90123190000003</cx:pt>
          <cx:pt idx="3626">382.89340650000003</cx:pt>
          <cx:pt idx="3627">382.8853641</cx:pt>
          <cx:pt idx="3628">382.86949429999999</cx:pt>
          <cx:pt idx="3629">382.86145199999999</cx:pt>
          <cx:pt idx="3630">382.85350110000002</cx:pt>
          <cx:pt idx="3631">382.84958740000002</cx:pt>
          <cx:pt idx="3632">382.84154510000002</cx:pt>
          <cx:pt idx="3633">382.81375109999999</cx:pt>
          <cx:pt idx="3634">382.80983739999999</cx:pt>
          <cx:pt idx="3635">382.80570870000003</cx:pt>
          <cx:pt idx="3636">382.80166960000003</cx:pt>
          <cx:pt idx="3637">382.7976324</cx:pt>
          <cx:pt idx="3638">382.78983890000001</cx:pt>
          <cx:pt idx="3639">382.78179449999999</cx:pt>
          <cx:pt idx="3640">382.77788279999999</cx:pt>
          <cx:pt idx="3641">382.7700256</cx:pt>
          <cx:pt idx="3642">382.76589489999998</cx:pt>
          <cx:pt idx="3643">382.75393880000001</cx:pt>
          <cx:pt idx="3644">382.74198269999999</cx:pt>
          <cx:pt idx="3645">382.7340638</cx:pt>
          <cx:pt idx="3646">382.7262384</cx:pt>
          <cx:pt idx="3647">382.72210769999998</cx:pt>
          <cx:pt idx="3648">382.71422059999998</cx:pt>
          <cx:pt idx="3649">382.71030689999998</cx:pt>
          <cx:pt idx="3650">382.70617620000002</cx:pt>
          <cx:pt idx="3651">382.70611450000001</cx:pt>
          <cx:pt idx="3652">382.69816370000001</cx:pt>
          <cx:pt idx="3653">382.69431370000001</cx:pt>
          <cx:pt idx="3654">382.69040000000001</cx:pt>
          <cx:pt idx="3655">380.85939999999999</cx:pt>
          <cx:pt idx="3656">384.5215</cx:pt>
          <cx:pt idx="3657">382.69211610000002</cx:pt>
          <cx:pt idx="3658">382.69040000000001</cx:pt>
          <cx:pt idx="3659">382.69040000000001</cx:pt>
          <cx:pt idx="3660">382.69040000000001</cx:pt>
          <cx:pt idx="3661">382.69040000000001</cx:pt>
          <cx:pt idx="3662">382.69040000000001</cx:pt>
          <cx:pt idx="3663">382.69040000000001</cx:pt>
          <cx:pt idx="3664">382.69040000000001</cx:pt>
          <cx:pt idx="3665">382.69040000000001</cx:pt>
          <cx:pt idx="3666">382.69040000000001</cx:pt>
          <cx:pt idx="3667">382.69040000000001</cx:pt>
          <cx:pt idx="3668">382.69040000000001</cx:pt>
          <cx:pt idx="3669">382.69040000000001</cx:pt>
          <cx:pt idx="3670">382.69040000000001</cx:pt>
          <cx:pt idx="3671">382.69040000000001</cx:pt>
          <cx:pt idx="3672">382.69040000000001</cx:pt>
          <cx:pt idx="3673">382.69040000000001</cx:pt>
          <cx:pt idx="3674">382.69040000000001</cx:pt>
          <cx:pt idx="3675">382.69040000000001</cx:pt>
          <cx:pt idx="3676">382.69040000000001</cx:pt>
          <cx:pt idx="3677">382.69040000000001</cx:pt>
          <cx:pt idx="3678">382.69040000000001</cx:pt>
          <cx:pt idx="3679">382.69040000000001</cx:pt>
          <cx:pt idx="3680">382.69040000000001</cx:pt>
          <cx:pt idx="3681">382.69040000000001</cx:pt>
          <cx:pt idx="3682">382.69040000000001</cx:pt>
          <cx:pt idx="3683">382.69040000000001</cx:pt>
          <cx:pt idx="3684">382.69040000000001</cx:pt>
          <cx:pt idx="3685">382.69040000000001</cx:pt>
          <cx:pt idx="3686">382.69040000000001</cx:pt>
          <cx:pt idx="3687">382.69040000000001</cx:pt>
          <cx:pt idx="3688">382.69040000000001</cx:pt>
          <cx:pt idx="3689">382.69040000000001</cx:pt>
          <cx:pt idx="3690">382.69040000000001</cx:pt>
          <cx:pt idx="3691">382.69040000000001</cx:pt>
          <cx:pt idx="3692">382.69040000000001</cx:pt>
          <cx:pt idx="3693">382.69040000000001</cx:pt>
          <cx:pt idx="3694">382.69040000000001</cx:pt>
          <cx:pt idx="3695">382.69040000000001</cx:pt>
          <cx:pt idx="3696">382.69040000000001</cx:pt>
          <cx:pt idx="3697">382.69040000000001</cx:pt>
          <cx:pt idx="3698">382.69040000000001</cx:pt>
          <cx:pt idx="3699">382.69040000000001</cx:pt>
          <cx:pt idx="3700">382.69040000000001</cx:pt>
          <cx:pt idx="3701">382.69040000000001</cx:pt>
          <cx:pt idx="3702">382.69040000000001</cx:pt>
          <cx:pt idx="3703">382.69040000000001</cx:pt>
          <cx:pt idx="3704">382.69040000000001</cx:pt>
          <cx:pt idx="3705">382.69040000000001</cx:pt>
          <cx:pt idx="3706">382.69040000000001</cx:pt>
          <cx:pt idx="3707">382.69040000000001</cx:pt>
          <cx:pt idx="3708">382.69040000000001</cx:pt>
          <cx:pt idx="3709">382.69040000000001</cx:pt>
          <cx:pt idx="3710">382.69040000000001</cx:pt>
          <cx:pt idx="3711">382.69040000000001</cx:pt>
          <cx:pt idx="3712">382.69040000000001</cx:pt>
          <cx:pt idx="3713">382.69040000000001</cx:pt>
          <cx:pt idx="3714">382.69040000000001</cx:pt>
          <cx:pt idx="3715">382.69040000000001</cx:pt>
          <cx:pt idx="3716">382.69040000000001</cx:pt>
          <cx:pt idx="3717">382.69040000000001</cx:pt>
          <cx:pt idx="3718">382.69040000000001</cx:pt>
          <cx:pt idx="3719">382.67566499999998</cx:pt>
          <cx:pt idx="3720">382.57410429999999</cx:pt>
          <cx:pt idx="3721">382.42936309999999</cx:pt>
          <cx:pt idx="3722">382.40000220000002</cx:pt>
          <cx:pt idx="3723">382.39977699999997</cx:pt>
          <cx:pt idx="3724">382.38526719999999</cx:pt>
          <cx:pt idx="3725">382.37121530000002</cx:pt>
          <cx:pt idx="3726">382.2985577</cx:pt>
          <cx:pt idx="3727">382.269204</cx:pt>
          <cx:pt idx="3728">382.21128140000002</cx:pt>
          <cx:pt idx="3729">382.18192770000002</cx:pt>
          <cx:pt idx="3730">381.92020789999998</cx:pt>
          <cx:pt idx="3731">381.81898860000001</cx:pt>
          <cx:pt idx="3732">381.81842189999998</cx:pt>
          <cx:pt idx="3733">381.8038032</cx:pt>
          <cx:pt idx="3734">381.78963499999998</cx:pt>
          <cx:pt idx="3735">381.7749</cx:pt>
          <cx:pt idx="3736">382.1952915</cx:pt>
          <cx:pt idx="3737">382.6124069</cx:pt>
          <cx:pt idx="3738">382.8316911</cx:pt>
          <cx:pt idx="3739">383.03945620000002</cx:pt>
          <cx:pt idx="3740">383.45488080000001</cx:pt>
          <cx:pt idx="3741">383.67416489999999</cx:pt>
          <cx:pt idx="3742">384.31045879999999</cx:pt>
          <cx:pt idx="3743">384.5215</cx:pt>
          <cx:pt idx="3744">382.03700090000001</cx:pt>
          <cx:pt idx="3745">381.7749</cx:pt>
          <cx:pt idx="3746">382.68756200000001</cx:pt>
          <cx:pt idx="3747">382.69040000000001</cx:pt>
          <cx:pt idx="3748">382.72974959999999</cx:pt>
          <cx:pt idx="3749">382.73103140000001</cx:pt>
          <cx:pt idx="3750">382.7697503</cx:pt>
          <cx:pt idx="3751">382.81196870000002</cx:pt>
          <cx:pt idx="3752">382.97321269999998</cx:pt>
          <cx:pt idx="3753">383.13793579999998</cx:pt>
          <cx:pt idx="3754">383.17793649999999</cx:pt>
          <cx:pt idx="3755">383.29917970000002</cx:pt>
          <cx:pt idx="3756">383.38137840000002</cx:pt>
          <cx:pt idx="3757">383.38202949999999</cx:pt>
          <cx:pt idx="3758">383.42137910000002</cx:pt>
          <cx:pt idx="3759">383.46390280000003</cx:pt>
          <cx:pt idx="3760">383.50357789999998</cx:pt>
          <cx:pt idx="3761">383.54484009999999</cx:pt>
          <cx:pt idx="3762">383.62610289999998</cx:pt>
          <cx:pt idx="3763">383.70608399999998</cx:pt>
          <cx:pt idx="3764">383.78830310000001</cx:pt>
          <cx:pt idx="3765">383.8282835</cx:pt>
          <cx:pt idx="3766">383.91050259999997</cx:pt>
          <cx:pt idx="3767">383.9504829</cx:pt>
          <cx:pt idx="3768">384.15520679999997</cx:pt>
          <cx:pt idx="3769">384.48086860000001</cx:pt>
          <cx:pt idx="3770">384.5215</cx:pt>
          <cx:pt idx="3771">383.60590000000002</cx:pt>
          <cx:pt idx="3772">383.60590000000002</cx:pt>
          <cx:pt idx="3773">383.60590000000002</cx:pt>
          <cx:pt idx="3774">383.60590000000002</cx:pt>
          <cx:pt idx="3775">383.60590000000002</cx:pt>
          <cx:pt idx="3776">383.60590000000002</cx:pt>
          <cx:pt idx="3777">383.60590000000002</cx:pt>
          <cx:pt idx="3778">383.60590000000002</cx:pt>
          <cx:pt idx="3779">383.60590000000002</cx:pt>
          <cx:pt idx="3780">383.60590000000002</cx:pt>
          <cx:pt idx="3781">383.60590000000002</cx:pt>
          <cx:pt idx="3782">383.60590000000002</cx:pt>
          <cx:pt idx="3783">383.60590000000002</cx:pt>
          <cx:pt idx="3784">383.60590000000002</cx:pt>
          <cx:pt idx="3785">383.60590000000002</cx:pt>
          <cx:pt idx="3786">383.60590000000002</cx:pt>
          <cx:pt idx="3787">383.60590000000002</cx:pt>
          <cx:pt idx="3788">383.60590000000002</cx:pt>
          <cx:pt idx="3789">383.60590000000002</cx:pt>
          <cx:pt idx="3790">383.60590000000002</cx:pt>
          <cx:pt idx="3791">383.60590000000002</cx:pt>
          <cx:pt idx="3792">383.60590000000002</cx:pt>
          <cx:pt idx="3793">383.60590000000002</cx:pt>
          <cx:pt idx="3794">383.60590000000002</cx:pt>
          <cx:pt idx="3795">383.60590000000002</cx:pt>
          <cx:pt idx="3796">383.60590000000002</cx:pt>
          <cx:pt idx="3797">383.60590000000002</cx:pt>
          <cx:pt idx="3798">383.60590000000002</cx:pt>
          <cx:pt idx="3799">383.60590000000002</cx:pt>
          <cx:pt idx="3800">383.06751309999999</cx:pt>
          <cx:pt idx="3801">381.88327729999997</cx:pt>
          <cx:pt idx="3802">381.7749</cx:pt>
          <cx:pt idx="3803">384.5215</cx:pt>
          <cx:pt idx="3804">380.85939999999999</cx:pt>
          <cx:pt idx="3805">381.45006130000002</cx:pt>
          <cx:pt idx="3806">384.5215</cx:pt>
          <cx:pt idx="3807">384.5215</cx:pt>
          <cx:pt idx="3808">384.5215</cx:pt>
          <cx:pt idx="3809">384.5215</cx:pt>
          <cx:pt idx="3810">382.69040000000001</cx:pt>
          <cx:pt idx="3811">382.69040000000001</cx:pt>
          <cx:pt idx="3812">382.69040000000001</cx:pt>
          <cx:pt idx="3813">382.69040000000001</cx:pt>
          <cx:pt idx="3814">382.69040000000001</cx:pt>
          <cx:pt idx="3815">382.69040000000001</cx:pt>
          <cx:pt idx="3816">382.69040000000001</cx:pt>
          <cx:pt idx="3817">382.69040000000001</cx:pt>
          <cx:pt idx="3818">382.69040000000001</cx:pt>
          <cx:pt idx="3819">382.69040000000001</cx:pt>
          <cx:pt idx="3820">382.69040000000001</cx:pt>
          <cx:pt idx="3821">382.69040000000001</cx:pt>
          <cx:pt idx="3822">382.69040000000001</cx:pt>
          <cx:pt idx="3823">382.69040000000001</cx:pt>
          <cx:pt idx="3824">382.69040000000001</cx:pt>
          <cx:pt idx="3825">382.69040000000001</cx:pt>
          <cx:pt idx="3826">382.69040000000001</cx:pt>
          <cx:pt idx="3827">382.69040000000001</cx:pt>
          <cx:pt idx="3828">382.69040000000001</cx:pt>
          <cx:pt idx="3829">382.69040000000001</cx:pt>
          <cx:pt idx="3830">382.69040000000001</cx:pt>
          <cx:pt idx="3831">382.69040000000001</cx:pt>
          <cx:pt idx="3832">382.69040000000001</cx:pt>
          <cx:pt idx="3833">382.69040000000001</cx:pt>
          <cx:pt idx="3834">382.69040000000001</cx:pt>
          <cx:pt idx="3835">382.69040000000001</cx:pt>
          <cx:pt idx="3836">382.69040000000001</cx:pt>
          <cx:pt idx="3837">382.69040000000001</cx:pt>
          <cx:pt idx="3838">382.69040000000001</cx:pt>
          <cx:pt idx="3839">382.69040000000001</cx:pt>
          <cx:pt idx="3840">382.69040000000001</cx:pt>
          <cx:pt idx="3841">382.69040000000001</cx:pt>
          <cx:pt idx="3842">382.69040000000001</cx:pt>
          <cx:pt idx="3843">382.69040000000001</cx:pt>
          <cx:pt idx="3844">382.69040000000001</cx:pt>
          <cx:pt idx="3845">382.69040000000001</cx:pt>
          <cx:pt idx="3846">382.69040000000001</cx:pt>
          <cx:pt idx="3847">382.69040000000001</cx:pt>
          <cx:pt idx="3848">382.69040000000001</cx:pt>
          <cx:pt idx="3849">382.69040000000001</cx:pt>
          <cx:pt idx="3850">382.69040000000001</cx:pt>
          <cx:pt idx="3851">382.69040000000001</cx:pt>
          <cx:pt idx="3852">382.69040000000001</cx:pt>
          <cx:pt idx="3853">382.69040000000001</cx:pt>
          <cx:pt idx="3854">382.69040000000001</cx:pt>
          <cx:pt idx="3855">382.69040000000001</cx:pt>
          <cx:pt idx="3856">382.69040000000001</cx:pt>
          <cx:pt idx="3857">382.69040000000001</cx:pt>
          <cx:pt idx="3858">382.69040000000001</cx:pt>
          <cx:pt idx="3859">382.69040000000001</cx:pt>
          <cx:pt idx="3860">382.69040000000001</cx:pt>
          <cx:pt idx="3861">382.69040000000001</cx:pt>
          <cx:pt idx="3862">382.69040000000001</cx:pt>
          <cx:pt idx="3863">382.69040000000001</cx:pt>
          <cx:pt idx="3864">382.69040000000001</cx:pt>
          <cx:pt idx="3865">382.69040000000001</cx:pt>
          <cx:pt idx="3866">382.69040000000001</cx:pt>
          <cx:pt idx="3867">382.69040000000001</cx:pt>
          <cx:pt idx="3868">382.69040000000001</cx:pt>
          <cx:pt idx="3869">380.85939999999999</cx:pt>
          <cx:pt idx="3870">382.69040000000001</cx:pt>
          <cx:pt idx="3871">382.69040000000001</cx:pt>
          <cx:pt idx="3872">382.69040000000001</cx:pt>
          <cx:pt idx="3873">382.69040000000001</cx:pt>
          <cx:pt idx="3874">382.69040000000001</cx:pt>
          <cx:pt idx="3875">382.69040000000001</cx:pt>
          <cx:pt idx="3876">382.69040000000001</cx:pt>
          <cx:pt idx="3877">382.69040000000001</cx:pt>
          <cx:pt idx="3878">382.69040000000001</cx:pt>
          <cx:pt idx="3879">382.69040000000001</cx:pt>
          <cx:pt idx="3880">382.69040000000001</cx:pt>
          <cx:pt idx="3881">382.69040000000001</cx:pt>
          <cx:pt idx="3882">382.69040000000001</cx:pt>
          <cx:pt idx="3883">382.69040000000001</cx:pt>
          <cx:pt idx="3884">382.69040000000001</cx:pt>
          <cx:pt idx="3885">382.69040000000001</cx:pt>
          <cx:pt idx="3886">382.69040000000001</cx:pt>
          <cx:pt idx="3887">382.69040000000001</cx:pt>
          <cx:pt idx="3888">382.69040000000001</cx:pt>
          <cx:pt idx="3889">382.69040000000001</cx:pt>
          <cx:pt idx="3890">382.69040000000001</cx:pt>
          <cx:pt idx="3891">382.69040000000001</cx:pt>
          <cx:pt idx="3892">382.69040000000001</cx:pt>
          <cx:pt idx="3893">382.69040000000001</cx:pt>
          <cx:pt idx="3894">382.69040000000001</cx:pt>
          <cx:pt idx="3895">382.69040000000001</cx:pt>
          <cx:pt idx="3896">382.69040000000001</cx:pt>
          <cx:pt idx="3897">382.69040000000001</cx:pt>
          <cx:pt idx="3898">382.69040000000001</cx:pt>
          <cx:pt idx="3899">382.69040000000001</cx:pt>
          <cx:pt idx="3900">382.69040000000001</cx:pt>
          <cx:pt idx="3901">382.69040000000001</cx:pt>
          <cx:pt idx="3902">382.69040000000001</cx:pt>
          <cx:pt idx="3903">382.69040000000001</cx:pt>
          <cx:pt idx="3904">382.69040000000001</cx:pt>
          <cx:pt idx="3905">382.69040000000001</cx:pt>
          <cx:pt idx="3906">382.69040000000001</cx:pt>
          <cx:pt idx="3907">382.69040000000001</cx:pt>
          <cx:pt idx="3908">382.69040000000001</cx:pt>
          <cx:pt idx="3909">382.69040000000001</cx:pt>
          <cx:pt idx="3910">382.69040000000001</cx:pt>
          <cx:pt idx="3911">382.69040000000001</cx:pt>
          <cx:pt idx="3912">382.69040000000001</cx:pt>
          <cx:pt idx="3913">382.69040000000001</cx:pt>
          <cx:pt idx="3914">382.69040000000001</cx:pt>
          <cx:pt idx="3915">382.69040000000001</cx:pt>
          <cx:pt idx="3916">382.69040000000001</cx:pt>
          <cx:pt idx="3917">382.69040000000001</cx:pt>
          <cx:pt idx="3918">382.69040000000001</cx:pt>
          <cx:pt idx="3919">382.69040000000001</cx:pt>
          <cx:pt idx="3920">382.69040000000001</cx:pt>
          <cx:pt idx="3921">382.69040000000001</cx:pt>
          <cx:pt idx="3922">382.69040000000001</cx:pt>
          <cx:pt idx="3923">382.69040000000001</cx:pt>
          <cx:pt idx="3924">382.69040000000001</cx:pt>
          <cx:pt idx="3925">382.69040000000001</cx:pt>
          <cx:pt idx="3926">382.69040000000001</cx:pt>
          <cx:pt idx="3927">382.69040000000001</cx:pt>
          <cx:pt idx="3928">382.69040000000001</cx:pt>
          <cx:pt idx="3929">382.69040000000001</cx:pt>
          <cx:pt idx="3930">382.69040000000001</cx:pt>
          <cx:pt idx="3931">382.69040000000001</cx:pt>
          <cx:pt idx="3932">382.69040000000001</cx:pt>
          <cx:pt idx="3933">382.69040000000001</cx:pt>
          <cx:pt idx="3934">382.69040000000001</cx:pt>
          <cx:pt idx="3935">382.69040000000001</cx:pt>
          <cx:pt idx="3936">382.69040000000001</cx:pt>
          <cx:pt idx="3937">382.69040000000001</cx:pt>
          <cx:pt idx="3938">382.69040000000001</cx:pt>
          <cx:pt idx="3939">382.69040000000001</cx:pt>
          <cx:pt idx="3940">382.69040000000001</cx:pt>
          <cx:pt idx="3941">382.69040000000001</cx:pt>
          <cx:pt idx="3942">382.69040000000001</cx:pt>
          <cx:pt idx="3943">382.69040000000001</cx:pt>
          <cx:pt idx="3944">382.69040000000001</cx:pt>
          <cx:pt idx="3945">382.69040000000001</cx:pt>
          <cx:pt idx="3946">382.69040000000001</cx:pt>
          <cx:pt idx="3947">382.69040000000001</cx:pt>
          <cx:pt idx="3948">382.69040000000001</cx:pt>
          <cx:pt idx="3949">382.69040000000001</cx:pt>
          <cx:pt idx="3950">382.69040000000001</cx:pt>
          <cx:pt idx="3951">382.69040000000001</cx:pt>
          <cx:pt idx="3952">382.69040000000001</cx:pt>
          <cx:pt idx="3953">382.69040000000001</cx:pt>
          <cx:pt idx="3954">382.69040000000001</cx:pt>
          <cx:pt idx="3955">382.69040000000001</cx:pt>
          <cx:pt idx="3956">382.69040000000001</cx:pt>
          <cx:pt idx="3957">382.69040000000001</cx:pt>
          <cx:pt idx="3958">382.69040000000001</cx:pt>
          <cx:pt idx="3959">382.69040000000001</cx:pt>
          <cx:pt idx="3960">382.69040000000001</cx:pt>
          <cx:pt idx="3961">382.69040000000001</cx:pt>
          <cx:pt idx="3962">382.69040000000001</cx:pt>
          <cx:pt idx="3963">382.69040000000001</cx:pt>
          <cx:pt idx="3964">382.69040000000001</cx:pt>
          <cx:pt idx="3965">382.69040000000001</cx:pt>
          <cx:pt idx="3966">382.69040000000001</cx:pt>
          <cx:pt idx="3967">382.69040000000001</cx:pt>
          <cx:pt idx="3968">382.69040000000001</cx:pt>
          <cx:pt idx="3969">382.69040000000001</cx:pt>
          <cx:pt idx="3970">382.69040000000001</cx:pt>
          <cx:pt idx="3971">382.69040000000001</cx:pt>
          <cx:pt idx="3972">382.69040000000001</cx:pt>
          <cx:pt idx="3973">382.69040000000001</cx:pt>
          <cx:pt idx="3974">382.69040000000001</cx:pt>
          <cx:pt idx="3975">382.69040000000001</cx:pt>
          <cx:pt idx="3976">382.69040000000001</cx:pt>
          <cx:pt idx="3977">382.69040000000001</cx:pt>
          <cx:pt idx="3978">382.69040000000001</cx:pt>
          <cx:pt idx="3979">382.69040000000001</cx:pt>
          <cx:pt idx="3980">382.69040000000001</cx:pt>
          <cx:pt idx="3981">382.69040000000001</cx:pt>
          <cx:pt idx="3982">382.69040000000001</cx:pt>
          <cx:pt idx="3983">382.69040000000001</cx:pt>
          <cx:pt idx="3984">382.69040000000001</cx:pt>
          <cx:pt idx="3985">382.69040000000001</cx:pt>
          <cx:pt idx="3986">382.69040000000001</cx:pt>
          <cx:pt idx="3987">382.69040000000001</cx:pt>
          <cx:pt idx="3988">382.69040000000001</cx:pt>
          <cx:pt idx="3989">382.69040000000001</cx:pt>
          <cx:pt idx="3990">382.69040000000001</cx:pt>
          <cx:pt idx="3991">382.69040000000001</cx:pt>
          <cx:pt idx="3992">382.69040000000001</cx:pt>
          <cx:pt idx="3993">382.69040000000001</cx:pt>
          <cx:pt idx="3994">382.69040000000001</cx:pt>
          <cx:pt idx="3995">382.69040000000001</cx:pt>
          <cx:pt idx="3996">382.69040000000001</cx:pt>
          <cx:pt idx="3997">382.69040000000001</cx:pt>
          <cx:pt idx="3998">382.69040000000001</cx:pt>
          <cx:pt idx="3999">382.69040000000001</cx:pt>
          <cx:pt idx="4000">382.69040000000001</cx:pt>
          <cx:pt idx="4001">382.69040000000001</cx:pt>
          <cx:pt idx="4002">382.69040000000001</cx:pt>
          <cx:pt idx="4003">382.69040000000001</cx:pt>
          <cx:pt idx="4004">382.69040000000001</cx:pt>
          <cx:pt idx="4005">382.69040000000001</cx:pt>
          <cx:pt idx="4006">382.69040000000001</cx:pt>
          <cx:pt idx="4007">382.77347589999999</cx:pt>
          <cx:pt idx="4008">383.60590000000002</cx:pt>
          <cx:pt idx="4009">383.60590000000002</cx:pt>
          <cx:pt idx="4010">383.60590000000002</cx:pt>
          <cx:pt idx="4011">383.60590000000002</cx:pt>
          <cx:pt idx="4012">383.60590000000002</cx:pt>
          <cx:pt idx="4013">383.60590000000002</cx:pt>
          <cx:pt idx="4014">383.60590000000002</cx:pt>
          <cx:pt idx="4015">383.60590000000002</cx:pt>
          <cx:pt idx="4016">383.60590000000002</cx:pt>
          <cx:pt idx="4017">383.60590000000002</cx:pt>
          <cx:pt idx="4018">383.60590000000002</cx:pt>
          <cx:pt idx="4019">383.60590000000002</cx:pt>
          <cx:pt idx="4020">383.60590000000002</cx:pt>
          <cx:pt idx="4021">383.60590000000002</cx:pt>
          <cx:pt idx="4022">383.60590000000002</cx:pt>
          <cx:pt idx="4023">383.60590000000002</cx:pt>
          <cx:pt idx="4024">383.60590000000002</cx:pt>
          <cx:pt idx="4025">383.60590000000002</cx:pt>
          <cx:pt idx="4026">383.60590000000002</cx:pt>
          <cx:pt idx="4027">383.60590000000002</cx:pt>
          <cx:pt idx="4028">383.60590000000002</cx:pt>
          <cx:pt idx="4029">383.60590000000002</cx:pt>
          <cx:pt idx="4030">383.60590000000002</cx:pt>
          <cx:pt idx="4031">383.60590000000002</cx:pt>
          <cx:pt idx="4032">383.60590000000002</cx:pt>
          <cx:pt idx="4033">383.60590000000002</cx:pt>
          <cx:pt idx="4034">383.60590000000002</cx:pt>
          <cx:pt idx="4035">383.60590000000002</cx:pt>
          <cx:pt idx="4036">383.60590000000002</cx:pt>
          <cx:pt idx="4037">383.60590000000002</cx:pt>
          <cx:pt idx="4038">383.60590000000002</cx:pt>
          <cx:pt idx="4039">383.60590000000002</cx:pt>
          <cx:pt idx="4040">383.60590000000002</cx:pt>
          <cx:pt idx="4041">383.60590000000002</cx:pt>
          <cx:pt idx="4042">383.60590000000002</cx:pt>
          <cx:pt idx="4043">383.60590000000002</cx:pt>
          <cx:pt idx="4044">383.58710400000001</cx:pt>
          <cx:pt idx="4045">383.4563824</cx:pt>
          <cx:pt idx="4046">383.4383057</cx:pt>
          <cx:pt idx="4047">383.41878109999999</cx:pt>
          <cx:pt idx="4048">383.40070450000002</cx:pt>
          <cx:pt idx="4049">383.3629631</cx:pt>
          <cx:pt idx="4050">383.34445670000002</cx:pt>
          <cx:pt idx="4051">383.32609050000002</cx:pt>
          <cx:pt idx="4052">383.26984270000003</cx:pt>
          <cx:pt idx="4053">383.2514764</cx:pt>
          <cx:pt idx="4054">383.2320919</cx:pt>
          <cx:pt idx="4055">383.2137257</cx:pt>
          <cx:pt idx="4056">383.21343610000002</cx:pt>
          <cx:pt idx="4057">383.17598429999998</cx:pt>
          <cx:pt idx="4058">383.15761800000001</cx:pt>
          <cx:pt idx="4059">383.13926120000002</cx:pt>
          <cx:pt idx="4060">383.12031569999999</cx:pt>
          <cx:pt idx="4061">383.10194949999999</cx:pt>
          <cx:pt idx="4062">383.10137029999999</cx:pt>
          <cx:pt idx="4063">383.08256499999999</cx:pt>
          <cx:pt idx="4064">383.06420809999997</cx:pt>
          <cx:pt idx="4065">383.02733549999999</cx:pt>
          <cx:pt idx="4066">383.00795099999999</cx:pt>
          <cx:pt idx="4067">382.98944460000001</cx:pt>
          <cx:pt idx="4068">382.97107829999999</cx:pt>
          <cx:pt idx="4069">382.89617470000002</cx:pt>
          <cx:pt idx="4070">382.89588509999999</cx:pt>
          <cx:pt idx="4071">382.8400671</cx:pt>
          <cx:pt idx="4072">382.8217009</cx:pt>
          <cx:pt idx="4073">382.80231629999997</cx:pt>
          <cx:pt idx="4074">382.78395940000001</cx:pt>
          <cx:pt idx="4075">382.76559320000001</cx:pt>
          <cx:pt idx="4076">382.74708679999998</cx:pt>
          <cx:pt idx="4077">382.70934540000002</cx:pt>
          <cx:pt idx="4078">382.69097920000002</cx:pt>
          <cx:pt idx="4079">382.69040000000001</cx:pt>
          <cx:pt idx="4080">382.69040000000001</cx:pt>
          <cx:pt idx="4081">382.69040000000001</cx:pt>
          <cx:pt idx="4082">382.69040000000001</cx:pt>
          <cx:pt idx="4083">382.69040000000001</cx:pt>
          <cx:pt idx="4084">382.69040000000001</cx:pt>
          <cx:pt idx="4085">382.69040000000001</cx:pt>
          <cx:pt idx="4086">382.69040000000001</cx:pt>
          <cx:pt idx="4087">382.69040000000001</cx:pt>
          <cx:pt idx="4088">382.69040000000001</cx:pt>
          <cx:pt idx="4089">382.69040000000001</cx:pt>
          <cx:pt idx="4090">382.69040000000001</cx:pt>
          <cx:pt idx="4091">382.69040000000001</cx:pt>
          <cx:pt idx="4092">382.69040000000001</cx:pt>
          <cx:pt idx="4093">382.69040000000001</cx:pt>
          <cx:pt idx="4094">382.69040000000001</cx:pt>
          <cx:pt idx="4095">382.69040000000001</cx:pt>
          <cx:pt idx="4096">382.69040000000001</cx:pt>
          <cx:pt idx="4097">382.69040000000001</cx:pt>
          <cx:pt idx="4098">382.69040000000001</cx:pt>
          <cx:pt idx="4099">382.69040000000001</cx:pt>
          <cx:pt idx="4100">382.69040000000001</cx:pt>
          <cx:pt idx="4101">382.69040000000001</cx:pt>
          <cx:pt idx="4102">382.69040000000001</cx:pt>
          <cx:pt idx="4103">382.69040000000001</cx:pt>
          <cx:pt idx="4104">382.69040000000001</cx:pt>
          <cx:pt idx="4105">382.69040000000001</cx:pt>
          <cx:pt idx="4106">382.69040000000001</cx:pt>
          <cx:pt idx="4107">382.69040000000001</cx:pt>
          <cx:pt idx="4108">382.69040000000001</cx:pt>
          <cx:pt idx="4109">382.69040000000001</cx:pt>
          <cx:pt idx="4110">382.69040000000001</cx:pt>
          <cx:pt idx="4111">382.69040000000001</cx:pt>
          <cx:pt idx="4112">382.69040000000001</cx:pt>
          <cx:pt idx="4113">382.69040000000001</cx:pt>
          <cx:pt idx="4114">382.69040000000001</cx:pt>
          <cx:pt idx="4115">382.69040000000001</cx:pt>
          <cx:pt idx="4116">382.69040000000001</cx:pt>
          <cx:pt idx="4117">382.69040000000001</cx:pt>
          <cx:pt idx="4118">382.69040000000001</cx:pt>
          <cx:pt idx="4119">382.69040000000001</cx:pt>
          <cx:pt idx="4120">382.69040000000001</cx:pt>
          <cx:pt idx="4121">382.69040000000001</cx:pt>
          <cx:pt idx="4122">382.69040000000001</cx:pt>
          <cx:pt idx="4123">382.69040000000001</cx:pt>
          <cx:pt idx="4124">382.69040000000001</cx:pt>
          <cx:pt idx="4125">382.69040000000001</cx:pt>
          <cx:pt idx="4126">382.69040000000001</cx:pt>
          <cx:pt idx="4127">382.69040000000001</cx:pt>
          <cx:pt idx="4128">382.69040000000001</cx:pt>
          <cx:pt idx="4129">382.69040000000001</cx:pt>
          <cx:pt idx="4130">383.30574419999999</cx:pt>
          <cx:pt idx="4131">383.36904879999997</cx:pt>
          <cx:pt idx="4132">383.52707329999998</cx:pt>
          <cx:pt idx="4133">383.55848079999998</cx:pt>
          <cx:pt idx="4134">383.6057816</cx:pt>
          <cx:pt idx="4135">383.60590000000002</cx:pt>
          <cx:pt idx="4136">383.7572705</cx:pt>
          <cx:pt idx="4137">383.75845229999999</cx:pt>
          <cx:pt idx="4138">383.79682389999999</cx:pt>
          <cx:pt idx="4139">383.8726522</cx:pt>
          <cx:pt idx="4140">383.90982289999999</cx:pt>
          <cx:pt idx="4141">383.91100469999998</cx:pt>
          <cx:pt idx="4142">384.25476689999999</cx:pt>
          <cx:pt idx="4143">384.44477590000002</cx:pt>
          <cx:pt idx="4144">384.5215</cx:pt>
          <cx:pt idx="4145">380.85939999999999</cx:pt>
          <cx:pt idx="4146">380.96710969999998</cx:pt>
          <cx:pt idx="4147">381.13866969999998</cx:pt>
          <cx:pt idx="4148">381.20402790000003</cx:pt>
          <cx:pt idx="4149">381.3335811</cx:pt>
          <cx:pt idx="4150">381.35441220000001</cx:pt>
          <cx:pt idx="4151">381.37558790000003</cx:pt>
          <cx:pt idx="4152">381.39792690000002</cx:pt>
          <cx:pt idx="4153">381.59166429999999</cx:pt>
          <cx:pt idx="4154">381.61350779999998</cx:pt>
          <cx:pt idx="4155">381.63468349999999</cx:pt>
          <cx:pt idx="4156">381.67753040000002</cx:pt>
          <cx:pt idx="4157">381.6998802</cx:pt>
          <cx:pt idx="4158">381.74255479999999</cx:pt>
          <cx:pt idx="4159">381.78490620000002</cx:pt>
          <cx:pt idx="4160">381.80724520000001</cx:pt>
          <cx:pt idx="4161">381.82842090000003</cx:pt>
          <cx:pt idx="4162">381.84959670000001</cx:pt>
          <cx:pt idx="4163">381.95729560000001</cx:pt>
          <cx:pt idx="4164">381.97981770000001</cx:pt>
          <cx:pt idx="4165">382.0006487</cx:pt>
          <cx:pt idx="4166">382.02299850000003</cx:pt>
          <cx:pt idx="4167">382.0441634</cx:pt>
          <cx:pt idx="4168">382.06533919999998</cx:pt>
          <cx:pt idx="4169">382.08718270000003</cx:pt>
          <cx:pt idx="4170">382.1080245</cx:pt>
          <cx:pt idx="4171">382.17271490000002</cx:pt>
          <cx:pt idx="4172">382.17338269999999</cx:pt>
          <cx:pt idx="4173">382.21640200000002</cx:pt>
          <cx:pt idx="4174">382.410301</cx:pt>
          <cx:pt idx="4175">382.45281399999999</cx:pt>
          <cx:pt idx="4176">382.4751637</cx:pt>
          <cx:pt idx="4177">382.54001570000003</cx:pt>
          <cx:pt idx="4178">382.6035321</cx:pt>
          <cx:pt idx="4179">382.6260542</cx:pt>
          <cx:pt idx="4180">382.6687288</cx:pt>
          <cx:pt idx="4181">382.68990450000001</cx:pt>
          <cx:pt idx="4182">382.69040000000001</cx:pt>
          <cx:pt idx="4183">382.69040000000001</cx:pt>
          <cx:pt idx="4184">382.69040000000001</cx:pt>
          <cx:pt idx="4185">382.69040000000001</cx:pt>
          <cx:pt idx="4186">382.69040000000001</cx:pt>
          <cx:pt idx="4187">382.69040000000001</cx:pt>
          <cx:pt idx="4188">382.69040000000001</cx:pt>
          <cx:pt idx="4189">382.69040000000001</cx:pt>
          <cx:pt idx="4190">382.69040000000001</cx:pt>
          <cx:pt idx="4191">382.69040000000001</cx:pt>
          <cx:pt idx="4192">382.69040000000001</cx:pt>
          <cx:pt idx="4193">382.69040000000001</cx:pt>
          <cx:pt idx="4194">382.69040000000001</cx:pt>
          <cx:pt idx="4195">382.69040000000001</cx:pt>
          <cx:pt idx="4196">382.69040000000001</cx:pt>
          <cx:pt idx="4197">382.69040000000001</cx:pt>
          <cx:pt idx="4198">382.69040000000001</cx:pt>
          <cx:pt idx="4199">382.69040000000001</cx:pt>
          <cx:pt idx="4200">382.69040000000001</cx:pt>
          <cx:pt idx="4201">382.69040000000001</cx:pt>
          <cx:pt idx="4202">382.69040000000001</cx:pt>
          <cx:pt idx="4203">382.69040000000001</cx:pt>
          <cx:pt idx="4204">382.69040000000001</cx:pt>
          <cx:pt idx="4205">382.69040000000001</cx:pt>
          <cx:pt idx="4206">382.69040000000001</cx:pt>
          <cx:pt idx="4207">382.69040000000001</cx:pt>
          <cx:pt idx="4208">382.69040000000001</cx:pt>
          <cx:pt idx="4209">382.69040000000001</cx:pt>
          <cx:pt idx="4210">382.69040000000001</cx:pt>
          <cx:pt idx="4211">382.69040000000001</cx:pt>
          <cx:pt idx="4212">382.69040000000001</cx:pt>
          <cx:pt idx="4213">382.69040000000001</cx:pt>
          <cx:pt idx="4214">382.69040000000001</cx:pt>
          <cx:pt idx="4215">382.69040000000001</cx:pt>
          <cx:pt idx="4216">382.69040000000001</cx:pt>
          <cx:pt idx="4217">383.67626310000003</cx:pt>
          <cx:pt idx="4218">384.5215</cx:pt>
          <cx:pt idx="4219">380.85939999999999</cx:pt>
          <cx:pt idx="4220">382.69040000000001</cx:pt>
          <cx:pt idx="4221">383.60590000000002</cx:pt>
          <cx:pt idx="4222">382.69040000000001</cx:pt>
          <cx:pt idx="4223">385.43700000000001</cx:pt>
          <cx:pt idx="4224">381.7749</cx:pt>
          <cx:pt idx="4225">380.85939999999999</cx:pt>
          <cx:pt idx="4226">382.69040000000001</cx:pt>
          <cx:pt idx="4227">382.69040000000001</cx:pt>
          <cx:pt idx="4228">385.43700000000001</cx:pt>
          <cx:pt idx="4229">380.85939999999999</cx:pt>
          <cx:pt idx="4230">380.85939999999999</cx:pt>
          <cx:pt idx="4231">382.69040000000001</cx:pt>
          <cx:pt idx="4232">381.7749</cx:pt>
          <cx:pt idx="4233">382.69040000000001</cx:pt>
          <cx:pt idx="4234">382.69040000000001</cx:pt>
          <cx:pt idx="4235">384.5215</cx:pt>
          <cx:pt idx="4236">382.69040000000001</cx:pt>
          <cx:pt idx="4237">382.69040000000001</cx:pt>
          <cx:pt idx="4238">382.69040000000001</cx:pt>
          <cx:pt idx="4239">382.69040000000001</cx:pt>
          <cx:pt idx="4240">384.5215</cx:pt>
          <cx:pt idx="4241">382.69040000000001</cx:pt>
          <cx:pt idx="4242">383.60590000000002</cx:pt>
          <cx:pt idx="4243">382.69040000000001</cx:pt>
          <cx:pt idx="4244">382.69040000000001</cx:pt>
          <cx:pt idx="4245">382.69040000000001</cx:pt>
          <cx:pt idx="4246">386.35250000000002</cx:pt>
          <cx:pt idx="4247">383.60590000000002</cx:pt>
          <cx:pt idx="4248">382.69040000000001</cx:pt>
          <cx:pt idx="4249">383.60590000000002</cx:pt>
          <cx:pt idx="4250">382.69040000000001</cx:pt>
          <cx:pt idx="4251">383.60590000000002</cx:pt>
          <cx:pt idx="4252">384.5215</cx:pt>
          <cx:pt idx="4253">382.69040000000001</cx:pt>
          <cx:pt idx="4254">383.60590000000002</cx:pt>
          <cx:pt idx="4255">381.7749</cx:pt>
          <cx:pt idx="4256">383.60590000000002</cx:pt>
          <cx:pt idx="4257">382.69040000000001</cx:pt>
          <cx:pt idx="4258">382.69040000000001</cx:pt>
          <cx:pt idx="4259">382.69040000000001</cx:pt>
          <cx:pt idx="4260">382.69040000000001</cx:pt>
          <cx:pt idx="4261">385.43700000000001</cx:pt>
          <cx:pt idx="4262">381.7749</cx:pt>
          <cx:pt idx="4263">384.5215</cx:pt>
          <cx:pt idx="4264">380.85939999999999</cx:pt>
          <cx:pt idx="4265">382.69040000000001</cx:pt>
          <cx:pt idx="4266">382.69040000000001</cx:pt>
          <cx:pt idx="4267">382.69040000000001</cx:pt>
          <cx:pt idx="4268">383.60590000000002</cx:pt>
          <cx:pt idx="4269">382.69040000000001</cx:pt>
          <cx:pt idx="4270">383.60590000000002</cx:pt>
          <cx:pt idx="4271">383.60590000000002</cx:pt>
          <cx:pt idx="4272">384.5215</cx:pt>
          <cx:pt idx="4273">383.60590000000002</cx:pt>
          <cx:pt idx="4274">382.69040000000001</cx:pt>
          <cx:pt idx="4275">383.60590000000002</cx:pt>
          <cx:pt idx="4276">385.43700000000001</cx:pt>
          <cx:pt idx="4277">383.60590000000002</cx:pt>
          <cx:pt idx="4278">385.43700000000001</cx:pt>
          <cx:pt idx="4279">383.60590000000002</cx:pt>
          <cx:pt idx="4280">383.60590000000002</cx:pt>
          <cx:pt idx="4281">383.60590000000002</cx:pt>
          <cx:pt idx="4282">383.60590000000002</cx:pt>
          <cx:pt idx="4283">383.60590000000002</cx:pt>
          <cx:pt idx="4284">383.60590000000002</cx:pt>
          <cx:pt idx="4285">382.69040000000001</cx:pt>
          <cx:pt idx="4286">383.60590000000002</cx:pt>
          <cx:pt idx="4287">383.60590000000002</cx:pt>
          <cx:pt idx="4288">385.43700000000001</cx:pt>
          <cx:pt idx="4289">383.60590000000002</cx:pt>
          <cx:pt idx="4290">382.69040000000001</cx:pt>
          <cx:pt idx="4291">385.43700000000001</cx:pt>
          <cx:pt idx="4292">381.7749</cx:pt>
          <cx:pt idx="4293">383.60590000000002</cx:pt>
          <cx:pt idx="4294">382.69040000000001</cx:pt>
          <cx:pt idx="4295">383.60590000000002</cx:pt>
          <cx:pt idx="4296">383.60590000000002</cx:pt>
          <cx:pt idx="4297">385.43700000000001</cx:pt>
          <cx:pt idx="4298">381.7749</cx:pt>
          <cx:pt idx="4299">384.5215</cx:pt>
          <cx:pt idx="4300">383.60590000000002</cx:pt>
          <cx:pt idx="4301">382.69040000000001</cx:pt>
          <cx:pt idx="4302">383.60590000000002</cx:pt>
          <cx:pt idx="4303">382.69040000000001</cx:pt>
          <cx:pt idx="4304">383.60590000000002</cx:pt>
          <cx:pt idx="4305">383.60590000000002</cx:pt>
          <cx:pt idx="4306">383.60590000000002</cx:pt>
          <cx:pt idx="4307">381.7749</cx:pt>
          <cx:pt idx="4308">383.60590000000002</cx:pt>
          <cx:pt idx="4309">382.69040000000001</cx:pt>
          <cx:pt idx="4310">382.69040000000001</cx:pt>
          <cx:pt idx="4311">384.5215</cx:pt>
          <cx:pt idx="4312">382.69040000000001</cx:pt>
          <cx:pt idx="4313">381.7749</cx:pt>
          <cx:pt idx="4314">385.43700000000001</cx:pt>
          <cx:pt idx="4315">382.69040000000001</cx:pt>
          <cx:pt idx="4316">382.69040000000001</cx:pt>
          <cx:pt idx="4317">382.69040000000001</cx:pt>
          <cx:pt idx="4318">383.60590000000002</cx:pt>
          <cx:pt idx="4319">381.7749</cx:pt>
          <cx:pt idx="4320">384.5215</cx:pt>
          <cx:pt idx="4321">382.69040000000001</cx:pt>
          <cx:pt idx="4322">383.60590000000002</cx:pt>
          <cx:pt idx="4323">382.69040000000001</cx:pt>
          <cx:pt idx="4324">382.69040000000001</cx:pt>
          <cx:pt idx="4325">383.60590000000002</cx:pt>
          <cx:pt idx="4326">382.69040000000001</cx:pt>
          <cx:pt idx="4327">383.60590000000002</cx:pt>
          <cx:pt idx="4328">383.60590000000002</cx:pt>
          <cx:pt idx="4329">383.60590000000002</cx:pt>
          <cx:pt idx="4330">382.69040000000001</cx:pt>
          <cx:pt idx="4331">383.60590000000002</cx:pt>
          <cx:pt idx="4332">382.69040000000001</cx:pt>
          <cx:pt idx="4333">382.69040000000001</cx:pt>
          <cx:pt idx="4334">382.69040000000001</cx:pt>
          <cx:pt idx="4335">382.69040000000001</cx:pt>
          <cx:pt idx="4336">380.85939999999999</cx:pt>
          <cx:pt idx="4337">384.5215</cx:pt>
          <cx:pt idx="4338">380.85939999999999</cx:pt>
          <cx:pt idx="4339">380.85939999999999</cx:pt>
          <cx:pt idx="4340">384.5215</cx:pt>
          <cx:pt idx="4341">382.69040000000001</cx:pt>
          <cx:pt idx="4342">382.69040000000001</cx:pt>
          <cx:pt idx="4343">379.94380000000001</cx:pt>
          <cx:pt idx="4344">383.60590000000002</cx:pt>
          <cx:pt idx="4345">382.69040000000001</cx:pt>
          <cx:pt idx="4346">382.69040000000001</cx:pt>
          <cx:pt idx="4347">382.69040000000001</cx:pt>
          <cx:pt idx="4348">382.69040000000001</cx:pt>
          <cx:pt idx="4349">380.85939999999999</cx:pt>
          <cx:pt idx="4350">382.69040000000001</cx:pt>
          <cx:pt idx="4351">382.69040000000001</cx:pt>
          <cx:pt idx="4352">382.69040000000001</cx:pt>
          <cx:pt idx="4353">382.69040000000001</cx:pt>
          <cx:pt idx="4354">384.5215</cx:pt>
          <cx:pt idx="4355">382.69040000000001</cx:pt>
          <cx:pt idx="4356">382.69040000000001</cx:pt>
          <cx:pt idx="4357">382.69040000000001</cx:pt>
          <cx:pt idx="4358">382.69040000000001</cx:pt>
          <cx:pt idx="4359">383.60590000000002</cx:pt>
          <cx:pt idx="4360">382.69040000000001</cx:pt>
          <cx:pt idx="4361">383.60590000000002</cx:pt>
          <cx:pt idx="4362">382.69040000000001</cx:pt>
          <cx:pt idx="4363">384.5215</cx:pt>
          <cx:pt idx="4364">380.85939999999999</cx:pt>
          <cx:pt idx="4365">382.69040000000001</cx:pt>
          <cx:pt idx="4366">382.69040000000001</cx:pt>
          <cx:pt idx="4367">382.69040000000001</cx:pt>
          <cx:pt idx="4368">381.7749</cx:pt>
          <cx:pt idx="4369">382.69040000000001</cx:pt>
          <cx:pt idx="4370">381.7749</cx:pt>
          <cx:pt idx="4371">382.69040000000001</cx:pt>
          <cx:pt idx="4372">383.60590000000002</cx:pt>
          <cx:pt idx="4373">382.69040000000001</cx:pt>
          <cx:pt idx="4374">382.69040000000001</cx:pt>
          <cx:pt idx="4375">382.69040000000001</cx:pt>
          <cx:pt idx="4376">382.69040000000001</cx:pt>
          <cx:pt idx="4377">381.7749</cx:pt>
          <cx:pt idx="4378">382.69040000000001</cx:pt>
          <cx:pt idx="4379">382.69040000000001</cx:pt>
          <cx:pt idx="4380">382.69040000000001</cx:pt>
          <cx:pt idx="4381">382.69040000000001</cx:pt>
          <cx:pt idx="4382">383.60590000000002</cx:pt>
          <cx:pt idx="4383">381.7749</cx:pt>
          <cx:pt idx="4384">381.7749</cx:pt>
          <cx:pt idx="4385">382.69040000000001</cx:pt>
          <cx:pt idx="4386">382.69040000000001</cx:pt>
          <cx:pt idx="4387">382.69040000000001</cx:pt>
          <cx:pt idx="4388">381.7749</cx:pt>
          <cx:pt idx="4389">381.7749</cx:pt>
          <cx:pt idx="4390">381.7749</cx:pt>
          <cx:pt idx="4391">382.69040000000001</cx:pt>
          <cx:pt idx="4392">383.60590000000002</cx:pt>
          <cx:pt idx="4393">379.94380000000001</cx:pt>
          <cx:pt idx="4394">379.94380000000001</cx:pt>
          <cx:pt idx="4395">381.7749</cx:pt>
          <cx:pt idx="4396">380.85939999999999</cx:pt>
          <cx:pt idx="4397">381.67384929999997</cx:pt>
          <cx:pt idx="4398">381.7749</cx:pt>
          <cx:pt idx="4399">381.7749</cx:pt>
          <cx:pt idx="4400">381.7749</cx:pt>
          <cx:pt idx="4401">381.7749</cx:pt>
          <cx:pt idx="4402">381.7749</cx:pt>
          <cx:pt idx="4403">381.7749</cx:pt>
          <cx:pt idx="4404">381.1948931</cx:pt>
          <cx:pt idx="4405">380.85939999999999</cx:pt>
          <cx:pt idx="4406">379.94380000000001</cx:pt>
          <cx:pt idx="4407">383.60590000000002</cx:pt>
          <cx:pt idx="4408">380.85939999999999</cx:pt>
          <cx:pt idx="4409">382.69040000000001</cx:pt>
          <cx:pt idx="4410">381.7749</cx:pt>
          <cx:pt idx="4411">380.85939999999999</cx:pt>
          <cx:pt idx="4412">380.85939999999999</cx:pt>
          <cx:pt idx="4413">382.69040000000001</cx:pt>
          <cx:pt idx="4414">381.7749</cx:pt>
          <cx:pt idx="4415">379.94380000000001</cx:pt>
          <cx:pt idx="4416">383.60590000000002</cx:pt>
          <cx:pt idx="4417">379.94380000000001</cx:pt>
          <cx:pt idx="4418">380.85939999999999</cx:pt>
          <cx:pt idx="4419">379.0283</cx:pt>
          <cx:pt idx="4420">380.85939999999999</cx:pt>
          <cx:pt idx="4421">380.85939999999999</cx:pt>
          <cx:pt idx="4422">381.43169460000001</cx:pt>
          <cx:pt idx="4423">381.7749</cx:pt>
          <cx:pt idx="4424">380.85939999999999</cx:pt>
          <cx:pt idx="4425">380.85939999999999</cx:pt>
          <cx:pt idx="4426">379.94380000000001</cx:pt>
          <cx:pt idx="4427">380.85939999999999</cx:pt>
          <cx:pt idx="4428">380.85939999999999</cx:pt>
          <cx:pt idx="4429">380.85939999999999</cx:pt>
          <cx:pt idx="4430">379.94380000000001</cx:pt>
          <cx:pt idx="4431">381.7749</cx:pt>
          <cx:pt idx="4432">380.85939999999999</cx:pt>
          <cx:pt idx="4433">381.7749</cx:pt>
          <cx:pt idx="4434">378.11279999999999</cx:pt>
          <cx:pt idx="4435">379.94380000000001</cx:pt>
          <cx:pt idx="4436">380.85939999999999</cx:pt>
          <cx:pt idx="4437">379.94380000000001</cx:pt>
          <cx:pt idx="4438">381.7749</cx:pt>
          <cx:pt idx="4439">379.94380000000001</cx:pt>
          <cx:pt idx="4440">382.69040000000001</cx:pt>
          <cx:pt idx="4441">379.0283</cx:pt>
          <cx:pt idx="4442">380.85939999999999</cx:pt>
          <cx:pt idx="4443">379.94380000000001</cx:pt>
          <cx:pt idx="4444">381.7749</cx:pt>
          <cx:pt idx="4445">379.94380000000001</cx:pt>
          <cx:pt idx="4446">380.85939999999999</cx:pt>
          <cx:pt idx="4447">379.94380000000001</cx:pt>
          <cx:pt idx="4448">380.85939999999999</cx:pt>
          <cx:pt idx="4449">377.19729999999998</cx:pt>
          <cx:pt idx="4450">380.85939999999999</cx:pt>
          <cx:pt idx="4451">381.7749</cx:pt>
          <cx:pt idx="4452">379.94380000000001</cx:pt>
          <cx:pt idx="4453">379.94380000000001</cx:pt>
          <cx:pt idx="4454">379.94380000000001</cx:pt>
          <cx:pt idx="4455">379.94380000000001</cx:pt>
          <cx:pt idx="4456">381.7749</cx:pt>
          <cx:pt idx="4457">379.94380000000001</cx:pt>
          <cx:pt idx="4458">379.94380000000001</cx:pt>
          <cx:pt idx="4459">381.7749</cx:pt>
          <cx:pt idx="4460">378.11279999999999</cx:pt>
          <cx:pt idx="4461">383.60590000000002</cx:pt>
          <cx:pt idx="4462">379.0283</cx:pt>
          <cx:pt idx="4463">379.94380000000001</cx:pt>
          <cx:pt idx="4464">379.94380000000001</cx:pt>
          <cx:pt idx="4465">380.85939999999999</cx:pt>
          <cx:pt idx="4466">379.94380000000001</cx:pt>
          <cx:pt idx="4467">379.94380000000001</cx:pt>
          <cx:pt idx="4468">379.94380000000001</cx:pt>
          <cx:pt idx="4469">380.85939999999999</cx:pt>
          <cx:pt idx="4470">379.94380000000001</cx:pt>
          <cx:pt idx="4471">379.0283</cx:pt>
          <cx:pt idx="4472">381.7749</cx:pt>
          <cx:pt idx="4473">378.11279999999999</cx:pt>
          <cx:pt idx="4474">379.94380000000001</cx:pt>
          <cx:pt idx="4475">381.7749</cx:pt>
          <cx:pt idx="4476">379.0283</cx:pt>
          <cx:pt idx="4477">379.94380000000001</cx:pt>
          <cx:pt idx="4478">379.0283</cx:pt>
          <cx:pt idx="4479">379.0283</cx:pt>
          <cx:pt idx="4480">381.7749</cx:pt>
          <cx:pt idx="4481">378.11279999999999</cx:pt>
          <cx:pt idx="4482">380.85939999999999</cx:pt>
          <cx:pt idx="4483">379.94380000000001</cx:pt>
          <cx:pt idx="4484">379.94380000000001</cx:pt>
          <cx:pt idx="4485">379.94380000000001</cx:pt>
          <cx:pt idx="4486">379.94380000000001</cx:pt>
          <cx:pt idx="4487">379.94380000000001</cx:pt>
          <cx:pt idx="4488">380.85939999999999</cx:pt>
          <cx:pt idx="4489">379.0283</cx:pt>
          <cx:pt idx="4490">379.0283</cx:pt>
          <cx:pt idx="4491">379.94380000000001</cx:pt>
          <cx:pt idx="4492">378.11279999999999</cx:pt>
          <cx:pt idx="4493">380.85939999999999</cx:pt>
          <cx:pt idx="4494">377.19729999999998</cx:pt>
          <cx:pt idx="4495">380.85939999999999</cx:pt>
          <cx:pt idx="4496">379.94380000000001</cx:pt>
          <cx:pt idx="4497">379.94380000000001</cx:pt>
          <cx:pt idx="4498">379.0283</cx:pt>
          <cx:pt idx="4499">380.85939999999999</cx:pt>
          <cx:pt idx="4500">379.94380000000001</cx:pt>
          <cx:pt idx="4501">379.94380000000001</cx:pt>
          <cx:pt idx="4502">379.0283</cx:pt>
          <cx:pt idx="4503">378.11279999999999</cx:pt>
          <cx:pt idx="4504">380.85939999999999</cx:pt>
          <cx:pt idx="4505">379.94380000000001</cx:pt>
          <cx:pt idx="4506">379.94380000000001</cx:pt>
          <cx:pt idx="4507">379.94380000000001</cx:pt>
          <cx:pt idx="4508">379.94380000000001</cx:pt>
          <cx:pt idx="4509">379.94380000000001</cx:pt>
          <cx:pt idx="4510">379.0283</cx:pt>
          <cx:pt idx="4511">381.7749</cx:pt>
          <cx:pt idx="4512">378.11279999999999</cx:pt>
          <cx:pt idx="4513">379.0283</cx:pt>
          <cx:pt idx="4514">379.0283</cx:pt>
          <cx:pt idx="4515">377.19729999999998</cx:pt>
          <cx:pt idx="4516">380.85939999999999</cx:pt>
          <cx:pt idx="4517">378.11279999999999</cx:pt>
          <cx:pt idx="4518">381.7749</cx:pt>
          <cx:pt idx="4519">379.0283</cx:pt>
          <cx:pt idx="4520">379.0283</cx:pt>
          <cx:pt idx="4521">377.19729999999998</cx:pt>
          <cx:pt idx="4522">379.0283</cx:pt>
          <cx:pt idx="4523">377.19729999999998</cx:pt>
          <cx:pt idx="4524">380.85939999999999</cx:pt>
          <cx:pt idx="4525">379.0283</cx:pt>
          <cx:pt idx="4526">380.85939999999999</cx:pt>
          <cx:pt idx="4527">379.0283</cx:pt>
          <cx:pt idx="4528">381.7749</cx:pt>
          <cx:pt idx="4529">378.11279999999999</cx:pt>
          <cx:pt idx="4530">378.11279999999999</cx:pt>
          <cx:pt idx="4531">379.0283</cx:pt>
          <cx:pt idx="4532">379.0283</cx:pt>
          <cx:pt idx="4533">378.11279999999999</cx:pt>
          <cx:pt idx="4534">379.0283</cx:pt>
          <cx:pt idx="4535">379.0283</cx:pt>
          <cx:pt idx="4536">379.0283</cx:pt>
          <cx:pt idx="4537">379.0283</cx:pt>
          <cx:pt idx="4538">379.94380000000001</cx:pt>
          <cx:pt idx="4539">379.0283</cx:pt>
          <cx:pt idx="4540">379.0283</cx:pt>
          <cx:pt idx="4541">379.0283</cx:pt>
          <cx:pt idx="4542">378.11279999999999</cx:pt>
          <cx:pt idx="4543">379.0069641</cx:pt>
          <cx:pt idx="4544">379.0283</cx:pt>
          <cx:pt idx="4545">380.85939999999999</cx:pt>
          <cx:pt idx="4546">377.19729999999998</cx:pt>
          <cx:pt idx="4547">379.0283</cx:pt>
          <cx:pt idx="4548">380.85939999999999</cx:pt>
          <cx:pt idx="4549">377.19729999999998</cx:pt>
          <cx:pt idx="4550">379.0283</cx:pt>
          <cx:pt idx="4551">378.20636760000002</cx:pt>
          <cx:pt idx="4552">378.11279999999999</cx:pt>
          <cx:pt idx="4553">379.94380000000001</cx:pt>
          <cx:pt idx="4554">379.94380000000001</cx:pt>
          <cx:pt idx="4555">378.11279999999999</cx:pt>
          <cx:pt idx="4556">379.0283</cx:pt>
          <cx:pt idx="4557">380.85939999999999</cx:pt>
          <cx:pt idx="4558">377.19729999999998</cx:pt>
          <cx:pt idx="4559">380.85939999999999</cx:pt>
          <cx:pt idx="4560">377.19729999999998</cx:pt>
          <cx:pt idx="4561">377.89161430000001</cx:pt>
          <cx:pt idx="4562">379.94380000000001</cx:pt>
          <cx:pt idx="4563">379.0283</cx:pt>
          <cx:pt idx="4564">379.0283</cx:pt>
          <cx:pt idx="4565">379.0283</cx:pt>
          <cx:pt idx="4566">379.0283</cx:pt>
          <cx:pt idx="4567">379.0283</cx:pt>
          <cx:pt idx="4568">376.2817</cx:pt>
          <cx:pt idx="4569">379.94380000000001</cx:pt>
          <cx:pt idx="4570">379.0283</cx:pt>
          <cx:pt idx="4571">379.0283</cx:pt>
          <cx:pt idx="4572">377.19729999999998</cx:pt>
          <cx:pt idx="4573">379.0283</cx:pt>
          <cx:pt idx="4574">378.11279999999999</cx:pt>
          <cx:pt idx="4575">379.0283</cx:pt>
          <cx:pt idx="4576">379.0283</cx:pt>
          <cx:pt idx="4577">379.0283</cx:pt>
          <cx:pt idx="4578">380.85939999999999</cx:pt>
          <cx:pt idx="4579">379.0283</cx:pt>
          <cx:pt idx="4580">378.11279999999999</cx:pt>
          <cx:pt idx="4581">378.11279999999999</cx:pt>
          <cx:pt idx="4582">379.0283</cx:pt>
          <cx:pt idx="4583">378.11279999999999</cx:pt>
          <cx:pt idx="4584">379.94380000000001</cx:pt>
          <cx:pt idx="4585">379.94380000000001</cx:pt>
          <cx:pt idx="4586">378.11279999999999</cx:pt>
          <cx:pt idx="4587">379.0283</cx:pt>
          <cx:pt idx="4588">378.11279999999999</cx:pt>
          <cx:pt idx="4589">379.0283</cx:pt>
          <cx:pt idx="4590">379.0283</cx:pt>
          <cx:pt idx="4591">378.11279999999999</cx:pt>
          <cx:pt idx="4592">379.0283</cx:pt>
          <cx:pt idx="4593">379.0283</cx:pt>
          <cx:pt idx="4594">379.0283</cx:pt>
          <cx:pt idx="4595">377.19729999999998</cx:pt>
          <cx:pt idx="4596">380.85939999999999</cx:pt>
          <cx:pt idx="4597">379.94380000000001</cx:pt>
          <cx:pt idx="4598">376.2817</cx:pt>
          <cx:pt idx="4599">379.0283</cx:pt>
          <cx:pt idx="4600">379.94380000000001</cx:pt>
          <cx:pt idx="4601">379.0283</cx:pt>
          <cx:pt idx="4602">379.0283</cx:pt>
          <cx:pt idx="4603">378.11279999999999</cx:pt>
          <cx:pt idx="4604">378.11279999999999</cx:pt>
          <cx:pt idx="4605">377.19729999999998</cx:pt>
          <cx:pt idx="4606">380.85939999999999</cx:pt>
          <cx:pt idx="4607">377.19729999999998</cx:pt>
          <cx:pt idx="4608">376.2817</cx:pt>
          <cx:pt idx="4609">379.94380000000001</cx:pt>
          <cx:pt idx="4610">378.11279999999999</cx:pt>
          <cx:pt idx="4611">379.0283</cx:pt>
          <cx:pt idx="4612">378.11279999999999</cx:pt>
          <cx:pt idx="4613">379.0283</cx:pt>
          <cx:pt idx="4614">378.11279999999999</cx:pt>
          <cx:pt idx="4615">378.11279999999999</cx:pt>
          <cx:pt idx="4616">378.11279999999999</cx:pt>
          <cx:pt idx="4617">378.11279999999999</cx:pt>
          <cx:pt idx="4618">379.94380000000001</cx:pt>
          <cx:pt idx="4619">378.11279999999999</cx:pt>
          <cx:pt idx="4620">379.0283</cx:pt>
          <cx:pt idx="4621">377.3010329</cx:pt>
          <cx:pt idx="4622">377.19729999999998</cx:pt>
          <cx:pt idx="4623">378.11279999999999</cx:pt>
          <cx:pt idx="4624">382.69040000000001</cx:pt>
          <cx:pt idx="4625">377.19729999999998</cx:pt>
          <cx:pt idx="4626">379.0283</cx:pt>
          <cx:pt idx="4627">378.11279999999999</cx:pt>
          <cx:pt idx="4628">380.85939999999999</cx:pt>
          <cx:pt idx="4629">377.19729999999998</cx:pt>
          <cx:pt idx="4630">378.11279999999999</cx:pt>
          <cx:pt idx="4631">377.19729999999998</cx:pt>
          <cx:pt idx="4632">380.85939999999999</cx:pt>
          <cx:pt idx="4633">377.19729999999998</cx:pt>
          <cx:pt idx="4634">379.94380000000001</cx:pt>
          <cx:pt idx="4635">376.2817</cx:pt>
          <cx:pt idx="4636">379.0283</cx:pt>
          <cx:pt idx="4637">378.11279999999999</cx:pt>
          <cx:pt idx="4638">378.11279999999999</cx:pt>
          <cx:pt idx="4639">378.11279999999999</cx:pt>
          <cx:pt idx="4640">376.2817</cx:pt>
          <cx:pt idx="4641">379.94380000000001</cx:pt>
          <cx:pt idx="4642">376.2817</cx:pt>
          <cx:pt idx="4643">379.94380000000001</cx:pt>
          <cx:pt idx="4644">379.0283</cx:pt>
          <cx:pt idx="4645">378.11279999999999</cx:pt>
          <cx:pt idx="4646">378.11279999999999</cx:pt>
          <cx:pt idx="4647">376.2817</cx:pt>
          <cx:pt idx="4648">380.85939999999999</cx:pt>
          <cx:pt idx="4649">378.11279999999999</cx:pt>
          <cx:pt idx="4650">378.11279999999999</cx:pt>
          <cx:pt idx="4651">378.11279999999999</cx:pt>
          <cx:pt idx="4652">377.19729999999998</cx:pt>
          <cx:pt idx="4653">379.94380000000001</cx:pt>
          <cx:pt idx="4654">378.11279999999999</cx:pt>
          <cx:pt idx="4655">376.2817</cx:pt>
          <cx:pt idx="4656">379.94380000000001</cx:pt>
          <cx:pt idx="4657">378.11279999999999</cx:pt>
          <cx:pt idx="4658">379.94380000000001</cx:pt>
          <cx:pt idx="4659">376.2817</cx:pt>
          <cx:pt idx="4660">378.11279999999999</cx:pt>
          <cx:pt idx="4661">378.11279999999999</cx:pt>
          <cx:pt idx="4662">377.19729999999998</cx:pt>
          <cx:pt idx="4663">378.11279999999999</cx:pt>
          <cx:pt idx="4664">376.2817</cx:pt>
          <cx:pt idx="4665">378.11279999999999</cx:pt>
          <cx:pt idx="4666">377.19729999999998</cx:pt>
          <cx:pt idx="4667">378.11279999999999</cx:pt>
          <cx:pt idx="4668">380.85939999999999</cx:pt>
          <cx:pt idx="4669">377.19729999999998</cx:pt>
          <cx:pt idx="4670">378.11279999999999</cx:pt>
          <cx:pt idx="4671">379.0283</cx:pt>
          <cx:pt idx="4672">378.11279999999999</cx:pt>
          <cx:pt idx="4673">378.11279999999999</cx:pt>
          <cx:pt idx="4674">378.11279999999999</cx:pt>
          <cx:pt idx="4675">378.11279999999999</cx:pt>
          <cx:pt idx="4676">378.11279999999999</cx:pt>
          <cx:pt idx="4677">376.2817</cx:pt>
          <cx:pt idx="4678">378.11279999999999</cx:pt>
          <cx:pt idx="4679">378.11279999999999</cx:pt>
          <cx:pt idx="4680">377.6893197</cx:pt>
          <cx:pt idx="4681">376.2817</cx:pt>
          <cx:pt idx="4682">379.94380000000001</cx:pt>
          <cx:pt idx="4683">378.11279999999999</cx:pt>
          <cx:pt idx="4684">379.0283</cx:pt>
          <cx:pt idx="4685">378.11279999999999</cx:pt>
          <cx:pt idx="4686">378.11279999999999</cx:pt>
          <cx:pt idx="4687">379.0283</cx:pt>
          <cx:pt idx="4688">376.2817</cx:pt>
          <cx:pt idx="4689">379.94380000000001</cx:pt>
          <cx:pt idx="4690">377.19729999999998</cx:pt>
          <cx:pt idx="4691">377.19729999999998</cx:pt>
          <cx:pt idx="4692">379.94380000000001</cx:pt>
          <cx:pt idx="4693">376.2817</cx:pt>
          <cx:pt idx="4694">379.0283</cx:pt>
          <cx:pt idx="4695">378.11279999999999</cx:pt>
          <cx:pt idx="4696">377.19729999999998</cx:pt>
          <cx:pt idx="4697">378.11279999999999</cx:pt>
          <cx:pt idx="4698">377.19729999999998</cx:pt>
          <cx:pt idx="4699">378.11279999999999</cx:pt>
          <cx:pt idx="4700">378.11279999999999</cx:pt>
          <cx:pt idx="4701">378.11279999999999</cx:pt>
          <cx:pt idx="4702">377.19729999999998</cx:pt>
          <cx:pt idx="4703">378.11279999999999</cx:pt>
          <cx:pt idx="4704">376.2817</cx:pt>
          <cx:pt idx="4705">379.94380000000001</cx:pt>
          <cx:pt idx="4706">377.19729999999998</cx:pt>
          <cx:pt idx="4707">378.0646003</cx:pt>
          <cx:pt idx="4708">378.11279999999999</cx:pt>
          <cx:pt idx="4709">377.19729999999998</cx:pt>
          <cx:pt idx="4710">378.11279999999999</cx:pt>
          <cx:pt idx="4711">377.19729999999998</cx:pt>
          <cx:pt idx="4712">378.11279999999999</cx:pt>
          <cx:pt idx="4713">378.11279999999999</cx:pt>
          <cx:pt idx="4714">377.19729999999998</cx:pt>
          <cx:pt idx="4715">379.0283</cx:pt>
          <cx:pt idx="4716">376.2817</cx:pt>
          <cx:pt idx="4717">378.11279999999999</cx:pt>
          <cx:pt idx="4718">378.11279999999999</cx:pt>
          <cx:pt idx="4719">377.19729999999998</cx:pt>
          <cx:pt idx="4720">378.11279999999999</cx:pt>
          <cx:pt idx="4721">377.19729999999998</cx:pt>
          <cx:pt idx="4722">378.11279999999999</cx:pt>
          <cx:pt idx="4723">379.0283</cx:pt>
          <cx:pt idx="4724">378.11279999999999</cx:pt>
          <cx:pt idx="4725">378.11279999999999</cx:pt>
          <cx:pt idx="4726">377.19729999999998</cx:pt>
          <cx:pt idx="4727">377.23074050000002</cx:pt>
          <cx:pt idx="4728">378.11279999999999</cx:pt>
          <cx:pt idx="4729">377.19729999999998</cx:pt>
          <cx:pt idx="4730">377.19729999999998</cx:pt>
          <cx:pt idx="4731">377.19729999999998</cx:pt>
          <cx:pt idx="4732">378.11279999999999</cx:pt>
          <cx:pt idx="4733">377.19729999999998</cx:pt>
          <cx:pt idx="4734">378.11279999999999</cx:pt>
          <cx:pt idx="4735">377.19729999999998</cx:pt>
          <cx:pt idx="4736">377.19729999999998</cx:pt>
          <cx:pt idx="4737">377.19729999999998</cx:pt>
          <cx:pt idx="4738">377.19729999999998</cx:pt>
          <cx:pt idx="4739">377.19729999999998</cx:pt>
          <cx:pt idx="4740">376.2817</cx:pt>
          <cx:pt idx="4741">378.11279999999999</cx:pt>
          <cx:pt idx="4742">376.2817</cx:pt>
          <cx:pt idx="4743">377.19729999999998</cx:pt>
          <cx:pt idx="4744">378.11279999999999</cx:pt>
          <cx:pt idx="4745">377.19729999999998</cx:pt>
          <cx:pt idx="4746">379.94380000000001</cx:pt>
          <cx:pt idx="4747">376.2817</cx:pt>
          <cx:pt idx="4748">379.0283</cx:pt>
          <cx:pt idx="4749">378.2705057</cx:pt>
          <cx:pt idx="4750">377.19729999999998</cx:pt>
          <cx:pt idx="4751">377.19729999999998</cx:pt>
          <cx:pt idx="4752">377.19729999999998</cx:pt>
          <cx:pt idx="4753">377.19729999999998</cx:pt>
          <cx:pt idx="4754">377.19729999999998</cx:pt>
          <cx:pt idx="4755">376.2817</cx:pt>
          <cx:pt idx="4756">377.19729999999998</cx:pt>
          <cx:pt idx="4757">377.19729999999998</cx:pt>
          <cx:pt idx="4758">377.19729999999998</cx:pt>
          <cx:pt idx="4759">376.2817</cx:pt>
          <cx:pt idx="4760">378.11279999999999</cx:pt>
          <cx:pt idx="4761">375.36619999999999</cx:pt>
          <cx:pt idx="4762">379.0283</cx:pt>
          <cx:pt idx="4763">375.36619999999999</cx:pt>
          <cx:pt idx="4764">377.19729999999998</cx:pt>
          <cx:pt idx="4765">377.19729999999998</cx:pt>
          <cx:pt idx="4766">377.19729999999998</cx:pt>
          <cx:pt idx="4767">378.11279999999999</cx:pt>
          <cx:pt idx="4768">377.34488579999999</cx:pt>
          <cx:pt idx="4769">377.19729999999998</cx:pt>
          <cx:pt idx="4770">377.58723120000002</cx:pt>
          <cx:pt idx="4771">378.11279999999999</cx:pt>
          <cx:pt idx="4772">377.19729999999998</cx:pt>
          <cx:pt idx="4773">377.19729999999998</cx:pt>
          <cx:pt idx="4774">378.11279999999999</cx:pt>
          <cx:pt idx="4775">378.11279999999999</cx:pt>
          <cx:pt idx="4776">378.11279999999999</cx:pt>
          <cx:pt idx="4777">375.36619999999999</cx:pt>
          <cx:pt idx="4778">377.19729999999998</cx:pt>
          <cx:pt idx="4779">377.19729999999998</cx:pt>
          <cx:pt idx="4780">377.19729999999998</cx:pt>
          <cx:pt idx="4781">379.0283</cx:pt>
          <cx:pt idx="4782">377.19729999999998</cx:pt>
          <cx:pt idx="4783">379.94380000000001</cx:pt>
          <cx:pt idx="4784">376.2817</cx:pt>
          <cx:pt idx="4785">377.19729999999998</cx:pt>
          <cx:pt idx="4786">379.0283</cx:pt>
          <cx:pt idx="4787">377.19729999999998</cx:pt>
          <cx:pt idx="4788">375.36619999999999</cx:pt>
          <cx:pt idx="4789">377.19729999999998</cx:pt>
          <cx:pt idx="4790">377.19729999999998</cx:pt>
          <cx:pt idx="4791">376.2817</cx:pt>
          <cx:pt idx="4792">377.19729999999998</cx:pt>
          <cx:pt idx="4793">377.19729999999998</cx:pt>
          <cx:pt idx="4794">375.36619999999999</cx:pt>
          <cx:pt idx="4795">379.0283</cx:pt>
          <cx:pt idx="4796">377.19729999999998</cx:pt>
          <cx:pt idx="4797">377.19729999999998</cx:pt>
          <cx:pt idx="4798">377.19729999999998</cx:pt>
          <cx:pt idx="4799">377.19729999999998</cx:pt>
          <cx:pt idx="4800">379.0283</cx:pt>
          <cx:pt idx="4801">377.19729999999998</cx:pt>
          <cx:pt idx="4802">377.19729999999998</cx:pt>
          <cx:pt idx="4803">377.19729999999998</cx:pt>
          <cx:pt idx="4804">377.19729999999998</cx:pt>
          <cx:pt idx="4805">377.19729999999998</cx:pt>
          <cx:pt idx="4806">377.19729999999998</cx:pt>
          <cx:pt idx="4807">375.36619999999999</cx:pt>
          <cx:pt idx="4808">379.0283</cx:pt>
          <cx:pt idx="4809">376.2817</cx:pt>
          <cx:pt idx="4810">377.19729999999998</cx:pt>
          <cx:pt idx="4811">377.19729999999998</cx:pt>
          <cx:pt idx="4812">377.19729999999998</cx:pt>
          <cx:pt idx="4813">375.36619999999999</cx:pt>
          <cx:pt idx="4814">377.19729999999998</cx:pt>
          <cx:pt idx="4815">377.19729999999998</cx:pt>
          <cx:pt idx="4816">376.2817</cx:pt>
          <cx:pt idx="4817">377.19729999999998</cx:pt>
          <cx:pt idx="4818">376.2817</cx:pt>
          <cx:pt idx="4819">377.19729999999998</cx:pt>
          <cx:pt idx="4820">377.19729999999998</cx:pt>
          <cx:pt idx="4821">377.19729999999998</cx:pt>
          <cx:pt idx="4822">377.19729999999998</cx:pt>
          <cx:pt idx="4823">377.19729999999998</cx:pt>
          <cx:pt idx="4824">377.19729999999998</cx:pt>
          <cx:pt idx="4825">378.11279999999999</cx:pt>
          <cx:pt idx="4826">379.0283</cx:pt>
          <cx:pt idx="4827">377.19729999999998</cx:pt>
          <cx:pt idx="4828">377.19729999999998</cx:pt>
          <cx:pt idx="4829">375.36619999999999</cx:pt>
          <cx:pt idx="4830">378.11279999999999</cx:pt>
          <cx:pt idx="4831">377.19729999999998</cx:pt>
          <cx:pt idx="4832">376.2817</cx:pt>
          <cx:pt idx="4833">377.19729999999998</cx:pt>
          <cx:pt idx="4834">376.2817</cx:pt>
          <cx:pt idx="4835">377.19729999999998</cx:pt>
          <cx:pt idx="4836">377.19729999999998</cx:pt>
          <cx:pt idx="4837">377.19729999999998</cx:pt>
          <cx:pt idx="4838">378.11279999999999</cx:pt>
          <cx:pt idx="4839">377.19729999999998</cx:pt>
          <cx:pt idx="4840">377.19729999999998</cx:pt>
          <cx:pt idx="4841">377.19729999999998</cx:pt>
          <cx:pt idx="4842">377.19729999999998</cx:pt>
          <cx:pt idx="4843">376.2817</cx:pt>
          <cx:pt idx="4844">379.0283</cx:pt>
          <cx:pt idx="4845">377.19729999999998</cx:pt>
          <cx:pt idx="4846">378.11279999999999</cx:pt>
          <cx:pt idx="4847">376.46469830000001</cx:pt>
          <cx:pt idx="4848">376.2817</cx:pt>
          <cx:pt idx="4849">377.19729999999998</cx:pt>
          <cx:pt idx="4850">378.11279999999999</cx:pt>
          <cx:pt idx="4851">377.19729999999998</cx:pt>
          <cx:pt idx="4852">379.0283</cx:pt>
          <cx:pt idx="4853">375.36619999999999</cx:pt>
          <cx:pt idx="4854">377.19729999999998</cx:pt>
          <cx:pt idx="4855">376.2817</cx:pt>
          <cx:pt idx="4856">379.94380000000001</cx:pt>
          <cx:pt idx="4857">379.0283</cx:pt>
          <cx:pt idx="4858">377.19729999999998</cx:pt>
          <cx:pt idx="4859">375.36619999999999</cx:pt>
          <cx:pt idx="4860">377.19729999999998</cx:pt>
          <cx:pt idx="4861">377.19729999999998</cx:pt>
          <cx:pt idx="4862">377.19729999999998</cx:pt>
          <cx:pt idx="4863">377.19729999999998</cx:pt>
          <cx:pt idx="4864">377.19729999999998</cx:pt>
          <cx:pt idx="4865">379.0283</cx:pt>
          <cx:pt idx="4866">375.36619999999999</cx:pt>
          <cx:pt idx="4867">378.11279999999999</cx:pt>
          <cx:pt idx="4868">377.19729999999998</cx:pt>
          <cx:pt idx="4869">378.11279999999999</cx:pt>
          <cx:pt idx="4870">374.45069999999998</cx:pt>
          <cx:pt idx="4871">379.0283</cx:pt>
          <cx:pt idx="4872">377.19729999999998</cx:pt>
          <cx:pt idx="4873">375.36619999999999</cx:pt>
          <cx:pt idx="4874">379.0283</cx:pt>
          <cx:pt idx="4875">378.11279999999999</cx:pt>
          <cx:pt idx="4876">378.11279999999999</cx:pt>
          <cx:pt idx="4877">378.11279999999999</cx:pt>
          <cx:pt idx="4878">376.2817</cx:pt>
          <cx:pt idx="4879">378.11279999999999</cx:pt>
          <cx:pt idx="4880">378.11279999999999</cx:pt>
          <cx:pt idx="4881">376.2817</cx:pt>
          <cx:pt idx="4882">379.0283</cx:pt>
          <cx:pt idx="4883">378.11279999999999</cx:pt>
          <cx:pt idx="4884">379.94380000000001</cx:pt>
          <cx:pt idx="4885">378.11279999999999</cx:pt>
          <cx:pt idx="4886">378.11279999999999</cx:pt>
          <cx:pt idx="4887">378.93580930000002</cx:pt>
          <cx:pt idx="4888">379.0283</cx:pt>
          <cx:pt idx="4889">377.19729999999998</cx:pt>
          <cx:pt idx="4890">378.11279999999999</cx:pt>
          <cx:pt idx="4891">378.11279999999999</cx:pt>
          <cx:pt idx="4892">376.2817</cx:pt>
          <cx:pt idx="4893">378.11279999999999</cx:pt>
          <cx:pt idx="4894">377.19729999999998</cx:pt>
          <cx:pt idx="4895">378.11279999999999</cx:pt>
          <cx:pt idx="4896">378.11279999999999</cx:pt>
          <cx:pt idx="4897">376.2817</cx:pt>
          <cx:pt idx="4898">379.94380000000001</cx:pt>
          <cx:pt idx="4899">378.51363900000001</cx:pt>
          <cx:pt idx="4900">376.2817</cx:pt>
          <cx:pt idx="4901">379.94380000000001</cx:pt>
          <cx:pt idx="4902">379.44080739999998</cx:pt>
          <cx:pt idx="4903">378.11279999999999</cx:pt>
          <cx:pt idx="4904">378.11279999999999</cx:pt>
          <cx:pt idx="4905">377.19729999999998</cx:pt>
          <cx:pt idx="4906">376.2817</cx:pt>
          <cx:pt idx="4907">378.11279999999999</cx:pt>
          <cx:pt idx="4908">378.11279999999999</cx:pt>
          <cx:pt idx="4909">378.11279999999999</cx:pt>
          <cx:pt idx="4910">376.2817</cx:pt>
          <cx:pt idx="4911">378.11279999999999</cx:pt>
          <cx:pt idx="4912">378.11279999999999</cx:pt>
          <cx:pt idx="4913">378.11279999999999</cx:pt>
          <cx:pt idx="4914">378.11279999999999</cx:pt>
          <cx:pt idx="4915">377.19729999999998</cx:pt>
          <cx:pt idx="4916">378.11279999999999</cx:pt>
          <cx:pt idx="4917">378.11279999999999</cx:pt>
          <cx:pt idx="4918">378.11279999999999</cx:pt>
          <cx:pt idx="4919">376.2817</cx:pt>
          <cx:pt idx="4920">378.11279999999999</cx:pt>
          <cx:pt idx="4921">376.2817</cx:pt>
          <cx:pt idx="4922">377.19729999999998</cx:pt>
          <cx:pt idx="4923">378.11279999999999</cx:pt>
          <cx:pt idx="4924">377.19729999999998</cx:pt>
          <cx:pt idx="4925">376.2817</cx:pt>
          <cx:pt idx="4926">378.11279999999999</cx:pt>
          <cx:pt idx="4927">378.11279999999999</cx:pt>
          <cx:pt idx="4928">378.11279999999999</cx:pt>
          <cx:pt idx="4929">377.19729999999998</cx:pt>
          <cx:pt idx="4930">378.11279999999999</cx:pt>
          <cx:pt idx="4931">378.11279999999999</cx:pt>
          <cx:pt idx="4932">378.11279999999999</cx:pt>
          <cx:pt idx="4933">377.19729999999998</cx:pt>
          <cx:pt idx="4934">378.11279999999999</cx:pt>
          <cx:pt idx="4935">377.19729999999998</cx:pt>
          <cx:pt idx="4936">379.94380000000001</cx:pt>
          <cx:pt idx="4937">376.2817</cx:pt>
          <cx:pt idx="4938">379.0283</cx:pt>
          <cx:pt idx="4939">378.26724589999998</cx:pt>
          <cx:pt idx="4940">377.19729999999998</cx:pt>
          <cx:pt idx="4941">379.0283</cx:pt>
          <cx:pt idx="4942">379.0283</cx:pt>
          <cx:pt idx="4943">378.11279999999999</cx:pt>
          <cx:pt idx="4944">377.19729999999998</cx:pt>
          <cx:pt idx="4945">379.0283</cx:pt>
          <cx:pt idx="4946">378.11279999999999</cx:pt>
          <cx:pt idx="4947">378.11279999999999</cx:pt>
          <cx:pt idx="4948">379.94380000000001</cx:pt>
          <cx:pt idx="4949">376.2817</cx:pt>
          <cx:pt idx="4950">378.11279999999999</cx:pt>
          <cx:pt idx="4951">379.0283</cx:pt>
          <cx:pt idx="4952">379.94380000000001</cx:pt>
          <cx:pt idx="4953">378.11279999999999</cx:pt>
          <cx:pt idx="4954">378.11279999999999</cx:pt>
          <cx:pt idx="4955">380.85939999999999</cx:pt>
          <cx:pt idx="4956">377.19729999999998</cx:pt>
          <cx:pt idx="4957">380.85939999999999</cx:pt>
          <cx:pt idx="4958">377.19729999999998</cx:pt>
          <cx:pt idx="4959">379.0283</cx:pt>
          <cx:pt idx="4960">377.19729999999998</cx:pt>
          <cx:pt idx="4961">378.11279999999999</cx:pt>
          <cx:pt idx="4962">377.19729999999998</cx:pt>
          <cx:pt idx="4963">376.2817</cx:pt>
          <cx:pt idx="4964">376.2817</cx:pt>
          <cx:pt idx="4965">375.36619999999999</cx:pt>
          <cx:pt idx="4966">375.36619999999999</cx:pt>
          <cx:pt idx="4967">373.53519999999997</cx:pt>
          <cx:pt idx="4968">377.19729999999998</cx:pt>
          <cx:pt idx="4969">376.2817</cx:pt>
          <cx:pt idx="4970">376.2817</cx:pt>
          <cx:pt idx="4971">375.36619999999999</cx:pt>
          <cx:pt idx="4972">376.9878597</cx:pt>
          <cx:pt idx="4973">377.19729999999998</cx:pt>
          <cx:pt idx="4974">375.36619999999999</cx:pt>
          <cx:pt idx="4975">375.36619999999999</cx:pt>
          <cx:pt idx="4976">375.36619999999999</cx:pt>
          <cx:pt idx="4977">375.36619999999999</cx:pt>
          <cx:pt idx="4978">375.36619999999999</cx:pt>
          <cx:pt idx="4979">374.45069999999998</cx:pt>
          <cx:pt idx="4980">375.36619999999999</cx:pt>
          <cx:pt idx="4981">377.19729999999998</cx:pt>
          <cx:pt idx="4982">375.36619999999999</cx:pt>
          <cx:pt idx="4983">373.53519999999997</cx:pt>
          <cx:pt idx="4984">375.36619999999999</cx:pt>
          <cx:pt idx="4985">375.36619999999999</cx:pt>
          <cx:pt idx="4986">375.36619999999999</cx:pt>
          <cx:pt idx="4987">375.36619999999999</cx:pt>
          <cx:pt idx="4988">375.36619999999999</cx:pt>
          <cx:pt idx="4989">377.19729999999998</cx:pt>
          <cx:pt idx="4990">373.53519999999997</cx:pt>
          <cx:pt idx="4991">375.36619999999999</cx:pt>
          <cx:pt idx="4992">376.2817</cx:pt>
          <cx:pt idx="4993">375.36619999999999</cx:pt>
          <cx:pt idx="4994">373.53519999999997</cx:pt>
          <cx:pt idx="4995">377.19729999999998</cx:pt>
          <cx:pt idx="4996">377.1662791</cx:pt>
          <cx:pt idx="4997">375.36619999999999</cx:pt>
          <cx:pt idx="4998">375.36619999999999</cx:pt>
          <cx:pt idx="4999">375.36619999999999</cx:pt>
          <cx:pt idx="5000">375.36619999999999</cx:pt>
          <cx:pt idx="5001">378.11279999999999</cx:pt>
          <cx:pt idx="5002">374.45069999999998</cx:pt>
          <cx:pt idx="5003">375.36619999999999</cx:pt>
          <cx:pt idx="5004">375.36619999999999</cx:pt>
          <cx:pt idx="5005">375.36619999999999</cx:pt>
          <cx:pt idx="5006">375.36619999999999</cx:pt>
          <cx:pt idx="5007">375.36619999999999</cx:pt>
          <cx:pt idx="5008">374.45069999999998</cx:pt>
          <cx:pt idx="5009">375.36619999999999</cx:pt>
          <cx:pt idx="5010">374.45069999999998</cx:pt>
          <cx:pt idx="5011">375.36619999999999</cx:pt>
          <cx:pt idx="5012">375.36619999999999</cx:pt>
          <cx:pt idx="5013">375.36619999999999</cx:pt>
          <cx:pt idx="5014">375.36619999999999</cx:pt>
          <cx:pt idx="5015">373.53519999999997</cx:pt>
          <cx:pt idx="5016">377.19729999999998</cx:pt>
          <cx:pt idx="5017">374.45069999999998</cx:pt>
          <cx:pt idx="5018">374.45069999999998</cx:pt>
          <cx:pt idx="5019">374.45069999999998</cx:pt>
          <cx:pt idx="5020">375.3301184</cx:pt>
          <cx:pt idx="5021">375.36619999999999</cx:pt>
          <cx:pt idx="5022">373.53519999999997</cx:pt>
          <cx:pt idx="5023">375.36619999999999</cx:pt>
          <cx:pt idx="5024">375.36619999999999</cx:pt>
          <cx:pt idx="5025">373.53519999999997</cx:pt>
          <cx:pt idx="5026">375.36619999999999</cx:pt>
          <cx:pt idx="5027">376.2817</cx:pt>
          <cx:pt idx="5028">374.45069999999998</cx:pt>
          <cx:pt idx="5029">374.45069999999998</cx:pt>
          <cx:pt idx="5030">374.45069999999998</cx:pt>
          <cx:pt idx="5031">372.61959999999999</cx:pt>
          <cx:pt idx="5032">374.45069999999998</cx:pt>
          <cx:pt idx="5033">375.36619999999999</cx:pt>
          <cx:pt idx="5034">375.36619999999999</cx:pt>
          <cx:pt idx="5035">375.36619999999999</cx:pt>
          <cx:pt idx="5036">375.36619999999999</cx:pt>
          <cx:pt idx="5037">375.36619999999999</cx:pt>
          <cx:pt idx="5038">375.36619999999999</cx:pt>
          <cx:pt idx="5039">375.36619999999999</cx:pt>
          <cx:pt idx="5040">376.2817</cx:pt>
          <cx:pt idx="5041">376.2817</cx:pt>
          <cx:pt idx="5042">376.2817</cx:pt>
          <cx:pt idx="5043">374.45069999999998</cx:pt>
          <cx:pt idx="5044">375.79581239999999</cx:pt>
          <cx:pt idx="5045">376.2817</cx:pt>
          <cx:pt idx="5046">374.45069999999998</cx:pt>
          <cx:pt idx="5047">375.36619999999999</cx:pt>
          <cx:pt idx="5048">373.53519999999997</cx:pt>
          <cx:pt idx="5049">376.2817</cx:pt>
          <cx:pt idx="5050">374.45069999999998</cx:pt>
          <cx:pt idx="5051">374.45069999999998</cx:pt>
          <cx:pt idx="5052">373.53519999999997</cx:pt>
          <cx:pt idx="5053">374.45069999999998</cx:pt>
          <cx:pt idx="5054">376.2817</cx:pt>
          <cx:pt idx="5055">374.45069999999998</cx:pt>
          <cx:pt idx="5056">375.36619999999999</cx:pt>
          <cx:pt idx="5057">375.36619999999999</cx:pt>
          <cx:pt idx="5058">375.36619999999999</cx:pt>
          <cx:pt idx="5059">375.36619999999999</cx:pt>
          <cx:pt idx="5060">375.36619999999999</cx:pt>
          <cx:pt idx="5061">375.36619999999999</cx:pt>
          <cx:pt idx="5062">374.45069999999998</cx:pt>
          <cx:pt idx="5063">375.36619999999999</cx:pt>
          <cx:pt idx="5064">375.36619999999999</cx:pt>
          <cx:pt idx="5065">374.45069999999998</cx:pt>
          <cx:pt idx="5066">376.2817</cx:pt>
          <cx:pt idx="5067">374.45069999999998</cx:pt>
          <cx:pt idx="5068">373.53519999999997</cx:pt>
          <cx:pt idx="5069">377.19729999999998</cx:pt>
          <cx:pt idx="5070">373.53519999999997</cx:pt>
          <cx:pt idx="5071">375.36619999999999</cx:pt>
          <cx:pt idx="5072">377.19729999999998</cx:pt>
          <cx:pt idx="5073">373.53519999999997</cx:pt>
          <cx:pt idx="5074">374.45069999999998</cx:pt>
          <cx:pt idx="5075">374.45069999999998</cx:pt>
          <cx:pt idx="5076">374.45069999999998</cx:pt>
          <cx:pt idx="5077">374.45069999999998</cx:pt>
          <cx:pt idx="5078">374.45069999999998</cx:pt>
          <cx:pt idx="5079">374.45069999999998</cx:pt>
          <cx:pt idx="5080">374.45069999999998</cx:pt>
          <cx:pt idx="5081">376.2817</cx:pt>
          <cx:pt idx="5082">372.61959999999999</cx:pt>
          <cx:pt idx="5083">374.45069999999998</cx:pt>
          <cx:pt idx="5084">374.45069999999998</cx:pt>
          <cx:pt idx="5085">372.61959999999999</cx:pt>
          <cx:pt idx="5086">374.45069999999998</cx:pt>
          <cx:pt idx="5087">374.45069999999998</cx:pt>
          <cx:pt idx="5088">374.45069999999998</cx:pt>
          <cx:pt idx="5089">374.45069999999998</cx:pt>
          <cx:pt idx="5090">374.45069999999998</cx:pt>
          <cx:pt idx="5091">375.36619999999999</cx:pt>
          <cx:pt idx="5092">372.61959999999999</cx:pt>
          <cx:pt idx="5093">376.2817</cx:pt>
          <cx:pt idx="5094">374.45069999999998</cx:pt>
          <cx:pt idx="5095">376.2817</cx:pt>
          <cx:pt idx="5096">372.61959999999999</cx:pt>
          <cx:pt idx="5097">375.36619999999999</cx:pt>
          <cx:pt idx="5098">374.45069999999998</cx:pt>
          <cx:pt idx="5099">376.2817</cx:pt>
          <cx:pt idx="5100">375.36619999999999</cx:pt>
          <cx:pt idx="5101">375.36619999999999</cx:pt>
          <cx:pt idx="5102">375.36619999999999</cx:pt>
          <cx:pt idx="5103">375.36619999999999</cx:pt>
          <cx:pt idx="5104">375.36619999999999</cx:pt>
          <cx:pt idx="5105">374.45069999999998</cx:pt>
          <cx:pt idx="5106">376.2817</cx:pt>
          <cx:pt idx="5107">375.36619999999999</cx:pt>
          <cx:pt idx="5108">375.36619999999999</cx:pt>
          <cx:pt idx="5109">374.45069999999998</cx:pt>
          <cx:pt idx="5110">375.36619999999999</cx:pt>
          <cx:pt idx="5111">374.45069999999998</cx:pt>
          <cx:pt idx="5112">376.2817</cx:pt>
          <cx:pt idx="5113">374.45069999999998</cx:pt>
          <cx:pt idx="5114">375.36619999999999</cx:pt>
          <cx:pt idx="5115">373.53519999999997</cx:pt>
          <cx:pt idx="5116">375.36619999999999</cx:pt>
          <cx:pt idx="5117">374.45069999999998</cx:pt>
          <cx:pt idx="5118">374.45069999999998</cx:pt>
          <cx:pt idx="5119">375.36619999999999</cx:pt>
          <cx:pt idx="5120">376.2817</cx:pt>
          <cx:pt idx="5121">374.45069999999998</cx:pt>
          <cx:pt idx="5122">375.36619999999999</cx:pt>
          <cx:pt idx="5123">375.36619999999999</cx:pt>
          <cx:pt idx="5124">376.2817</cx:pt>
          <cx:pt idx="5125">376.2817</cx:pt>
          <cx:pt idx="5126">377.19729999999998</cx:pt>
          <cx:pt idx="5127">376.2817</cx:pt>
          <cx:pt idx="5128">378.11279999999999</cx:pt>
          <cx:pt idx="5129">374.45069999999998</cx:pt>
          <cx:pt idx="5130">378.11279999999999</cx:pt>
          <cx:pt idx="5131">376.2817</cx:pt>
          <cx:pt idx="5132">377.19729999999998</cx:pt>
          <cx:pt idx="5133">376.2817</cx:pt>
          <cx:pt idx="5134">376.2817</cx:pt>
          <cx:pt idx="5135">374.45069999999998</cx:pt>
          <cx:pt idx="5136">378.11279999999999</cx:pt>
          <cx:pt idx="5137">377.19729999999998</cx:pt>
          <cx:pt idx="5138">376.2817</cx:pt>
          <cx:pt idx="5139">378.11279999999999</cx:pt>
          <cx:pt idx="5140">376.2817</cx:pt>
          <cx:pt idx="5141">377.19729999999998</cx:pt>
          <cx:pt idx="5142">375.66202959999998</cx:pt>
          <cx:pt idx="5143">375.36619999999999</cx:pt>
          <cx:pt idx="5144">378.11279999999999</cx:pt>
          <cx:pt idx="5145">378.11279999999999</cx:pt>
          <cx:pt idx="5146">376.2817</cx:pt>
          <cx:pt idx="5147">376.2817</cx:pt>
          <cx:pt idx="5148">376.70083039999997</cx:pt>
          <cx:pt idx="5149">377.19729999999998</cx:pt>
          <cx:pt idx="5150">377.19729999999998</cx:pt>
          <cx:pt idx="5151">377.19729999999998</cx:pt>
          <cx:pt idx="5152">377.19729999999998</cx:pt>
          <cx:pt idx="5153">379.0283</cx:pt>
          <cx:pt idx="5154">378.11279999999999</cx:pt>
          <cx:pt idx="5155">376.2817</cx:pt>
          <cx:pt idx="5156">378.11279999999999</cx:pt>
          <cx:pt idx="5157">378.11279999999999</cx:pt>
          <cx:pt idx="5158">378.11279999999999</cx:pt>
          <cx:pt idx="5159">378.11279999999999</cx:pt>
          <cx:pt idx="5160">379.0283</cx:pt>
          <cx:pt idx="5161">379.0283</cx:pt>
          <cx:pt idx="5162">379.0283</cx:pt>
          <cx:pt idx="5163">379.0283</cx:pt>
          <cx:pt idx="5164">380.85939999999999</cx:pt>
          <cx:pt idx="5165">379.94380000000001</cx:pt>
          <cx:pt idx="5166">380.85939999999999</cx:pt>
          <cx:pt idx="5167">380.65756820000001</cx:pt>
          <cx:pt idx="5168">380.21847910000002</cx:pt>
          <cx:pt idx="5169">380.19976370000001</cx:pt>
          <cx:pt idx="5170">380.18162510000002</cx:pt>
          <cx:pt idx="5171">380.163633</cx:pt>
          <cx:pt idx="5172">380.1269163</cx:pt>
          <cx:pt idx="5173">380.0149351</cx:pt>
          <cx:pt idx="5174">379.94380000000001</cx:pt>
          <cx:pt idx="5175">382.69040000000001</cx:pt>
          <cx:pt idx="5176">379.0283</cx:pt>
          <cx:pt idx="5177">382.69040000000001</cx:pt>
          <cx:pt idx="5178">382.69040000000001</cx:pt>
          <cx:pt idx="5179">381.7749</cx:pt>
          <cx:pt idx="5180">382.69040000000001</cx:pt>
          <cx:pt idx="5181">382.69040000000001</cx:pt>
          <cx:pt idx="5182">382.69040000000001</cx:pt>
          <cx:pt idx="5183">382.97024349999998</cx:pt>
          <cx:pt idx="5184">383.60590000000002</cx:pt>
          <cx:pt idx="5185">382.69040000000001</cx:pt>
          <cx:pt idx="5186">382.69040000000001</cx:pt>
          <cx:pt idx="5187">382.69040000000001</cx:pt>
          <cx:pt idx="5188">382.69040000000001</cx:pt>
          <cx:pt idx="5189">383.60590000000002</cx:pt>
          <cx:pt idx="5190">383.60590000000002</cx:pt>
          <cx:pt idx="5191">382.01602819999999</cx:pt>
          <cx:pt idx="5192">381.7749</cx:pt>
          <cx:pt idx="5193">382.69040000000001</cx:pt>
          <cx:pt idx="5194">382.69040000000001</cx:pt>
          <cx:pt idx="5195">382.69040000000001</cx:pt>
          <cx:pt idx="5196">381.7749</cx:pt>
          <cx:pt idx="5197">383.60590000000002</cx:pt>
          <cx:pt idx="5198">382.69040000000001</cx:pt>
          <cx:pt idx="5199">381.82578369999999</cx:pt>
          <cx:pt idx="5200">381.7749</cx:pt>
          <cx:pt idx="5201">381.7749</cx:pt>
          <cx:pt idx="5202">381.7749</cx:pt>
          <cx:pt idx="5203">381.7749</cx:pt>
          <cx:pt idx="5204">381.7749</cx:pt>
          <cx:pt idx="5205">381.7749</cx:pt>
          <cx:pt idx="5206">381.7749</cx:pt>
          <cx:pt idx="5207">381.7749</cx:pt>
          <cx:pt idx="5208">381.7749</cx:pt>
          <cx:pt idx="5209">381.7749</cx:pt>
          <cx:pt idx="5210">381.7749</cx:pt>
          <cx:pt idx="5211">381.7749</cx:pt>
          <cx:pt idx="5212">381.7749</cx:pt>
          <cx:pt idx="5213">381.7749</cx:pt>
          <cx:pt idx="5214">381.7749</cx:pt>
          <cx:pt idx="5215">381.7749</cx:pt>
          <cx:pt idx="5216">381.7749</cx:pt>
          <cx:pt idx="5217">381.7749</cx:pt>
          <cx:pt idx="5218">381.7749</cx:pt>
          <cx:pt idx="5219">381.7749</cx:pt>
          <cx:pt idx="5220">381.7749</cx:pt>
          <cx:pt idx="5221">381.7749</cx:pt>
          <cx:pt idx="5222">381.7749</cx:pt>
          <cx:pt idx="5223">381.7749</cx:pt>
          <cx:pt idx="5224">381.7749</cx:pt>
          <cx:pt idx="5225">381.7749</cx:pt>
          <cx:pt idx="5226">381.7749</cx:pt>
          <cx:pt idx="5227">381.7749</cx:pt>
          <cx:pt idx="5228">381.7749</cx:pt>
          <cx:pt idx="5229">381.7749</cx:pt>
          <cx:pt idx="5230">381.7749</cx:pt>
          <cx:pt idx="5231">381.7749</cx:pt>
          <cx:pt idx="5232">381.7749</cx:pt>
          <cx:pt idx="5233">381.7749</cx:pt>
          <cx:pt idx="5234">381.7749</cx:pt>
          <cx:pt idx="5235">381.7749</cx:pt>
          <cx:pt idx="5236">381.7749</cx:pt>
          <cx:pt idx="5237">381.7749</cx:pt>
          <cx:pt idx="5238">381.7749</cx:pt>
          <cx:pt idx="5239">381.7749</cx:pt>
          <cx:pt idx="5240">381.7749</cx:pt>
          <cx:pt idx="5241">381.7749</cx:pt>
          <cx:pt idx="5242">381.7749</cx:pt>
          <cx:pt idx="5243">381.7749</cx:pt>
          <cx:pt idx="5244">381.7749</cx:pt>
          <cx:pt idx="5245">381.7749</cx:pt>
          <cx:pt idx="5246">381.7749</cx:pt>
          <cx:pt idx="5247">381.7749</cx:pt>
          <cx:pt idx="5248">381.7749</cx:pt>
          <cx:pt idx="5249">381.7749</cx:pt>
          <cx:pt idx="5250">381.7749</cx:pt>
          <cx:pt idx="5251">381.7749</cx:pt>
          <cx:pt idx="5252">381.7749</cx:pt>
          <cx:pt idx="5253">381.7749</cx:pt>
          <cx:pt idx="5254">381.7749</cx:pt>
          <cx:pt idx="5255">381.7749</cx:pt>
          <cx:pt idx="5256">381.7749</cx:pt>
          <cx:pt idx="5257">381.7749</cx:pt>
          <cx:pt idx="5258">381.7749</cx:pt>
          <cx:pt idx="5259">381.7749</cx:pt>
          <cx:pt idx="5260">381.7749</cx:pt>
          <cx:pt idx="5261">381.7749</cx:pt>
          <cx:pt idx="5262">381.7749</cx:pt>
          <cx:pt idx="5263">381.7749</cx:pt>
          <cx:pt idx="5264">381.7749</cx:pt>
          <cx:pt idx="5265">381.7749</cx:pt>
          <cx:pt idx="5266">381.7749</cx:pt>
          <cx:pt idx="5267">381.7749</cx:pt>
          <cx:pt idx="5268">381.7749</cx:pt>
          <cx:pt idx="5269">381.7749</cx:pt>
          <cx:pt idx="5270">381.7749</cx:pt>
          <cx:pt idx="5271">381.7749</cx:pt>
          <cx:pt idx="5272">381.7749</cx:pt>
          <cx:pt idx="5273">381.7749</cx:pt>
          <cx:pt idx="5274">381.7749</cx:pt>
          <cx:pt idx="5275">381.7749</cx:pt>
          <cx:pt idx="5276">381.7749</cx:pt>
          <cx:pt idx="5277">381.7749</cx:pt>
          <cx:pt idx="5278">381.7749</cx:pt>
          <cx:pt idx="5279">381.7749</cx:pt>
          <cx:pt idx="5280">381.7749</cx:pt>
          <cx:pt idx="5281">381.7749</cx:pt>
          <cx:pt idx="5282">381.7749</cx:pt>
          <cx:pt idx="5283">381.7749</cx:pt>
          <cx:pt idx="5284">381.7749</cx:pt>
          <cx:pt idx="5285">381.7749</cx:pt>
          <cx:pt idx="5286">381.7749</cx:pt>
          <cx:pt idx="5287">381.7749</cx:pt>
          <cx:pt idx="5288">381.7749</cx:pt>
          <cx:pt idx="5289">381.7749</cx:pt>
          <cx:pt idx="5290">381.7749</cx:pt>
          <cx:pt idx="5291">381.7749</cx:pt>
          <cx:pt idx="5292">381.7749</cx:pt>
          <cx:pt idx="5293">381.7749</cx:pt>
          <cx:pt idx="5294">381.7749</cx:pt>
          <cx:pt idx="5295">381.7749</cx:pt>
          <cx:pt idx="5296">381.7749</cx:pt>
          <cx:pt idx="5297">381.7749</cx:pt>
          <cx:pt idx="5298">381.7749</cx:pt>
          <cx:pt idx="5299">381.7749</cx:pt>
          <cx:pt idx="5300">381.7749</cx:pt>
          <cx:pt idx="5301">379.0283</cx:pt>
          <cx:pt idx="5302">383.60590000000002</cx:pt>
          <cx:pt idx="5303">383.46866779999999</cx:pt>
          <cx:pt idx="5304">383.33363459999998</cx:pt>
          <cx:pt idx="5305">383.1975018</cx:pt>
          <cx:pt idx="5306">382.92193789999999</cx:pt>
          <cx:pt idx="5307">381.96035019999999</cx:pt>
          <cx:pt idx="5308">381.81885740000001</cx:pt>
          <cx:pt idx="5309">381.40716070000002</cx:pt>
          <cx:pt idx="5310">381.13599479999999</cx:pt>
          <cx:pt idx="5311">380.9944332</cx:pt>
          <cx:pt idx="5312">380.85939999999999</cx:pt>
          <cx:pt idx="5313">380.90472369999998</cx:pt>
          <cx:pt idx="5314">380.95041350000002</cx:pt>
          <cx:pt idx="5315">380.99752180000002</cx:pt>
          <cx:pt idx="5316">381.04250230000002</cx:pt>
          <cx:pt idx="5317">381.36338319999999</cx:pt>
          <cx:pt idx="5318">381.40799759999999</cx:pt>
          <cx:pt idx="5319">381.5457533</cx:pt>
          <cx:pt idx="5320">381.63676679999998</cx:pt>
          <cx:pt idx="5321">381.68387510000002</cx:pt>
          <cx:pt idx="5322">381.72885559999997</cx:pt>
          <cx:pt idx="5323">381.77454540000002</cx:pt>
          <cx:pt idx="5324">381.81986910000001</cx:pt>
          <cx:pt idx="5325">381.95728159999999</cx:pt>
          <cx:pt idx="5326">382.0040467</cx:pt>
          <cx:pt idx="5327">382.04973649999999</cx:pt>
          <cx:pt idx="5328">382.18714899999998</cx:pt>
          <cx:pt idx="5329">382.27743029999999</cx:pt>
          <cx:pt idx="5330">382.3698852</cx:pt>
          <cx:pt idx="5331">382.50622240000001</cx:pt>
          <cx:pt idx="5332">382.6436349</cx:pt>
          <cx:pt idx="5333">382.69040000000001</cx:pt>
          <cx:pt idx="5334">382.61155789999998</cx:pt>
          <cx:pt idx="5335">380.85082849999998</cx:pt>
          <cx:pt idx="5336">380.39915309999998</cx:pt>
          <cx:pt idx="5337">379.94380000000001</cx:pt>
          <cx:pt idx="5338">383.60590000000002</cx:pt>
          <cx:pt idx="5339">383.53237530000001</cx:pt>
          <cx:pt idx="5340">383.00846480000001</cx:pt>
          <cx:pt idx="5341">382.9956373</cx:pt>
          <cx:pt idx="5342">382.93378080000002</cx:pt>
          <cx:pt idx="5343">382.86085439999999</cx:pt>
          <cx:pt idx="5344">382.56159450000001</cx:pt>
          <cx:pt idx="5345">382.48399339999997</cx:pt>
          <cx:pt idx="5346">382.40990770000002</cx:pt>
          <cx:pt idx="5347">382.33698129999999</cx:pt>
          <cx:pt idx="5348">382.11001210000001</cx:pt>
          <cx:pt idx="5349">382.03592639999999</cx:pt>
          <cx:pt idx="5350">381.96300000000002</cx:pt>
          <cx:pt idx="5351">381.88655820000002</cx:pt>
          <cx:pt idx="5352">381.87316970000001</cx:pt>
          <cx:pt idx="5353">381.81187419999998</cx:pt>
          <cx:pt idx="5354">381.73894780000001</cx:pt>
          <cx:pt idx="5355">381.66486209999999</cx:pt>
          <cx:pt idx="5356">381.58726100000001</cx:pt>
          <cx:pt idx="5357">381.51377359999998</cx:pt>
          <cx:pt idx="5358">381.43968790000002</cx:pt>
          <cx:pt idx="5359">381.36208679999999</cx:pt>
          <cx:pt idx="5360">381.28800109999997</cx:pt>
          <cx:pt idx="5361">381.2150747</cx:pt>
          <cx:pt idx="5362">381.13979230000001</cx:pt>
          <cx:pt idx="5363">381.0657066</cx:pt>
          <cx:pt idx="5364">380.98810550000002</cx:pt>
          <cx:pt idx="5365">380.91401980000001</cx:pt>
          <cx:pt idx="5366">380.84109339999998</cx:pt>
          <cx:pt idx="5367">380.76465159999998</cx:pt>
          <cx:pt idx="5368">380.75182410000002</cx:pt>
          <cx:pt idx="5369">380.69000499999999</cx:pt>
          <cx:pt idx="5370">380.61704120000002</cx:pt>
          <cx:pt idx="5371">380.53947749999998</cx:pt>
          <cx:pt idx="5372">380.46535440000002</cx:pt>
          <cx:pt idx="5373">380.39186699999999</cx:pt>
          <cx:pt idx="5374">380.31778129999998</cx:pt>
          <cx:pt idx="5375">380.2401802</cx:pt>
          <cx:pt idx="5376">380.16609449999999</cx:pt>
          <cx:pt idx="5377">380.09316810000001</cx:pt>
          <cx:pt idx="5378">380.01788570000002</cx:pt>
          <cx:pt idx="5379">379.94380000000001</cx:pt>
          <cx:pt idx="5380">381.81728559999999</cx:pt>
          <cx:pt idx="5381">383.60590000000002</cx:pt>
          <cx:pt idx="5382">383.56270560000002</cx:pt>
          <cx:pt idx="5383">383.51742899999999</cx:pt>
          <cx:pt idx="5384">383.50949889999998</cx:pt>
          <cx:pt idx="5385">383.4732156</cx:pt>
          <cx:pt idx="5386">383.3819757</cx:pt>
          <cx:pt idx="5387">383.34015470000003</cx:pt>
          <cx:pt idx="5388">383.296628</cx:pt>
          <cx:pt idx="5389">383.25274689999998</cx:pt>
          <cx:pt idx="5390">383.20678359999999</cx:pt>
          <cx:pt idx="5391">383.1629026</cx:pt>
          <cx:pt idx="5392">383.11970810000003</cx:pt>
          <cx:pt idx="5393">383.07511820000002</cx:pt>
          <cx:pt idx="5394">383.0312371</cx:pt>
          <cx:pt idx="5395">382.98527380000002</cx:pt>
          <cx:pt idx="5396">382.94139280000002</cx:pt>
          <cx:pt idx="5397">382.89819829999999</cx:pt>
          <cx:pt idx="5398">382.85292170000002</cx:pt>
          <cx:pt idx="5399">382.84499169999998</cx:pt>
          <cx:pt idx="5400">382.8087084</cx:pt>
          <cx:pt idx="5401">382.7651596</cx:pt>
          <cx:pt idx="5402">382.7171141</cx:pt>
          <cx:pt idx="5403">382.6756474</cx:pt>
          <cx:pt idx="5404">382.6321208</cx:pt>
          <cx:pt idx="5405">382.58823969999997</cx:pt>
          <cx:pt idx="5406">382.54227639999999</cx:pt>
          <cx:pt idx="5407">382.49839530000003</cx:pt>
          <cx:pt idx="5408">382.45520090000002</cx:pt>
          <cx:pt idx="5409">382.41061100000002</cx:pt>
          <cx:pt idx="5410">382.3667299</cx:pt>
          <cx:pt idx="5411">382.32076660000001</cx:pt>
          <cx:pt idx="5412">382.27688549999999</cx:pt>
          <cx:pt idx="5413">381.5272506</cx:pt>
          <cx:pt idx="5414">381.5555592</cx:pt>
          <cx:pt idx="5415">381.58478239999999</cx:pt>
          <cx:pt idx="5416">381.613541</cx:pt>
          <cx:pt idx="5417">381.64366430000001</cx:pt>
          <cx:pt idx="5418">381.67219060000002</cx:pt>
          <cx:pt idx="5419">381.67242290000002</cx:pt>
          <cx:pt idx="5420">381.70073150000002</cx:pt>
          <cx:pt idx="5421">381.73062249999998</cx:pt>
          <cx:pt idx="5422">381.73266940000002</cx:pt>
          <cx:pt idx="5423">381.75961339999998</cx:pt>
          <cx:pt idx="5424">381.78815420000001</cx:pt>
          <cx:pt idx="5425">381.84680379999998</cx:pt>
          <cx:pt idx="5426">381.87511239999998</cx:pt>
          <cx:pt idx="5427">381.9910615</cx:pt>
          <cx:pt idx="5428">382.07916660000001</cx:pt>
          <cx:pt idx="5429">382.10792520000001</cx:pt>
          <cx:pt idx="5430">382.13623380000001</cx:pt>
          <cx:pt idx="5431">382.22342429999998</cx:pt>
          <cx:pt idx="5432">382.25354759999999</cx:pt>
          <cx:pt idx="5433">382.28230619999999</cx:pt>
          <cx:pt idx="5434">382.3393734</cx:pt>
          <cx:pt idx="5435">382.36949670000001</cx:pt>
          <cx:pt idx="5436">382.48454570000001</cx:pt>
          <cx:pt idx="5437">382.54319529999998</cx:pt>
          <cx:pt idx="5438">382.54342759999997</cx:pt>
          <cx:pt idx="5439">382.57173619999998</cx:pt>
          <cx:pt idx="5440">382.60162709999997</cx:pt>
          <cx:pt idx="5441">382.69040000000001</cx:pt>
          <cx:pt idx="5442">382.69040000000001</cx:pt>
          <cx:pt idx="5443">382.69040000000001</cx:pt>
          <cx:pt idx="5444">382.69040000000001</cx:pt>
          <cx:pt idx="5445">382.69040000000001</cx:pt>
          <cx:pt idx="5446">382.69040000000001</cx:pt>
          <cx:pt idx="5447">382.69040000000001</cx:pt>
          <cx:pt idx="5448">382.69040000000001</cx:pt>
          <cx:pt idx="5449">382.69040000000001</cx:pt>
          <cx:pt idx="5450">382.69040000000001</cx:pt>
          <cx:pt idx="5451">382.69040000000001</cx:pt>
          <cx:pt idx="5452">382.69040000000001</cx:pt>
          <cx:pt idx="5453">382.69040000000001</cx:pt>
          <cx:pt idx="5454">382.69040000000001</cx:pt>
          <cx:pt idx="5455">382.69040000000001</cx:pt>
          <cx:pt idx="5456">382.69040000000001</cx:pt>
          <cx:pt idx="5457">382.69040000000001</cx:pt>
          <cx:pt idx="5458">382.69040000000001</cx:pt>
          <cx:pt idx="5459">382.69040000000001</cx:pt>
          <cx:pt idx="5460">382.69040000000001</cx:pt>
          <cx:pt idx="5461">382.69040000000001</cx:pt>
          <cx:pt idx="5462">382.69040000000001</cx:pt>
          <cx:pt idx="5463">382.69040000000001</cx:pt>
          <cx:pt idx="5464">382.69040000000001</cx:pt>
          <cx:pt idx="5465">382.69040000000001</cx:pt>
          <cx:pt idx="5466">382.69040000000001</cx:pt>
          <cx:pt idx="5467">382.69040000000001</cx:pt>
          <cx:pt idx="5468">382.69040000000001</cx:pt>
          <cx:pt idx="5469">382.69040000000001</cx:pt>
          <cx:pt idx="5470">382.69040000000001</cx:pt>
          <cx:pt idx="5471">382.69040000000001</cx:pt>
          <cx:pt idx="5472">382.69040000000001</cx:pt>
          <cx:pt idx="5473">382.69040000000001</cx:pt>
          <cx:pt idx="5474">382.69040000000001</cx:pt>
          <cx:pt idx="5475">382.69040000000001</cx:pt>
          <cx:pt idx="5476">382.69040000000001</cx:pt>
          <cx:pt idx="5477">382.69040000000001</cx:pt>
          <cx:pt idx="5478">382.69040000000001</cx:pt>
          <cx:pt idx="5479">382.69040000000001</cx:pt>
          <cx:pt idx="5480">382.69040000000001</cx:pt>
          <cx:pt idx="5481">382.69040000000001</cx:pt>
          <cx:pt idx="5482">382.69040000000001</cx:pt>
          <cx:pt idx="5483">382.69040000000001</cx:pt>
          <cx:pt idx="5484">382.69040000000001</cx:pt>
          <cx:pt idx="5485">382.69040000000001</cx:pt>
          <cx:pt idx="5486">382.69040000000001</cx:pt>
          <cx:pt idx="5487">382.69040000000001</cx:pt>
          <cx:pt idx="5488">382.69040000000001</cx:pt>
          <cx:pt idx="5489">382.69040000000001</cx:pt>
          <cx:pt idx="5490">382.69040000000001</cx:pt>
          <cx:pt idx="5491">382.69040000000001</cx:pt>
          <cx:pt idx="5492">382.69040000000001</cx:pt>
          <cx:pt idx="5493">382.69040000000001</cx:pt>
          <cx:pt idx="5494">382.69040000000001</cx:pt>
          <cx:pt idx="5495">382.69040000000001</cx:pt>
          <cx:pt idx="5496">382.69040000000001</cx:pt>
          <cx:pt idx="5497">382.69040000000001</cx:pt>
          <cx:pt idx="5498">382.69040000000001</cx:pt>
          <cx:pt idx="5499">382.69040000000001</cx:pt>
          <cx:pt idx="5500">382.69040000000001</cx:pt>
          <cx:pt idx="5501">382.69040000000001</cx:pt>
          <cx:pt idx="5502">382.69040000000001</cx:pt>
          <cx:pt idx="5503">382.69040000000001</cx:pt>
          <cx:pt idx="5504">382.69040000000001</cx:pt>
          <cx:pt idx="5505">382.69040000000001</cx:pt>
          <cx:pt idx="5506">382.69040000000001</cx:pt>
          <cx:pt idx="5507">382.69040000000001</cx:pt>
          <cx:pt idx="5508">382.69040000000001</cx:pt>
          <cx:pt idx="5509">382.69040000000001</cx:pt>
          <cx:pt idx="5510">382.69040000000001</cx:pt>
          <cx:pt idx="5511">382.69040000000001</cx:pt>
          <cx:pt idx="5512">382.69040000000001</cx:pt>
          <cx:pt idx="5513">382.69040000000001</cx:pt>
          <cx:pt idx="5514">382.69040000000001</cx:pt>
          <cx:pt idx="5515">382.69040000000001</cx:pt>
          <cx:pt idx="5516">382.69040000000001</cx:pt>
          <cx:pt idx="5517">382.69040000000001</cx:pt>
          <cx:pt idx="5518">382.69040000000001</cx:pt>
          <cx:pt idx="5519">382.69040000000001</cx:pt>
          <cx:pt idx="5520">382.69040000000001</cx:pt>
          <cx:pt idx="5521">382.69040000000001</cx:pt>
          <cx:pt idx="5522">382.69040000000001</cx:pt>
          <cx:pt idx="5523">382.69040000000001</cx:pt>
          <cx:pt idx="5524">382.69040000000001</cx:pt>
          <cx:pt idx="5525">382.69040000000001</cx:pt>
          <cx:pt idx="5526">382.69040000000001</cx:pt>
          <cx:pt idx="5527">382.69040000000001</cx:pt>
          <cx:pt idx="5528">382.69040000000001</cx:pt>
          <cx:pt idx="5529">382.69040000000001</cx:pt>
          <cx:pt idx="5530">382.69040000000001</cx:pt>
          <cx:pt idx="5531">382.69040000000001</cx:pt>
          <cx:pt idx="5532">382.69040000000001</cx:pt>
          <cx:pt idx="5533">382.69040000000001</cx:pt>
          <cx:pt idx="5534">382.69040000000001</cx:pt>
          <cx:pt idx="5535">382.69040000000001</cx:pt>
          <cx:pt idx="5536">382.69040000000001</cx:pt>
          <cx:pt idx="5537">382.69040000000001</cx:pt>
          <cx:pt idx="5538">382.69040000000001</cx:pt>
          <cx:pt idx="5539">382.69040000000001</cx:pt>
          <cx:pt idx="5540">382.69040000000001</cx:pt>
          <cx:pt idx="5541">382.69040000000001</cx:pt>
          <cx:pt idx="5542">382.69040000000001</cx:pt>
          <cx:pt idx="5543">382.69040000000001</cx:pt>
          <cx:pt idx="5544">382.69040000000001</cx:pt>
          <cx:pt idx="5545">382.69040000000001</cx:pt>
          <cx:pt idx="5546">382.69040000000001</cx:pt>
          <cx:pt idx="5547">382.69040000000001</cx:pt>
          <cx:pt idx="5548">382.69040000000001</cx:pt>
          <cx:pt idx="5549">382.69040000000001</cx:pt>
          <cx:pt idx="5550">382.69040000000001</cx:pt>
          <cx:pt idx="5551">382.69040000000001</cx:pt>
          <cx:pt idx="5552">382.69040000000001</cx:pt>
          <cx:pt idx="5553">382.69040000000001</cx:pt>
          <cx:pt idx="5554">382.69040000000001</cx:pt>
          <cx:pt idx="5555">382.69040000000001</cx:pt>
          <cx:pt idx="5556">382.69040000000001</cx:pt>
          <cx:pt idx="5557">382.69040000000001</cx:pt>
          <cx:pt idx="5558">382.69040000000001</cx:pt>
          <cx:pt idx="5559">382.80017170000002</cx:pt>
          <cx:pt idx="5560">383.0222435</cx:pt>
          <cx:pt idx="5561">383.23832379999999</cx:pt>
          <cx:pt idx="5562">383.34727090000001</cx:pt>
          <cx:pt idx="5563">383.56934280000002</cx:pt>
          <cx:pt idx="5564">383.67741039999999</cx:pt>
          <cx:pt idx="5565">383.78800660000002</cx:pt>
          <cx:pt idx="5566">383.89948229999999</cx:pt>
          <cx:pt idx="5567">384.1267211</cx:pt>
          <cx:pt idx="5568">385.21921570000001</cx:pt>
          <cx:pt idx="5569">385.43700000000001</cx:pt>
          <cx:pt idx="5570">381.7749</cx:pt>
          <cx:pt idx="5571">381.91727309999999</cx:pt>
          <cx:pt idx="5572">382.05209869999999</cx:pt>
          <cx:pt idx="5573">382.3261412</cx:pt>
          <cx:pt idx="5574">382.59798799999999</cx:pt>
          <cx:pt idx="5575">382.74036109999997</cx:pt>
          <cx:pt idx="5576">383.83536459999999</cx:pt>
          <cx:pt idx="5577">384.5215</cx:pt>
          <cx:pt idx="5578">384.4684914</cx:pt>
          <cx:pt idx="5579">384.44594319999999</cx:pt>
          <cx:pt idx="5580">384.41554339999999</cx:pt>
          <cx:pt idx="5581">384.30958679999998</cx:pt>
          <cx:pt idx="5582">384.30196990000002</cx:pt>
          <cx:pt idx="5583">384.28703860000002</cx:pt>
          <cx:pt idx="5584">384.2788314</cx:pt>
          <cx:pt idx="5585">384.18845690000001</cx:pt>
          <cx:pt idx="5586">384.15823490000002</cx:pt>
          <cx:pt idx="5587">384.09011729999997</cx:pt>
          <cx:pt idx="5588">384.06739119999997</cx:pt>
          <cx:pt idx="5589">384.05216100000001</cx:pt>
          <cx:pt idx="5590">384.03728649999999</cx:pt>
          <cx:pt idx="5591">384.02973009999999</cx:pt>
          <cx:pt idx="5592">384.01443940000001</cx:pt>
          <cx:pt idx="5593">384.00700399999999</cx:pt>
          <cx:pt idx="5594">383.9994476</cx:pt>
          <cx:pt idx="5595">383.9918912</cx:pt>
          <cx:pt idx="5596">383.98403960000002</cx:pt>
          <cx:pt idx="5597">383.9766042</cx:pt>
          <cx:pt idx="5598">383.9691651</cx:pt>
          <cx:pt idx="5599">383.9614914</cx:pt>
          <cx:pt idx="5600">383.94649959999998</cx:pt>
          <cx:pt idx="5601">383.938648</cx:pt>
          <cx:pt idx="5602">383.9312089</cx:pt>
          <cx:pt idx="5603">383.92377349999998</cx:pt>
          <cx:pt idx="5604">383.91621709999998</cx:pt>
          <cx:pt idx="5605">383.8782003</cx:pt>
          <cx:pt idx="5606">383.8554742</cx:pt>
          <cx:pt idx="5607">383.84797839999999</cx:pt>
          <cx:pt idx="5608">383.84042190000002</cx:pt>
          <cx:pt idx="5609">383.82513499999999</cx:pt>
          <cx:pt idx="5610">383.81769589999999</cx:pt>
          <cx:pt idx="5611">383.81026050000003</cx:pt>
          <cx:pt idx="5612">383.78741339999999</cx:pt>
          <cx:pt idx="5613">383.77997800000003</cx:pt>
          <cx:pt idx="5614">383.77242159999997</cx:pt>
          <cx:pt idx="5615">383.76486510000001</cx:pt>
          <cx:pt idx="5616">383.75701359999999</cx:pt>
          <cx:pt idx="5617">383.74213909999997</cx:pt>
          <cx:pt idx="5618">383.73428749999999</cx:pt>
          <cx:pt idx="5619">383.71941299999997</cx:pt>
          <cx:pt idx="5620">383.71156139999999</cx:pt>
          <cx:pt idx="5621">383.68919110000002</cx:pt>
          <cx:pt idx="5622">383.68133949999998</cx:pt>
          <cx:pt idx="5623">383.66646500000002</cx:pt>
          <cx:pt idx="5624">383.65861339999998</cx:pt>
          <cx:pt idx="5625">383.60590000000002</cx:pt>
          <cx:pt idx="5626">383.65869129999999</cx:pt>
          <cx:pt idx="5627">383.6730857</cx:pt>
          <cx:pt idx="5628">383.69215350000002</cx:pt>
          <cx:pt idx="5629">383.79280390000002</cx:pt>
          <cx:pt idx="5630">383.80248640000002</cx:pt>
          <cx:pt idx="5631">383.81239420000003</cx:pt>
          <cx:pt idx="5632">383.86010219999997</cx:pt>
          <cx:pt idx="5633">383.86032749999998</cx:pt>
          <cx:pt idx="5634">383.91263229999998</cx:pt>
          <cx:pt idx="5635">383.92231720000001</cx:pt>
          <cx:pt idx="5636">383.95589210000003</cx:pt>
          <cx:pt idx="5637">383.96067579999999</cx:pt>
          <cx:pt idx="5638">383.96538759999999</cx:pt>
          <cx:pt idx="5639">383.97036070000001</cx:pt>
          <cx:pt idx="5640">383.9750702</cx:pt>
          <cx:pt idx="5641">383.97974369999997</cx:pt>
          <cx:pt idx="5642">383.98452980000002</cx:pt>
          <cx:pt idx="5643">383.99892419999998</cx:pt>
          <cx:pt idx="5644">384.00389719999998</cx:pt>
          <cx:pt idx="5645">384.0086091</cx:pt>
          <cx:pt idx="5646">384.03257330000002</cx:pt>
          <cx:pt idx="5647">384.04225819999999</cx:pt>
          <cx:pt idx="5648">384.1475054</cx:pt>
          <cx:pt idx="5649">384.16208669999997</cx:pt>
          <cx:pt idx="5650">384.16679850000003</cx:pt>
          <cx:pt idx="5651">384.17158219999999</cx:pt>
          <cx:pt idx="5652">384.1763684</cx:pt>
          <cx:pt idx="5653">384.1810802</cx:pt>
          <cx:pt idx="5654">384.19543620000002</cx:pt>
          <cx:pt idx="5655">384.20048359999998</cx:pt>
          <cx:pt idx="5656">384.2051955</cx:pt>
          <cx:pt idx="5657">384.21940289999998</cx:pt>
          <cx:pt idx="5658">384.23861929999998</cx:pt>
          <cx:pt idx="5659">384.24347979999999</cx:pt>
          <cx:pt idx="5660">384.25297769999997</cx:pt>
          <cx:pt idx="5661">384.2579508</cx:pt>
          <cx:pt idx="5662">384.26266029999999</cx:pt>
          <cx:pt idx="5663">384.26733380000002</cx:pt>
          <cx:pt idx="5664">384.27709299999998</cx:pt>
          <cx:pt idx="5665">384.28180479999997</cx:pt>
          <cx:pt idx="5666">384.29137470000001</cx:pt>
          <cx:pt idx="5667">384.29619919999999</cx:pt>
          <cx:pt idx="5668">384.30090860000001</cx:pt>
          <cx:pt idx="5669">384.30588169999999</cx:pt>
          <cx:pt idx="5670">384.30606870000003</cx:pt>
          <cx:pt idx="5671">384.3105936</cx:pt>
          <cx:pt idx="5672">384.31537730000002</cx:pt>
          <cx:pt idx="5673">384.32016340000001</cx:pt>
          <cx:pt idx="5674">384.33926960000002</cx:pt>
          <cx:pt idx="5675">384.43075750000003</cx:pt>
          <cx:pt idx="5676">384.43513380000002</cx:pt>
          <cx:pt idx="5677">384.4738663</cx:pt>
          <cx:pt idx="5678">384.5215</cx:pt>
          <cx:pt idx="5679">383.60590000000002</cx:pt>
          <cx:pt idx="5680">383.50402179999998</cx:pt>
          <cx:pt idx="5681">383.48386490000001</cx:pt>
          <cx:pt idx="5682">383.47331079999998</cx:pt>
          <cx:pt idx="5683">383.46331629999997</cx:pt>
          <cx:pt idx="5684">383.45331670000002</cx:pt>
          <cx:pt idx="5685">383.44315940000001</cx:pt>
          <cx:pt idx="5686">383.41261120000001</cx:pt>
          <cx:pt idx="5687">383.3923016</cx:pt>
          <cx:pt idx="5688">383.38174759999998</cx:pt>
          <cx:pt idx="5689">383.37174800000003</cx:pt>
          <cx:pt idx="5690">383.3617534</cx:pt>
          <cx:pt idx="5691">383.34119980000003</cx:pt>
          <cx:pt idx="5692">383.3312052</cx:pt>
          <cx:pt idx="5693">383.32025449999998</cx:pt>
          <cx:pt idx="5694">383.31065160000003</cx:pt>
          <cx:pt idx="5695">383.30073329999999</cx:pt>
          <cx:pt idx="5696">383.29010299999999</cx:pt>
          <cx:pt idx="5697">383.27010380000002</cx:pt>
          <cx:pt idx="5698">383.24987049999999</cx:pt>
          <cx:pt idx="5699">383.23955549999999</cx:pt>
          <cx:pt idx="5700">383.22956099999999</cx:pt>
          <cx:pt idx="5701">383.21900699999998</cx:pt>
          <cx:pt idx="5702">383.21852890000002</cx:pt>
          <cx:pt idx="5703">383.1988551</cx:pt>
          <cx:pt idx="5704">383.17869819999999</cx:pt>
          <cx:pt idx="5705">383.16814419999997</cx:pt>
          <cx:pt idx="5706">383.12752</cx:pt>
          <cx:pt idx="5707">383.11752039999999</cx:pt>
          <cx:pt idx="5708">383.08713499999999</cx:pt>
          <cx:pt idx="5709">383.07658090000001</cx:pt>
          <cx:pt idx="5710">383.05658679999999</cx:pt>
          <cx:pt idx="5711">383.04603270000001</cx:pt>
          <cx:pt idx="5712">383.0054849</cx:pt>
          <cx:pt idx="5713">382.99556669999998</cx:pt>
          <cx:pt idx="5714">382.98493630000002</cx:pt>
          <cx:pt idx="5715">382.9749367</cx:pt>
          <cx:pt idx="5716">382.96493709999999</cx:pt>
          <cx:pt idx="5717">382.95438810000002</cx:pt>
          <cx:pt idx="5718">382.92439430000002</cx:pt>
          <cx:pt idx="5719">382.9138403</cx:pt>
          <cx:pt idx="5720">382.8936885</cx:pt>
          <cx:pt idx="5721">382.88353119999999</cx:pt>
          <cx:pt idx="5722">382.87353150000001</cx:pt>
          <cx:pt idx="5723">382.85298299999999</cx:pt>
          <cx:pt idx="5724">382.84298330000001</cx:pt>
          <cx:pt idx="5725">382.76141460000002</cx:pt>
          <cx:pt idx="5726">382.73086640000002</cx:pt>
          <cx:pt idx="5727">382.70031820000003</cx:pt>
          <cx:pt idx="5728">382.69040000000001</cx:pt>
          <cx:pt idx="5729">383.55474170000002</cx:pt>
          <cx:pt idx="5730">383.60590000000002</cx:pt>
          <cx:pt idx="5731">383.60590000000002</cx:pt>
          <cx:pt idx="5732">383.60590000000002</cx:pt>
          <cx:pt idx="5733">383.60590000000002</cx:pt>
          <cx:pt idx="5734">383.60590000000002</cx:pt>
          <cx:pt idx="5735">383.60590000000002</cx:pt>
          <cx:pt idx="5736">383.60590000000002</cx:pt>
          <cx:pt idx="5737">383.60590000000002</cx:pt>
          <cx:pt idx="5738">383.60590000000002</cx:pt>
          <cx:pt idx="5739">383.60590000000002</cx:pt>
          <cx:pt idx="5740">383.60590000000002</cx:pt>
          <cx:pt idx="5741">383.60590000000002</cx:pt>
          <cx:pt idx="5742">383.60590000000002</cx:pt>
          <cx:pt idx="5743">383.60590000000002</cx:pt>
          <cx:pt idx="5744">383.60590000000002</cx:pt>
          <cx:pt idx="5745">383.60590000000002</cx:pt>
          <cx:pt idx="5746">383.60590000000002</cx:pt>
          <cx:pt idx="5747">383.60590000000002</cx:pt>
          <cx:pt idx="5748">383.60590000000002</cx:pt>
          <cx:pt idx="5749">383.60590000000002</cx:pt>
          <cx:pt idx="5750">383.71699280000001</cx:pt>
          <cx:pt idx="5751">383.83031649999998</cx:pt>
          <cx:pt idx="5752">383.9472442</cx:pt>
          <cx:pt idx="5753">383.94947519999999</cx:pt>
          <cx:pt idx="5754">384.00344849999999</cx:pt>
          <cx:pt idx="5755">384.17434939999998</cx:pt>
          <cx:pt idx="5756">384.2337</cx:pt>
          <cx:pt idx="5757">384.28993279999997</cx:pt>
          <cx:pt idx="5758">384.346137</cx:pt>
          <cx:pt idx="5759">384.4023699</cx:pt>
          <cx:pt idx="5760">384.5188114</cx:pt>
          <cx:pt idx="5761">384.5215</cx:pt>
          <cx:pt idx="5762">384.54146359999999</cx:pt>
          <cx:pt idx="5763">384.6494399</cx:pt>
          <cx:pt idx="5764">384.75508059999999</cx:pt>
          <cx:pt idx="5765">384.82012229999998</cx:pt>
          <cx:pt idx="5766">385.18113090000003</cx:pt>
          <cx:pt idx="5767">385.33069799999998</cx:pt>
          <cx:pt idx="5768">385.35199469999998</cx:pt>
          <cx:pt idx="5769">385.37295010000003</cx:pt>
          <cx:pt idx="5770">385.39507859999998</cx:pt>
          <cx:pt idx="5771">385.43700000000001</cx:pt>
          <cx:pt idx="5772">383.60590000000002</cx:pt>
          <cx:pt idx="5773">383.60590000000002</cx:pt>
          <cx:pt idx="5774">383.60590000000002</cx:pt>
          <cx:pt idx="5775">383.60590000000002</cx:pt>
          <cx:pt idx="5776">383.60590000000002</cx:pt>
          <cx:pt idx="5777">383.60590000000002</cx:pt>
          <cx:pt idx="5778">383.60590000000002</cx:pt>
          <cx:pt idx="5779">383.60590000000002</cx:pt>
          <cx:pt idx="5780">383.60590000000002</cx:pt>
          <cx:pt idx="5781">383.60590000000002</cx:pt>
          <cx:pt idx="5782">383.60590000000002</cx:pt>
          <cx:pt idx="5783">383.60590000000002</cx:pt>
          <cx:pt idx="5784">383.60590000000002</cx:pt>
          <cx:pt idx="5785">383.60590000000002</cx:pt>
          <cx:pt idx="5786">383.60590000000002</cx:pt>
          <cx:pt idx="5787">383.60590000000002</cx:pt>
          <cx:pt idx="5788">383.60590000000002</cx:pt>
          <cx:pt idx="5789">383.60590000000002</cx:pt>
          <cx:pt idx="5790">383.60590000000002</cx:pt>
          <cx:pt idx="5791">383.60590000000002</cx:pt>
          <cx:pt idx="5792">383.60590000000002</cx:pt>
          <cx:pt idx="5793">383.60590000000002</cx:pt>
          <cx:pt idx="5794">383.54607520000002</cx:pt>
          <cx:pt idx="5795">383.52560799999998</cx:pt>
          <cx:pt idx="5796">383.50560869999998</cx:pt>
          <cx:pt idx="5797">383.48450070000001</cx:pt>
          <cx:pt idx="5798">383.46451159999998</cx:pt>
          <cx:pt idx="5799">383.44451229999999</cx:pt>
          <cx:pt idx="5800">383.42340419999999</cx:pt>
          <cx:pt idx="5801">383.42277360000003</cx:pt>
          <cx:pt idx="5802">383.40341519999998</cx:pt>
          <cx:pt idx="5803">383.3623078</cx:pt>
          <cx:pt idx="5804">383.34231879999999</cx:pt>
          <cx:pt idx="5805">383.32231949999999</cx:pt>
          <cx:pt idx="5806">383.30232030000002</cx:pt>
          <cx:pt idx="5807">383.28122239999999</cx:pt>
          <cx:pt idx="5808">383.24090849999999</cx:pt>
          <cx:pt idx="5809">383.20060480000001</cx:pt>
          <cx:pt idx="5810">383.15949749999999</cx:pt>
          <cx:pt idx="5811">383.13950840000001</cx:pt>
          <cx:pt idx="5812">383.11840030000002</cx:pt>
          <cx:pt idx="5813">383.09840109999999</cx:pt>
          <cx:pt idx="5814">383.07841200000001</cx:pt>
          <cx:pt idx="5815">383.05730390000002</cx:pt>
          <cx:pt idx="5816">383.03746740000003</cx:pt>
          <cx:pt idx="5817">383.01683750000001</cx:pt>
          <cx:pt idx="5818">382.97573019999999</cx:pt>
          <cx:pt idx="5819">382.93574180000002</cx:pt>
          <cx:pt idx="5820">382.91542720000001</cx:pt>
          <cx:pt idx="5821">382.89543809999998</cx:pt>
          <cx:pt idx="5822">382.71198620000001</cx:pt>
          <cx:pt idx="5823">382.69040000000001</cx:pt>
          <cx:pt idx="5824">382.72729450000003</cx:pt>
          <cx:pt idx="5825">382.73982269999999</cx:pt>
          <cx:pt idx="5826">382.75283400000001</cx:pt>
          <cx:pt idx="5827">382.77750140000001</cx:pt>
          <cx:pt idx="5828">382.78982889999997</cx:pt>
          <cx:pt idx="5829">382.80284640000002</cx:pt>
          <cx:pt idx="5830">383.04076309999999</cx:pt>
          <cx:pt idx="5831">383.1792446</cx:pt>
          <cx:pt idx="5832">383.21741259999999</cx:pt>
          <cx:pt idx="5833">383.24168479999997</cx:pt>
          <cx:pt idx="5834">383.25499719999999</cx:pt>
          <cx:pt idx="5835">383.2792632</cx:pt>
          <cx:pt idx="5836">383.29189170000001</cx:pt>
          <cx:pt idx="5837">383.30441990000003</cx:pt>
          <cx:pt idx="5838">383.31743119999999</cx:pt>
          <cx:pt idx="5839">383.31772610000002</cx:pt>
          <cx:pt idx="5840">383.34209870000001</cx:pt>
          <cx:pt idx="5841">383.35442610000001</cx:pt>
          <cx:pt idx="5842">383.3674436</cx:pt>
          <cx:pt idx="5843">383.48009080000003</cx:pt>
          <cx:pt idx="5844">383.49261899999999</cx:pt>
          <cx:pt idx="5845">383.7066524</cx:pt>
          <cx:pt idx="5846">383.74394219999999</cx:pt>
          <cx:pt idx="5847">383.74433110000001</cx:pt>
          <cx:pt idx="5848">383.78162090000001</cx:pt>
          <cx:pt idx="5849">384.15801900000002</cx:pt>
          <cx:pt idx="5850">384.19569769999998</cx:pt>
          <cx:pt idx="5851">384.20802520000001</cx:pt>
          <cx:pt idx="5852">384.22035890000001</cx:pt>
          <cx:pt idx="5853">384.23288710000003</cx:pt>
          <cx:pt idx="5854">384.24541529999999</cx:pt>
          <cx:pt idx="5855">384.25842660000001</cx:pt>
          <cx:pt idx="5856">384.25872140000001</cx:pt>
          <cx:pt idx="5857">384.27076030000001</cx:pt>
          <cx:pt idx="5858">384.28309400000001</cx:pt>
          <cx:pt idx="5859">384.29552180000002</cx:pt>
          <cx:pt idx="5860">384.29561589999997</cx:pt>
          <cx:pt idx="5861">384.30853939999997</cx:pt>
          <cx:pt idx="5862">384.32086679999998</cx:pt>
          <cx:pt idx="5863">384.3332006</cx:pt>
          <cx:pt idx="5864">384.34621809999999</cx:pt>
          <cx:pt idx="5865">384.35845139999998</cx:pt>
          <cx:pt idx="5866">384.38379639999999</cx:pt>
          <cx:pt idx="5867">384.5215</cx:pt>
          <cx:pt idx="5868">384.25204810000002</cx:pt>
          <cx:pt idx="5869">384.12851110000003</cx:pt>
          <cx:pt idx="5870">383.9999358</cx:pt>
          <cx:pt idx="5871">383.60590000000002</cx:pt>
          <cx:pt idx="5872">383.60590000000002</cx:pt>
          <cx:pt idx="5873">383.60590000000002</cx:pt>
          <cx:pt idx="5874">383.72293289999999</cx:pt>
          <cx:pt idx="5875">383.80101009999998</cx:pt>
          <cx:pt idx="5876">383.83875610000001</cx:pt>
          <cx:pt idx="5877">384.0741974</cx:pt>
          <cx:pt idx="5878">384.5215</cx:pt>
          <cx:pt idx="5879">384.5215</cx:pt>
          <cx:pt idx="5880">384.5215</cx:pt>
          <cx:pt idx="5881">384.5215</cx:pt>
          <cx:pt idx="5882">384.5215</cx:pt>
          <cx:pt idx="5883">384.5215</cx:pt>
          <cx:pt idx="5884">384.5215</cx:pt>
          <cx:pt idx="5885">384.5215</cx:pt>
          <cx:pt idx="5886">384.5215</cx:pt>
          <cx:pt idx="5887">384.5215</cx:pt>
          <cx:pt idx="5888">384.5215</cx:pt>
          <cx:pt idx="5889">384.5215</cx:pt>
          <cx:pt idx="5890">384.5215</cx:pt>
          <cx:pt idx="5891">384.5215</cx:pt>
          <cx:pt idx="5892">384.5215</cx:pt>
          <cx:pt idx="5893">384.5215</cx:pt>
          <cx:pt idx="5894">384.5215</cx:pt>
          <cx:pt idx="5895">384.5215</cx:pt>
          <cx:pt idx="5896">384.5215</cx:pt>
          <cx:pt idx="5897">384.5215</cx:pt>
          <cx:pt idx="5898">384.5215</cx:pt>
          <cx:pt idx="5899">384.5215</cx:pt>
          <cx:pt idx="5900">384.5215</cx:pt>
          <cx:pt idx="5901">384.5215</cx:pt>
          <cx:pt idx="5902">384.5215</cx:pt>
          <cx:pt idx="5903">384.5215</cx:pt>
          <cx:pt idx="5904">384.5215</cx:pt>
          <cx:pt idx="5905">384.5215</cx:pt>
          <cx:pt idx="5906">384.5215</cx:pt>
          <cx:pt idx="5907">384.5215</cx:pt>
          <cx:pt idx="5908">384.5215</cx:pt>
          <cx:pt idx="5909">384.5215</cx:pt>
          <cx:pt idx="5910">384.5215</cx:pt>
          <cx:pt idx="5911">384.5215</cx:pt>
          <cx:pt idx="5912">384.5215</cx:pt>
          <cx:pt idx="5913">384.5215</cx:pt>
          <cx:pt idx="5914">384.5215</cx:pt>
          <cx:pt idx="5915">384.5215</cx:pt>
          <cx:pt idx="5916">384.5215</cx:pt>
          <cx:pt idx="5917">384.5215</cx:pt>
          <cx:pt idx="5918">384.5215</cx:pt>
          <cx:pt idx="5919">384.5215</cx:pt>
          <cx:pt idx="5920">384.5215</cx:pt>
          <cx:pt idx="5921">384.5215</cx:pt>
          <cx:pt idx="5922">384.5215</cx:pt>
          <cx:pt idx="5923">384.5215</cx:pt>
          <cx:pt idx="5924">384.5215</cx:pt>
          <cx:pt idx="5925">384.5215</cx:pt>
          <cx:pt idx="5926">384.5215</cx:pt>
          <cx:pt idx="5927">384.5215</cx:pt>
          <cx:pt idx="5928">384.5215</cx:pt>
          <cx:pt idx="5929">384.5215</cx:pt>
          <cx:pt idx="5930">384.5215</cx:pt>
          <cx:pt idx="5931">384.5215</cx:pt>
          <cx:pt idx="5932">384.5215</cx:pt>
          <cx:pt idx="5933">384.5215</cx:pt>
          <cx:pt idx="5934">384.5215</cx:pt>
          <cx:pt idx="5935">384.5215</cx:pt>
          <cx:pt idx="5936">384.5215</cx:pt>
          <cx:pt idx="5937">384.5215</cx:pt>
          <cx:pt idx="5938">384.5215</cx:pt>
          <cx:pt idx="5939">384.5215</cx:pt>
          <cx:pt idx="5940">384.5215</cx:pt>
          <cx:pt idx="5941">384.5215</cx:pt>
          <cx:pt idx="5942">384.5215</cx:pt>
          <cx:pt idx="5943">384.5215</cx:pt>
          <cx:pt idx="5944">384.5215</cx:pt>
          <cx:pt idx="5945">384.5215</cx:pt>
          <cx:pt idx="5946">384.5215</cx:pt>
          <cx:pt idx="5947">384.5215</cx:pt>
          <cx:pt idx="5948">384.5215</cx:pt>
          <cx:pt idx="5949">384.5215</cx:pt>
          <cx:pt idx="5950">384.5215</cx:pt>
          <cx:pt idx="5951">384.5215</cx:pt>
          <cx:pt idx="5952">384.5215</cx:pt>
          <cx:pt idx="5953">384.5215</cx:pt>
          <cx:pt idx="5954">384.5215</cx:pt>
          <cx:pt idx="5955">384.5215</cx:pt>
          <cx:pt idx="5956">384.5215</cx:pt>
          <cx:pt idx="5957">384.5215</cx:pt>
          <cx:pt idx="5958">384.5215</cx:pt>
          <cx:pt idx="5959">384.5215</cx:pt>
          <cx:pt idx="5960">384.5215</cx:pt>
          <cx:pt idx="5961">384.5215</cx:pt>
          <cx:pt idx="5962">384.5215</cx:pt>
          <cx:pt idx="5963">384.5215</cx:pt>
          <cx:pt idx="5964">384.5215</cx:pt>
          <cx:pt idx="5965">384.5215</cx:pt>
          <cx:pt idx="5966">384.5215</cx:pt>
          <cx:pt idx="5967">384.5215</cx:pt>
          <cx:pt idx="5968">384.5215</cx:pt>
          <cx:pt idx="5969">384.5215</cx:pt>
          <cx:pt idx="5970">384.5215</cx:pt>
          <cx:pt idx="5971">384.5215</cx:pt>
          <cx:pt idx="5972">384.56572849999998</cx:pt>
          <cx:pt idx="5973">384.65431100000001</cx:pt>
          <cx:pt idx="5974">384.68298929999997</cx:pt>
          <cx:pt idx="5975">384.83157929999999</cx:pt>
          <cx:pt idx="5976">385.05308350000001</cx:pt>
          <cx:pt idx="5977">385.06690579999997</cx:pt>
          <cx:pt idx="5978">385.0974301</cx:pt>
          <cx:pt idx="5979">385.14074299999999</cx:pt>
          <cx:pt idx="5980">385.25984979999998</cx:pt>
          <cx:pt idx="5981">385.43700000000001</cx:pt>
          <cx:pt idx="5982">384.74540289999999</cx:pt>
          <cx:pt idx="5983">384.5215</cx:pt>
          <cx:pt idx="5984">384.72056839999999</cx:pt>
          <cx:pt idx="5985">384.84698800000001</cx:pt>
          <cx:pt idx="5986">385.43700000000001</cx:pt>
          <cx:pt idx="5987">385.33371460000001</cx:pt>
          <cx:pt idx="5988">385.26258050000001</cx:pt>
          <cx:pt idx="5989">385.26092540000002</cx:pt>
          <cx:pt idx="5990">385.19116459999998</cx:pt>
          <cx:pt idx="5991">385.1906012</cx:pt>
          <cx:pt idx="5992">385.1565483</cx:pt>
          <cx:pt idx="5993">385.08733339999998</cx:pt>
          <cx:pt idx="5994">385.05079790000002</cx:pt>
          <cx:pt idx="5995">384.981583</cx:pt>
          <cx:pt idx="5996">384.87583260000002</cx:pt>
          <cx:pt idx="5997">384.84067049999999</cx:pt>
          <cx:pt idx="5998">384.80550840000001</cx:pt>
          <cx:pt idx="5999">384.76897289999999</cx:pt>
          <cx:pt idx="6000">384.73437419999999</cx:pt>
          <cx:pt idx="6001">384.69975790000001</cx:pt>
          <cx:pt idx="6002">384.66322250000002</cx:pt>
          <cx:pt idx="6003">384.55747200000002</cx:pt>
          <cx:pt idx="6004">384.5215</cx:pt>
          <cx:pt idx="6005">384.51074149999999</cx:pt>
          <cx:pt idx="6006">384.49891730000002</cx:pt>
          <cx:pt idx="6007">384.48771429999999</cx:pt>
          <cx:pt idx="6008">384.46531399999998</cx:pt>
          <cx:pt idx="6009">384.45384890000003</cx:pt>
          <cx:pt idx="6010">384.39686510000001</cx:pt>
          <cx:pt idx="6011">384.33970470000003</cx:pt>
          <cx:pt idx="6012">384.32850739999998</cx:pt>
          <cx:pt idx="6013">384.27081140000001</cx:pt>
          <cx:pt idx="6014">384.22583409999999</cx:pt>
          <cx:pt idx="6015">384.16822919999998</cx:pt>
          <cx:pt idx="6016">384.13480249999998</cx:pt>
          <cx:pt idx="6017">384.123155</cx:pt>
          <cx:pt idx="6018">384.1119577</cx:pt>
          <cx:pt idx="6019">384.10057810000001</cx:pt>
          <cx:pt idx="6020">384.08840070000002</cx:pt>
          <cx:pt idx="6021">384.06635360000001</cx:pt>
          <cx:pt idx="6022">383.89469580000002</cx:pt>
          <cx:pt idx="6023">383.75868689999999</cx:pt>
          <cx:pt idx="6024">383.75859580000002</cx:pt>
          <cx:pt idx="6025">383.7126384</cx:pt>
          <cx:pt idx="6026">383.70144110000001</cx:pt>
          <cx:pt idx="6027">383.69023800000002</cx:pt>
          <cx:pt idx="6028">383.67841390000001</cx:pt>
          <cx:pt idx="6029">383.66721660000002</cx:pt>
          <cx:pt idx="6030">383.65592240000001</cx:pt>
          <cx:pt idx="6031">383.63254769999998</cx:pt>
          <cx:pt idx="6032">383.61050069999999</cx:pt>
          <cx:pt idx="6033">383.59902979999998</cx:pt>
          <cx:pt idx="6034">383.58747349999999</cx:pt>
          <cx:pt idx="6035">383.5762762</cx:pt>
          <cx:pt idx="6036">383.56445209999998</cx:pt>
          <cx:pt idx="6037">383.54205180000002</cx:pt>
          <cx:pt idx="6038">383.53022770000001</cx:pt>
          <cx:pt idx="6039">383.51902460000002</cx:pt>
          <cx:pt idx="6040">383.50782729999997</cx:pt>
          <cx:pt idx="6041">383.48444690000002</cx:pt>
          <cx:pt idx="6042">383.4736029</cx:pt>
          <cx:pt idx="6043">383.46239989999998</cx:pt>
          <cx:pt idx="6044">383.45057580000002</cx:pt>
          <cx:pt idx="6045">383.4393728</cx:pt>
          <cx:pt idx="6046">383.42817539999999</cx:pt>
          <cx:pt idx="6047">383.42808430000002</cx:pt>
          <cx:pt idx="6048">383.41679579999999</cx:pt>
          <cx:pt idx="6049">383.3825713</cx:pt>
          <cx:pt idx="6050">383.3711917</cx:pt>
          <cx:pt idx="6051">383.324881</cx:pt>
          <cx:pt idx="6052">383.3139458</cx:pt>
          <cx:pt idx="6053">383.29091870000002</cx:pt>
          <cx:pt idx="6054">383.29065650000001</cx:pt>
          <cx:pt idx="6055">383.2685184</cx:pt>
          <cx:pt idx="6056">383.00636459999998</cx:pt>
          <cx:pt idx="6057">382.99436379999997</cx:pt>
          <cx:pt idx="6058">382.9490275</cx:pt>
          <cx:pt idx="6059">382.93738569999999</cx:pt>
          <cx:pt idx="6060">382.91524759999999</cx:pt>
          <cx:pt idx="6061">382.90386790000002</cx:pt>
          <cx:pt idx="6062">382.8917816</cx:pt>
          <cx:pt idx="6063">382.88084650000002</cx:pt>
          <cx:pt idx="6064">382.8696435</cx:pt>
          <cx:pt idx="6065">382.85782499999999</cx:pt>
          <cx:pt idx="6066">382.67523199999999</cx:pt>
          <cx:pt idx="6067">382.56198239999998</cx:pt>
          <cx:pt idx="6068">382.51593389999999</cx:pt>
          <cx:pt idx="6069">382.51566600000001</cx:pt>
          <cx:pt idx="6070">382.34543280000003</cx:pt>
          <cx:pt idx="6071">382.33360859999999</cx:pt>
          <cx:pt idx="6072">382.33334079999997</cx:pt>
          <cx:pt idx="6073">382.28827239999998</cx:pt>
          <cx:pt idx="6074">382.27706940000002</cx:pt>
          <cx:pt idx="6075">382.26524519999998</cx:pt>
          <cx:pt idx="6076">382.26498309999999</cx:pt>
          <cx:pt idx="6077">382.25404789999999</cx:pt>
          <cx:pt idx="6078">382.24284490000002</cx:pt>
          <cx:pt idx="6079">382.22009129999998</cx:pt>
          <cx:pt idx="6080">382.20826720000002</cx:pt>
          <cx:pt idx="6081">382.1970642</cx:pt>
          <cx:pt idx="6082">382.19661969999999</cx:pt>
          <cx:pt idx="6083">382.18586119999998</cx:pt>
          <cx:pt idx="6084">382.16283970000001</cx:pt>
          <cx:pt idx="6085">382.15163669999998</cx:pt>
          <cx:pt idx="6086">382.1398183</cx:pt>
          <cx:pt idx="6087">382.09439079999999</cx:pt>
          <cx:pt idx="6088">382.07199050000003</cx:pt>
          <cx:pt idx="6089">382.06051969999999</cx:pt>
          <cx:pt idx="6090">382.0377661</cx:pt>
          <cx:pt idx="6091">382.02594190000002</cx:pt>
          <cx:pt idx="6092">382.0147389</cx:pt>
          <cx:pt idx="6093">382.01429450000001</cx:pt>
          <cx:pt idx="6094">381.99171749999999</cx:pt>
          <cx:pt idx="6095">381.96931719999998</cx:pt>
          <cx:pt idx="6096">381.95749310000002</cx:pt>
          <cx:pt idx="6097">381.94584559999998</cx:pt>
          <cx:pt idx="6098">381.91215679999999</cx:pt>
          <cx:pt idx="6099">381.87748790000001</cx:pt>
          <cx:pt idx="6100">381.84334890000002</cx:pt>
          <cx:pt idx="6101">381.82068079999999</cx:pt>
          <cx:pt idx="6102">381.82050409999999</cx:pt>
          <cx:pt idx="6103">381.80948339999998</cx:pt>
          <cx:pt idx="6104">381.78707739999999</cx:pt>
          <cx:pt idx="6105">381.77525900000001</cx:pt>
          <cx:pt idx="6106">381.7749</cx:pt>
          <cx:pt idx="6107">382.03625199999999</cx:pt>
          <cx:pt idx="6108">382.04916170000001</cx:pt>
          <cx:pt idx="6109">382.30625629999997</cx:pt>
          <cx:pt idx="6110">382.591093</cx:pt>
          <cx:pt idx="6111">382.86109729999998</cx:pt>
          <cx:pt idx="6112">383.13110160000002</cx:pt>
          <cx:pt idx="6113">383.4052259</cx:pt>
          <cx:pt idx="6114">383.96020420000002</cx:pt>
          <cx:pt idx="6115">384.51504519999997</cx:pt>
          <cx:pt idx="6116">384.5215</cx:pt>
          <cx:pt idx="6117">383.61702609999998</cx:pt>
          <cx:pt idx="6118">382.69040000000001</cx:pt>
          <cx:pt idx="6119">382.69040000000001</cx:pt>
          <cx:pt idx="6120">382.69040000000001</cx:pt>
          <cx:pt idx="6121">382.69040000000001</cx:pt>
          <cx:pt idx="6122">382.69040000000001</cx:pt>
          <cx:pt idx="6123">382.69040000000001</cx:pt>
          <cx:pt idx="6124">382.69040000000001</cx:pt>
          <cx:pt idx="6125">382.69040000000001</cx:pt>
          <cx:pt idx="6126">382.69040000000001</cx:pt>
          <cx:pt idx="6127">382.69040000000001</cx:pt>
          <cx:pt idx="6128">382.69040000000001</cx:pt>
          <cx:pt idx="6129">382.69040000000001</cx:pt>
          <cx:pt idx="6130">382.69040000000001</cx:pt>
          <cx:pt idx="6131">382.69040000000001</cx:pt>
          <cx:pt idx="6132">382.69040000000001</cx:pt>
          <cx:pt idx="6133">382.69040000000001</cx:pt>
          <cx:pt idx="6134">382.69040000000001</cx:pt>
          <cx:pt idx="6135">382.69040000000001</cx:pt>
          <cx:pt idx="6136">382.69040000000001</cx:pt>
          <cx:pt idx="6137">382.69040000000001</cx:pt>
          <cx:pt idx="6138">382.69040000000001</cx:pt>
          <cx:pt idx="6139">382.69040000000001</cx:pt>
          <cx:pt idx="6140">382.69040000000001</cx:pt>
          <cx:pt idx="6141">382.69040000000001</cx:pt>
          <cx:pt idx="6142">382.69040000000001</cx:pt>
          <cx:pt idx="6143">382.69040000000001</cx:pt>
          <cx:pt idx="6144">382.69040000000001</cx:pt>
          <cx:pt idx="6145">382.69040000000001</cx:pt>
          <cx:pt idx="6146">382.69040000000001</cx:pt>
          <cx:pt idx="6147">382.69040000000001</cx:pt>
          <cx:pt idx="6148">382.69040000000001</cx:pt>
          <cx:pt idx="6149">382.69040000000001</cx:pt>
          <cx:pt idx="6150">382.69040000000001</cx:pt>
          <cx:pt idx="6151">382.69040000000001</cx:pt>
          <cx:pt idx="6152">382.69040000000001</cx:pt>
          <cx:pt idx="6153">382.69040000000001</cx:pt>
          <cx:pt idx="6154">382.69040000000001</cx:pt>
          <cx:pt idx="6155">382.69040000000001</cx:pt>
          <cx:pt idx="6156">382.69040000000001</cx:pt>
          <cx:pt idx="6157">382.69040000000001</cx:pt>
          <cx:pt idx="6158">382.69040000000001</cx:pt>
          <cx:pt idx="6159">382.69040000000001</cx:pt>
          <cx:pt idx="6160">382.69040000000001</cx:pt>
          <cx:pt idx="6161">382.69040000000001</cx:pt>
          <cx:pt idx="6162">382.57188559999997</cx:pt>
          <cx:pt idx="6163">382.56463120000001</cx:pt>
          <cx:pt idx="6164">382.55803400000002</cx:pt>
          <cx:pt idx="6165">382.5370365</cx:pt>
          <cx:pt idx="6166">382.53010719999997</cx:pt>
          <cx:pt idx="6167">382.52312899999998</cx:pt>
          <cx:pt idx="6168">382.5158745</cx:pt>
          <cx:pt idx="6169">382.5157102</cx:pt>
          <cx:pt idx="6170">382.5086761</cx:pt>
          <cx:pt idx="6171">382.49460429999999</cx:pt>
          <cx:pt idx="6172">382.48773089999997</cx:pt>
          <cx:pt idx="6173">382.48113380000001</cx:pt>
          <cx:pt idx="6174">382.46673329999999</cx:pt>
          <cx:pt idx="6175">382.46013269999997</cx:pt>
          <cx:pt idx="6176">382.45276990000002</cx:pt>
          <cx:pt idx="6177">382.44579169999997</cx:pt>
          <cx:pt idx="6178">382.43913509999999</cx:pt>
          <cx:pt idx="6179">382.43144719999998</cx:pt>
          <cx:pt idx="6180">382.39681480000002</cx:pt>
          <cx:pt idx="6181">382.39021409999998</cx:pt>
          <cx:pt idx="6182">382.38285130000003</cx:pt>
          <cx:pt idx="6183">382.33387440000001</cx:pt>
          <cx:pt idx="6184">382.32034800000002</cx:pt>
          <cx:pt idx="6185">382.30611540000001</cx:pt>
          <cx:pt idx="6186">382.29886090000002</cx:pt>
          <cx:pt idx="6187">382.28495340000001</cx:pt>
          <cx:pt idx="6188">382.27797170000002</cx:pt>
          <cx:pt idx="6189">382.25037700000001</cx:pt>
          <cx:pt idx="6190">382.23624919999997</cx:pt>
          <cx:pt idx="6191">382.23603250000002</cx:pt>
          <cx:pt idx="6192">382.2147622</cx:pt>
          <cx:pt idx="6193">382.20816150000002</cx:pt>
          <cx:pt idx="6194">382.20805319999999</cx:pt>
          <cx:pt idx="6195">382.20096310000002</cx:pt>
          <cx:pt idx="6196">382.19441840000002</cx:pt>
          <cx:pt idx="6197">382.18678290000003</cx:pt>
          <cx:pt idx="6198">382.17990950000001</cx:pt>
          <cx:pt idx="6199">382.17309210000002</cx:pt>
          <cx:pt idx="6200">382.13115290000002</cx:pt>
          <cx:pt idx="6201">382.12411520000001</cx:pt>
          <cx:pt idx="6202">382.11751809999998</cx:pt>
          <cx:pt idx="6203">382.1105364</cx:pt>
          <cx:pt idx="6204">382.09613589999998</cx:pt>
          <cx:pt idx="6205">382.08915769999999</cx:pt>
          <cx:pt idx="6206">382.08255709999997</cx:pt>
          <cx:pt idx="6207">382.07519430000002</cx:pt>
          <cx:pt idx="6208">382.06821250000002</cx:pt>
          <cx:pt idx="6209">382.05419669999998</cx:pt>
          <cx:pt idx="6210">382.04721499999999</cx:pt>
          <cx:pt idx="6211">382.0405619</cx:pt>
          <cx:pt idx="6212">382.033255</cx:pt>
          <cx:pt idx="6213">382.02621740000001</cx:pt>
          <cx:pt idx="6214">382.0192356</cx:pt>
          <cx:pt idx="6215">382.0126909</cx:pt>
          <cx:pt idx="6216">381.99169330000001</cx:pt>
          <cx:pt idx="6217">381.98427809999998</cx:pt>
          <cx:pt idx="6218">381.9772964</cx:pt>
          <cx:pt idx="6219">381.97069570000002</cx:pt>
          <cx:pt idx="6220">381.95629880000001</cx:pt>
          <cx:pt idx="6221">381.9496982</cx:pt>
          <cx:pt idx="6222">381.94206270000001</cx:pt>
          <cx:pt idx="6223">381.93535359999998</cx:pt>
          <cx:pt idx="6224">381.92875650000002</cx:pt>
          <cx:pt idx="6225">381.9213378</cx:pt>
          <cx:pt idx="6226">381.91435610000002</cx:pt>
          <cx:pt idx="6227">381.90775889999998</cx:pt>
          <cx:pt idx="6228">381.90077719999999</cx:pt>
          <cx:pt idx="6229">381.89341439999998</cx:pt>
          <cx:pt idx="6230">381.88637670000003</cx:pt>
          <cx:pt idx="6231">381.87977960000001</cx:pt>
          <cx:pt idx="6232">381.87214410000001</cx:pt>
          <cx:pt idx="6233">381.86527080000002</cx:pt>
          <cx:pt idx="6234">381.85845339999997</cx:pt>
          <cx:pt idx="6235">381.85185619999999</cx:pt>
          <cx:pt idx="6236">381.84443750000003</cx:pt>
          <cx:pt idx="6237">381.83745579999999</cx:pt>
          <cx:pt idx="6238">381.8308586</cx:pt>
          <cx:pt idx="6239">381.82349579999999</cx:pt>
          <cx:pt idx="6240">381.8164582</cx:pt>
          <cx:pt idx="6241">381.80985750000002</cx:pt>
          <cx:pt idx="6242">381.80216960000001</cx:pt>
          <cx:pt idx="6243">381.78853479999998</cx:pt>
          <cx:pt idx="6244">381.7749</cx:pt>
          <cx:pt idx="6245">381.75362589999997</cx:pt>
          <cx:pt idx="6246">381.73447540000001</cx:pt>
          <cx:pt idx="6247">381.71548059999998</cx:pt>
          <cx:pt idx="6248">381.6970996</cx:pt>
          <cx:pt idx="6249">381.67642949999998</cx:pt>
          <cx:pt idx="6250">381.65697690000002</cx:pt>
          <cx:pt idx="6251">381.63752440000002</cx:pt>
          <cx:pt idx="6252">381.6189875</cx:pt>
          <cx:pt idx="6253">381.5411871</cx:pt>
          <cx:pt idx="6254">381.5206728</cx:pt>
          <cx:pt idx="6255">381.50213589999998</cx:pt>
          <cx:pt idx="6256">381.48162159999998</cx:pt>
          <cx:pt idx="6257">381.46216909999998</cx:pt>
          <cx:pt idx="6258">381.44363220000002</cx:pt>
          <cx:pt idx="6259">381.42326400000002</cx:pt>
          <cx:pt idx="6260">381.40366540000002</cx:pt>
          <cx:pt idx="6261">381.38543049999998</cx:pt>
          <cx:pt idx="6262">381.3647603</cx:pt>
          <cx:pt idx="6263">381.3453078</cx:pt>
          <cx:pt idx="6264">381.32692680000002</cx:pt>
          <cx:pt idx="6265">381.30625659999998</cx:pt>
          <cx:pt idx="6266">381.28680409999998</cx:pt>
          <cx:pt idx="6267">381.26842299999998</cx:pt>
          <cx:pt idx="6268">381.24897049999998</cx:pt>
          <cx:pt idx="6269">381.22845619999998</cx:pt>
          <cx:pt idx="6270">381.20991930000002</cx:pt>
          <cx:pt idx="6271">381.18940500000002</cx:pt>
          <cx:pt idx="6272">381.16995250000002</cx:pt>
          <cx:pt idx="6273">381.15141560000001</cx:pt>
          <cx:pt idx="6274">381.1310474</cx:pt>
          <cx:pt idx="6275">381.11144880000001</cx:pt>
          <cx:pt idx="6276">381.09321390000002</cx:pt>
          <cx:pt idx="6277">381.05278920000001</cx:pt>
          <cx:pt idx="6278">381.03471020000001</cx:pt>
          <cx:pt idx="6279">381.01404000000002</cx:pt>
          <cx:pt idx="6280">380.97620640000002</cx:pt>
          <cx:pt idx="6281">380.95675390000002</cx:pt>
          <cx:pt idx="6282">380.8777359</cx:pt>
          <cx:pt idx="6283">380.83883079999998</cx:pt>
          <cx:pt idx="6284">380.81923219999999</cx:pt>
          <cx:pt idx="6285">380.78032710000002</cx:pt>
          <cx:pt idx="6286">380.74127590000001</cx:pt>
          <cx:pt idx="6287">380.72304100000002</cx:pt>
          <cx:pt idx="6288">380.70237090000001</cx:pt>
          <cx:pt idx="6289">380.58551929999999</cx:pt>
          <cx:pt idx="6290">380.56560899999999</cx:pt>
          <cx:pt idx="6291">380.52823319999999</cx:pt>
          <cx:pt idx="6292">380.4881105</cx:pt>
          <cx:pt idx="6293">380.45027700000003</cx:pt>
          <cx:pt idx="6294">380.27385020000003</cx:pt>
          <cx:pt idx="6295">380.25425150000001</cx:pt>
          <cx:pt idx="6296">380.23586069999999</cx:pt>
          <cx:pt idx="6297">380.21534650000001</cx:pt>
          <cx:pt idx="6298">380.19589389999999</cx:pt>
          <cx:pt idx="6299">380.15684270000003</cx:pt>
          <cx:pt idx="6300">380.13739020000003</cx:pt>
          <cx:pt idx="6301">380.11900919999999</cx:pt>
          <cx:pt idx="6302">380.09757919999998</cx:pt>
          <cx:pt idx="6303">380.08010410000003</cx:pt>
          <cx:pt idx="6304">380.02053860000001</cx:pt>
          <cx:pt idx="6305">380.00032629999998</cx:pt>
          <cx:pt idx="6306">379.98163360000001</cx:pt>
          <cx:pt idx="6307">379.96203489999999</cx:pt>
          <cx:pt idx="6308">379.94380000000001</cx:pt>
          <cx:pt idx="6309">379.95972230000001</cx:pt>
          <cx:pt idx="6310">379.98969110000002</cx:pt>
          <cx:pt idx="6311">380.0197723</cx:pt>
          <cx:pt idx="6312">380.0347567</cx:pt>
          <cx:pt idx="6313">380.06390010000001</cx:pt>
          <cx:pt idx="6314">380.10978360000001</cx:pt>
          <cx:pt idx="6315">380.1239501</cx:pt>
          <cx:pt idx="6316">380.13998500000002</cx:pt>
          <cx:pt idx="6317">380.16901580000001</cx:pt>
          <cx:pt idx="6318">380.21408150000002</cx:pt>
          <cx:pt idx="6319">380.24486810000002</cx:pt>
          <cx:pt idx="6320">380.25902710000003</cx:pt>
          <cx:pt idx="6321">380.27553469999998</cx:pt>
          <cx:pt idx="6322">380.30409279999998</cx:pt>
          <cx:pt idx="6323">380.31989499999997</cx:pt>
          <cx:pt idx="6324">380.35044900000003</cx:pt>
          <cx:pt idx="6325">380.48494820000002</cx:pt>
          <cx:pt idx="6326">380.51409159999997</cx:pt>
          <cx:pt idx="6327">380.52907599999998</cx:pt>
          <cx:pt idx="6328">380.66427299999998</cx:pt>
          <cx:pt idx="6329">380.68007519999998</cx:pt>
          <cx:pt idx="6330">380.69482699999998</cx:pt>
          <cx:pt idx="6331">380.69505959999998</cx:pt>
          <cx:pt idx="6332">380.70933869999999</cx:pt>
          <cx:pt idx="6333">380.75510969999999</cx:pt>
          <cx:pt idx="6334">380.85939999999999</cx:pt>
          <cx:pt idx="6335">380.85939999999999</cx:pt>
          <cx:pt idx="6336">380.85939999999999</cx:pt>
          <cx:pt idx="6337">380.85939999999999</cx:pt>
          <cx:pt idx="6338">380.85939999999999</cx:pt>
          <cx:pt idx="6339">380.85939999999999</cx:pt>
          <cx:pt idx="6340">380.85939999999999</cx:pt>
          <cx:pt idx="6341">380.85939999999999</cx:pt>
          <cx:pt idx="6342">380.85939999999999</cx:pt>
          <cx:pt idx="6343">380.85939999999999</cx:pt>
          <cx:pt idx="6344">380.85939999999999</cx:pt>
          <cx:pt idx="6345">380.85939999999999</cx:pt>
          <cx:pt idx="6346">380.85939999999999</cx:pt>
          <cx:pt idx="6347">380.85939999999999</cx:pt>
          <cx:pt idx="6348">380.85939999999999</cx:pt>
          <cx:pt idx="6349">380.85939999999999</cx:pt>
          <cx:pt idx="6350">380.85939999999999</cx:pt>
          <cx:pt idx="6351">380.85939999999999</cx:pt>
          <cx:pt idx="6352">380.85939999999999</cx:pt>
          <cx:pt idx="6353">380.85939999999999</cx:pt>
          <cx:pt idx="6354">380.85939999999999</cx:pt>
          <cx:pt idx="6355">380.85939999999999</cx:pt>
          <cx:pt idx="6356">380.85939999999999</cx:pt>
          <cx:pt idx="6357">380.85939999999999</cx:pt>
          <cx:pt idx="6358">380.85939999999999</cx:pt>
          <cx:pt idx="6359">380.85939999999999</cx:pt>
          <cx:pt idx="6360">380.85939999999999</cx:pt>
          <cx:pt idx="6361">380.85939999999999</cx:pt>
          <cx:pt idx="6362">380.85939999999999</cx:pt>
          <cx:pt idx="6363">380.85939999999999</cx:pt>
          <cx:pt idx="6364">380.85939999999999</cx:pt>
          <cx:pt idx="6365">380.85939999999999</cx:pt>
          <cx:pt idx="6366">380.85939999999999</cx:pt>
          <cx:pt idx="6367">380.85939999999999</cx:pt>
          <cx:pt idx="6368">380.85939999999999</cx:pt>
          <cx:pt idx="6369">380.85939999999999</cx:pt>
          <cx:pt idx="6370">380.85939999999999</cx:pt>
          <cx:pt idx="6371">380.85939999999999</cx:pt>
          <cx:pt idx="6372">380.85939999999999</cx:pt>
          <cx:pt idx="6373">380.85939999999999</cx:pt>
          <cx:pt idx="6374">380.85939999999999</cx:pt>
          <cx:pt idx="6375">380.85939999999999</cx:pt>
          <cx:pt idx="6376">380.85939999999999</cx:pt>
          <cx:pt idx="6377">380.85939999999999</cx:pt>
          <cx:pt idx="6378">380.85939999999999</cx:pt>
          <cx:pt idx="6379">380.85939999999999</cx:pt>
          <cx:pt idx="6380">380.85939999999999</cx:pt>
          <cx:pt idx="6381">380.85939999999999</cx:pt>
          <cx:pt idx="6382">380.91401459999997</cx:pt>
          <cx:pt idx="6383">380.97015750000003</cx:pt>
          <cx:pt idx="6384">380.99811089999997</cx:pt>
          <cx:pt idx="6385">381.08024810000001</cx:pt>
          <cx:pt idx="6386">381.10907680000003</cx:pt>
          <cx:pt idx="6387">381.136391</cx:pt>
          <cx:pt idx="6388">381.1636914</cx:pt>
          <cx:pt idx="6389">381.19252</cx:pt>
          <cx:pt idx="6390">381.24821830000002</cx:pt>
          <cx:pt idx="6391">381.24844059999998</cx:pt>
          <cx:pt idx="6392">381.2759633</cx:pt>
          <cx:pt idx="6393">381.30262449999998</cx:pt>
          <cx:pt idx="6394">381.33059179999998</cx:pt>
          <cx:pt idx="6395">381.38737379999998</cx:pt>
          <cx:pt idx="6396">381.55403799999999</cx:pt>
          <cx:pt idx="6397">381.58047690000001</cx:pt>
          <cx:pt idx="6398">381.60973630000001</cx:pt>
          <cx:pt idx="6399">381.6934018</cx:pt>
          <cx:pt idx="6400">381.7749</cx:pt>
          <cx:pt idx="6401">381.75762570000001</cx:pt>
          <cx:pt idx="6402">381.75735630000003</cx:pt>
          <cx:pt idx="6403">381.74921940000002</cx:pt>
          <cx:pt idx="6404">381.7402146</cx:pt>
          <cx:pt idx="6405">381.73214610000002</cx:pt>
          <cx:pt idx="6406">381.72314119999999</cx:pt>
          <cx:pt idx="6407">381.71460239999999</cx:pt>
          <cx:pt idx="6408">381.70646549999998</cx:pt>
          <cx:pt idx="6409">381.6974606</cx:pt>
          <cx:pt idx="6410">381.6889218</cx:pt>
          <cx:pt idx="6411">381.60340539999999</cx:pt>
          <cx:pt idx="6412">381.59533699999997</cx:pt>
          <cx:pt idx="6413">381.58633209999999</cx:pt>
          <cx:pt idx="6414">381.57772490000002</cx:pt>
          <cx:pt idx="6415">381.5007516</cx:pt>
          <cx:pt idx="6416">381.49267880000002</cx:pt>
          <cx:pt idx="6417">381.44992489999998</cx:pt>
          <cx:pt idx="6418">381.44105259999998</cx:pt>
          <cx:pt idx="6419">381.43238120000001</cx:pt>
          <cx:pt idx="6420">381.3897556</cx:pt>
          <cx:pt idx="6421">381.38135360000001</cx:pt>
          <cx:pt idx="6422">381.38108419999998</cx:pt>
          <cx:pt idx="6423">381.37294730000002</cx:pt>
          <cx:pt idx="6424">381.36434439999999</cx:pt>
          <cx:pt idx="6425">381.36394239999998</cx:pt>
          <cx:pt idx="6426">381.3470016</cx:pt>
          <cx:pt idx="6427">381.3383303</cx:pt>
          <cx:pt idx="6428">381.28716580000003</cx:pt>
          <cx:pt idx="6429">381.27876379999998</cx:pt>
          <cx:pt idx="6430">381.27843030000002</cx:pt>
          <cx:pt idx="6431">381.26975900000002</cx:pt>
          <cx:pt idx="6432">381.26969050000002</cx:pt>
          <cx:pt idx="6433">381.26168619999999</cx:pt>
          <cx:pt idx="6434">381.2532799</cx:pt>
          <cx:pt idx="6435">381.24441189999999</cx:pt>
          <cx:pt idx="6436">381.23567209999999</cx:pt>
          <cx:pt idx="6437">381.22759939999997</cx:pt>
          <cx:pt idx="6438">381.21859449999999</cx:pt>
          <cx:pt idx="6439">381.21006</cx:pt>
          <cx:pt idx="6440">381.19291390000001</cx:pt>
          <cx:pt idx="6441">381.17584060000002</cx:pt>
          <cx:pt idx="6442">381.14142020000003</cx:pt>
          <cx:pt idx="6443">381.10740179999999</cx:pt>
          <cx:pt idx="6444">381.07364849999999</cx:pt>
          <cx:pt idx="6445">381.04757030000002</cx:pt>
          <cx:pt idx="6446">381.03903150000002</cx:pt>
          <cx:pt idx="6447">380.97913149999999</cx:pt>
          <cx:pt idx="6448">380.97105879999998</cx:pt>
          <cx:pt idx="6449">380.96252420000002</cx:pt>
          <cx:pt idx="6450">380.95351929999998</cx:pt>
          <cx:pt idx="6451">380.94491210000001</cx:pt>
          <cx:pt idx="6452">380.93684359999997</cx:pt>
          <cx:pt idx="6453">380.92783880000002</cx:pt>
          <cx:pt idx="6454">380.91930000000002</cx:pt>
          <cx:pt idx="6455">380.91116310000001</cx:pt>
          <cx:pt idx="6456">380.90215819999997</cx:pt>
          <cx:pt idx="6457">380.89408539999999</cx:pt>
          <cx:pt idx="6458">380.88508059999998</cx:pt>
          <cx:pt idx="6459">380.86800290000002</cx:pt>
          <cx:pt idx="6460">380.85939999999999</cx:pt>
          <cx:pt idx="6461">380.88445039999999</cx:pt>
          <cx:pt idx="6462">380.91094700000002</cx:pt>
          <cx:pt idx="6463">380.93888989999999</cx:pt>
          <cx:pt idx="6464">380.96558549999997</cx:pt>
          <cx:pt idx="6465">380.9920821</cx:pt>
          <cx:pt idx="6466">381.01857869999998</cx:pt>
          <cx:pt idx="6467">381.04361590000002</cx:pt>
          <cx:pt idx="6468">381.07155870000003</cx:pt>
          <cx:pt idx="6469">381.09826759999999</cx:pt>
          <cx:pt idx="6470">381.12330470000001</cx:pt>
          <cx:pt idx="6471">381.15124759999998</cx:pt>
          <cx:pt idx="6472">381.17836779999999</cx:pt>
          <cx:pt idx="6473">381.25680949999997</cx:pt>
          <cx:pt idx="6474">381.6022739</cx:pt>
          <cx:pt idx="6475">381.78773699999999</cx:pt>
          <cx:pt idx="6476">381.9483487</cx:pt>
          <cx:pt idx="6477">382.0534993</cx:pt>
          <cx:pt idx="6478">382.18618140000001</cx:pt>
          <cx:pt idx="6479">382.34534689999998</cx:pt>
          <cx:pt idx="6480">382.37059629999999</cx:pt>
          <cx:pt idx="6481">382.3981278</cx:pt>
          <cx:pt idx="6482">382.42462440000003</cx:pt>
          <cx:pt idx="6483">382.45008610000002</cx:pt>
          <cx:pt idx="6484">382.5055605</cx:pt>
          <cx:pt idx="6485">382.53059769999999</cx:pt>
          <cx:pt idx="6486">382.5310222</cx:pt>
          <cx:pt idx="6487">382.5827683</cx:pt>
          <cx:pt idx="6488">382.6378181</cx:pt>
          <cx:pt idx="6489">382.69040000000001</cx:pt>
          <cx:pt idx="6490">380.85939999999999</cx:pt>
          <cx:pt idx="6491">380.85939999999999</cx:pt>
          <cx:pt idx="6492">380.85939999999999</cx:pt>
          <cx:pt idx="6493">380.85939999999999</cx:pt>
          <cx:pt idx="6494">380.85939999999999</cx:pt>
          <cx:pt idx="6495">380.85939999999999</cx:pt>
          <cx:pt idx="6496">380.85939999999999</cx:pt>
          <cx:pt idx="6497">380.85939999999999</cx:pt>
          <cx:pt idx="6498">380.85939999999999</cx:pt>
          <cx:pt idx="6499">380.85939999999999</cx:pt>
          <cx:pt idx="6500">380.85939999999999</cx:pt>
          <cx:pt idx="6501">380.85939999999999</cx:pt>
          <cx:pt idx="6502">380.85939999999999</cx:pt>
          <cx:pt idx="6503">380.85939999999999</cx:pt>
          <cx:pt idx="6504">380.85939999999999</cx:pt>
          <cx:pt idx="6505">380.85939999999999</cx:pt>
          <cx:pt idx="6506">380.85939999999999</cx:pt>
          <cx:pt idx="6507">380.85939999999999</cx:pt>
          <cx:pt idx="6508">380.85939999999999</cx:pt>
          <cx:pt idx="6509">380.85939999999999</cx:pt>
          <cx:pt idx="6510">380.85939999999999</cx:pt>
          <cx:pt idx="6511">380.85939999999999</cx:pt>
          <cx:pt idx="6512">380.85939999999999</cx:pt>
          <cx:pt idx="6513">380.85939999999999</cx:pt>
          <cx:pt idx="6514">380.85939999999999</cx:pt>
          <cx:pt idx="6515">380.85939999999999</cx:pt>
          <cx:pt idx="6516">380.85939999999999</cx:pt>
          <cx:pt idx="6517">380.85939999999999</cx:pt>
          <cx:pt idx="6518">380.85939999999999</cx:pt>
          <cx:pt idx="6519">380.85939999999999</cx:pt>
          <cx:pt idx="6520">380.85939999999999</cx:pt>
          <cx:pt idx="6521">380.85939999999999</cx:pt>
          <cx:pt idx="6522">380.85939999999999</cx:pt>
          <cx:pt idx="6523">380.85939999999999</cx:pt>
          <cx:pt idx="6524">380.85939999999999</cx:pt>
          <cx:pt idx="6525">380.85939999999999</cx:pt>
          <cx:pt idx="6526">380.85939999999999</cx:pt>
          <cx:pt idx="6527">380.85939999999999</cx:pt>
          <cx:pt idx="6528">380.85939999999999</cx:pt>
          <cx:pt idx="6529">380.85939999999999</cx:pt>
          <cx:pt idx="6530">380.85939999999999</cx:pt>
          <cx:pt idx="6531">380.85939999999999</cx:pt>
          <cx:pt idx="6532">380.85939999999999</cx:pt>
          <cx:pt idx="6533">380.85939999999999</cx:pt>
          <cx:pt idx="6534">380.85939999999999</cx:pt>
          <cx:pt idx="6535">380.85939999999999</cx:pt>
          <cx:pt idx="6536">380.85939999999999</cx:pt>
          <cx:pt idx="6537">380.85939999999999</cx:pt>
          <cx:pt idx="6538">380.85939999999999</cx:pt>
          <cx:pt idx="6539">380.85939999999999</cx:pt>
          <cx:pt idx="6540">380.85939999999999</cx:pt>
          <cx:pt idx="6541">380.85939999999999</cx:pt>
          <cx:pt idx="6542">380.85939999999999</cx:pt>
          <cx:pt idx="6543">380.85939999999999</cx:pt>
          <cx:pt idx="6544">380.85939999999999</cx:pt>
          <cx:pt idx="6545">380.85939999999999</cx:pt>
          <cx:pt idx="6546">380.85939999999999</cx:pt>
          <cx:pt idx="6547">380.85939999999999</cx:pt>
          <cx:pt idx="6548">380.85939999999999</cx:pt>
          <cx:pt idx="6549">380.85939999999999</cx:pt>
          <cx:pt idx="6550">380.85939999999999</cx:pt>
          <cx:pt idx="6551">380.85939999999999</cx:pt>
          <cx:pt idx="6552">380.85939999999999</cx:pt>
          <cx:pt idx="6553">380.85939999999999</cx:pt>
          <cx:pt idx="6554">380.85939999999999</cx:pt>
          <cx:pt idx="6555">380.85939999999999</cx:pt>
          <cx:pt idx="6556">380.85939999999999</cx:pt>
          <cx:pt idx="6557">380.85939999999999</cx:pt>
          <cx:pt idx="6558">380.85939999999999</cx:pt>
          <cx:pt idx="6559">380.85939999999999</cx:pt>
          <cx:pt idx="6560">380.85939999999999</cx:pt>
          <cx:pt idx="6561">380.85939999999999</cx:pt>
          <cx:pt idx="6562">380.85939999999999</cx:pt>
          <cx:pt idx="6563">380.85939999999999</cx:pt>
          <cx:pt idx="6564">380.85939999999999</cx:pt>
          <cx:pt idx="6565">380.85939999999999</cx:pt>
          <cx:pt idx="6566">380.85939999999999</cx:pt>
          <cx:pt idx="6567">380.85939999999999</cx:pt>
          <cx:pt idx="6568">380.82639380000001</cx:pt>
          <cx:pt idx="6569">380.78515149999998</cx:pt>
          <cx:pt idx="6570">380.76012559999998</cx:pt>
          <cx:pt idx="6571">380.75195550000001</cx:pt>
          <cx:pt idx="6572">380.744235</cx:pt>
          <cx:pt idx="6573">380.7356772</cx:pt>
          <cx:pt idx="6574">380.72737510000002</cx:pt>
          <cx:pt idx="6575">380.51267999999999</cx:pt>
          <cx:pt idx="6576">380.50450990000002</cx:pt>
          <cx:pt idx="6577">380.49678929999999</cx:pt>
          <cx:pt idx="6578">380.48823149999998</cx:pt>
          <cx:pt idx="6579">380.47086030000003</cx:pt>
          <cx:pt idx="6580">380.45515929999999</cx:pt>
          <cx:pt idx="6581">380.44698920000002</cx:pt>
          <cx:pt idx="6582">380.38921290000002</cx:pt>
          <cx:pt idx="6583">380.37274480000002</cx:pt>
          <cx:pt idx="6584">380.36450869999999</cx:pt>
          <cx:pt idx="6585">380.34797470000001</cx:pt>
          <cx:pt idx="6586">380.28196220000001</cx:pt>
          <cx:pt idx="6587">380.27385399999997</cx:pt>
          <cx:pt idx="6588">380.27372609999998</cx:pt>
          <cx:pt idx="6589">380.26523429999997</cx:pt>
          <cx:pt idx="6590">380.26516839999999</cx:pt>
          <cx:pt idx="6591">380.24902200000002</cx:pt>
          <cx:pt idx="6592">380.23248799999999</cx:pt>
          <cx:pt idx="6593">380.1912456</cx:pt>
          <cx:pt idx="6594">380.18268790000002</cx:pt>
          <cx:pt idx="6595">380.08444450000002</cx:pt>
          <cx:pt idx="6596">380.05085680000002</cx:pt>
          <cx:pt idx="6597">380.01817640000002</cx:pt>
          <cx:pt idx="6598">380.00961860000001</cx:pt>
          <cx:pt idx="6599">380.00157639999998</cx:pt>
          <cx:pt idx="6600">379.9933403</cx:pt>
          <cx:pt idx="6601">379.98517020000003</cx:pt>
          <cx:pt idx="6602">379.96033399999999</cx:pt>
          <cx:pt idx="6603">379.94380000000001</cx:pt>
          <cx:pt idx="6604">379.82979779999999</cx:pt>
          <cx:pt idx="6605">379.60179340000002</cx:pt>
          <cx:pt idx="6606">379.48693479999997</cx:pt>
          <cx:pt idx="6607">379.03183940000002</cx:pt>
          <cx:pt idx="6608">379.0292134</cx:pt>
          <cx:pt idx="6609">378.91789419999998</cx:pt>
          <cx:pt idx="6610">378.80212230000001</cx:pt>
          <cx:pt idx="6611">378.68812009999999</cx:pt>
          <cx:pt idx="6612">378.11279999999999</cx:pt>
          <cx:pt idx="6613">381.7749</cx:pt>
          <cx:pt idx="6614">381.58574859999999</cx:pt>
          <cx:pt idx="6615">381.56998399999998</cx:pt>
          <cx:pt idx="6616">381.5536037</cx:pt>
          <cx:pt idx="6617">381.53808379999998</cx:pt>
          <cx:pt idx="6618">381.52269030000002</cx:pt>
          <cx:pt idx="6619">381.49104269999998</cx:pt>
          <cx:pt idx="6620">381.47503339999997</cx:pt>
          <cx:pt idx="6621">381.46025550000002</cx:pt>
          <cx:pt idx="6622">381.44363049999998</cx:pt>
          <cx:pt idx="6623">381.42786589999997</cx:pt>
          <cx:pt idx="6624">381.41210919999997</cx:pt>
          <cx:pt idx="6625">381.39707879999997</cx:pt>
          <cx:pt idx="6626">381.36469699999998</cx:pt>
          <cx:pt idx="6627">381.20681430000002</cx:pt>
          <cx:pt idx="6628">381.01741029999999</cx:pt>
          <cx:pt idx="6629">380.93872160000001</cx:pt>
          <cx:pt idx="6630">380.67074730000002</cx:pt>
          <cx:pt idx="6631">380.65424849999999</cx:pt>
          <cx:pt idx="6632">380.63872859999998</cx:pt>
          <cx:pt idx="6633">380.62284560000001</cx:pt>
          <cx:pt idx="6634">380.60708110000002</cx:pt>
          <cx:pt idx="6635">380.59119020000003</cx:pt>
          <cx:pt idx="6636">380.57555189999999</cx:pt>
          <cx:pt idx="6637">380.55954259999999</cx:pt>
          <cx:pt idx="6638">380.38590319999997</cx:pt>
          <cx:pt idx="6639">380.35412930000001</cx:pt>
          <cx:pt idx="6640">380.29070780000001</cx:pt>
          <cx:pt idx="6641">380.29058149999997</cx:pt>
          <cx:pt idx="6642">380.27506949999997</cx:pt>
          <cx:pt idx="6643">380.25954960000001</cx:pt>
          <cx:pt idx="6644">380.243785</cx:pt>
          <cx:pt idx="6645">380.22802840000003</cx:pt>
          <cx:pt idx="6646">380.21140329999997</cx:pt>
          <cx:pt idx="6647">380.19649920000001</cx:pt>
          <cx:pt idx="6648">380.18061619999997</cx:pt>
          <cx:pt idx="6649">380.11743940000002</cx:pt>
          <cx:pt idx="6650">380.0069689</cx:pt>
          <cx:pt idx="6651">379.94380000000001</cx:pt>
          <cx:pt idx="6652">379.94380000000001</cx:pt>
          <cx:pt idx="6653">379.94380000000001</cx:pt>
          <cx:pt idx="6654">379.94380000000001</cx:pt>
          <cx:pt idx="6655">379.94380000000001</cx:pt>
          <cx:pt idx="6656">379.94380000000001</cx:pt>
          <cx:pt idx="6657">379.94380000000001</cx:pt>
          <cx:pt idx="6658">379.94380000000001</cx:pt>
          <cx:pt idx="6659">379.94380000000001</cx:pt>
          <cx:pt idx="6660">379.94380000000001</cx:pt>
          <cx:pt idx="6661">379.94380000000001</cx:pt>
          <cx:pt idx="6662">379.94380000000001</cx:pt>
          <cx:pt idx="6663">379.94380000000001</cx:pt>
          <cx:pt idx="6664">379.94380000000001</cx:pt>
          <cx:pt idx="6665">379.94380000000001</cx:pt>
          <cx:pt idx="6666">379.94380000000001</cx:pt>
          <cx:pt idx="6667">379.94380000000001</cx:pt>
          <cx:pt idx="6668">379.94380000000001</cx:pt>
          <cx:pt idx="6669">379.94380000000001</cx:pt>
          <cx:pt idx="6670">379.94380000000001</cx:pt>
          <cx:pt idx="6671">379.94380000000001</cx:pt>
          <cx:pt idx="6672">379.94380000000001</cx:pt>
          <cx:pt idx="6673">379.94380000000001</cx:pt>
          <cx:pt idx="6674">379.94380000000001</cx:pt>
          <cx:pt idx="6675">379.9175515</cx:pt>
          <cx:pt idx="6676">379.90478180000002</cx:pt>
          <cx:pt idx="6677">379.7884363</cx:pt>
          <cx:pt idx="6678">379.77566009999998</cx:pt>
          <cx:pt idx="6679">379.76329650000002</cx:pt>
          <cx:pt idx="6680">379.75022380000001</cx:pt>
          <cx:pt idx="6681">379.73755080000001</cx:pt>
          <cx:pt idx="6682">379.72458119999999</cx:pt>
          <cx:pt idx="6683">379.71170840000002</cx:pt>
          <cx:pt idx="6684">379.6988356</cx:pt>
          <cx:pt idx="6685">379.67308989999998</cx:pt>
          <cx:pt idx="6686">379.4797135</cx:pt>
          <cx:pt idx="6687">379.40107760000001</cx:pt>
          <cx:pt idx="6688">379.36347110000003</cx:pt>
          <cx:pt idx="6689">379.33742239999998</cx:pt>
          <cx:pt idx="6690">379.29921000000002</cx:pt>
          <cx:pt idx="6691">379.28644029999998</cx:pt>
          <cx:pt idx="6692">379.27296790000003</cx:pt>
          <cx:pt idx="6693">379.22177950000003</cx:pt>
          <cx:pt idx="6694">379.20910650000002</cx:pt>
          <cx:pt idx="6695">379.15752479999998</cx:pt>
          <cx:pt idx="6696">379.14465200000001</cx:pt>
          <cx:pt idx="6697">379.10573690000001</cx:pt>
          <cx:pt idx="6698">379.0930639</cx:pt>
          <cx:pt idx="6699">379.05474830000003</cx:pt>
          <cx:pt idx="6700">379.02840309999999</cx:pt>
          <cx:pt idx="6701">379.0283</cx:pt>
          <cx:pt idx="6702">379.15602589999997</cx:pt>
          <cx:pt idx="6703">379.41756930000003</cx:pt>
          <cx:pt idx="6704">379.41959980000001</cx:pt>
          <cx:pt idx="6705">379.94380000000001</cx:pt>
          <cx:pt idx="6706">378.11279999999999</cx:pt>
          <cx:pt idx="6707">382.69040000000001</cx:pt>
          <cx:pt idx="6708">380.40869529999998</cx:pt>
          <cx:pt idx="6709">379.9481887</cx:pt>
          <cx:pt idx="6710">379.49821059999999</cx:pt>
          <cx:pt idx="6711">379.49111529999999</cx:pt>
          <cx:pt idx="6712">378.57696859999999</cx:pt>
          <cx:pt idx="6713">378.11279999999999</cx:pt>
          <cx:pt idx="6714">378.13040790000002</cx:pt>
          <cx:pt idx="6715">378.20167500000002</cx:pt>
          <cx:pt idx="6716">378.37915850000002</cx:pt>
          <cx:pt idx="6717">378.55692629999999</cx:pt>
          <cx:pt idx="6718">378.57480980000003</cx:pt>
          <cx:pt idx="6719">378.59228430000002</cx:pt>
          <cx:pt idx="6720">378.61072780000001</cx:pt>
          <cx:pt idx="6721">378.62806010000003</cx:pt>
          <cx:pt idx="6722">378.64580139999998</cx:pt>
          <cx:pt idx="6723">378.66369370000001</cx:pt>
          <cx:pt idx="6724">378.68144380000001</cx:pt>
          <cx:pt idx="6725">378.84145269999999</cx:pt>
          <cx:pt idx="6726">378.85920279999999</cx:pt>
          <cx:pt idx="6727">378.87695289999999</cx:pt>
          <cx:pt idx="6728">378.96514350000001</cx:pt>
          <cx:pt idx="6729">379.01922050000002</cx:pt>
          <cx:pt idx="6730">379.03668620000002</cx:pt>
          <cx:pt idx="6731">379.2324797</cx:pt>
          <cx:pt idx="6732">379.30360460000003</cx:pt>
          <cx:pt idx="6733">379.356855</cx:pt>
          <cx:pt idx="6734">379.44573000000003</cx:pt>
          <cx:pt idx="6735">379.46362240000002</cx:pt>
          <cx:pt idx="6736">379.6237734</cx:pt>
          <cx:pt idx="6737">379.71237289999999</cx:pt>
          <cx:pt idx="6738">379.94380000000001</cx:pt>
          <cx:pt idx="6739">379.7316672</cx:pt>
          <cx:pt idx="6740">379.71457750000002</cx:pt>
          <cx:pt idx="6741">379.69837089999999</cx:pt>
          <cx:pt idx="6742">379.68306380000001</cx:pt>
          <cx:pt idx="6743">379.66610489999999</cx:pt>
          <cx:pt idx="6744">379.64989839999998</cx:pt>
          <cx:pt idx="6745">379.61635680000001</cx:pt>
          <cx:pt idx="6746">379.60078800000002</cx:pt>
          <cx:pt idx="6747">379.53497229999999</cx:pt>
          <cx:pt idx="6748">379.51889649999998</cx:pt>
          <cx:pt idx="6749">379.43687419999998</cx:pt>
          <cx:pt idx="6750">379.40460009999998</cx:pt>
          <cx:pt idx="6751">379.38865520000002</cx:pt>
          <cx:pt idx="6752">379.37143470000001</cx:pt>
          <cx:pt idx="6753">379.33890700000001</cx:pt>
          <cx:pt idx="6754">379.32283940000002</cx:pt>
          <cx:pt idx="6755">379.28979670000001</cx:pt>
          <cx:pt idx="6756">379.25714640000001</cx:pt>
          <cx:pt idx="6757">379.15904829999999</cx:pt>
          <cx:pt idx="6758">379.11006880000002</cx:pt>
          <cx:pt idx="6759">379.09360880000003</cx:pt>
          <cx:pt idx="6760">379.07727949999997</cx:pt>
          <cx:pt idx="6761">379.06044329999997</cx:pt>
          <cx:pt idx="6762">379.04424490000002</cx:pt>
          <cx:pt idx="6763">379.0283</cx:pt>
          <cx:pt idx="6764">379.7147794</cx:pt>
          <cx:pt idx="6765">380.38556390000002</cx:pt>
          <cx:pt idx="6766">381.7749</cx:pt>
          <cx:pt idx="6767">378.11279999999999</cx:pt>
          <cx:pt idx="6768">378.20421270000003</cx:pt>
          <cx:pt idx="6769">378.39774940000001</cx:pt>
          <cx:pt idx="6770">378.47840489999999</cx:pt>
          <cx:pt idx="6771">378.75332959999997</cx:pt>
          <cx:pt idx="6772">379.0283</cx:pt>
          <cx:pt idx="6773">379.18608549999999</cx:pt>
          <cx:pt idx="6774">379.21759839999999</cx:pt>
          <cx:pt idx="6775">379.2491114</cx:pt>
          <cx:pt idx="6776">379.28381189999999</cx:pt>
          <cx:pt idx="6777">379.3753997</cx:pt>
          <cx:pt idx="6778">379.47066439999998</cx:pt>
          <cx:pt idx="6779">379.56420900000001</cx:pt>
          <cx:pt idx="6780">379.56469820000001</cx:pt>
          <cx:pt idx="6781">379.62846569999999</cx:pt>
          <cx:pt idx="6782">379.65947360000001</cx:pt>
          <cx:pt idx="6783">379.81727489999997</cx:pt>
          <cx:pt idx="6784">379.94380000000001</cx:pt>
          <cx:pt idx="6785">379.94380000000001</cx:pt>
          <cx:pt idx="6786">379.94380000000001</cx:pt>
          <cx:pt idx="6787">379.94380000000001</cx:pt>
          <cx:pt idx="6788">379.94380000000001</cx:pt>
          <cx:pt idx="6789">379.94380000000001</cx:pt>
          <cx:pt idx="6790">379.94380000000001</cx:pt>
          <cx:pt idx="6791">379.94380000000001</cx:pt>
          <cx:pt idx="6792">379.94380000000001</cx:pt>
          <cx:pt idx="6793">379.94380000000001</cx:pt>
          <cx:pt idx="6794">379.94380000000001</cx:pt>
          <cx:pt idx="6795">379.94380000000001</cx:pt>
          <cx:pt idx="6796">379.94380000000001</cx:pt>
          <cx:pt idx="6797">379.94380000000001</cx:pt>
          <cx:pt idx="6798">379.94380000000001</cx:pt>
          <cx:pt idx="6799">379.94380000000001</cx:pt>
          <cx:pt idx="6800">379.94380000000001</cx:pt>
          <cx:pt idx="6801">379.94380000000001</cx:pt>
          <cx:pt idx="6802">379.94380000000001</cx:pt>
          <cx:pt idx="6803">379.94380000000001</cx:pt>
          <cx:pt idx="6804">379.94380000000001</cx:pt>
          <cx:pt idx="6805">379.94380000000001</cx:pt>
          <cx:pt idx="6806">379.94380000000001</cx:pt>
          <cx:pt idx="6807">379.94380000000001</cx:pt>
          <cx:pt idx="6808">379.94380000000001</cx:pt>
          <cx:pt idx="6809">379.94380000000001</cx:pt>
          <cx:pt idx="6810">379.94380000000001</cx:pt>
          <cx:pt idx="6811">379.94380000000001</cx:pt>
          <cx:pt idx="6812">379.94380000000001</cx:pt>
          <cx:pt idx="6813">379.94380000000001</cx:pt>
          <cx:pt idx="6814">379.94380000000001</cx:pt>
          <cx:pt idx="6815">379.94380000000001</cx:pt>
          <cx:pt idx="6816">379.94380000000001</cx:pt>
          <cx:pt idx="6817">379.94380000000001</cx:pt>
          <cx:pt idx="6818">379.94380000000001</cx:pt>
          <cx:pt idx="6819">379.94380000000001</cx:pt>
          <cx:pt idx="6820">379.94380000000001</cx:pt>
          <cx:pt idx="6821">379.94380000000001</cx:pt>
          <cx:pt idx="6822">379.94380000000001</cx:pt>
          <cx:pt idx="6823">379.94380000000001</cx:pt>
          <cx:pt idx="6824">379.94380000000001</cx:pt>
          <cx:pt idx="6825">379.94380000000001</cx:pt>
          <cx:pt idx="6826">379.94380000000001</cx:pt>
          <cx:pt idx="6827">379.94380000000001</cx:pt>
          <cx:pt idx="6828">379.94380000000001</cx:pt>
          <cx:pt idx="6829">379.94380000000001</cx:pt>
          <cx:pt idx="6830">379.94380000000001</cx:pt>
          <cx:pt idx="6831">379.94380000000001</cx:pt>
          <cx:pt idx="6832">379.94380000000001</cx:pt>
          <cx:pt idx="6833">379.94380000000001</cx:pt>
          <cx:pt idx="6834">379.94380000000001</cx:pt>
          <cx:pt idx="6835">379.94380000000001</cx:pt>
          <cx:pt idx="6836">379.94380000000001</cx:pt>
          <cx:pt idx="6837">379.94380000000001</cx:pt>
          <cx:pt idx="6838">379.94380000000001</cx:pt>
          <cx:pt idx="6839">379.94380000000001</cx:pt>
          <cx:pt idx="6840">379.94380000000001</cx:pt>
          <cx:pt idx="6841">379.94380000000001</cx:pt>
          <cx:pt idx="6842">379.94380000000001</cx:pt>
          <cx:pt idx="6843">379.94380000000001</cx:pt>
          <cx:pt idx="6844">379.94380000000001</cx:pt>
          <cx:pt idx="6845">379.94380000000001</cx:pt>
          <cx:pt idx="6846">379.94380000000001</cx:pt>
          <cx:pt idx="6847">379.94380000000001</cx:pt>
          <cx:pt idx="6848">379.94380000000001</cx:pt>
          <cx:pt idx="6849">379.94380000000001</cx:pt>
          <cx:pt idx="6850">379.94380000000001</cx:pt>
          <cx:pt idx="6851">379.94380000000001</cx:pt>
          <cx:pt idx="6852">379.94380000000001</cx:pt>
          <cx:pt idx="6853">379.94380000000001</cx:pt>
          <cx:pt idx="6854">379.94380000000001</cx:pt>
          <cx:pt idx="6855">379.94380000000001</cx:pt>
          <cx:pt idx="6856">379.94380000000001</cx:pt>
          <cx:pt idx="6857">379.94380000000001</cx:pt>
          <cx:pt idx="6858">379.94380000000001</cx:pt>
          <cx:pt idx="6859">379.94380000000001</cx:pt>
          <cx:pt idx="6860">379.94380000000001</cx:pt>
          <cx:pt idx="6861">379.94380000000001</cx:pt>
          <cx:pt idx="6862">379.94380000000001</cx:pt>
          <cx:pt idx="6863">379.94380000000001</cx:pt>
          <cx:pt idx="6864">379.94380000000001</cx:pt>
          <cx:pt idx="6865">379.94380000000001</cx:pt>
          <cx:pt idx="6866">379.94380000000001</cx:pt>
          <cx:pt idx="6867">379.94380000000001</cx:pt>
          <cx:pt idx="6868">379.94380000000001</cx:pt>
          <cx:pt idx="6869">379.94380000000001</cx:pt>
          <cx:pt idx="6870">379.94380000000001</cx:pt>
          <cx:pt idx="6871">379.94380000000001</cx:pt>
          <cx:pt idx="6872">379.94380000000001</cx:pt>
          <cx:pt idx="6873">379.94380000000001</cx:pt>
          <cx:pt idx="6874">379.94380000000001</cx:pt>
          <cx:pt idx="6875">379.94380000000001</cx:pt>
          <cx:pt idx="6876">379.94380000000001</cx:pt>
          <cx:pt idx="6877">379.94380000000001</cx:pt>
          <cx:pt idx="6878">379.94380000000001</cx:pt>
          <cx:pt idx="6879">379.94380000000001</cx:pt>
          <cx:pt idx="6880">379.94380000000001</cx:pt>
          <cx:pt idx="6881">379.94380000000001</cx:pt>
          <cx:pt idx="6882">379.94380000000001</cx:pt>
          <cx:pt idx="6883">379.94380000000001</cx:pt>
          <cx:pt idx="6884">379.94380000000001</cx:pt>
          <cx:pt idx="6885">379.94380000000001</cx:pt>
          <cx:pt idx="6886">379.94380000000001</cx:pt>
          <cx:pt idx="6887">379.94380000000001</cx:pt>
          <cx:pt idx="6888">379.94380000000001</cx:pt>
          <cx:pt idx="6889">379.94380000000001</cx:pt>
          <cx:pt idx="6890">379.94380000000001</cx:pt>
          <cx:pt idx="6891">379.94380000000001</cx:pt>
          <cx:pt idx="6892">379.94380000000001</cx:pt>
          <cx:pt idx="6893">379.94380000000001</cx:pt>
          <cx:pt idx="6894">379.94380000000001</cx:pt>
          <cx:pt idx="6895">379.94380000000001</cx:pt>
          <cx:pt idx="6896">379.94380000000001</cx:pt>
          <cx:pt idx="6897">379.94380000000001</cx:pt>
          <cx:pt idx="6898">379.94380000000001</cx:pt>
          <cx:pt idx="6899">379.94380000000001</cx:pt>
          <cx:pt idx="6900">379.94380000000001</cx:pt>
          <cx:pt idx="6901">379.94380000000001</cx:pt>
          <cx:pt idx="6902">379.94380000000001</cx:pt>
          <cx:pt idx="6903">379.94380000000001</cx:pt>
          <cx:pt idx="6904">379.94380000000001</cx:pt>
          <cx:pt idx="6905">379.94380000000001</cx:pt>
          <cx:pt idx="6906">379.94380000000001</cx:pt>
          <cx:pt idx="6907">379.94380000000001</cx:pt>
          <cx:pt idx="6908">379.94380000000001</cx:pt>
          <cx:pt idx="6909">379.94380000000001</cx:pt>
          <cx:pt idx="6910">379.94380000000001</cx:pt>
          <cx:pt idx="6911">379.94380000000001</cx:pt>
          <cx:pt idx="6912">379.94380000000001</cx:pt>
          <cx:pt idx="6913">379.94380000000001</cx:pt>
          <cx:pt idx="6914">379.94380000000001</cx:pt>
          <cx:pt idx="6915">379.94380000000001</cx:pt>
          <cx:pt idx="6916">379.94380000000001</cx:pt>
          <cx:pt idx="6917">379.94380000000001</cx:pt>
          <cx:pt idx="6918">379.94380000000001</cx:pt>
          <cx:pt idx="6919">379.94380000000001</cx:pt>
          <cx:pt idx="6920">379.94380000000001</cx:pt>
          <cx:pt idx="6921">379.94380000000001</cx:pt>
          <cx:pt idx="6922">379.94380000000001</cx:pt>
          <cx:pt idx="6923">379.94380000000001</cx:pt>
          <cx:pt idx="6924">379.94380000000001</cx:pt>
          <cx:pt idx="6925">379.94380000000001</cx:pt>
          <cx:pt idx="6926">379.94380000000001</cx:pt>
          <cx:pt idx="6927">379.94380000000001</cx:pt>
          <cx:pt idx="6928">379.94380000000001</cx:pt>
          <cx:pt idx="6929">379.94380000000001</cx:pt>
          <cx:pt idx="6930">379.94380000000001</cx:pt>
          <cx:pt idx="6931">379.94380000000001</cx:pt>
          <cx:pt idx="6932">379.94380000000001</cx:pt>
        </cx:lvl>
      </cx:numDim>
    </cx:data>
    <cx:data id="7">
      <cx:numDim type="val">
        <cx:f>'Desalination_Unit_Data (3)'!$H$3:$H$7000</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cx:pt>
          <cx:pt idx="414">0</cx:pt>
          <cx:pt idx="415">0</cx:pt>
          <cx:pt idx="416">0</cx:pt>
          <cx:pt idx="417">0</cx:pt>
          <cx:pt idx="418">0</cx:pt>
          <cx:pt idx="419">0</cx:pt>
          <cx:pt idx="420">0</cx:pt>
          <cx:pt idx="421">0</cx:pt>
          <cx:pt idx="422">0</cx:pt>
          <cx:pt idx="423">0</cx:pt>
          <cx:pt idx="424">0</cx:pt>
          <cx:pt idx="425">0</cx:pt>
          <cx:pt idx="426">0</cx:pt>
          <cx:pt idx="427">0</cx:pt>
          <cx:pt idx="428">0</cx:pt>
          <cx:pt idx="429">0</cx:pt>
          <cx:pt idx="430">0</cx:pt>
          <cx:pt idx="431">0</cx:pt>
          <cx:pt idx="432">0</cx:pt>
          <cx:pt idx="433">0</cx:pt>
          <cx:pt idx="434">0</cx:pt>
          <cx:pt idx="435">0</cx:pt>
          <cx:pt idx="436">0</cx:pt>
          <cx:pt idx="437">0</cx:pt>
          <cx:pt idx="438">0</cx:pt>
          <cx:pt idx="439">0</cx:pt>
          <cx:pt idx="440">0</cx:pt>
          <cx:pt idx="441">0</cx:pt>
          <cx:pt idx="442">0</cx:pt>
          <cx:pt idx="443">0</cx:pt>
          <cx:pt idx="444">0</cx:pt>
          <cx:pt idx="445">0</cx:pt>
          <cx:pt idx="446">0</cx:pt>
          <cx:pt idx="447">0</cx:pt>
          <cx:pt idx="448">0</cx:pt>
          <cx:pt idx="449">0</cx:pt>
          <cx:pt idx="450">0</cx:pt>
          <cx:pt idx="451">0</cx:pt>
          <cx:pt idx="452">0</cx:pt>
          <cx:pt idx="453">0</cx:pt>
          <cx:pt idx="454">0</cx:pt>
          <cx:pt idx="455">0</cx:pt>
          <cx:pt idx="456">0</cx:pt>
          <cx:pt idx="457">0</cx:pt>
          <cx:pt idx="458">0</cx:pt>
          <cx:pt idx="459">0</cx:pt>
          <cx:pt idx="460">0</cx:pt>
          <cx:pt idx="461">0</cx:pt>
          <cx:pt idx="462">0</cx:pt>
          <cx:pt idx="463">0</cx:pt>
          <cx:pt idx="464">0</cx:pt>
          <cx:pt idx="465">0</cx:pt>
          <cx:pt idx="466">0</cx:pt>
          <cx:pt idx="467">0</cx:pt>
          <cx:pt idx="468">0</cx:pt>
          <cx:pt idx="469">0</cx:pt>
          <cx:pt idx="470">0</cx:pt>
          <cx:pt idx="471">0</cx:pt>
          <cx:pt idx="472">0</cx:pt>
          <cx:pt idx="473">0</cx:pt>
          <cx:pt idx="474">0</cx:pt>
          <cx:pt idx="475">0</cx:pt>
          <cx:pt idx="476">0</cx:pt>
          <cx:pt idx="477">0</cx:pt>
          <cx:pt idx="478">0</cx:pt>
          <cx:pt idx="479">0</cx:pt>
          <cx:pt idx="480">0</cx:pt>
          <cx:pt idx="481">0</cx:pt>
          <cx:pt idx="482">0</cx:pt>
          <cx:pt idx="483">0</cx:pt>
          <cx:pt idx="484">0</cx:pt>
          <cx:pt idx="485">0</cx:pt>
          <cx:pt idx="486">0</cx:pt>
          <cx:pt idx="487">0</cx:pt>
          <cx:pt idx="488">0</cx:pt>
          <cx:pt idx="489">0</cx:pt>
          <cx:pt idx="490">0</cx:pt>
          <cx:pt idx="491">0</cx:pt>
          <cx:pt idx="492">0</cx:pt>
          <cx:pt idx="493">0</cx:pt>
          <cx:pt idx="494">0</cx:pt>
          <cx:pt idx="495">0</cx:pt>
          <cx:pt idx="496">0</cx:pt>
          <cx:pt idx="497">0</cx:pt>
          <cx:pt idx="498">0</cx:pt>
          <cx:pt idx="499">0</cx:pt>
          <cx:pt idx="500">0</cx:pt>
          <cx:pt idx="501">0</cx:pt>
          <cx:pt idx="502">0</cx:pt>
          <cx:pt idx="503">0</cx:pt>
          <cx:pt idx="504">0</cx:pt>
          <cx:pt idx="505">0</cx:pt>
          <cx:pt idx="506">0</cx:pt>
          <cx:pt idx="507">0</cx:pt>
          <cx:pt idx="508">0</cx:pt>
          <cx:pt idx="509">0</cx:pt>
          <cx:pt idx="510">0</cx:pt>
          <cx:pt idx="511">0</cx:pt>
          <cx:pt idx="512">0</cx:pt>
          <cx:pt idx="513">0</cx:pt>
          <cx:pt idx="514">0</cx:pt>
          <cx:pt idx="515">0</cx:pt>
          <cx:pt idx="516">0</cx:pt>
          <cx:pt idx="517">0</cx:pt>
          <cx:pt idx="518">0</cx:pt>
          <cx:pt idx="519">0</cx:pt>
          <cx:pt idx="520">0</cx:pt>
          <cx:pt idx="521">0</cx:pt>
          <cx:pt idx="522">0</cx:pt>
          <cx:pt idx="523">0</cx:pt>
          <cx:pt idx="524">0</cx:pt>
          <cx:pt idx="525">0</cx:pt>
          <cx:pt idx="526">0</cx:pt>
          <cx:pt idx="527">0</cx:pt>
          <cx:pt idx="528">0</cx:pt>
          <cx:pt idx="529">0</cx:pt>
          <cx:pt idx="530">0</cx:pt>
          <cx:pt idx="531">0</cx:pt>
          <cx:pt idx="532">0</cx:pt>
          <cx:pt idx="533">0</cx:pt>
          <cx:pt idx="534">0</cx:pt>
          <cx:pt idx="535">0</cx:pt>
          <cx:pt idx="536">0</cx:pt>
          <cx:pt idx="537">0</cx:pt>
          <cx:pt idx="538">0</cx:pt>
          <cx:pt idx="539">0</cx:pt>
          <cx:pt idx="540">0</cx:pt>
          <cx:pt idx="541">0</cx:pt>
          <cx:pt idx="542">0</cx:pt>
          <cx:pt idx="543">0</cx:pt>
          <cx:pt idx="544">0</cx:pt>
          <cx:pt idx="545">0</cx:pt>
          <cx:pt idx="546">0</cx:pt>
          <cx:pt idx="547">0</cx:pt>
          <cx:pt idx="548">0</cx:pt>
          <cx:pt idx="549">0</cx:pt>
          <cx:pt idx="550">0</cx:pt>
          <cx:pt idx="551">0</cx:pt>
          <cx:pt idx="552">0</cx:pt>
          <cx:pt idx="553">0</cx:pt>
          <cx:pt idx="554">0</cx:pt>
          <cx:pt idx="555">0</cx:pt>
          <cx:pt idx="556">0</cx:pt>
          <cx:pt idx="557">0</cx:pt>
          <cx:pt idx="558">0</cx:pt>
          <cx:pt idx="559">0</cx:pt>
          <cx:pt idx="560">0</cx:pt>
          <cx:pt idx="561">0</cx:pt>
          <cx:pt idx="562">0</cx:pt>
          <cx:pt idx="563">0</cx:pt>
          <cx:pt idx="564">0</cx:pt>
          <cx:pt idx="565">0</cx:pt>
          <cx:pt idx="566">0</cx:pt>
          <cx:pt idx="567">0</cx:pt>
          <cx:pt idx="568">0</cx:pt>
          <cx:pt idx="569">0</cx:pt>
          <cx:pt idx="570">0</cx:pt>
          <cx:pt idx="571">0</cx:pt>
          <cx:pt idx="572">0</cx:pt>
          <cx:pt idx="573">0</cx:pt>
          <cx:pt idx="574">0</cx:pt>
          <cx:pt idx="575">0</cx:pt>
          <cx:pt idx="576">0</cx:pt>
          <cx:pt idx="577">0</cx:pt>
          <cx:pt idx="578">0</cx:pt>
          <cx:pt idx="579">0</cx:pt>
          <cx:pt idx="580">0</cx:pt>
          <cx:pt idx="581">0</cx:pt>
          <cx:pt idx="582">0</cx:pt>
          <cx:pt idx="583">0</cx:pt>
          <cx:pt idx="584">0</cx:pt>
          <cx:pt idx="585">0</cx:pt>
          <cx:pt idx="586">0</cx:pt>
          <cx:pt idx="587">0</cx:pt>
          <cx:pt idx="588">0</cx:pt>
          <cx:pt idx="589">0</cx:pt>
          <cx:pt idx="590">0</cx:pt>
          <cx:pt idx="591">0</cx:pt>
          <cx:pt idx="592">0</cx:pt>
          <cx:pt idx="593">0</cx:pt>
          <cx:pt idx="594">0</cx:pt>
          <cx:pt idx="595">0</cx:pt>
          <cx:pt idx="596">0</cx:pt>
          <cx:pt idx="597">0</cx:pt>
          <cx:pt idx="598">0</cx:pt>
          <cx:pt idx="599">0</cx:pt>
          <cx:pt idx="600">0</cx:pt>
          <cx:pt idx="601">0</cx:pt>
          <cx:pt idx="602">0</cx:pt>
          <cx:pt idx="603">0</cx:pt>
          <cx:pt idx="604">0</cx:pt>
          <cx:pt idx="605">0</cx:pt>
          <cx:pt idx="606">0</cx:pt>
          <cx:pt idx="607">0</cx:pt>
          <cx:pt idx="608">0</cx:pt>
          <cx:pt idx="609">0</cx:pt>
          <cx:pt idx="610">0</cx:pt>
          <cx:pt idx="611">0</cx:pt>
          <cx:pt idx="612">0</cx:pt>
          <cx:pt idx="613">0</cx:pt>
          <cx:pt idx="614">0</cx:pt>
          <cx:pt idx="615">0</cx:pt>
          <cx:pt idx="616">0</cx:pt>
          <cx:pt idx="617">0</cx:pt>
          <cx:pt idx="618">0</cx:pt>
          <cx:pt idx="619">0</cx:pt>
          <cx:pt idx="620">0</cx:pt>
          <cx:pt idx="621">0</cx:pt>
          <cx:pt idx="622">0</cx:pt>
          <cx:pt idx="623">0</cx:pt>
          <cx:pt idx="624">0</cx:pt>
          <cx:pt idx="625">0</cx:pt>
          <cx:pt idx="626">0</cx:pt>
          <cx:pt idx="627">0</cx:pt>
          <cx:pt idx="628">0</cx:pt>
          <cx:pt idx="629">0</cx:pt>
          <cx:pt idx="630">0</cx:pt>
          <cx:pt idx="631">0</cx:pt>
          <cx:pt idx="632">0</cx:pt>
          <cx:pt idx="633">0</cx:pt>
          <cx:pt idx="634">0</cx:pt>
          <cx:pt idx="635">0</cx:pt>
          <cx:pt idx="636">0</cx:pt>
          <cx:pt idx="637">0</cx:pt>
          <cx:pt idx="638">0</cx:pt>
          <cx:pt idx="639">0</cx:pt>
          <cx:pt idx="640">0</cx:pt>
          <cx:pt idx="641">0</cx:pt>
          <cx:pt idx="642">0</cx:pt>
          <cx:pt idx="643">0</cx:pt>
          <cx:pt idx="644">0</cx:pt>
          <cx:pt idx="645">0</cx:pt>
          <cx:pt idx="646">0</cx:pt>
          <cx:pt idx="647">0</cx:pt>
          <cx:pt idx="648">0</cx:pt>
          <cx:pt idx="649">0</cx:pt>
          <cx:pt idx="650">0</cx:pt>
          <cx:pt idx="651">0</cx:pt>
          <cx:pt idx="652">0</cx:pt>
          <cx:pt idx="653">0</cx:pt>
          <cx:pt idx="654">0</cx:pt>
          <cx:pt idx="655">0</cx:pt>
          <cx:pt idx="656">0</cx:pt>
          <cx:pt idx="657">0</cx:pt>
          <cx:pt idx="658">0</cx:pt>
          <cx:pt idx="659">0</cx:pt>
          <cx:pt idx="660">0</cx:pt>
          <cx:pt idx="661">0</cx:pt>
          <cx:pt idx="662">0</cx:pt>
          <cx:pt idx="663">0</cx:pt>
          <cx:pt idx="664">0</cx:pt>
          <cx:pt idx="665">0</cx:pt>
          <cx:pt idx="666">0</cx:pt>
          <cx:pt idx="667">0</cx:pt>
          <cx:pt idx="668">0</cx:pt>
          <cx:pt idx="669">0</cx:pt>
          <cx:pt idx="670">0</cx:pt>
          <cx:pt idx="671">0</cx:pt>
          <cx:pt idx="672">0</cx:pt>
          <cx:pt idx="673">0</cx:pt>
          <cx:pt idx="674">0</cx:pt>
          <cx:pt idx="675">0</cx:pt>
          <cx:pt idx="676">0</cx:pt>
          <cx:pt idx="677">0</cx:pt>
          <cx:pt idx="678">0</cx:pt>
          <cx:pt idx="679">0</cx:pt>
          <cx:pt idx="680">0</cx:pt>
          <cx:pt idx="681">0</cx:pt>
          <cx:pt idx="682">0</cx:pt>
          <cx:pt idx="683">0</cx:pt>
          <cx:pt idx="684">0</cx:pt>
          <cx:pt idx="685">0</cx:pt>
          <cx:pt idx="686">0</cx:pt>
          <cx:pt idx="687">0</cx:pt>
          <cx:pt idx="688">0</cx:pt>
          <cx:pt idx="689">0</cx:pt>
          <cx:pt idx="690">0</cx:pt>
          <cx:pt idx="691">0</cx:pt>
          <cx:pt idx="692">0</cx:pt>
          <cx:pt idx="693">0</cx:pt>
          <cx:pt idx="694">0</cx:pt>
          <cx:pt idx="695">0</cx:pt>
          <cx:pt idx="696">0</cx:pt>
          <cx:pt idx="697">0</cx:pt>
          <cx:pt idx="698">0</cx:pt>
          <cx:pt idx="699">0</cx:pt>
          <cx:pt idx="700">0</cx:pt>
          <cx:pt idx="701">0</cx:pt>
          <cx:pt idx="702">0</cx:pt>
          <cx:pt idx="703">0</cx:pt>
          <cx:pt idx="704">0</cx:pt>
          <cx:pt idx="705">0</cx:pt>
          <cx:pt idx="706">0</cx:pt>
          <cx:pt idx="707">0</cx:pt>
          <cx:pt idx="708">0</cx:pt>
          <cx:pt idx="709">0</cx:pt>
          <cx:pt idx="710">0</cx:pt>
          <cx:pt idx="711">0</cx:pt>
          <cx:pt idx="712">0</cx:pt>
          <cx:pt idx="713">0</cx:pt>
          <cx:pt idx="714">0</cx:pt>
          <cx:pt idx="715">0</cx:pt>
          <cx:pt idx="716">0</cx:pt>
          <cx:pt idx="717">0</cx:pt>
          <cx:pt idx="718">0</cx:pt>
          <cx:pt idx="719">0</cx:pt>
          <cx:pt idx="720">0</cx:pt>
          <cx:pt idx="721">0</cx:pt>
          <cx:pt idx="722">0</cx:pt>
          <cx:pt idx="723">0</cx:pt>
          <cx:pt idx="724">0</cx:pt>
          <cx:pt idx="725">0</cx:pt>
          <cx:pt idx="726">0</cx:pt>
          <cx:pt idx="727">0</cx:pt>
          <cx:pt idx="728">0</cx:pt>
          <cx:pt idx="729">0</cx:pt>
          <cx:pt idx="730">0</cx:pt>
          <cx:pt idx="731">0</cx:pt>
          <cx:pt idx="732">0</cx:pt>
          <cx:pt idx="733">0</cx:pt>
          <cx:pt idx="734">0</cx:pt>
          <cx:pt idx="735">0</cx:pt>
          <cx:pt idx="736">0</cx:pt>
          <cx:pt idx="737">0</cx:pt>
          <cx:pt idx="738">0</cx:pt>
          <cx:pt idx="739">0</cx:pt>
          <cx:pt idx="740">0</cx:pt>
          <cx:pt idx="741">0</cx:pt>
          <cx:pt idx="742">0</cx:pt>
          <cx:pt idx="743">0</cx:pt>
          <cx:pt idx="744">0</cx:pt>
          <cx:pt idx="745">0</cx:pt>
          <cx:pt idx="746">0</cx:pt>
          <cx:pt idx="747">0</cx:pt>
          <cx:pt idx="748">0</cx:pt>
          <cx:pt idx="749">0</cx:pt>
          <cx:pt idx="750">0</cx:pt>
          <cx:pt idx="751">0</cx:pt>
          <cx:pt idx="752">0</cx:pt>
          <cx:pt idx="753">0</cx:pt>
          <cx:pt idx="754">0</cx:pt>
          <cx:pt idx="755">0</cx:pt>
          <cx:pt idx="756">0</cx:pt>
          <cx:pt idx="757">0</cx:pt>
          <cx:pt idx="758">0</cx:pt>
          <cx:pt idx="759">0</cx:pt>
          <cx:pt idx="760">0</cx:pt>
          <cx:pt idx="761">0</cx:pt>
          <cx:pt idx="762">0</cx:pt>
          <cx:pt idx="763">0</cx:pt>
          <cx:pt idx="764">0</cx:pt>
          <cx:pt idx="765">0</cx:pt>
          <cx:pt idx="766">0</cx:pt>
          <cx:pt idx="767">0</cx:pt>
          <cx:pt idx="768">0</cx:pt>
          <cx:pt idx="769">0</cx:pt>
          <cx:pt idx="770">0</cx:pt>
          <cx:pt idx="771">0</cx:pt>
          <cx:pt idx="772">0</cx:pt>
          <cx:pt idx="773">0</cx:pt>
          <cx:pt idx="774">0</cx:pt>
          <cx:pt idx="775">0</cx:pt>
          <cx:pt idx="776">0</cx:pt>
          <cx:pt idx="777">0</cx:pt>
          <cx:pt idx="778">0</cx:pt>
          <cx:pt idx="779">0</cx:pt>
          <cx:pt idx="780">0</cx:pt>
          <cx:pt idx="781">0</cx:pt>
          <cx:pt idx="782">0</cx:pt>
          <cx:pt idx="783">0</cx:pt>
          <cx:pt idx="784">0</cx:pt>
          <cx:pt idx="785">0</cx:pt>
          <cx:pt idx="786">0</cx:pt>
          <cx:pt idx="787">0</cx:pt>
          <cx:pt idx="788">0</cx:pt>
          <cx:pt idx="789">0</cx:pt>
          <cx:pt idx="790">0</cx:pt>
          <cx:pt idx="791">0</cx:pt>
          <cx:pt idx="792">0</cx:pt>
          <cx:pt idx="793">0</cx:pt>
          <cx:pt idx="794">0</cx:pt>
          <cx:pt idx="795">0</cx:pt>
          <cx:pt idx="796">0</cx:pt>
          <cx:pt idx="797">0</cx:pt>
          <cx:pt idx="798">0</cx:pt>
          <cx:pt idx="799">0</cx:pt>
          <cx:pt idx="800">0</cx:pt>
          <cx:pt idx="801">0</cx:pt>
          <cx:pt idx="802">0</cx:pt>
          <cx:pt idx="803">0</cx:pt>
          <cx:pt idx="804">0</cx:pt>
          <cx:pt idx="805">0</cx:pt>
          <cx:pt idx="806">0</cx:pt>
          <cx:pt idx="807">0</cx:pt>
          <cx:pt idx="808">0</cx:pt>
          <cx:pt idx="809">0</cx:pt>
          <cx:pt idx="810">0</cx:pt>
          <cx:pt idx="811">0</cx:pt>
          <cx:pt idx="812">0</cx:pt>
          <cx:pt idx="813">0</cx:pt>
          <cx:pt idx="814">0</cx:pt>
          <cx:pt idx="815">0</cx:pt>
          <cx:pt idx="816">0</cx:pt>
          <cx:pt idx="817">0</cx:pt>
          <cx:pt idx="818">0</cx:pt>
          <cx:pt idx="819">0</cx:pt>
          <cx:pt idx="820">0</cx:pt>
          <cx:pt idx="821">0</cx:pt>
          <cx:pt idx="822">0</cx:pt>
          <cx:pt idx="823">0</cx:pt>
          <cx:pt idx="824">0</cx:pt>
          <cx:pt idx="825">0</cx:pt>
          <cx:pt idx="826">0</cx:pt>
          <cx:pt idx="827">0</cx:pt>
          <cx:pt idx="828">0</cx:pt>
          <cx:pt idx="829">0</cx:pt>
          <cx:pt idx="830">0</cx:pt>
          <cx:pt idx="831">0</cx:pt>
          <cx:pt idx="832">0</cx:pt>
          <cx:pt idx="833">0</cx:pt>
          <cx:pt idx="834">0</cx:pt>
          <cx:pt idx="835">0</cx:pt>
          <cx:pt idx="836">0</cx:pt>
          <cx:pt idx="837">0</cx:pt>
          <cx:pt idx="838">0</cx:pt>
          <cx:pt idx="839">0</cx:pt>
          <cx:pt idx="840">0</cx:pt>
          <cx:pt idx="841">0</cx:pt>
          <cx:pt idx="842">0</cx:pt>
          <cx:pt idx="843">0</cx:pt>
          <cx:pt idx="844">0</cx:pt>
          <cx:pt idx="845">0</cx:pt>
          <cx:pt idx="846">0</cx:pt>
          <cx:pt idx="847">0</cx:pt>
          <cx:pt idx="848">0</cx:pt>
          <cx:pt idx="849">0</cx:pt>
          <cx:pt idx="850">0</cx:pt>
          <cx:pt idx="851">0</cx:pt>
          <cx:pt idx="852">0</cx:pt>
          <cx:pt idx="853">0</cx:pt>
          <cx:pt idx="854">0</cx:pt>
          <cx:pt idx="855">0</cx:pt>
          <cx:pt idx="856">0</cx:pt>
          <cx:pt idx="857">0</cx:pt>
          <cx:pt idx="858">0</cx:pt>
          <cx:pt idx="859">0</cx:pt>
          <cx:pt idx="860">0</cx:pt>
          <cx:pt idx="861">0</cx:pt>
          <cx:pt idx="862">0</cx:pt>
          <cx:pt idx="863">0</cx:pt>
          <cx:pt idx="864">0</cx:pt>
          <cx:pt idx="865">0</cx:pt>
          <cx:pt idx="866">0</cx:pt>
          <cx:pt idx="867">0</cx:pt>
          <cx:pt idx="868">0</cx:pt>
          <cx:pt idx="869">0</cx:pt>
          <cx:pt idx="870">0</cx:pt>
          <cx:pt idx="871">0</cx:pt>
          <cx:pt idx="872">0</cx:pt>
          <cx:pt idx="873">0</cx:pt>
          <cx:pt idx="874">0</cx:pt>
          <cx:pt idx="875">0</cx:pt>
          <cx:pt idx="876">0</cx:pt>
          <cx:pt idx="877">0</cx:pt>
          <cx:pt idx="878">0</cx:pt>
          <cx:pt idx="879">0</cx:pt>
          <cx:pt idx="880">0</cx:pt>
          <cx:pt idx="881">0</cx:pt>
          <cx:pt idx="882">0</cx:pt>
          <cx:pt idx="883">0</cx:pt>
          <cx:pt idx="884">0</cx:pt>
          <cx:pt idx="885">0</cx:pt>
          <cx:pt idx="886">0</cx:pt>
          <cx:pt idx="887">0</cx:pt>
          <cx:pt idx="888">0</cx:pt>
          <cx:pt idx="889">0</cx:pt>
          <cx:pt idx="890">0</cx:pt>
          <cx:pt idx="891">0</cx:pt>
          <cx:pt idx="892">0</cx:pt>
          <cx:pt idx="893">0</cx:pt>
          <cx:pt idx="894">0</cx:pt>
          <cx:pt idx="895">0</cx:pt>
          <cx:pt idx="896">0</cx:pt>
          <cx:pt idx="897">0</cx:pt>
          <cx:pt idx="898">0</cx:pt>
          <cx:pt idx="899">0</cx:pt>
          <cx:pt idx="900">0</cx:pt>
          <cx:pt idx="901">0</cx:pt>
          <cx:pt idx="902">0</cx:pt>
          <cx:pt idx="903">0</cx:pt>
          <cx:pt idx="904">0</cx:pt>
          <cx:pt idx="905">0</cx:pt>
          <cx:pt idx="906">0</cx:pt>
          <cx:pt idx="907">0</cx:pt>
          <cx:pt idx="908">0</cx:pt>
          <cx:pt idx="909">0</cx:pt>
          <cx:pt idx="910">0</cx:pt>
          <cx:pt idx="911">0</cx:pt>
          <cx:pt idx="912">0</cx:pt>
          <cx:pt idx="913">0</cx:pt>
          <cx:pt idx="914">0</cx:pt>
          <cx:pt idx="915">0</cx:pt>
          <cx:pt idx="916">0</cx:pt>
          <cx:pt idx="917">0</cx:pt>
          <cx:pt idx="918">0</cx:pt>
          <cx:pt idx="919">0</cx:pt>
          <cx:pt idx="920">0</cx:pt>
          <cx:pt idx="921">0</cx:pt>
          <cx:pt idx="922">0</cx:pt>
          <cx:pt idx="923">0</cx:pt>
          <cx:pt idx="924">0</cx:pt>
          <cx:pt idx="925">0</cx:pt>
          <cx:pt idx="926">0</cx:pt>
          <cx:pt idx="927">0</cx:pt>
          <cx:pt idx="928">0</cx:pt>
          <cx:pt idx="929">0</cx:pt>
          <cx:pt idx="930">0</cx:pt>
          <cx:pt idx="931">0</cx:pt>
          <cx:pt idx="932">0</cx:pt>
          <cx:pt idx="933">0</cx:pt>
          <cx:pt idx="934">0</cx:pt>
          <cx:pt idx="935">0</cx:pt>
          <cx:pt idx="936">0</cx:pt>
          <cx:pt idx="937">0</cx:pt>
          <cx:pt idx="938">0</cx:pt>
          <cx:pt idx="939">0</cx:pt>
          <cx:pt idx="940">0</cx:pt>
          <cx:pt idx="941">0</cx:pt>
          <cx:pt idx="942">0</cx:pt>
          <cx:pt idx="943">0</cx:pt>
          <cx:pt idx="944">0</cx:pt>
          <cx:pt idx="945">0</cx:pt>
          <cx:pt idx="946">0</cx:pt>
          <cx:pt idx="947">0</cx:pt>
          <cx:pt idx="948">0</cx:pt>
          <cx:pt idx="949">0</cx:pt>
          <cx:pt idx="950">0</cx:pt>
          <cx:pt idx="951">0</cx:pt>
          <cx:pt idx="952">0</cx:pt>
          <cx:pt idx="953">0</cx:pt>
          <cx:pt idx="954">0</cx:pt>
          <cx:pt idx="955">0</cx:pt>
          <cx:pt idx="956">0</cx:pt>
          <cx:pt idx="957">0</cx:pt>
          <cx:pt idx="958">0</cx:pt>
          <cx:pt idx="959">0</cx:pt>
          <cx:pt idx="960">0</cx:pt>
          <cx:pt idx="961">0</cx:pt>
          <cx:pt idx="962">0</cx:pt>
          <cx:pt idx="963">0</cx:pt>
          <cx:pt idx="964">0</cx:pt>
          <cx:pt idx="965">0</cx:pt>
          <cx:pt idx="966">0</cx:pt>
          <cx:pt idx="967">0</cx:pt>
          <cx:pt idx="968">0</cx:pt>
          <cx:pt idx="969">0</cx:pt>
          <cx:pt idx="970">0</cx:pt>
          <cx:pt idx="971">0</cx:pt>
          <cx:pt idx="972">0</cx:pt>
          <cx:pt idx="973">0</cx:pt>
          <cx:pt idx="974">0</cx:pt>
          <cx:pt idx="975">0</cx:pt>
          <cx:pt idx="976">0</cx:pt>
          <cx:pt idx="977">0</cx:pt>
          <cx:pt idx="978">0</cx:pt>
          <cx:pt idx="979">0</cx:pt>
          <cx:pt idx="980">0</cx:pt>
          <cx:pt idx="981">0</cx:pt>
          <cx:pt idx="982">0</cx:pt>
          <cx:pt idx="983">0</cx:pt>
          <cx:pt idx="984">0</cx:pt>
          <cx:pt idx="985">0</cx:pt>
          <cx:pt idx="986">0</cx:pt>
          <cx:pt idx="987">0</cx:pt>
          <cx:pt idx="988">0</cx:pt>
          <cx:pt idx="989">0</cx:pt>
          <cx:pt idx="990">0</cx:pt>
          <cx:pt idx="991">0</cx:pt>
          <cx:pt idx="992">0</cx:pt>
          <cx:pt idx="993">0</cx:pt>
          <cx:pt idx="994">0</cx:pt>
          <cx:pt idx="995">0</cx:pt>
          <cx:pt idx="996">0</cx:pt>
          <cx:pt idx="997">0</cx:pt>
          <cx:pt idx="998">0</cx:pt>
          <cx:pt idx="999">0</cx:pt>
          <cx:pt idx="1000">0</cx:pt>
          <cx:pt idx="1001">0</cx:pt>
          <cx:pt idx="1002">0</cx:pt>
          <cx:pt idx="1003">0</cx:pt>
          <cx:pt idx="1004">0</cx:pt>
          <cx:pt idx="1005">0</cx:pt>
          <cx:pt idx="1006">0</cx:pt>
          <cx:pt idx="1007">0</cx:pt>
          <cx:pt idx="1008">0</cx:pt>
          <cx:pt idx="1009">0</cx:pt>
          <cx:pt idx="1010">0</cx:pt>
          <cx:pt idx="1011">0</cx:pt>
          <cx:pt idx="1012">0</cx:pt>
          <cx:pt idx="1013">0</cx:pt>
          <cx:pt idx="1014">0</cx:pt>
          <cx:pt idx="1015">0</cx:pt>
          <cx:pt idx="1016">0</cx:pt>
          <cx:pt idx="1017">0</cx:pt>
          <cx:pt idx="1018">0</cx:pt>
          <cx:pt idx="1019">0</cx:pt>
          <cx:pt idx="1020">0</cx:pt>
          <cx:pt idx="1021">0</cx:pt>
          <cx:pt idx="1022">0</cx:pt>
          <cx:pt idx="1023">0</cx:pt>
          <cx:pt idx="1024">0</cx:pt>
          <cx:pt idx="1025">0</cx:pt>
          <cx:pt idx="1026">0</cx:pt>
          <cx:pt idx="1027">0</cx:pt>
          <cx:pt idx="1028">0</cx:pt>
          <cx:pt idx="1029">0</cx:pt>
          <cx:pt idx="1030">0</cx:pt>
          <cx:pt idx="1031">0</cx:pt>
          <cx:pt idx="1032">0</cx:pt>
          <cx:pt idx="1033">0</cx:pt>
          <cx:pt idx="1034">0</cx:pt>
          <cx:pt idx="1035">0</cx:pt>
          <cx:pt idx="1036">0</cx:pt>
          <cx:pt idx="1037">0</cx:pt>
          <cx:pt idx="1038">0</cx:pt>
          <cx:pt idx="1039">0</cx:pt>
          <cx:pt idx="1040">0</cx:pt>
          <cx:pt idx="1041">0</cx:pt>
          <cx:pt idx="1042">0</cx:pt>
          <cx:pt idx="1043">0</cx:pt>
          <cx:pt idx="1044">0</cx:pt>
          <cx:pt idx="1045">0</cx:pt>
          <cx:pt idx="1046">0</cx:pt>
          <cx:pt idx="1047">0</cx:pt>
          <cx:pt idx="1048">0</cx:pt>
          <cx:pt idx="1049">0</cx:pt>
          <cx:pt idx="1050">0</cx:pt>
          <cx:pt idx="1051">0</cx:pt>
          <cx:pt idx="1052">0</cx:pt>
          <cx:pt idx="1053">0</cx:pt>
          <cx:pt idx="1054">0</cx:pt>
          <cx:pt idx="1055">0</cx:pt>
          <cx:pt idx="1056">0</cx:pt>
          <cx:pt idx="1057">0</cx:pt>
          <cx:pt idx="1058">0</cx:pt>
          <cx:pt idx="1059">0</cx:pt>
          <cx:pt idx="1060">0</cx:pt>
          <cx:pt idx="1061">0</cx:pt>
          <cx:pt idx="1062">0</cx:pt>
          <cx:pt idx="1063">0</cx:pt>
          <cx:pt idx="1064">0</cx:pt>
          <cx:pt idx="1065">0</cx:pt>
          <cx:pt idx="1066">0</cx:pt>
          <cx:pt idx="1067">0</cx:pt>
          <cx:pt idx="1068">0</cx:pt>
          <cx:pt idx="1069">0</cx:pt>
          <cx:pt idx="1070">0</cx:pt>
          <cx:pt idx="1071">0</cx:pt>
          <cx:pt idx="1072">0</cx:pt>
          <cx:pt idx="1073">0</cx:pt>
          <cx:pt idx="1074">0</cx:pt>
          <cx:pt idx="1075">0</cx:pt>
          <cx:pt idx="1076">0</cx:pt>
          <cx:pt idx="1077">0</cx:pt>
          <cx:pt idx="1078">0</cx:pt>
          <cx:pt idx="1079">0</cx:pt>
          <cx:pt idx="1080">0</cx:pt>
          <cx:pt idx="1081">0</cx:pt>
          <cx:pt idx="1082">0</cx:pt>
          <cx:pt idx="1083">0</cx:pt>
          <cx:pt idx="1084">0</cx:pt>
          <cx:pt idx="1085">0</cx:pt>
          <cx:pt idx="1086">0</cx:pt>
          <cx:pt idx="1087">0</cx:pt>
          <cx:pt idx="1088">0</cx:pt>
          <cx:pt idx="1089">0</cx:pt>
          <cx:pt idx="1090">0</cx:pt>
          <cx:pt idx="1091">0</cx:pt>
          <cx:pt idx="1092">0</cx:pt>
          <cx:pt idx="1093">0</cx:pt>
          <cx:pt idx="1094">0</cx:pt>
          <cx:pt idx="1095">0</cx:pt>
          <cx:pt idx="1096">0</cx:pt>
          <cx:pt idx="1097">0</cx:pt>
          <cx:pt idx="1098">0</cx:pt>
          <cx:pt idx="1099">0</cx:pt>
          <cx:pt idx="1100">0</cx:pt>
          <cx:pt idx="1101">0</cx:pt>
          <cx:pt idx="1102">0</cx:pt>
          <cx:pt idx="1103">0</cx:pt>
          <cx:pt idx="1104">0</cx:pt>
          <cx:pt idx="1105">0</cx:pt>
          <cx:pt idx="1106">0</cx:pt>
          <cx:pt idx="1107">0</cx:pt>
          <cx:pt idx="1108">0</cx:pt>
          <cx:pt idx="1109">0</cx:pt>
          <cx:pt idx="1110">0</cx:pt>
          <cx:pt idx="1111">0</cx:pt>
          <cx:pt idx="1112">0</cx:pt>
          <cx:pt idx="1113">0</cx:pt>
          <cx:pt idx="1114">0</cx:pt>
          <cx:pt idx="1115">0</cx:pt>
          <cx:pt idx="1116">0</cx:pt>
          <cx:pt idx="1117">0</cx:pt>
          <cx:pt idx="1118">0</cx:pt>
          <cx:pt idx="1119">0</cx:pt>
          <cx:pt idx="1120">0</cx:pt>
          <cx:pt idx="1121">0</cx:pt>
          <cx:pt idx="1122">0</cx:pt>
          <cx:pt idx="1123">0</cx:pt>
          <cx:pt idx="1124">0</cx:pt>
          <cx:pt idx="1125">0</cx:pt>
          <cx:pt idx="1126">0</cx:pt>
          <cx:pt idx="1127">0</cx:pt>
          <cx:pt idx="1128">0</cx:pt>
          <cx:pt idx="1129">0</cx:pt>
          <cx:pt idx="1130">0</cx:pt>
          <cx:pt idx="1131">0</cx:pt>
          <cx:pt idx="1132">0</cx:pt>
          <cx:pt idx="1133">0</cx:pt>
          <cx:pt idx="1134">0</cx:pt>
          <cx:pt idx="1135">0</cx:pt>
          <cx:pt idx="1136">0</cx:pt>
          <cx:pt idx="1137">0</cx:pt>
          <cx:pt idx="1138">0</cx:pt>
          <cx:pt idx="1139">0</cx:pt>
          <cx:pt idx="1140">0</cx:pt>
          <cx:pt idx="1141">0</cx:pt>
          <cx:pt idx="1142">0</cx:pt>
          <cx:pt idx="1143">0</cx:pt>
          <cx:pt idx="1144">0</cx:pt>
          <cx:pt idx="1145">0</cx:pt>
          <cx:pt idx="1146">0</cx:pt>
          <cx:pt idx="1147">0</cx:pt>
          <cx:pt idx="1148">0</cx:pt>
          <cx:pt idx="1149">0</cx:pt>
          <cx:pt idx="1150">2</cx:pt>
          <cx:pt idx="1151">2</cx:pt>
          <cx:pt idx="1152">2</cx:pt>
          <cx:pt idx="1153">2</cx:pt>
          <cx:pt idx="1154">2</cx:pt>
          <cx:pt idx="1155">2</cx:pt>
          <cx:pt idx="1156">2</cx:pt>
          <cx:pt idx="1157">2</cx:pt>
          <cx:pt idx="1158">2</cx:pt>
          <cx:pt idx="1159">2</cx:pt>
          <cx:pt idx="1160">2</cx:pt>
          <cx:pt idx="1161">2</cx:pt>
          <cx:pt idx="1162">2</cx:pt>
          <cx:pt idx="1163">2</cx:pt>
          <cx:pt idx="1164">2</cx:pt>
          <cx:pt idx="1165">2</cx:pt>
          <cx:pt idx="1166">2</cx:pt>
          <cx:pt idx="1167">2</cx:pt>
          <cx:pt idx="1168">2</cx:pt>
          <cx:pt idx="1169">2</cx:pt>
          <cx:pt idx="1170">2</cx:pt>
          <cx:pt idx="1171">2</cx:pt>
          <cx:pt idx="1172">2</cx:pt>
          <cx:pt idx="1173">2</cx:pt>
          <cx:pt idx="1174">2</cx:pt>
          <cx:pt idx="1175">2</cx:pt>
          <cx:pt idx="1176">2</cx:pt>
          <cx:pt idx="1177">2</cx:pt>
          <cx:pt idx="1178">2</cx:pt>
          <cx:pt idx="1179">2</cx:pt>
          <cx:pt idx="1180">2</cx:pt>
          <cx:pt idx="1181">2</cx:pt>
          <cx:pt idx="1182">2</cx:pt>
          <cx:pt idx="1183">2</cx:pt>
          <cx:pt idx="1184">2</cx:pt>
          <cx:pt idx="1185">2</cx:pt>
          <cx:pt idx="1186">2</cx:pt>
          <cx:pt idx="1187">2</cx:pt>
          <cx:pt idx="1188">2</cx:pt>
          <cx:pt idx="1189">2</cx:pt>
          <cx:pt idx="1190">2</cx:pt>
          <cx:pt idx="1191">2</cx:pt>
          <cx:pt idx="1192">2</cx:pt>
          <cx:pt idx="1193">2</cx:pt>
          <cx:pt idx="1194">2</cx:pt>
          <cx:pt idx="1195">2</cx:pt>
          <cx:pt idx="1196">2</cx:pt>
          <cx:pt idx="1197">2</cx:pt>
          <cx:pt idx="1198">2</cx:pt>
          <cx:pt idx="1199">2</cx:pt>
          <cx:pt idx="1200">2</cx:pt>
          <cx:pt idx="1201">2</cx:pt>
          <cx:pt idx="1202">2</cx:pt>
          <cx:pt idx="1203">2</cx:pt>
          <cx:pt idx="1204">2</cx:pt>
          <cx:pt idx="1205">2</cx:pt>
          <cx:pt idx="1206">2</cx:pt>
          <cx:pt idx="1207">2</cx:pt>
          <cx:pt idx="1208">2</cx:pt>
          <cx:pt idx="1209">2</cx:pt>
          <cx:pt idx="1210">2</cx:pt>
          <cx:pt idx="1211">2</cx:pt>
          <cx:pt idx="1212">2</cx:pt>
          <cx:pt idx="1213">2</cx:pt>
          <cx:pt idx="1214">2</cx:pt>
          <cx:pt idx="1215">2</cx:pt>
          <cx:pt idx="1216">2</cx:pt>
          <cx:pt idx="1217">2</cx:pt>
          <cx:pt idx="1218">2</cx:pt>
          <cx:pt idx="1219">2</cx:pt>
          <cx:pt idx="1220">2</cx:pt>
          <cx:pt idx="1221">2</cx:pt>
          <cx:pt idx="1222">2</cx:pt>
          <cx:pt idx="1223">2</cx:pt>
          <cx:pt idx="1224">2</cx:pt>
          <cx:pt idx="1225">2</cx:pt>
          <cx:pt idx="1226">2</cx:pt>
          <cx:pt idx="1227">2</cx:pt>
          <cx:pt idx="1228">2</cx:pt>
          <cx:pt idx="1229">2</cx:pt>
          <cx:pt idx="1230">2</cx:pt>
          <cx:pt idx="1231">2</cx:pt>
          <cx:pt idx="1232">2</cx:pt>
          <cx:pt idx="1233">2</cx:pt>
          <cx:pt idx="1234">2</cx:pt>
          <cx:pt idx="1235">2</cx:pt>
          <cx:pt idx="1236">2</cx:pt>
          <cx:pt idx="1237">2</cx:pt>
          <cx:pt idx="1238">2</cx:pt>
          <cx:pt idx="1239">2</cx:pt>
          <cx:pt idx="1240">2</cx:pt>
          <cx:pt idx="1241">2</cx:pt>
          <cx:pt idx="1242">2</cx:pt>
          <cx:pt idx="1243">2</cx:pt>
          <cx:pt idx="1244">2</cx:pt>
          <cx:pt idx="1245">2</cx:pt>
          <cx:pt idx="1246">2</cx:pt>
          <cx:pt idx="1247">2</cx:pt>
          <cx:pt idx="1248">2</cx:pt>
          <cx:pt idx="1249">2</cx:pt>
          <cx:pt idx="1250">2</cx:pt>
          <cx:pt idx="1251">2</cx:pt>
          <cx:pt idx="1252">2</cx:pt>
          <cx:pt idx="1253">2</cx:pt>
          <cx:pt idx="1254">2</cx:pt>
          <cx:pt idx="1255">2</cx:pt>
          <cx:pt idx="1256">2</cx:pt>
          <cx:pt idx="1257">2</cx:pt>
          <cx:pt idx="1258">2</cx:pt>
          <cx:pt idx="1259">2</cx:pt>
          <cx:pt idx="1260">2</cx:pt>
          <cx:pt idx="1261">2</cx:pt>
          <cx:pt idx="1262">2</cx:pt>
          <cx:pt idx="1263">2</cx:pt>
          <cx:pt idx="1264">2</cx:pt>
          <cx:pt idx="1265">2</cx:pt>
          <cx:pt idx="1266">2</cx:pt>
          <cx:pt idx="1267">2</cx:pt>
          <cx:pt idx="1268">2</cx:pt>
          <cx:pt idx="1269">2</cx:pt>
          <cx:pt idx="1270">2</cx:pt>
          <cx:pt idx="1271">2</cx:pt>
          <cx:pt idx="1272">2</cx:pt>
          <cx:pt idx="1273">2</cx:pt>
          <cx:pt idx="1274">2</cx:pt>
          <cx:pt idx="1275">2</cx:pt>
          <cx:pt idx="1276">2</cx:pt>
          <cx:pt idx="1277">2</cx:pt>
          <cx:pt idx="1278">2</cx:pt>
          <cx:pt idx="1279">2</cx:pt>
          <cx:pt idx="1280">2</cx:pt>
          <cx:pt idx="1281">2</cx:pt>
          <cx:pt idx="1282">2</cx:pt>
          <cx:pt idx="1283">2</cx:pt>
          <cx:pt idx="1284">2</cx:pt>
          <cx:pt idx="1285">2</cx:pt>
          <cx:pt idx="1286">2</cx:pt>
          <cx:pt idx="1287">2</cx:pt>
          <cx:pt idx="1288">2</cx:pt>
          <cx:pt idx="1289">2</cx:pt>
          <cx:pt idx="1290">2</cx:pt>
          <cx:pt idx="1291">2</cx:pt>
          <cx:pt idx="1292">2</cx:pt>
          <cx:pt idx="1293">2</cx:pt>
          <cx:pt idx="1294">2</cx:pt>
          <cx:pt idx="1295">2</cx:pt>
          <cx:pt idx="1296">2</cx:pt>
          <cx:pt idx="1297">2</cx:pt>
          <cx:pt idx="1298">2</cx:pt>
          <cx:pt idx="1299">2</cx:pt>
          <cx:pt idx="1300">2</cx:pt>
          <cx:pt idx="1301">2</cx:pt>
          <cx:pt idx="1302">2</cx:pt>
          <cx:pt idx="1303">2</cx:pt>
          <cx:pt idx="1304">2</cx:pt>
          <cx:pt idx="1305">2</cx:pt>
          <cx:pt idx="1306">2</cx:pt>
          <cx:pt idx="1307">2</cx:pt>
          <cx:pt idx="1308">2</cx:pt>
          <cx:pt idx="1309">2</cx:pt>
          <cx:pt idx="1310">2</cx:pt>
          <cx:pt idx="1311">2</cx:pt>
          <cx:pt idx="1312">2</cx:pt>
          <cx:pt idx="1313">2</cx:pt>
          <cx:pt idx="1314">2</cx:pt>
          <cx:pt idx="1315">2</cx:pt>
          <cx:pt idx="1316">2</cx:pt>
          <cx:pt idx="1317">2</cx:pt>
          <cx:pt idx="1318">2</cx:pt>
          <cx:pt idx="1319">2</cx:pt>
          <cx:pt idx="1320">2</cx:pt>
          <cx:pt idx="1321">2</cx:pt>
          <cx:pt idx="1322">2</cx:pt>
          <cx:pt idx="1323">2</cx:pt>
          <cx:pt idx="1324">2</cx:pt>
          <cx:pt idx="1325">2</cx:pt>
          <cx:pt idx="1326">2</cx:pt>
          <cx:pt idx="1327">2</cx:pt>
          <cx:pt idx="1328">2</cx:pt>
          <cx:pt idx="1329">2</cx:pt>
          <cx:pt idx="1330">2</cx:pt>
          <cx:pt idx="1331">2</cx:pt>
          <cx:pt idx="1332">2</cx:pt>
          <cx:pt idx="1333">2</cx:pt>
          <cx:pt idx="1334">2</cx:pt>
          <cx:pt idx="1335">2</cx:pt>
          <cx:pt idx="1336">2</cx:pt>
          <cx:pt idx="1337">2</cx:pt>
          <cx:pt idx="1338">2</cx:pt>
          <cx:pt idx="1339">2</cx:pt>
          <cx:pt idx="1340">2</cx:pt>
          <cx:pt idx="1341">2</cx:pt>
          <cx:pt idx="1342">2</cx:pt>
          <cx:pt idx="1343">2</cx:pt>
          <cx:pt idx="1344">2</cx:pt>
          <cx:pt idx="1345">2</cx:pt>
          <cx:pt idx="1346">2</cx:pt>
          <cx:pt idx="1347">2</cx:pt>
          <cx:pt idx="1348">2</cx:pt>
          <cx:pt idx="1349">2</cx:pt>
          <cx:pt idx="1350">2</cx:pt>
          <cx:pt idx="1351">2</cx:pt>
          <cx:pt idx="1352">2</cx:pt>
          <cx:pt idx="1353">2</cx:pt>
          <cx:pt idx="1354">2</cx:pt>
          <cx:pt idx="1355">2</cx:pt>
          <cx:pt idx="1356">2</cx:pt>
          <cx:pt idx="1357">2</cx:pt>
          <cx:pt idx="1358">2</cx:pt>
          <cx:pt idx="1359">2</cx:pt>
          <cx:pt idx="1360">2</cx:pt>
          <cx:pt idx="1361">2</cx:pt>
          <cx:pt idx="1362">2</cx:pt>
          <cx:pt idx="1363">2</cx:pt>
          <cx:pt idx="1364">2</cx:pt>
          <cx:pt idx="1365">2</cx:pt>
          <cx:pt idx="1366">2</cx:pt>
          <cx:pt idx="1367">2</cx:pt>
          <cx:pt idx="1368">2</cx:pt>
          <cx:pt idx="1369">2</cx:pt>
          <cx:pt idx="1370">2</cx:pt>
          <cx:pt idx="1371">2</cx:pt>
          <cx:pt idx="1372">2</cx:pt>
          <cx:pt idx="1373">2</cx:pt>
          <cx:pt idx="1374">2</cx:pt>
          <cx:pt idx="1375">2</cx:pt>
          <cx:pt idx="1376">2</cx:pt>
          <cx:pt idx="1377">2</cx:pt>
          <cx:pt idx="1378">2</cx:pt>
          <cx:pt idx="1379">2</cx:pt>
          <cx:pt idx="1380">2</cx:pt>
          <cx:pt idx="1381">2</cx:pt>
          <cx:pt idx="1382">2</cx:pt>
          <cx:pt idx="1383">2</cx:pt>
          <cx:pt idx="1384">2</cx:pt>
          <cx:pt idx="1385">2</cx:pt>
          <cx:pt idx="1386">2</cx:pt>
          <cx:pt idx="1387">2</cx:pt>
          <cx:pt idx="1388">2</cx:pt>
          <cx:pt idx="1389">2</cx:pt>
          <cx:pt idx="1390">2</cx:pt>
          <cx:pt idx="1391">2</cx:pt>
          <cx:pt idx="1392">2</cx:pt>
          <cx:pt idx="1393">2</cx:pt>
          <cx:pt idx="1394">2</cx:pt>
          <cx:pt idx="1395">2</cx:pt>
          <cx:pt idx="1396">2</cx:pt>
          <cx:pt idx="1397">2</cx:pt>
          <cx:pt idx="1398">2</cx:pt>
          <cx:pt idx="1399">2</cx:pt>
          <cx:pt idx="1400">2</cx:pt>
          <cx:pt idx="1401">2</cx:pt>
          <cx:pt idx="1402">2</cx:pt>
          <cx:pt idx="1403">2</cx:pt>
          <cx:pt idx="1404">2</cx:pt>
          <cx:pt idx="1405">2</cx:pt>
          <cx:pt idx="1406">2</cx:pt>
          <cx:pt idx="1407">2</cx:pt>
          <cx:pt idx="1408">2</cx:pt>
          <cx:pt idx="1409">2</cx:pt>
          <cx:pt idx="1410">2</cx:pt>
          <cx:pt idx="1411">2</cx:pt>
          <cx:pt idx="1412">2</cx:pt>
          <cx:pt idx="1413">2</cx:pt>
          <cx:pt idx="1414">2</cx:pt>
          <cx:pt idx="1415">2</cx:pt>
          <cx:pt idx="1416">2</cx:pt>
          <cx:pt idx="1417">2</cx:pt>
          <cx:pt idx="1418">2</cx:pt>
          <cx:pt idx="1419">2</cx:pt>
          <cx:pt idx="1420">2</cx:pt>
          <cx:pt idx="1421">2</cx:pt>
          <cx:pt idx="1422">2</cx:pt>
          <cx:pt idx="1423">2</cx:pt>
          <cx:pt idx="1424">2</cx:pt>
          <cx:pt idx="1425">2</cx:pt>
          <cx:pt idx="1426">2</cx:pt>
          <cx:pt idx="1427">2</cx:pt>
          <cx:pt idx="1428">2</cx:pt>
          <cx:pt idx="1429">2</cx:pt>
          <cx:pt idx="1430">2</cx:pt>
          <cx:pt idx="1431">2</cx:pt>
          <cx:pt idx="1432">2</cx:pt>
          <cx:pt idx="1433">2</cx:pt>
          <cx:pt idx="1434">2</cx:pt>
          <cx:pt idx="1435">2</cx:pt>
          <cx:pt idx="1436">2</cx:pt>
          <cx:pt idx="1437">2</cx:pt>
          <cx:pt idx="1438">2</cx:pt>
          <cx:pt idx="1439">2</cx:pt>
          <cx:pt idx="1440">2</cx:pt>
          <cx:pt idx="1441">2</cx:pt>
          <cx:pt idx="1442">2</cx:pt>
          <cx:pt idx="1443">2</cx:pt>
          <cx:pt idx="1444">2</cx:pt>
          <cx:pt idx="1445">2</cx:pt>
          <cx:pt idx="1446">2</cx:pt>
          <cx:pt idx="1447">2</cx:pt>
          <cx:pt idx="1448">2</cx:pt>
          <cx:pt idx="1449">2</cx:pt>
          <cx:pt idx="1450">2</cx:pt>
          <cx:pt idx="1451">2</cx:pt>
          <cx:pt idx="1452">2</cx:pt>
          <cx:pt idx="1453">2</cx:pt>
          <cx:pt idx="1454">2</cx:pt>
          <cx:pt idx="1455">2</cx:pt>
          <cx:pt idx="1456">2</cx:pt>
          <cx:pt idx="1457">2</cx:pt>
          <cx:pt idx="1458">2</cx:pt>
          <cx:pt idx="1459">2</cx:pt>
          <cx:pt idx="1460">2</cx:pt>
          <cx:pt idx="1461">2</cx:pt>
          <cx:pt idx="1462">2</cx:pt>
          <cx:pt idx="1463">2</cx:pt>
          <cx:pt idx="1464">2</cx:pt>
          <cx:pt idx="1465">2</cx:pt>
          <cx:pt idx="1466">2</cx:pt>
          <cx:pt idx="1467">2</cx:pt>
          <cx:pt idx="1468">2</cx:pt>
          <cx:pt idx="1469">2</cx:pt>
          <cx:pt idx="1470">2</cx:pt>
          <cx:pt idx="1471">2</cx:pt>
          <cx:pt idx="1472">2</cx:pt>
          <cx:pt idx="1473">2</cx:pt>
          <cx:pt idx="1474">2</cx:pt>
          <cx:pt idx="1475">2</cx:pt>
          <cx:pt idx="1476">2</cx:pt>
          <cx:pt idx="1477">2</cx:pt>
          <cx:pt idx="1478">2</cx:pt>
          <cx:pt idx="1479">2</cx:pt>
          <cx:pt idx="1480">2</cx:pt>
          <cx:pt idx="1481">2</cx:pt>
          <cx:pt idx="1482">2</cx:pt>
          <cx:pt idx="1483">2</cx:pt>
          <cx:pt idx="1484">2</cx:pt>
          <cx:pt idx="1485">2</cx:pt>
          <cx:pt idx="1486">2</cx:pt>
          <cx:pt idx="1487">2</cx:pt>
          <cx:pt idx="1488">2</cx:pt>
          <cx:pt idx="1489">2</cx:pt>
          <cx:pt idx="1490">2</cx:pt>
          <cx:pt idx="1491">2</cx:pt>
          <cx:pt idx="1492">2</cx:pt>
          <cx:pt idx="1493">2</cx:pt>
          <cx:pt idx="1494">2</cx:pt>
          <cx:pt idx="1495">2</cx:pt>
          <cx:pt idx="1496">2</cx:pt>
          <cx:pt idx="1497">2</cx:pt>
          <cx:pt idx="1498">2</cx:pt>
          <cx:pt idx="1499">2</cx:pt>
          <cx:pt idx="1500">2</cx:pt>
          <cx:pt idx="1501">2</cx:pt>
          <cx:pt idx="1502">2</cx:pt>
          <cx:pt idx="1503">2</cx:pt>
          <cx:pt idx="1504">2</cx:pt>
          <cx:pt idx="1505">2</cx:pt>
          <cx:pt idx="1506">2</cx:pt>
          <cx:pt idx="1507">2</cx:pt>
          <cx:pt idx="1508">2</cx:pt>
          <cx:pt idx="1509">2</cx:pt>
          <cx:pt idx="1510">2</cx:pt>
          <cx:pt idx="1511">2</cx:pt>
          <cx:pt idx="1512">2</cx:pt>
          <cx:pt idx="1513">2</cx:pt>
          <cx:pt idx="1514">2</cx:pt>
          <cx:pt idx="1515">2</cx:pt>
          <cx:pt idx="1516">2</cx:pt>
          <cx:pt idx="1517">2</cx:pt>
          <cx:pt idx="1518">2</cx:pt>
          <cx:pt idx="1519">2</cx:pt>
          <cx:pt idx="1520">2</cx:pt>
          <cx:pt idx="1521">2</cx:pt>
          <cx:pt idx="1522">2</cx:pt>
          <cx:pt idx="1523">2</cx:pt>
          <cx:pt idx="1524">2</cx:pt>
          <cx:pt idx="1525">2</cx:pt>
          <cx:pt idx="1526">2</cx:pt>
          <cx:pt idx="1527">2</cx:pt>
          <cx:pt idx="1528">2</cx:pt>
          <cx:pt idx="1529">2</cx:pt>
          <cx:pt idx="1530">2</cx:pt>
          <cx:pt idx="1531">2</cx:pt>
          <cx:pt idx="1532">2</cx:pt>
          <cx:pt idx="1533">2</cx:pt>
          <cx:pt idx="1534">2</cx:pt>
          <cx:pt idx="1535">2</cx:pt>
          <cx:pt idx="1536">2</cx:pt>
          <cx:pt idx="1537">2</cx:pt>
          <cx:pt idx="1538">2</cx:pt>
          <cx:pt idx="1539">2</cx:pt>
          <cx:pt idx="1540">2</cx:pt>
          <cx:pt idx="1541">2</cx:pt>
          <cx:pt idx="1542">2</cx:pt>
          <cx:pt idx="1543">2</cx:pt>
          <cx:pt idx="1544">2</cx:pt>
          <cx:pt idx="1545">2</cx:pt>
          <cx:pt idx="1546">2</cx:pt>
          <cx:pt idx="1547">2</cx:pt>
          <cx:pt idx="1548">2</cx:pt>
          <cx:pt idx="1549">2</cx:pt>
          <cx:pt idx="1550">2</cx:pt>
          <cx:pt idx="1551">2</cx:pt>
          <cx:pt idx="1552">2</cx:pt>
          <cx:pt idx="1553">2</cx:pt>
          <cx:pt idx="1554">2</cx:pt>
          <cx:pt idx="1555">2</cx:pt>
          <cx:pt idx="1556">2</cx:pt>
          <cx:pt idx="1557">2</cx:pt>
          <cx:pt idx="1558">2</cx:pt>
          <cx:pt idx="1559">2</cx:pt>
          <cx:pt idx="1560">2</cx:pt>
          <cx:pt idx="1561">2</cx:pt>
          <cx:pt idx="1562">2</cx:pt>
          <cx:pt idx="1563">2</cx:pt>
          <cx:pt idx="1564">2</cx:pt>
          <cx:pt idx="1565">2</cx:pt>
          <cx:pt idx="1566">2</cx:pt>
          <cx:pt idx="1567">2</cx:pt>
          <cx:pt idx="1568">2</cx:pt>
          <cx:pt idx="1569">2</cx:pt>
          <cx:pt idx="1570">2</cx:pt>
          <cx:pt idx="1571">2</cx:pt>
          <cx:pt idx="1572">2</cx:pt>
          <cx:pt idx="1573">2</cx:pt>
          <cx:pt idx="1574">2</cx:pt>
          <cx:pt idx="1575">2</cx:pt>
          <cx:pt idx="1576">2</cx:pt>
          <cx:pt idx="1577">2</cx:pt>
          <cx:pt idx="1578">2</cx:pt>
          <cx:pt idx="1579">2</cx:pt>
          <cx:pt idx="1580">2</cx:pt>
          <cx:pt idx="1581">2</cx:pt>
          <cx:pt idx="1582">2</cx:pt>
          <cx:pt idx="1583">2</cx:pt>
          <cx:pt idx="1584">2</cx:pt>
          <cx:pt idx="1585">2</cx:pt>
          <cx:pt idx="1586">2</cx:pt>
          <cx:pt idx="1587">2</cx:pt>
          <cx:pt idx="1588">2</cx:pt>
          <cx:pt idx="1589">2</cx:pt>
          <cx:pt idx="1590">2</cx:pt>
          <cx:pt idx="1591">2</cx:pt>
          <cx:pt idx="1592">2</cx:pt>
          <cx:pt idx="1593">2</cx:pt>
          <cx:pt idx="1594">2</cx:pt>
          <cx:pt idx="1595">2</cx:pt>
          <cx:pt idx="1596">2</cx:pt>
          <cx:pt idx="1597">2</cx:pt>
          <cx:pt idx="1598">2</cx:pt>
          <cx:pt idx="1599">2</cx:pt>
          <cx:pt idx="1600">2</cx:pt>
          <cx:pt idx="1601">2</cx:pt>
          <cx:pt idx="1602">2</cx:pt>
          <cx:pt idx="1603">2</cx:pt>
          <cx:pt idx="1604">2</cx:pt>
          <cx:pt idx="1605">2</cx:pt>
          <cx:pt idx="1606">2</cx:pt>
          <cx:pt idx="1607">2</cx:pt>
          <cx:pt idx="1608">2</cx:pt>
          <cx:pt idx="1609">2</cx:pt>
          <cx:pt idx="1610">2</cx:pt>
          <cx:pt idx="1611">2</cx:pt>
          <cx:pt idx="1612">2</cx:pt>
          <cx:pt idx="1613">2</cx:pt>
          <cx:pt idx="1614">2</cx:pt>
          <cx:pt idx="1615">2</cx:pt>
          <cx:pt idx="1616">2</cx:pt>
          <cx:pt idx="1617">2</cx:pt>
          <cx:pt idx="1618">2</cx:pt>
          <cx:pt idx="1619">2</cx:pt>
          <cx:pt idx="1620">2</cx:pt>
          <cx:pt idx="1621">2</cx:pt>
          <cx:pt idx="1622">2</cx:pt>
          <cx:pt idx="1623">2</cx:pt>
          <cx:pt idx="1624">2</cx:pt>
          <cx:pt idx="1625">2</cx:pt>
          <cx:pt idx="1626">2</cx:pt>
          <cx:pt idx="1627">2</cx:pt>
          <cx:pt idx="1628">2</cx:pt>
          <cx:pt idx="1629">2</cx:pt>
          <cx:pt idx="1630">2</cx:pt>
          <cx:pt idx="1631">2</cx:pt>
          <cx:pt idx="1632">2</cx:pt>
          <cx:pt idx="1633">2</cx:pt>
          <cx:pt idx="1634">2</cx:pt>
          <cx:pt idx="1635">2</cx:pt>
          <cx:pt idx="1636">2</cx:pt>
          <cx:pt idx="1637">2</cx:pt>
          <cx:pt idx="1638">2</cx:pt>
          <cx:pt idx="1639">2</cx:pt>
          <cx:pt idx="1640">2</cx:pt>
          <cx:pt idx="1641">2</cx:pt>
          <cx:pt idx="1642">2</cx:pt>
          <cx:pt idx="1643">2</cx:pt>
          <cx:pt idx="1644">2</cx:pt>
          <cx:pt idx="1645">2</cx:pt>
          <cx:pt idx="1646">2</cx:pt>
          <cx:pt idx="1647">2</cx:pt>
          <cx:pt idx="1648">2</cx:pt>
          <cx:pt idx="1649">2</cx:pt>
          <cx:pt idx="1650">2</cx:pt>
          <cx:pt idx="1651">2</cx:pt>
          <cx:pt idx="1652">2</cx:pt>
          <cx:pt idx="1653">2</cx:pt>
          <cx:pt idx="1654">2</cx:pt>
          <cx:pt idx="1655">2</cx:pt>
          <cx:pt idx="1656">2</cx:pt>
          <cx:pt idx="1657">2</cx:pt>
          <cx:pt idx="1658">2</cx:pt>
          <cx:pt idx="1659">2</cx:pt>
          <cx:pt idx="1660">2</cx:pt>
          <cx:pt idx="1661">2</cx:pt>
          <cx:pt idx="1662">2</cx:pt>
          <cx:pt idx="1663">2</cx:pt>
          <cx:pt idx="1664">2</cx:pt>
          <cx:pt idx="1665">2</cx:pt>
          <cx:pt idx="1666">2</cx:pt>
          <cx:pt idx="1667">2</cx:pt>
          <cx:pt idx="1668">2</cx:pt>
          <cx:pt idx="1669">2</cx:pt>
          <cx:pt idx="1670">2</cx:pt>
          <cx:pt idx="1671">2</cx:pt>
          <cx:pt idx="1672">2</cx:pt>
          <cx:pt idx="1673">1.964695173</cx:pt>
          <cx:pt idx="1674">1.9301971130000002</cx:pt>
          <cx:pt idx="1675">1.859605</cx:pt>
          <cx:pt idx="1676">1.4229270000000001</cx:pt>
          <cx:pt idx="1677">0.35224319999999998</cx:pt>
          <cx:pt idx="1678">0</cx:pt>
          <cx:pt idx="1679">0</cx:pt>
          <cx:pt idx="1680">0</cx:pt>
          <cx:pt idx="1681">0</cx:pt>
          <cx:pt idx="1682">0</cx:pt>
          <cx:pt idx="1683">0</cx:pt>
          <cx:pt idx="1684">0</cx:pt>
          <cx:pt idx="1685">0</cx:pt>
          <cx:pt idx="1686">0</cx:pt>
          <cx:pt idx="1687">0</cx:pt>
          <cx:pt idx="1688">0</cx:pt>
          <cx:pt idx="1689">0</cx:pt>
          <cx:pt idx="1690">0</cx:pt>
          <cx:pt idx="1691">0</cx:pt>
          <cx:pt idx="1692">0</cx:pt>
          <cx:pt idx="1693">0</cx:pt>
          <cx:pt idx="1694">0</cx:pt>
          <cx:pt idx="1695">0</cx:pt>
          <cx:pt idx="1696">0</cx:pt>
          <cx:pt idx="1697">0</cx:pt>
          <cx:pt idx="1698">0</cx:pt>
          <cx:pt idx="1699">0</cx:pt>
          <cx:pt idx="1700">0</cx:pt>
          <cx:pt idx="1701">0</cx:pt>
          <cx:pt idx="1702">0</cx:pt>
          <cx:pt idx="1703">0</cx:pt>
          <cx:pt idx="1704">0</cx:pt>
          <cx:pt idx="1705">0</cx:pt>
          <cx:pt idx="1706">0</cx:pt>
          <cx:pt idx="1707">0</cx:pt>
          <cx:pt idx="1708">0</cx:pt>
          <cx:pt idx="1709">0</cx:pt>
          <cx:pt idx="1710">0</cx:pt>
          <cx:pt idx="1711">0</cx:pt>
          <cx:pt idx="1712">0</cx:pt>
          <cx:pt idx="1713">0</cx:pt>
          <cx:pt idx="1714">0</cx:pt>
          <cx:pt idx="1715">0</cx:pt>
          <cx:pt idx="1716">0.077408323129999998</cx:pt>
          <cx:pt idx="1717">0.11642258379999999</cx:pt>
          <cx:pt idx="1718">0.194141006</cx:pt>
          <cx:pt idx="1719">0.20563402830000002</cx:pt>
          <cx:pt idx="1720">0.23284516750000001</cx:pt>
          <cx:pt idx="1721">0.31025349060000001</cx:pt>
          <cx:pt idx="1722">0.34835683840000004</cx:pt>
          <cx:pt idx="1723">0.38706099999999999</cx:pt>
          <cx:pt idx="1724">1.9852650000000001</cx:pt>
          <cx:pt idx="1725">1.99809828</cx:pt>
          <cx:pt idx="1726">2</cx:pt>
          <cx:pt idx="1727">1.9867672440000002</cx:pt>
          <cx:pt idx="1728">1.9736405099999998</cx:pt>
          <cx:pt idx="1729">1.960407754</cx:pt>
          <cx:pt idx="1730">1.9469695809999998</cx:pt>
          <cx:pt idx="1731">1.933630805</cx:pt>
          <cx:pt idx="1732">1.9205040690000001</cx:pt>
          <cx:pt idx="1733">1.9164686420000001</cx:pt>
          <cx:pt idx="1734">1.9072713129999999</cx:pt>
          <cx:pt idx="1735">1.894137953</cx:pt>
          <cx:pt idx="1736">1.801197224</cx:pt>
          <cx:pt idx="1737">1.7881765089999999</cx:pt>
          <cx:pt idx="1738">1.7748377319999999</cx:pt>
          <cx:pt idx="1739">1.7616049760000001</cx:pt>
          <cx:pt idx="1740">1.7481668049999999</cx:pt>
          <cx:pt idx="1741">1.7351394640000002</cx:pt>
          <cx:pt idx="1742">1.7215952720000001</cx:pt>
          <cx:pt idx="1743">1.708362516</cx:pt>
          <cx:pt idx="1744">1.6951297600000002</cx:pt>
          <cx:pt idx="1745">1.6818970039999999</cx:pt>
          <cx:pt idx="1746">1.6686642459999999</cx:pt>
          <cx:pt idx="1747">1.65543149</cx:pt>
          <cx:pt idx="1748">1.6423047560000001</cx:pt>
          <cx:pt idx="1749">1.6290719999999999</cx:pt>
          <cx:pt idx="1750">0.80283127850000002</cx:pt>
          <cx:pt idx="1751">0.0018503009999999999</cx:pt>
          <cx:pt idx="1752">0.0020377955199999999</cx:pt>
          <cx:pt idx="1753">0.0022224239800000003</cx:pt>
          <cx:pt idx="1754">0.0024085316900000001</cx:pt>
          <cx:pt idx="1755">0.00259316015</cx:pt>
          <cx:pt idx="1756">0.0027777886200000003</cx:pt>
          <cx:pt idx="1757">0.0029624170799999999</cx:pt>
          <cx:pt idx="1758">0.0033331532600000004</cx:pt>
          <cx:pt idx="1759">0.0035177817199999999</cx:pt>
          <cx:pt idx="1760">0.0038855593999999999</cx:pt>
          <cx:pt idx="1761">0.0040716671099999997</cx:pt>
          <cx:pt idx="1762">0.0044394448100000001</cx:pt>
          <cx:pt idx="1763">0.0046269392999999997</cx:pt>
          <cx:pt idx="1764">0.00480870173</cx:pt>
          <cx:pt idx="1765">0.0051823039400000007</cx:pt>
          <cx:pt idx="1766">0.00554869484</cx:pt>
          <cx:pt idx="1767">0.0057390553800000001</cx:pt>
          <cx:pt idx="1768">0.0061083123099999999</cx:pt>
          <cx:pt idx="1769">0.0064732239499999998</cx:pt>
          <cx:pt idx="1770">0.0066608109199999994</cx:pt>
          <cx:pt idx="1771">0.0070285885899999999</cx:pt>
          <cx:pt idx="1772">0.0072160831100000003</cx:pt>
          <cx:pt idx="1773">0.0073978455200000006</cx:pt>
          <cx:pt idx="1774">0.0083224671100000005</cx:pt>
          <cx:pt idx="1775">0.0085113484000000003</cx:pt>
          <cx:pt idx="1776">0.0088806053299999993</cx:pt>
          <cx:pt idx="1777">0.0090652337900000001</cx:pt>
          <cx:pt idx="1778">0.00924986226</cx:pt>
          <cx:pt idx="1779">0.0094331039399999997</cx:pt>
          <cx:pt idx="1780">0.0096205984300000002</cx:pt>
          <cx:pt idx="1781">0.0098052268899999993</cx:pt>
          <cx:pt idx="1782">0.01017161779</cx:pt>
          <cx:pt idx="1783">0.010359112280000001</cx:pt>
          <cx:pt idx="1784">0.01072984846</cx:pt>
          <cx:pt idx="1785">0.010914476939999999</cx:pt>
          <cx:pt idx="1786">0.011096239349999999</cx:pt>
          <cx:pt idx="1787">0.01133994524</cx:pt>
          <cx:pt idx="1788">0.01146974911</cx:pt>
          <cx:pt idx="1789">0.01165151155</cx:pt>
          <cx:pt idx="1790">0.01202224772</cx:pt>
          <cx:pt idx="1791">0.012208262990000001</cx:pt>
          <cx:pt idx="1792">0.01257899916</cx:pt>
          <cx:pt idx="1793">0.012763627630000001</cx:pt>
          <cx:pt idx="1794">0.012945390059999999</cx:pt>
          <cx:pt idx="1795">0.01313288455</cx:pt>
          <cx:pt idx="1796">0.013318992270000002</cx:pt>
          <cx:pt idx="1797">0.01350066223</cx:pt>
          <cx:pt idx="1798">0.013869919180000001</cx:pt>
          <cx:pt idx="1799">0.01405889292</cx:pt>
          <cx:pt idx="1800">0.01411371749</cx:pt>
          <cx:pt idx="1801">0.01424352139</cx:pt>
          <cx:pt idx="1802">0.014425283820000001</cx:pt>
          <cx:pt idx="1803">0.014612778310000001</cx:pt>
          <cx:pt idx="1804">0.014794540739999999</cx:pt>
          <cx:pt idx="1805">0.01498203524</cx:pt>
          <cx:pt idx="1806">0.01516527692</cx:pt>
          <cx:pt idx="1807">0.015352771409999999</cx:pt>
          <cx:pt idx="1808">0.015534533850000001</cx:pt>
          <cx:pt idx="1809">0.015905177579999999</cx:pt>
          <cx:pt idx="1810">0.016089806040000001</cx:pt>
          <cx:pt idx="1811">0.01627730053</cx:pt>
          <cx:pt idx="1812">0.01645906296</cx:pt>
          <cx:pt idx="1813">0.016646557480000001</cx:pt>
          <cx:pt idx="1814">0.016829799140000001</cx:pt>
          <cx:pt idx="1815">0.016888876550000001</cx:pt>
          <cx:pt idx="1816">0.017203308900000002</cx:pt>
          <cx:pt idx="1817">0.01738655058</cx:pt>
          <cx:pt idx="1818">0.017571086600000001</cx:pt>
          <cx:pt idx="1819">0.01775432826</cx:pt>
          <cx:pt idx="1820">0.01793895672</cx:pt>
          <cx:pt idx="1821">0.018126451240000001</cx:pt>
          <cx:pt idx="1822">0.018308121199999999</cx:pt>
          <cx:pt idx="1823">0.018495615720000001</cx:pt>
          <cx:pt idx="1824">0.01867885738</cx:pt>
          <cx:pt idx="1825">0.018867738670000002</cx:pt>
          <cx:pt idx="1826">0.019232650319999999</cx:pt>
          <cx:pt idx="1827">0.01941875803</cx:pt>
          <cx:pt idx="1828">0.019606252550000001</cx:pt>
          <cx:pt idx="1829">0.0196668092</cx:pt>
          <cx:pt idx="1830">0.019788014959999999</cx:pt>
          <cx:pt idx="1831">0.01997255098</cx:pt>
          <cx:pt idx="1832">0.02016013794</cx:pt>
          <cx:pt idx="1833">0.020341807900000002</cx:pt>
          <cx:pt idx="1834">0.020527915609999999</cx:pt>
          <cx:pt idx="1835">0.02071541013</cx:pt>
          <cx:pt idx="1836">0.020897080090000002</cx:pt>
          <cx:pt idx="1837">0.021081708560000002</cx:pt>
          <cx:pt idx="1838">0.021452444729999999</cx:pt>
          <cx:pt idx="1839">0.021638459999999998</cx:pt>
          <cx:pt idx="1840">0.02203928749</cx:pt>
          <cx:pt idx="1841">0.071265811679999999</cx:pt>
          <cx:pt idx="1842">0.1212939909</cx:pt>
          <cx:pt idx="1843">0.1717229975</cx:pt>
          <cx:pt idx="1844">0.27255596100000001</cx:pt>
          <cx:pt idx="1845">0.32178248519999997</cx:pt>
          <cx:pt idx="1846">0.52229602939999997</cx:pt>
          <cx:pt idx="1847">0.57229915870000003</cx:pt>
          <cx:pt idx="1848">0.62232733779999994</cx:pt>
          <cx:pt idx="1849">0.72278452370000001</cx:pt>
          <cx:pt idx="1850">0.77396507959999994</cx:pt>
          <cx:pt idx="1851">0.82361748719999994</cx:pt>
          <cx:pt idx="1852">0.92364879560000002</cx:pt>
          <cx:pt idx="1853">0.97330119719999997</cx:pt>
          <cx:pt idx="1854">1.023304327</cx:pt>
          <cx:pt idx="1855">1.1241372839999999</cx:pt>
          <cx:pt idx="1856">1.1737896919999999</cx:pt>
          <cx:pt idx="1857">1.2238178710000001</cx:pt>
          <cx:pt idx="1858">1.2738209999999999</cx:pt>
          <cx:pt idx="1859">1.2842508930000001</cx:pt>
          <cx:pt idx="1860">1.2943518000000001</cx:pt>
          <cx:pt idx="1861">1.3047765530000002</cx:pt>
          <cx:pt idx="1862">1.3252251070000001</cx:pt>
          <cx:pt idx="1863">1.3356549999999998</cx:pt>
          <cx:pt idx="1864">1.335105628</cx:pt>
          <cx:pt idx="1865">1.3345518190000001</cx:pt>
          <cx:pt idx="1866">1.3334356039999999</cx:pt>
          <cx:pt idx="1867">1.332890669</cx:pt>
          <cx:pt idx="1868">1.332328264</cx:pt>
          <cx:pt idx="1869">1.331224805</cx:pt>
          <cx:pt idx="1870">1.330671274</cx:pt>
          <cx:pt idx="1871">1.33010859</cx:pt>
          <cx:pt idx="1872">1.3295636559999999</cx:pt>
          <cx:pt idx="1873">1.3284516</cx:pt>
          <cx:pt idx="1874">1.327885035</cx:pt>
          <cx:pt idx="1875">1.3273356630000002</cx:pt>
          <cx:pt idx="1876">1.3267904509999999</cx:pt>
          <cx:pt idx="1877">1.3245580210000001</cx:pt>
          <cx:pt idx="1878">1.3240086489999998</cx:pt>
          <cx:pt idx="1879">1.3234589999999999</cx:pt>
          <cx:pt idx="1880">1.3228965940000001</cx:pt>
          <cx:pt idx="1881">1.322351659</cx:pt>
          <cx:pt idx="1882">1.3212440409999999</cx:pt>
          <cx:pt idx="1883">1.3206857949999999</cx:pt>
          <cx:pt idx="1884">1.3201233889999999</cx:pt>
          <cx:pt idx="1885">1.319578454</cx:pt>
          <cx:pt idx="1886">1.318462239</cx:pt>
          <cx:pt idx="1887">1.3179125899999999</cx:pt>
          <cx:pt idx="1888">1.3173501839999999</cx:pt>
          <cx:pt idx="1889">1.3162514400000001</cx:pt>
          <cx:pt idx="1890">1.3156931940000001</cx:pt>
          <cx:pt idx="1891">1.3151307879999998</cx:pt>
          <cx:pt idx="1892">1.31402317</cx:pt>
          <cx:pt idx="1893">1.313478235</cx:pt>
          <cx:pt idx="1894">1.3129158300000001</cx:pt>
          <cx:pt idx="1895">1.3118126489999999</cx:pt>
          <cx:pt idx="1896">1.3112458060000001</cx:pt>
          <cx:pt idx="1897">1.3106964339999998</cx:pt>
          <cx:pt idx="1898">1.3095888160000002</cx:pt>
          <cx:pt idx="1899">1.3090394439999999</cx:pt>
          <cx:pt idx="1900">1.30847676</cx:pt>
          <cx:pt idx="1901">1.3079318259999999</cx:pt>
          <cx:pt idx="1902">1.30571243</cx:pt>
          <cx:pt idx="1903">1.3051586209999999</cx:pt>
          <cx:pt idx="1904">1.3045962149999999</cx:pt>
          <cx:pt idx="1905">1.3034930339999999</cx:pt>
          <cx:pt idx="1906">1.3029306279999999</cx:pt>
          <cx:pt idx="1907">1.3023854159999999</cx:pt>
          <cx:pt idx="1908">1.3018271699999999</cx:pt>
          <cx:pt idx="1909">1.301269201</cx:pt>
          <cx:pt idx="1910">1.3007198289999999</cx:pt>
          <cx:pt idx="1911">1.3001574229999999</cx:pt>
          <cx:pt idx="1912">1.2990498049999999</cx:pt>
          <cx:pt idx="1913">1.2985004330000001</cx:pt>
          <cx:pt idx="1914">1.29793775</cx:pt>
          <cx:pt idx="1915">1.297392815</cx:pt>
          <cx:pt idx="1916">1.2968390059999999</cx:pt>
          <cx:pt idx="1917">1.2962807599999999</cx:pt>
          <cx:pt idx="1918">1.2957272289999999</cx:pt>
          <cx:pt idx="1919">1.2951734189999999</cx:pt>
          <cx:pt idx="1920">1.2940572050000001</cx:pt>
          <cx:pt idx="1921">1.293511992</cx:pt>
          <cx:pt idx="1922">1.2929451489999999</cx:pt>
          <cx:pt idx="1923">1.29222273</cx:pt>
          <cx:pt idx="1924">1.2918378089999998</cx:pt>
          <cx:pt idx="1925">1.291292597</cx:pt>
          <cx:pt idx="1926">1.2907301910000002</cx:pt>
          <cx:pt idx="1927">1.2885149549999999</cx:pt>
          <cx:pt idx="1928">1.284067566</cx:pt>
          <cx:pt idx="1929">1.283518194</cx:pt>
          <cx:pt idx="1930">1.282972982</cx:pt>
          <cx:pt idx="1931">1.2818612039999999</cx:pt>
          <cx:pt idx="1932">1.2812987979999999</cx:pt>
          <cx:pt idx="1933">1.2807535859999999</cx:pt>
          <cx:pt idx="1934">1.280199777</cx:pt>
          <cx:pt idx="1935">1.2790879990000001</cx:pt>
          <cx:pt idx="1936">1.27853419</cx:pt>
          <cx:pt idx="1937">1.2779676250000001</cx:pt>
          <cx:pt idx="1938">1.2768686039999999</cx:pt>
          <cx:pt idx="1939">1.2763061980000001</cx:pt>
          <cx:pt idx="1940">1.2757609859999999</cx:pt>
          <cx:pt idx="1941">1.2746406109999999</cx:pt>
          <cx:pt idx="1942">1.2740953989999999</cx:pt>
          <cx:pt idx="1943">1.2735329930000001</cx:pt>
          <cx:pt idx="1944">1.2724256519999999</cx:pt>
          <cx:pt idx="1945">1.2718804400000001</cx:pt>
          <cx:pt idx="1946">1.2713180339999999</cx:pt>
          <cx:pt idx="1947">1.2702148529999999</cx:pt>
          <cx:pt idx="1948">1.2696524469999999</cx:pt>
          <cx:pt idx="1949">1.2691072350000001</cx:pt>
          <cx:pt idx="1950">1.2679868599999999</cx:pt>
          <cx:pt idx="1951">1.2674416479999999</cx:pt>
          <cx:pt idx="1952">1.266887839</cx:pt>
          <cx:pt idx="1953">1.265776061</cx:pt>
          <cx:pt idx="1954">1.265213656</cx:pt>
          <cx:pt idx="1955">1.264106038</cx:pt>
          <cx:pt idx="1956">1.263561103</cx:pt>
          <cx:pt idx="1957">1.2624490479999999</cx:pt>
          <cx:pt idx="1958">1.261895239</cx:pt>
          <cx:pt idx="1959">1.261328673</cx:pt>
          <cx:pt idx="1960">1.260225492</cx:pt>
          <cx:pt idx="1961">1.2591092770000001</cx:pt>
          <cx:pt idx="1962">1.2585685019999999</cx:pt>
          <cx:pt idx="1963">1.2580060959999999</cx:pt>
          <cx:pt idx="1964">1.256902915</cx:pt>
          <cx:pt idx="1965">1.2563405090000002</cx:pt>
          <cx:pt idx="1966">1.2557952969999999</cx:pt>
          <cx:pt idx="1967">1.2546835190000001</cx:pt>
          <cx:pt idx="1968">1.25412971</cx:pt>
          <cx:pt idx="1969">1.253575901</cx:pt>
          <cx:pt idx="1970">1.252468283</cx:pt>
          <cx:pt idx="1971">1.251905877</cx:pt>
          <cx:pt idx="1972">1.251356506</cx:pt>
          <cx:pt idx="1973">1.2502402910000001</cx:pt>
          <cx:pt idx="1974">1.2496909189999998</cx:pt>
          <cx:pt idx="1975">1.2491371100000002</cx:pt>
          <cx:pt idx="1976">1.2480294919999999</cx:pt>
          <cx:pt idx="1977">1.2474759600000001</cx:pt>
          <cx:pt idx="1978">1.2469177139999998</cx:pt>
          <cx:pt idx="1979">1.2463553080000001</cx:pt>
          <cx:pt idx="1980">1.244140349</cx:pt>
          <cx:pt idx="1981">1.243582103</cx:pt>
          <cx:pt idx="1982">1.242470325</cx:pt>
          <cx:pt idx="1983">1.2422928400000002</cx:pt>
          <cx:pt idx="1984">1.24192955</cx:pt>
          <cx:pt idx="1985">1.2413715809999999</cx:pt>
          <cx:pt idx="1986">1.2402639630000001</cx:pt>
          <cx:pt idx="1987">1.239710154</cx:pt>
          <cx:pt idx="1988">1.239147749</cx:pt>
          <cx:pt idx="1989">1.238598377</cx:pt>
          <cx:pt idx="1990">1.2374907589999999</cx:pt>
          <cx:pt idx="1991">1.2369283529999999</cx:pt>
          <cx:pt idx="1992">1.2363831410000001</cx:pt>
          <cx:pt idx="1993">1.2352713629999998</cx:pt>
          <cx:pt idx="1994">1.2347089570000001</cx:pt>
          <cx:pt idx="1995">1.234163745</cx:pt>
          <cx:pt idx="1996">1.233051967</cx:pt>
          <cx:pt idx="1997">1.2324981579999998</cx:pt>
          <cx:pt idx="1998">1.2319357520000001</cx:pt>
          <cx:pt idx="1999">1.2308284110000001</cx:pt>
          <cx:pt idx="2000">1.230278762</cx:pt>
          <cx:pt idx="2001">1.2297252299999999</cx:pt>
          <cx:pt idx="2002">1.2286176120000001</cx:pt>
          <cx:pt idx="2003">1.228050769</cx:pt>
          <cx:pt idx="2004">1.2275058350000001</cx:pt>
          <cx:pt idx="2005">1.2269434289999999</cx:pt>
          <cx:pt idx="2006">1.2258444070000001</cx:pt>
          <cx:pt idx="2007">1.225290598</cx:pt>
          <cx:pt idx="2008">1.224178821</cx:pt>
          <cx:pt idx="2009">1.2197444659999999</cx:pt>
          <cx:pt idx="2010">1.2191820600000001</cx:pt>
          <cx:pt idx="2011">1.218632411</cx:pt>
          <cx:pt idx="2012">1.21752507</cx:pt>
          <cx:pt idx="2013">1.216962664</cx:pt>
          <cx:pt idx="2014">1.2164130149999999</cx:pt>
          <cx:pt idx="2015">1.215859483</cx:pt>
          <cx:pt idx="2016">1.2153056739999999</cx:pt>
          <cx:pt idx="2017">1.214751865</cx:pt>
          <cx:pt idx="2018">1.214193619</cx:pt>
          <cx:pt idx="2019">1.2136356499999998</cx:pt>
          <cx:pt idx="2020">1.2130862790000001</cx:pt>
          <cx:pt idx="2021">1.2125238729999999</cx:pt>
          <cx:pt idx="2022">1.2119786610000001</cx:pt>
          <cx:pt idx="2023">1.210866883</cx:pt>
          <cx:pt idx="2024">1.2103130740000001</cx:pt>
          <cx:pt idx="2025">1.209759265</cx:pt>
          <cx:pt idx="2026">1.2086430500000001</cx:pt>
          <cx:pt idx="2027">1.208093678</cx:pt>
          <cx:pt idx="2028">1.2075398690000001</cx:pt>
          <cx:pt idx="2029">1.2064325279999999</cx:pt>
          <cx:pt idx="2030">1.205878719</cx:pt>
          <cx:pt idx="2031">1.205316313</cx:pt>
          <cx:pt idx="2032">1.2047666640000001</cx:pt>
          <cx:pt idx="2033">1.204213132</cx:pt>
          <cx:pt idx="2034">1.203650726</cx:pt>
          <cx:pt idx="2035">1.2031010770000001</cx:pt>
          <cx:pt idx="2036">1.2008861179999999</cx:pt>
          <cx:pt idx="2037">1.200332309</cx:pt>
          <cx:pt idx="2038">1.1981043169999999</cx:pt>
          <cx:pt idx="2039">1.197554945</cx:pt>
          <cx:pt idx="2040">1.196992539</cx:pt>
          <cx:pt idx="2041">1.195884921</cx:pt>
          <cx:pt idx="2042">1.195339986</cx:pt>
          <cx:pt idx="2043">1.19478174</cx:pt>
          <cx:pt idx="2044">1.192566781</cx:pt>
          <cx:pt idx="2045">1.191455003</cx:pt>
          <cx:pt idx="2046">1.1908925969999999</cx:pt>
          <cx:pt idx="2047">1.1903473849999999</cx:pt>
          <cx:pt idx="2048">1.1892397669999999</cx:pt>
          <cx:pt idx="2049">1.188681799</cx:pt>
          <cx:pt idx="2050">1.188119393</cx:pt>
          <cx:pt idx="2051">1.187011775</cx:pt>
          <cx:pt idx="2052">1.1864624029999999</cx:pt>
          <cx:pt idx="2053">1.185908594</cx:pt>
          <cx:pt idx="2054">1.1853547849999999</cx:pt>
          <cx:pt idx="2055">1.1847923790000001</cx:pt>
          <cx:pt idx="2056">1.1842474439999999</cx:pt>
          <cx:pt idx="2057">1.1836850379999999</cx:pt>
          <cx:pt idx="2058">1.182572983</cx:pt>
          <cx:pt idx="2059">1.1820280480000001</cx:pt>
          <cx:pt idx="2060">1.181465642</cx:pt>
          <cx:pt idx="2061">1.1809159929999999</cx:pt>
          <cx:pt idx="2062">1.1803624610000001</cx:pt>
          <cx:pt idx="2063">1.175919232</cx:pt>
          <cx:pt idx="2064">1.175361264</cx:pt>
          <cx:pt idx="2065">1.1748160519999999</cx:pt>
          <cx:pt idx="2066">1.1742536459999999</cx:pt>
          <cx:pt idx="2067">1.173708711</cx:pt>
          <cx:pt idx="2068">1.1731463050000002</cx:pt>
          <cx:pt idx="2069">1.172592496</cx:pt>
          <cx:pt idx="2070">1.1720428469999999</cx:pt>
          <cx:pt idx="2071">1.1714893150000001</cx:pt>
          <cx:pt idx="2072">1.170935506</cx:pt>
          <cx:pt idx="2073">1.1703730999999999</cx:pt>
          <cx:pt idx="2074">1.169269919</cx:pt>
          <cx:pt idx="2075">1.1687161100000001</cx:pt>
          <cx:pt idx="2076">1.168162301</cx:pt>
          <cx:pt idx="2077">1.1670505230000001</cx:pt>
          <cx:pt idx="2078">1.166496714</cx:pt>
          <cx:pt idx="2079">1.165934308</cx:pt>
          <cx:pt idx="2080">1.165389096</cx:pt>
          <cx:pt idx="2081">1.1648266899999999</cx:pt>
          <cx:pt idx="2082">1.164277319</cx:pt>
          <cx:pt idx="2083">1.1637235099999998</cx:pt>
          <cx:pt idx="2084">1.1626161690000001</cx:pt>
          <cx:pt idx="2085">1.1620579229999999</cx:pt>
          <cx:pt idx="2086">1.1614999539999999</cx:pt>
          <cx:pt idx="2087">1.159289155</cx:pt>
          <cx:pt idx="2088">1.1591116700000001</cx:pt>
          <cx:pt idx="2089">1.158731186</cx:pt>
          <cx:pt idx="2090">1.1576149710000001</cx:pt>
          <cx:pt idx="2091">1.1570697590000001</cx:pt>
          <cx:pt idx="2092">1.1565073529999998</cx:pt>
          <cx:pt idx="2093">1.155957981</cx:pt>
          <cx:pt idx="2094">1.154850363</cx:pt>
          <cx:pt idx="2095">1.154287957</cx:pt>
          <cx:pt idx="2096">1.1537430229999999</cx:pt>
          <cx:pt idx="2097">1.1515150300000001</cx:pt>
          <cx:pt idx="2098">1.150965381</cx:pt>
          <cx:pt idx="2099">1.1504115720000001</cx:pt>
          <cx:pt idx="2100">1.14985804</cx:pt>
          <cx:pt idx="2101">1.149295634</cx:pt>
          <cx:pt idx="2102">1.148750422</cx:pt>
          <cx:pt idx="2103">1.147630047</cx:pt>
          <cx:pt idx="2104">1.147084835</cx:pt>
          <cx:pt idx="2105">1.146522429</cx:pt>
          <cx:pt idx="2106">1.145977217</cx:pt>
          <cx:pt idx="2107">1.1448654389999999</cx:pt>
          <cx:pt idx="2108">1.1443030330000001</cx:pt>
          <cx:pt idx="2109">1.1437578209999999</cx:pt>
          <cx:pt idx="2110">1.1431954150000001</cx:pt>
          <cx:pt idx="2111">1.1426460430000001</cx:pt>
          <cx:pt idx="2112">1.142083637</cx:pt>
          <cx:pt idx="2113">1.141538425</cx:pt>
          <cx:pt idx="2114">1.1404310850000001</cx:pt>
          <cx:pt idx="2115">1.1398728389999999</cx:pt>
          <cx:pt idx="2116">1.1393104329999999</cx:pt>
          <cx:pt idx="2117">1.1382030919999999</cx:pt>
          <cx:pt idx="2118">1.1376578799999999</cx:pt>
          <cx:pt idx="2119">1.135983696</cx:pt>
          <cx:pt idx="2120">1.134876078</cx:pt>
          <cx:pt idx="2121">1.1343222690000001</cx:pt>
          <cx:pt idx="2122">1.1341492209999999</cx:pt>
          <cx:pt idx="2123">1.1337728970000001</cx:pt>
          <cx:pt idx="2124">1.131553501</cx:pt>
          <cx:pt idx="2125">1.1309910949999999</cx:pt>
          <cx:pt idx="2126">1.1298923519999999</cx:pt>
          <cx:pt idx="2127">1.1293299459999999</cx:pt>
          <cx:pt idx="2128">1.1287716990000001</cx:pt>
          <cx:pt idx="2129">1.1276643589999999</cx:pt>
          <cx:pt idx="2130">1.1271191469999999</cx:pt>
          <cx:pt idx="2131">1.1265567409999999</cx:pt>
          <cx:pt idx="2132">1.125998772</cx:pt>
          <cx:pt idx="2133">1.1258168499999999</cx:pt>
          <cx:pt idx="2134">1.12545356</cx:pt>
          <cx:pt idx="2135">1.1248997510000001</cx:pt>
          <cx:pt idx="2136">1.124337345</cx:pt>
          <cx:pt idx="2137">1.123792133</cx:pt>
          <cx:pt idx="2138">1.123229727</cx:pt>
          <cx:pt idx="2139">1.122680355</cx:pt>
          <cx:pt idx="2140">1.1221179489999999</cx:pt>
          <cx:pt idx="2141">1.121573014</cx:pt>
          <cx:pt idx="2142">1.1204609589999999</cx:pt>
          <cx:pt idx="2143">1.1198985530000001</cx:pt>
          <cx:pt idx="2144">1.119353619</cx:pt>
          <cx:pt idx="2145">1.118237404</cx:pt>
          <cx:pt idx="2146">1.117688032</cx:pt>
          <cx:pt idx="2147">1.117125626</cx:pt>
          <cx:pt idx="2148">1.1154727959999999</cx:pt>
          <cx:pt idx="2149">1.1149103899999999</cx:pt>
          <cx:pt idx="2150">1.1143610180000001</cx:pt>
          <cx:pt idx="2151">1.1132534000000001</cx:pt>
          <cx:pt idx="2152">1.112690994</cx:pt>
          <cx:pt idx="2153">1.112141622</cx:pt>
          <cx:pt idx="2154">1.111575056</cx:pt>
          <cx:pt idx="2155">1.1104804719999999</cx:pt>
          <cx:pt idx="2156">1.1099180660000001</cx:pt>
          <cx:pt idx="2157">1.109368694</cx:pt>
          <cx:pt idx="2158">1.1088148850000001</cx:pt>
          <cx:pt idx="2159">1.10769867</cx:pt>
          <cx:pt idx="2160">1.1071448610000001</cx:pt>
          <cx:pt idx="2161">1.1065954899999999</cx:pt>
          <cx:pt idx="2162">1.105479275</cx:pt>
          <cx:pt idx="2163">1.104934063</cx:pt>
          <cx:pt idx="2164">1.104371657</cx:pt>
          <cx:pt idx="2165">1.103268476</cx:pt>
          <cx:pt idx="2166">1.1027149439999999</cx:pt>
          <cx:pt idx="2167">1.1021525379999999</cx:pt>
          <cx:pt idx="2168">1.101602889</cx:pt>
          <cx:pt idx="2169">1.1004869509999999</cx:pt>
          <cx:pt idx="2170">1.0999417390000001</cx:pt>
          <cx:pt idx="2171">1.0993793329999999</cx:pt>
          <cx:pt idx="2172">1.0982761519999999</cx:pt>
          <cx:pt idx="2173">1.097722343</cx:pt>
          <cx:pt idx="2174">1.096614725</cx:pt>
          <cx:pt idx="2175">1.096052319</cx:pt>
          <cx:pt idx="2176">1.093833201</cx:pt>
          <cx:pt idx="2177">1.092176211</cx:pt>
          <cx:pt idx="2178">1.0916093680000001</cx:pt>
          <cx:pt idx="2179">1.091059996</cx:pt>
          <cx:pt idx="2180">1.088286791</cx:pt>
          <cx:pt idx="2181">1.087737419</cx:pt>
          <cx:pt idx="2182">1.0871836100000001</cx:pt>
          <cx:pt idx="2183">1.0866212040000001</cx:pt>
          <cx:pt idx="2184">1.085522461</cx:pt>
          <cx:pt idx="2185">1.084960055</cx:pt>
          <cx:pt idx="2186">1.084410683</cx:pt>
          <cx:pt idx="2187">1.083303065</cx:pt>
          <cx:pt idx="2188">1.0827406589999999</cx:pt>
          <cx:pt idx="2189">1.0821912869999999</cx:pt>
          <cx:pt idx="2190">1.0810836689999999</cx:pt>
          <cx:pt idx="2191">1.0805212630000001</cx:pt>
          <cx:pt idx="2192">1.079976051</cx:pt>
          <cx:pt idx="2193">1.078864273</cx:pt>
          <cx:pt idx="2194">1.0782977069999999</cx:pt>
          <cx:pt idx="2195">1.0777480580000001</cx:pt>
          <cx:pt idx="2196">1.0766448769999999</cx:pt>
          <cx:pt idx="2197">1.0760824710000001</cx:pt>
          <cx:pt idx="2198">1.0755289399999999</cx:pt>
          <cx:pt idx="2199">1.0744213220000001</cx:pt>
          <cx:pt idx="2200">1.07387195</cx:pt>
          <cx:pt idx="2201">1.073309544</cx:pt>
          <cx:pt idx="2202">1.0722105229999999</cx:pt>
          <cx:pt idx="2203">1.0716481170000001</cx:pt>
          <cx:pt idx="2204">1.071098745</cx:pt>
          <cx:pt idx="2205">1.0705449360000001</cx:pt>
          <cx:pt idx="2206">1.0699825300000001</cx:pt>
          <cx:pt idx="2207">1.0688751890000001</cx:pt>
          <cx:pt idx="2208">1.06832554</cx:pt>
          <cx:pt idx="2209">1.0677720079999999</cx:pt>
          <cx:pt idx="2210">1.0655526120000001</cx:pt>
          <cx:pt idx="2211">1.0649902060000001</cx:pt>
          <cx:pt idx="2212">1.0638911849999999</cx:pt>
          <cx:pt idx="2213">1.0633287789999999</cx:pt>
          <cx:pt idx="2214">1.062225599</cx:pt>
          <cx:pt idx="2215">1.0611093839999999</cx:pt>
          <cx:pt idx="2216">1.060555852</cx:pt>
          <cx:pt idx="2217">1.0600062029999999</cx:pt>
          <cx:pt idx="2218">1.0594437969999999</cx:pt>
          <cx:pt idx="2219">1.0588902650000001</cx:pt>
          <cx:pt idx="2220">1.058345053</cx:pt>
          <cx:pt idx="2221">1.057782647</cx:pt>
          <cx:pt idx="2222">1.057233275</cx:pt>
          <cx:pt idx="2223">1.0566794659999998</cx:pt>
          <cx:pt idx="2224">1.0561170600000001</cx:pt>
          <cx:pt idx="2225">1.055571848</cx:pt>
          <cx:pt idx="2226">1.0544556330000001</cx:pt>
          <cx:pt idx="2227">1.0539062610000001</cx:pt>
          <cx:pt idx="2228">1.0533438550000001</cx:pt>
          <cx:pt idx="2229">1.0527989209999999</cx:pt>
          <cx:pt idx="2230">1.0455783270000001</cx:pt>
          <cx:pt idx="2231">1.045024518</cx:pt>
          <cx:pt idx="2232">1.0444707090000001</cx:pt>
          <cx:pt idx="2233">1.043921337</cx:pt>
          <cx:pt idx="2234">1.0433675280000001</cx:pt>
          <cx:pt idx="2235">1.0428051220000001</cx:pt>
          <cx:pt idx="2236">1.041693344</cx:pt>
          <cx:pt idx="2237">1.0411484099999999</cx:pt>
          <cx:pt idx="2238">1.0405860040000001</cx:pt>
          <cx:pt idx="2239">1.0394783859999999</cx:pt>
          <cx:pt idx="2240">1.038924577</cx:pt>
          <cx:pt idx="2241">1.0383752049999999</cx:pt>
          <cx:pt idx="2242">1.0372675870000001</cx:pt>
          <cx:pt idx="2243">1.0367051809999999</cx:pt>
          <cx:pt idx="2244">1.036151372</cx:pt>
          <cx:pt idx="2245">1.0356019999999999</cx:pt>
          <cx:pt idx="2246">1.044319768</cx:pt>
          <cx:pt idx="2247">1.0527667169999999</cx:pt>
          <cx:pt idx="2248">1.061351224</cx:pt>
          <cx:pt idx="2249">1.070137771</cx:pt>
          <cx:pt idx="2250">1.0785847200000001</cx:pt>
          <cx:pt idx="2251">1.0873024870000001</cx:pt>
          <cx:pt idx="2252">1.095753735</cx:pt>
          <cx:pt idx="2253">1.1044715030000001</cx:pt>
          <cx:pt idx="2254">1.1129227500000001</cx:pt>
          <cx:pt idx="2255">1.164623237</cx:pt>
          <cx:pt idx="2256">1.173143265</cx:pt>
          <cx:pt idx="2257">1.2076102559999999</cx:pt>
          <cx:pt idx="2258">1.224843752</cx:pt>
          <cx:pt idx="2259">1.233295</cx:pt>
          <cx:pt idx="2260">2</cx:pt>
          <cx:pt idx="2261">2</cx:pt>
          <cx:pt idx="2262">2</cx:pt>
          <cx:pt idx="2263">2</cx:pt>
          <cx:pt idx="2264">2</cx:pt>
          <cx:pt idx="2265">2</cx:pt>
          <cx:pt idx="2266">2</cx:pt>
          <cx:pt idx="2267">1.847081</cx:pt>
          <cx:pt idx="2268">1.40215</cx:pt>
          <cx:pt idx="2269">1.038802</cx:pt>
          <cx:pt idx="2270">0.77590700000000001</cx:pt>
          <cx:pt idx="2271">0.60502350000000005</cx:pt>
          <cx:pt idx="2272">0.48554459999999999</cx:pt>
          <cx:pt idx="2273">0.49898081799999999</cx:pt>
          <cx:pt idx="2274">0.50909610000000005</cx:pt>
          <cx:pt idx="2275">0.2964021</cx:pt>
          <cx:pt idx="2276">0.3723051</cx:pt>
          <cx:pt idx="2277">0.39239930000000001</cx:pt>
          <cx:pt idx="2278">0</cx:pt>
          <cx:pt idx="2279">0.026071022290000002</cx:pt>
          <cx:pt idx="2280">0.027776060000000002</cx:pt>
          <cx:pt idx="2281">0.1021265</cx:pt>
          <cx:pt idx="2282">0.1017015</cx:pt>
          <cx:pt idx="2283">0.20734169999999999</cx:pt>
          <cx:pt idx="2284">0.66835109999999998</cx:pt>
          <cx:pt idx="2285">0.96232590000000007</cx:pt>
          <cx:pt idx="2286">0.94270548369999996</cx:pt>
          <cx:pt idx="2287">0.92974467110000003</cx:pt>
          <cx:pt idx="2288">0.89716669999999998</cx:pt>
          <cx:pt idx="2289">0.66486429999999996</cx:pt>
          <cx:pt idx="2290">0.48640149999999999</cx:pt>
          <cx:pt idx="2291">0.142487</cx:pt>
          <cx:pt idx="2292">0</cx:pt>
          <cx:pt idx="2293">0.03099375</cx:pt>
          <cx:pt idx="2294">0.31451689999999999</cx:pt>
          <cx:pt idx="2295">0.44238819999999995</cx:pt>
          <cx:pt idx="2296">0.55594440000000001</cx:pt>
          <cx:pt idx="2297">0.39822249999999998</cx:pt>
          <cx:pt idx="2298">0.2484335</cx:pt>
          <cx:pt idx="2299">0.19756309999999999</cx:pt>
          <cx:pt idx="2300">0.098140962110000007</cx:pt>
          <cx:pt idx="2301">0</cx:pt>
          <cx:pt idx="2302">0.034110630000000003</cx:pt>
          <cx:pt idx="2303">0.32756000000000002</cx:pt>
          <cx:pt idx="2304">0.45472477210000001</cx:pt>
          <cx:pt idx="2305">0.6234944</cx:pt>
          <cx:pt idx="2306">0.63427679999999997</cx:pt>
          <cx:pt idx="2307">0.81481329999999996</cx:pt>
          <cx:pt idx="2308">0.57394279999999998</cx:pt>
          <cx:pt idx="2309">0.38172199999999995</cx:pt>
          <cx:pt idx="2310">0.12678900000000001</cx:pt>
          <cx:pt idx="2311">0</cx:pt>
          <cx:pt idx="2312">0</cx:pt>
          <cx:pt idx="2313">0</cx:pt>
          <cx:pt idx="2314">0</cx:pt>
          <cx:pt idx="2315">0</cx:pt>
          <cx:pt idx="2316">0</cx:pt>
          <cx:pt idx="2317">0</cx:pt>
          <cx:pt idx="2318">0</cx:pt>
          <cx:pt idx="2319">0</cx:pt>
          <cx:pt idx="2320">0</cx:pt>
          <cx:pt idx="2321">0</cx:pt>
          <cx:pt idx="2322">0</cx:pt>
          <cx:pt idx="2323">0</cx:pt>
          <cx:pt idx="2324">0</cx:pt>
          <cx:pt idx="2325">0</cx:pt>
          <cx:pt idx="2326">0</cx:pt>
          <cx:pt idx="2327">0</cx:pt>
          <cx:pt idx="2328">0</cx:pt>
          <cx:pt idx="2329">0</cx:pt>
          <cx:pt idx="2330">0</cx:pt>
          <cx:pt idx="2331">0</cx:pt>
          <cx:pt idx="2332">0</cx:pt>
          <cx:pt idx="2333">0</cx:pt>
          <cx:pt idx="2334">0</cx:pt>
          <cx:pt idx="2335">0.043393150069999997</cx:pt>
          <cx:pt idx="2336">0.064835361750000001</cx:pt>
          <cx:pt idx="2337">0.08662394000000001</cx:pt>
          <cx:pt idx="2338">0.088646266619999997</cx:pt>
          <cx:pt idx="2339">0.35370399999999996</cx:pt>
          <cx:pt idx="2340">0.92974100879999999</cx:pt>
          <cx:pt idx="2341">1.4924279999999999</cx:pt>
          <cx:pt idx="2342">1.4948466809999998</cx:pt>
          <cx:pt idx="2343">1.7943090000000002</cx:pt>
          <cx:pt idx="2344">2</cx:pt>
          <cx:pt idx="2345">2</cx:pt>
          <cx:pt idx="2346">2</cx:pt>
          <cx:pt idx="2347">2</cx:pt>
          <cx:pt idx="2348">1.9166890000000001</cx:pt>
          <cx:pt idx="2349">1.6577680000000001</cx:pt>
          <cx:pt idx="2350">1.5182470000000001</cx:pt>
          <cx:pt idx="2351">1.3001410000000002</cx:pt>
          <cx:pt idx="2352">0.77019670000000007</cx:pt>
          <cx:pt idx="2353">0.88049000000000011</cx:pt>
          <cx:pt idx="2354">0.7080149</cx:pt>
          <cx:pt idx="2355">0.75792270000000006</cx:pt>
          <cx:pt idx="2356">0.70911789999999997</cx:pt>
          <cx:pt idx="2357">0.53823200000000004</cx:pt>
          <cx:pt idx="2358">0.48925479999999999</cx:pt>
          <cx:pt idx="2359">0.506247</cx:pt>
          <cx:pt idx="2360">0.4286623</cx:pt>
          <cx:pt idx="2361">0.62304300000000001</cx:pt>
          <cx:pt idx="2362">0.71627560000000001</cx:pt>
          <cx:pt idx="2363">0.89123630000000009</cx:pt>
          <cx:pt idx="2364">0.7407201000000001</cx:pt>
          <cx:pt idx="2365">0.6566902</cx:pt>
          <cx:pt idx="2366">0.67544169999999992</cx:pt>
          <cx:pt idx="2367">0.74536150000000001</cx:pt>
          <cx:pt idx="2368">0.68673360000000006</cx:pt>
          <cx:pt idx="2369">0.80199389999999993</cx:pt>
          <cx:pt idx="2370">0.95090920000000001</cx:pt>
          <cx:pt idx="2371">0.75682739999999993</cx:pt>
          <cx:pt idx="2372">0.69560640000000007</cx:pt>
          <cx:pt idx="2373">0.97568470000000007</cx:pt>
          <cx:pt idx="2374">1.0857049999999999</cx:pt>
          <cx:pt idx="2375">1.0734859999999999</cx:pt>
          <cx:pt idx="2376">0.88699085100000008</cx:pt>
          <cx:pt idx="2377">0.84008159999999998</cx:pt>
          <cx:pt idx="2378">0.88030420000000009</cx:pt>
          <cx:pt idx="2379">1.0980840000000001</cx:pt>
          <cx:pt idx="2380">1.1383118290000001</cx:pt>
          <cx:pt idx="2381">1.158501</cx:pt>
          <cx:pt idx="2382">0.91991240000000007</cx:pt>
          <cx:pt idx="2383">0.88827179999999994</cx:pt>
          <cx:pt idx="2384">1.182077</cx:pt>
          <cx:pt idx="2385">1.27362</cx:pt>
          <cx:pt idx="2386">1.1931829999999999</cx:pt>
          <cx:pt idx="2387">1.093421</cx:pt>
          <cx:pt idx="2388">1.0980129999999999</cx:pt>
          <cx:pt idx="2389">0.79410839999999994</cx:pt>
          <cx:pt idx="2390">0.66923929999999998</cx:pt>
          <cx:pt idx="2391">0.46338940000000001</cx:pt>
          <cx:pt idx="2392">0.24701129999999999</cx:pt>
          <cx:pt idx="2393">0.022399520000000003</cx:pt>
          <cx:pt idx="2394">0.029670621380000001</cx:pt>
          <cx:pt idx="2395">0.041519250000000001</cx:pt>
          <cx:pt idx="2396">0.013080400000000001</cx:pt>
          <cx:pt idx="2397">0.092148325329999989</cx:pt>
          <cx:pt idx="2398">0.097881040000000002</cx:pt>
          <cx:pt idx="2399">0.1595956</cx:pt>
          <cx:pt idx="2400">0.093729720000000002</cx:pt>
          <cx:pt idx="2401">0.06426774628000001</cx:pt>
          <cx:pt idx="2402">0.03476158</cx:pt>
          <cx:pt idx="2403">0.0095942693100000004</cx:pt>
          <cx:pt idx="2404">0.00868067101</cx:pt>
          <cx:pt idx="2405">0</cx:pt>
          <cx:pt idx="2406">0.025804029999999999</cx:pt>
          <cx:pt idx="2407">0.1310654</cx:pt>
          <cx:pt idx="2408">0.2447136</cx:pt>
          <cx:pt idx="2409">0.19508150000000002</cx:pt>
          <cx:pt idx="2410">0.2397389</cx:pt>
          <cx:pt idx="2411">0.30543239999999999</cx:pt>
          <cx:pt idx="2412">0.35521760000000002</cx:pt>
          <cx:pt idx="2413">0.33122880000000005</cx:pt>
          <cx:pt idx="2414">0.2301839</cx:pt>
          <cx:pt idx="2415">0.12888629999999998</cx:pt>
          <cx:pt idx="2416">0.06560545000000001</cx:pt>
          <cx:pt idx="2417">0.13918039999999998</cx:pt>
          <cx:pt idx="2418">0.1703153</cx:pt>
          <cx:pt idx="2419">0.095576149999999999</cx:pt>
          <cx:pt idx="2420">0.057163310000000002</cx:pt>
          <cx:pt idx="2421">0</cx:pt>
          <cx:pt idx="2422">0.14797160000000001</cx:pt>
          <cx:pt idx="2423">0.0011089509999999999</cx:pt>
          <cx:pt idx="2424">0.028507769999999998</cx:pt>
          <cx:pt idx="2425">0.081552019999999989</cx:pt>
          <cx:pt idx="2426">0</cx:pt>
          <cx:pt idx="2427">0.028320120000000001</cx:pt>
          <cx:pt idx="2428">0.026283517650000001</cx:pt>
          <cx:pt idx="2429">0.026263546910000001</cx:pt>
          <cx:pt idx="2430">0.024932906759999998</cx:pt>
          <cx:pt idx="2431">0.022150078139999998</cx:pt>
          <cx:pt idx="2432">0.02200916394</cx:pt>
          <cx:pt idx="2433">0.021061788639999999</cx:pt>
          <cx:pt idx="2434">0.020920249410000001</cx:pt>
          <cx:pt idx="2435">0.020497043069999998</cx:pt>
          <cx:pt idx="2436">0.01989219473</cx:pt>
          <cx:pt idx="2437">0.01950909118</cx:pt>
          <cx:pt idx="2438">0.019408279760000001</cx:pt>
          <cx:pt idx="2439">0.019368176979999999</cx:pt>
          <cx:pt idx="2440">0.018642395249999999</cx:pt>
          <cx:pt idx="2441">0.018621950700000001</cx:pt>
          <cx:pt idx="2442">0.018521139280000001</cx:pt>
          <cx:pt idx="2443">0.01842033794</cx:pt>
          <cx:pt idx="2444">0.018077810990000002</cx:pt>
          <cx:pt idx="2445">0.017633998799999998</cx:pt>
          <cx:pt idx="2446">0.015940397219999999</cx:pt>
          <cx:pt idx="2447">0.015577738230000001</cx:pt>
          <cx:pt idx="2448">0.01545648225</cx:pt>
          <cx:pt idx="2449">0.015335548880000001</cx:pt>
          <cx:pt idx="2450">0.015234737460000002</cx:pt>
          <cx:pt idx="2451">0.015073540000000002</cx:pt>
          <cx:pt idx="2452">0.42395189999999999</cx:pt>
          <cx:pt idx="2453">0.57284800000000002</cx:pt>
          <cx:pt idx="2454">0.61172649999999995</cx:pt>
          <cx:pt idx="2455">0.55716569999999999</cx:pt>
          <cx:pt idx="2456">0.68278139999999998</cx:pt>
          <cx:pt idx="2457">0.68239649629999999</cx:pt>
          <cx:pt idx="2458">0.63435580000000003</cx:pt>
          <cx:pt idx="2459">0.38310119999999998</cx:pt>
          <cx:pt idx="2460">0.38293503029999998</cx:pt>
          <cx:pt idx="2461">0.34146540000000003</cx:pt>
          <cx:pt idx="2462">0.24633739999999998</cx:pt>
          <cx:pt idx="2463">0.055391820000000001</cx:pt>
          <cx:pt idx="2464">0</cx:pt>
          <cx:pt idx="2465">0.14531539999999998</cx:pt>
          <cx:pt idx="2466">0.25898650000000001</cx:pt>
          <cx:pt idx="2467">0.1602394</cx:pt>
          <cx:pt idx="2468">0.02456322</cx:pt>
          <cx:pt idx="2469">0.02825637445</cx:pt>
          <cx:pt idx="2470">0.032563977229999999</cx:pt>
          <cx:pt idx="2471">0.036871580000000001</cx:pt>
          <cx:pt idx="2472">0.46619650000000001</cx:pt>
          <cx:pt idx="2473">0.94941990000000009</cx:pt>
          <cx:pt idx="2474">0.98754009999999992</cx:pt>
          <cx:pt idx="2475">0.79263059999999996</cx:pt>
          <cx:pt idx="2476">0.37747940000000002</cx:pt>
          <cx:pt idx="2477">0.22097750000000002</cx:pt>
          <cx:pt idx="2478">0.26265929999999998</cx:pt>
          <cx:pt idx="2479">0.3671624</cx:pt>
          <cx:pt idx="2480">0.63393480000000002</cx:pt>
          <cx:pt idx="2481">0.8048206</cx:pt>
          <cx:pt idx="2482">0.80426388380000002</cx:pt>
          <cx:pt idx="2483">0.73533559999999998</cx:pt>
          <cx:pt idx="2484">0.013507070000000001</cx:pt>
          <cx:pt idx="2485">0.077752970000000005</cx:pt>
          <cx:pt idx="2486">0.08006601931</cx:pt>
          <cx:pt idx="2487">0.36413679999999998</cx:pt>
          <cx:pt idx="2488">0.58671129999999994</cx:pt>
          <cx:pt idx="2489">0.73176640000000004</cx:pt>
          <cx:pt idx="2490">0.84867720000000002</cx:pt>
          <cx:pt idx="2491">0.81594160000000004</cx:pt>
          <cx:pt idx="2492">0.5061090667</cx:pt>
          <cx:pt idx="2493">0.35119280000000003</cx:pt>
          <cx:pt idx="2494">0.43475530000000001</cx:pt>
          <cx:pt idx="2495">0.77183980000000008</cx:pt>
          <cx:pt idx="2496">0.77368212080000009</cx:pt>
          <cx:pt idx="2497">1.2371399999999999</cx:pt>
          <cx:pt idx="2498">1.3634649999999999</cx:pt>
          <cx:pt idx="2499">1.328956</cx:pt>
          <cx:pt idx="2500">1.3577510000000002</cx:pt>
          <cx:pt idx="2501">1.305016</cx:pt>
          <cx:pt idx="2502">1.3236289999999999</cx:pt>
          <cx:pt idx="2503">1.4880690000000001</cx:pt>
          <cx:pt idx="2504">1.6914230000000001</cx:pt>
          <cx:pt idx="2505">1.804133</cx:pt>
          <cx:pt idx="2506">2</cx:pt>
          <cx:pt idx="2507">1.977326382</cx:pt>
          <cx:pt idx="2508">1.909497</cx:pt>
          <cx:pt idx="2509">1.4875020000000001</cx:pt>
          <cx:pt idx="2510">1.204358</cx:pt>
          <cx:pt idx="2511">1.1042589999999999</cx:pt>
          <cx:pt idx="2512">0.91068700000000002</cx:pt>
          <cx:pt idx="2513">1.095221</cx:pt>
          <cx:pt idx="2514">1.084384</cx:pt>
          <cx:pt idx="2515">0.76170640000000001</cx:pt>
          <cx:pt idx="2516">0.77639690000000006</cx:pt>
          <cx:pt idx="2517">0.71742440000000007</cx:pt>
          <cx:pt idx="2518">0.84250400000000003</cx:pt>
          <cx:pt idx="2519">0.88928914520000002</cx:pt>
          <cx:pt idx="2520">0.98105999999999993</cx:pt>
          <cx:pt idx="2521">1.2957749999999999</cx:pt>
          <cx:pt idx="2522">1.2623770000000001</cx:pt>
          <cx:pt idx="2523">0.93249629999999994</cx:pt>
          <cx:pt idx="2524">0.85162161710000006</cx:pt>
          <cx:pt idx="2525">0.81213869999999999</cx:pt>
          <cx:pt idx="2526">0.13571079999999999</cx:pt>
          <cx:pt idx="2527">0</cx:pt>
          <cx:pt idx="2528">0</cx:pt>
          <cx:pt idx="2529">0</cx:pt>
          <cx:pt idx="2530">0</cx:pt>
          <cx:pt idx="2531">0</cx:pt>
          <cx:pt idx="2532">0</cx:pt>
          <cx:pt idx="2533">0</cx:pt>
          <cx:pt idx="2534">0.036174549869999996</cx:pt>
          <cx:pt idx="2535">0.078217275190000005</cx:pt>
          <cx:pt idx="2536">0.084317049999999991</cx:pt>
          <cx:pt idx="2537">0.20908650000000001</cx:pt>
          <cx:pt idx="2538">0.25874160000000002</cx:pt>
          <cx:pt idx="2539">0.14928669999999999</cx:pt>
          <cx:pt idx="2540">0.3016296</cx:pt>
          <cx:pt idx="2541">0.69317130000000005</cx:pt>
          <cx:pt idx="2542">0.98820629999999998</cx:pt>
          <cx:pt idx="2543">1.162056</cx:pt>
          <cx:pt idx="2544">1.243398</cx:pt>
          <cx:pt idx="2545">0.91460400000000008</cx:pt>
          <cx:pt idx="2546">1.0412919999999999</cx:pt>
          <cx:pt idx="2547">1.1412450000000001</cx:pt>
          <cx:pt idx="2548">1.1754020000000001</cx:pt>
          <cx:pt idx="2549">1.032727</cx:pt>
          <cx:pt idx="2550">0.94900779999999996</cx:pt>
          <cx:pt idx="2551">0.44688529999999999</cx:pt>
          <cx:pt idx="2552">0.13890630000000001</cx:pt>
          <cx:pt idx="2553">0</cx:pt>
          <cx:pt idx="2554">0</cx:pt>
          <cx:pt idx="2555">0</cx:pt>
          <cx:pt idx="2556">0</cx:pt>
          <cx:pt idx="2557">0</cx:pt>
          <cx:pt idx="2558">0.068454609999999999</cx:pt>
          <cx:pt idx="2559">0.21804010000000001</cx:pt>
          <cx:pt idx="2560">0.053013539999999998</cx:pt>
          <cx:pt idx="2561">0</cx:pt>
          <cx:pt idx="2562">0.0080255647399999994</cx:pt>
          <cx:pt idx="2563">0.0092596490300000008</cx:pt>
          <cx:pt idx="2564">0.01112035403</cx:pt>
          <cx:pt idx="2565">0.016682693959999998</cx:pt>
          <cx:pt idx="2566">0.021001680000000002</cx:pt>
          <cx:pt idx="2567">0.1291774</cx:pt>
          <cx:pt idx="2568">0.12994504060000001</cx:pt>
          <cx:pt idx="2569">0.32228659999999998</cx:pt>
          <cx:pt idx="2570">0.46739520000000001</cx:pt>
          <cx:pt idx="2571">0.39832400000000001</cx:pt>
          <cx:pt idx="2572">0</cx:pt>
          <cx:pt idx="2573">0.060025760000000004</cx:pt>
          <cx:pt idx="2574">0.36657249999999997</cx:pt>
          <cx:pt idx="2575">0.56179190000000001</cx:pt>
          <cx:pt idx="2576">0.68060199999999993</cx:pt>
          <cx:pt idx="2577">0.70445279999999999</cx:pt>
          <cx:pt idx="2578">0.70283595139999999</cx:pt>
          <cx:pt idx="2579">0.50265029999999999</cx:pt>
          <cx:pt idx="2580">0.38714860000000001</cx:pt>
          <cx:pt idx="2581">0.30018919999999999</cx:pt>
          <cx:pt idx="2582">0</cx:pt>
          <cx:pt idx="2583">0</cx:pt>
          <cx:pt idx="2584">0</cx:pt>
          <cx:pt idx="2585">0</cx:pt>
          <cx:pt idx="2586">0</cx:pt>
          <cx:pt idx="2587">0</cx:pt>
          <cx:pt idx="2588">0</cx:pt>
          <cx:pt idx="2589">0</cx:pt>
          <cx:pt idx="2590">0.08123023</cx:pt>
          <cx:pt idx="2591">0.2687291</cx:pt>
          <cx:pt idx="2592">0.3850886</cx:pt>
          <cx:pt idx="2593">0.33600830000000004</cx:pt>
          <cx:pt idx="2594">0.15816</cx:pt>
          <cx:pt idx="2595">0.066375080000000003</cx:pt>
          <cx:pt idx="2596">0.11466290000000001</cx:pt>
          <cx:pt idx="2597">0</cx:pt>
          <cx:pt idx="2598">0.085434521760000007</cx:pt>
          <cx:pt idx="2599">0.1063412</cx:pt>
          <cx:pt idx="2600">0.49136859999999999</cx:pt>
          <cx:pt idx="2601">0.61820619999999993</cx:pt>
          <cx:pt idx="2602">0.45674509999999996</cx:pt>
          <cx:pt idx="2603">0.60569870000000003</cx:pt>
          <cx:pt idx="2604">0.60976560000000002</cx:pt>
          <cx:pt idx="2605">0.71868030000000005</cx:pt>
          <cx:pt idx="2606">0.7185326984</cx:pt>
          <cx:pt idx="2607">0.6793884</cx:pt>
          <cx:pt idx="2608">0.19757840000000002</cx:pt>
          <cx:pt idx="2609">0</cx:pt>
          <cx:pt idx="2610">0.2129456884</cx:pt>
          <cx:pt idx="2611">0.25115490000000001</cx:pt>
          <cx:pt idx="2612">0.51368769999999997</cx:pt>
          <cx:pt idx="2613">0.83461470000000004</cx:pt>
          <cx:pt idx="2614">0.94056550000000005</cx:pt>
          <cx:pt idx="2615">0.9627545999999999</cx:pt>
          <cx:pt idx="2616">1.0771839999999999</cx:pt>
          <cx:pt idx="2617">1.119923</cx:pt>
          <cx:pt idx="2618">0.8426115354</cx:pt>
          <cx:pt idx="2619">0.56099529999999997</cx:pt>
          <cx:pt idx="2620">0.36660710000000002</cx:pt>
          <cx:pt idx="2621">0.2294641</cx:pt>
          <cx:pt idx="2622">0.1097612</cx:pt>
          <cx:pt idx="2623">0</cx:pt>
          <cx:pt idx="2624">0.054266674640000005</cx:pt>
          <cx:pt idx="2625">0.067887909999999996</cx:pt>
          <cx:pt idx="2626">0.13098100000000001</cx:pt>
          <cx:pt idx="2627">0</cx:pt>
          <cx:pt idx="2628">0.00012071949</cx:pt>
          <cx:pt idx="2629">0.028450877900000001</cx:pt>
          <cx:pt idx="2630">0.033654799999999999</cx:pt>
          <cx:pt idx="2631">0.63251420000000003</cx:pt>
          <cx:pt idx="2632">0.64068068839999992</cx:pt>
          <cx:pt idx="2633">1.1530610000000001</cx:pt>
          <cx:pt idx="2634">1.2871940000000002</cx:pt>
          <cx:pt idx="2635">1.238078</cx:pt>
          <cx:pt idx="2636">1.277792</cx:pt>
          <cx:pt idx="2637">1.0248139999999999</cx:pt>
          <cx:pt idx="2638">0.57575100000000001</cx:pt>
          <cx:pt idx="2639">0.25521060000000001</cx:pt>
          <cx:pt idx="2640">0.00145915</cx:pt>
          <cx:pt idx="2641">0.03177774806</cx:pt>
          <cx:pt idx="2642">0.060489100000000004</cx:pt>
          <cx:pt idx="2643">0.25419190000000003</cx:pt>
          <cx:pt idx="2644">0.4452142</cx:pt>
          <cx:pt idx="2645">0.56544930000000004</cx:pt>
          <cx:pt idx="2646">0.71365599999999996</cx:pt>
          <cx:pt idx="2647">0.80472460000000001</cx:pt>
          <cx:pt idx="2648">0.78320210000000001</cx:pt>
          <cx:pt idx="2649">0.67267889999999997</cx:pt>
          <cx:pt idx="2650">0.62490810000000008</cx:pt>
          <cx:pt idx="2651">0.54980519999999999</cx:pt>
          <cx:pt idx="2652">0.33407829999999999</cx:pt>
          <cx:pt idx="2653">0.076025910000000002</cx:pt>
          <cx:pt idx="2654">0.28173373880000002</cx:pt>
          <cx:pt idx="2655">0.38502380000000003</cx:pt>
          <cx:pt idx="2656">0.63425640000000005</cx:pt>
          <cx:pt idx="2657">0.78125690000000003</cx:pt>
          <cx:pt idx="2658">0.58418389999999998</cx:pt>
          <cx:pt idx="2659">0.58192832420000007</cx:pt>
          <cx:pt idx="2660">0.010141020000000001</cx:pt>
          <cx:pt idx="2661">0.02770974679</cx:pt>
          <cx:pt idx="2662">0.049749170950000005</cx:pt>
          <cx:pt idx="2663">0.073988129690000001</cx:pt>
          <cx:pt idx="2664">0.076274720000000004</cx:pt>
          <cx:pt idx="2665">0.4250777</cx:pt>
          <cx:pt idx="2666">0.71505759999999996</cx:pt>
          <cx:pt idx="2667">0.83464267000000003</cx:pt>
          <cx:pt idx="2668">1.0755950000000001</cx:pt>
          <cx:pt idx="2669">1.105925</cx:pt>
          <cx:pt idx="2670">0.74886160000000002</cx:pt>
          <cx:pt idx="2671">0.66148870000000004</cx:pt>
          <cx:pt idx="2672">0.66183216029999992</cx:pt>
          <cx:pt idx="2673">0.70719149999999997</cx:pt>
          <cx:pt idx="2674">0.50869010000000003</cx:pt>
          <cx:pt idx="2675">0.4028851</cx:pt>
          <cx:pt idx="2676">0</cx:pt>
          <cx:pt idx="2677">0.0077328334700000004</cx:pt>
          <cx:pt idx="2678">0.050991072710000002</cx:pt>
          <cx:pt idx="2679">0.070655518109999996</cx:pt>
          <cx:pt idx="2680">0.090321929999999995</cx:pt>
          <cx:pt idx="2681">0.4229871</cx:pt>
          <cx:pt idx="2682">0.66126689999999999</cx:pt>
          <cx:pt idx="2683">0.78007340000000003</cx:pt>
          <cx:pt idx="2684">0.75904880000000008</cx:pt>
          <cx:pt idx="2685">0.91897419999999996</cx:pt>
          <cx:pt idx="2686">1.269493</cx:pt>
          <cx:pt idx="2687">1.8919269999999999</cx:pt>
          <cx:pt idx="2688">2</cx:pt>
          <cx:pt idx="2689">1.990139077</cx:pt>
          <cx:pt idx="2690">1.9802929230000001</cx:pt>
          <cx:pt idx="2691">1.968512</cx:pt>
          <cx:pt idx="2692">1.7562483330000001</cx:pt>
          <cx:pt idx="2693">1.3331979999999999</cx:pt>
          <cx:pt idx="2694">1.1358379999999999</cx:pt>
          <cx:pt idx="2695">0.53179009999999993</cx:pt>
          <cx:pt idx="2696">0.36266219999999999</cx:pt>
          <cx:pt idx="2697">0.22878649870000001</cx:pt>
          <cx:pt idx="2698">0.16130800000000001</cx:pt>
          <cx:pt idx="2699">0</cx:pt>
          <cx:pt idx="2700">0.00028182685000000001</cx:pt>
          <cx:pt idx="2701">0.0039726058600000006</cx:pt>
          <cx:pt idx="2702">0.0048270490299999998</cx:pt>
          <cx:pt idx="2703">0.0093789576799999993</cx:pt>
          <cx:pt idx="2704">0.01165590784</cx:pt>
          <cx:pt idx="2705">0.015364469999999998</cx:pt>
          <cx:pt idx="2706">0.092638830000000005</cx:pt>
          <cx:pt idx="2707">0</cx:pt>
          <cx:pt idx="2708">0.058611707959999995</cx:pt>
          <cx:pt idx="2709">0.2348870831</cx:pt>
          <cx:pt idx="2710">0.35164090000000003</cx:pt>
          <cx:pt idx="2711">0.67328399999999999</cx:pt>
          <cx:pt idx="2712">1.02363</cx:pt>
          <cx:pt idx="2713">1.0896680000000001</cx:pt>
          <cx:pt idx="2714">1.127229</cx:pt>
          <cx:pt idx="2715">1.0128459999999999</cx:pt>
          <cx:pt idx="2716">0.86594870000000002</cx:pt>
          <cx:pt idx="2717">0.68734269999999997</cx:pt>
          <cx:pt idx="2718">0.59114240000000007</cx:pt>
          <cx:pt idx="2719">0.48142699999999999</cx:pt>
          <cx:pt idx="2720">0.42972709999999997</cx:pt>
          <cx:pt idx="2721">0.43806809999999996</cx:pt>
          <cx:pt idx="2722">0.70938959999999995</cx:pt>
          <cx:pt idx="2723">1.121343</cx:pt>
          <cx:pt idx="2724">1.4071070000000001</cx:pt>
          <cx:pt idx="2725">1.585817</cx:pt>
          <cx:pt idx="2726">1.6963509999999999</cx:pt>
          <cx:pt idx="2727">1.6188399999999998</cx:pt>
          <cx:pt idx="2728">1.243938</cx:pt>
          <cx:pt idx="2729">0.96810069999999993</cx:pt>
          <cx:pt idx="2730">0.83505930000000006</cx:pt>
          <cx:pt idx="2731">0.77978229999999993</cx:pt>
          <cx:pt idx="2732">0.65325109999999997</cx:pt>
          <cx:pt idx="2733">0</cx:pt>
          <cx:pt idx="2734">0</cx:pt>
          <cx:pt idx="2735">0</cx:pt>
          <cx:pt idx="2736">0</cx:pt>
          <cx:pt idx="2737">0</cx:pt>
          <cx:pt idx="2738">0</cx:pt>
          <cx:pt idx="2739">0</cx:pt>
          <cx:pt idx="2740">0</cx:pt>
          <cx:pt idx="2741">0</cx:pt>
          <cx:pt idx="2742">0.2222259</cx:pt>
          <cx:pt idx="2743">0.37112209999999995</cx:pt>
          <cx:pt idx="2744">0.43050829999999995</cx:pt>
          <cx:pt idx="2745">0.4123328</cx:pt>
          <cx:pt idx="2746">0.45329829999999999</cx:pt>
          <cx:pt idx="2747">0.37626530000000002</cx:pt>
          <cx:pt idx="2748">0.25047330000000001</cx:pt>
          <cx:pt idx="2749">0.41504809999999998</cx:pt>
          <cx:pt idx="2750">0.26318913129999999</cx:pt>
          <cx:pt idx="2751">0.18682490000000002</cx:pt>
          <cx:pt idx="2752">0.2007265</cx:pt>
          <cx:pt idx="2753">0.11573159999999999</cx:pt>
          <cx:pt idx="2754">0.106889</cx:pt>
          <cx:pt idx="2755">0.15924379999999999</cx:pt>
          <cx:pt idx="2756">0.26599099999999998</cx:pt>
          <cx:pt idx="2757">0.16100539999999999</cx:pt>
          <cx:pt idx="2758">0.021208499999999998</cx:pt>
          <cx:pt idx="2759">0</cx:pt>
          <cx:pt idx="2760">0.0047430191700000004</cx:pt>
          <cx:pt idx="2761">0.23903579400000002</cx:pt>
          <cx:pt idx="2762">0.35858410000000002</cx:pt>
          <cx:pt idx="2763">0.71569339999999992</cx:pt>
          <cx:pt idx="2764">0.89612650000000005</cx:pt>
          <cx:pt idx="2765">1.0387150000000001</cx:pt>
          <cx:pt idx="2766">1.3559430000000001</cx:pt>
          <cx:pt idx="2767">1.373486</cx:pt>
          <cx:pt idx="2768">1.378577333</cx:pt>
          <cx:pt idx="2769">1.481061</cx:pt>
          <cx:pt idx="2770">2</cx:pt>
          <cx:pt idx="2771">1.999296569</cx:pt>
          <cx:pt idx="2772">1.838211048</cx:pt>
          <cx:pt idx="2773">1.820481</cx:pt>
          <cx:pt idx="2774">1.3345390000000001</cx:pt>
          <cx:pt idx="2775">0.99131969999999991</cx:pt>
          <cx:pt idx="2776">0.77885189999999993</cx:pt>
          <cx:pt idx="2777">0.57608020000000004</cx:pt>
          <cx:pt idx="2778">0.50737270000000001</cx:pt>
          <cx:pt idx="2779">0.40507559999999998</cx:pt>
          <cx:pt idx="2780">0.100658</cx:pt>
          <cx:pt idx="2781">0</cx:pt>
          <cx:pt idx="2782">0</cx:pt>
          <cx:pt idx="2783">0</cx:pt>
          <cx:pt idx="2784">0</cx:pt>
          <cx:pt idx="2785">0</cx:pt>
          <cx:pt idx="2786">0</cx:pt>
          <cx:pt idx="2787">0</cx:pt>
          <cx:pt idx="2788">0</cx:pt>
          <cx:pt idx="2789">0</cx:pt>
          <cx:pt idx="2790">0.091453639219999994</cx:pt>
          <cx:pt idx="2791">0.21434080000000003</cx:pt>
          <cx:pt idx="2792">0.62490800000000002</cx:pt>
          <cx:pt idx="2793">0.85445629999999995</cx:pt>
          <cx:pt idx="2794">1.0558110000000001</cx:pt>
          <cx:pt idx="2795">1.3430709999999999</cx:pt>
          <cx:pt idx="2796">1.4500210000000002</cx:pt>
          <cx:pt idx="2797">1.3739785200000001</cx:pt>
          <cx:pt idx="2798">1.299126</cx:pt>
          <cx:pt idx="2799">1.037156</cx:pt>
          <cx:pt idx="2800">0.85122759999999997</cx:pt>
          <cx:pt idx="2801">0.7912479</cx:pt>
          <cx:pt idx="2802">0.95551609999999998</cx:pt>
          <cx:pt idx="2803">0.96536522149999993</cx:pt>
          <cx:pt idx="2804">1.203638</cx:pt>
          <cx:pt idx="2805">1.327998</cx:pt>
          <cx:pt idx="2806">1.3624639999999999</cx:pt>
          <cx:pt idx="2807">1.47</cx:pt>
          <cx:pt idx="2808">1.9679490000000002</cx:pt>
          <cx:pt idx="2809">2</cx:pt>
          <cx:pt idx="2810">1.8616467320000001</cx:pt>
          <cx:pt idx="2811">1.8275270000000001</cx:pt>
          <cx:pt idx="2812">0.84143579999999996</cx:pt>
          <cx:pt idx="2813">0.1091632</cx:pt>
          <cx:pt idx="2814">0</cx:pt>
          <cx:pt idx="2815">0.040658677259999998</cx:pt>
          <cx:pt idx="2816">0.29541810000000002</cx:pt>
          <cx:pt idx="2817">0.49736609999999998</cx:pt>
          <cx:pt idx="2818">0.52781169999999999</cx:pt>
          <cx:pt idx="2819">0.21221129999999999</cx:pt>
          <cx:pt idx="2820">0</cx:pt>
          <cx:pt idx="2821">0</cx:pt>
          <cx:pt idx="2822">0</cx:pt>
          <cx:pt idx="2823">0</cx:pt>
          <cx:pt idx="2824">0</cx:pt>
          <cx:pt idx="2825">0.21884440000000002</cx:pt>
          <cx:pt idx="2826">1.1373139999999999</cx:pt>
          <cx:pt idx="2827">1.743058</cx:pt>
          <cx:pt idx="2828">1.9738470000000001</cx:pt>
          <cx:pt idx="2829">1.9823411120000001</cx:pt>
          <cx:pt idx="2830">1.983967338</cx:pt>
          <cx:pt idx="2831">1.9882074299999999</cx:pt>
          <cx:pt idx="2832">1.9949301230000001</cx:pt>
          <cx:pt idx="2833">2</cx:pt>
          <cx:pt idx="2834">1.974964908</cx:pt>
          <cx:pt idx="2835">1.9540389999999999</cx:pt>
          <cx:pt idx="2836">1.663673</cx:pt>
          <cx:pt idx="2837">1.6232439999999999</cx:pt>
          <cx:pt idx="2838">1.699932</cx:pt>
          <cx:pt idx="2839">1.9543350000000002</cx:pt>
          <cx:pt idx="2840">2</cx:pt>
          <cx:pt idx="2841">1.9305909999999999</cx:pt>
          <cx:pt idx="2842">1.7199690000000001</cx:pt>
          <cx:pt idx="2843">1.5870500000000001</cx:pt>
          <cx:pt idx="2844">1.5850696500000001</cx:pt>
          <cx:pt idx="2845">1.343715</cx:pt>
          <cx:pt idx="2846">1.028</cx:pt>
          <cx:pt idx="2847">0.6495533913</cx:pt>
          <cx:pt idx="2848">0.2826767</cx:pt>
          <cx:pt idx="2849">0.020231849999999999</cx:pt>
          <cx:pt idx="2850">0.020216422440000003</cx:pt>
          <cx:pt idx="2851">0.017250679170000002</cx:pt>
          <cx:pt idx="2852">0.012587239489999999</cx:pt>
          <cx:pt idx="2853">0.01062312713</cx:pt>
          <cx:pt idx="2854">0.01026348224</cx:pt>
          <cx:pt idx="2855">0.0096268046000000003</cx:pt>
          <cx:pt idx="2856">0.0089566176300000001</cx:pt>
          <cx:pt idx="2857">0.0079601292199999989</cx:pt>
          <cx:pt idx="2858">0.0043190564799999998</cx:pt>
          <cx:pt idx="2859">0.0019899908499999997</cx:pt>
          <cx:pt idx="2860">0.00132494638</cx:pt>
          <cx:pt idx="2861">0</cx:pt>
          <cx:pt idx="2862">0.0039305453899999999</cx:pt>
          <cx:pt idx="2863">0.036024666660000003</cx:pt>
          <cx:pt idx="2864">0.075975879999999996</cx:pt>
          <cx:pt idx="2865">0.2270549</cx:pt>
          <cx:pt idx="2866">0.27282630000000002</cx:pt>
          <cx:pt idx="2867">0.38032400000000005</cx:pt>
          <cx:pt idx="2868">0.37309460379999998</cx:pt>
          <cx:pt idx="2869">0.15472079999999999</cx:pt>
          <cx:pt idx="2870">0</cx:pt>
          <cx:pt idx="2871">0.06902925</cx:pt>
          <cx:pt idx="2872">0.29030529999999999</cx:pt>
          <cx:pt idx="2873">0.51299795690000005</cx:pt>
          <cx:pt idx="2874">0.84787329999999994</cx:pt>
          <cx:pt idx="2875">0.92550479789999995</cx:pt>
          <cx:pt idx="2876">0.96328289999999994</cx:pt>
          <cx:pt idx="2877">0.89434960000000008</cx:pt>
          <cx:pt idx="2878">0.52176450000000008</cx:pt>
          <cx:pt idx="2879">0.25706019999999996</cx:pt>
          <cx:pt idx="2880">0.2524834138</cx:pt>
          <cx:pt idx="2881">0.02640141</cx:pt>
          <cx:pt idx="2882">0.0894065</cx:pt>
          <cx:pt idx="2883">0</cx:pt>
          <cx:pt idx="2884">0.2210887</cx:pt>
          <cx:pt idx="2885">0.46564909999999998</cx:pt>
          <cx:pt idx="2886">0.74868950000000001</cx:pt>
          <cx:pt idx="2887">1.006535</cx:pt>
          <cx:pt idx="2888">0.9952190635</cx:pt>
          <cx:pt idx="2889">0.98328149999999992</cx:pt>
          <cx:pt idx="2890">1.607424</cx:pt>
          <cx:pt idx="2891">1.8864510000000001</cx:pt>
          <cx:pt idx="2892">2</cx:pt>
          <cx:pt idx="2893">1.9395783789999999</cx:pt>
          <cx:pt idx="2894">1.907173</cx:pt>
          <cx:pt idx="2895">1.7889169999999999</cx:pt>
          <cx:pt idx="2896">1.8333109999999999</cx:pt>
          <cx:pt idx="2897">1.972901</cx:pt>
          <cx:pt idx="2898">2</cx:pt>
          <cx:pt idx="2899">1.9225409999999998</cx:pt>
          <cx:pt idx="2900">1.7713859999999999</cx:pt>
          <cx:pt idx="2901">1.7063969999999999</cx:pt>
          <cx:pt idx="2902">1.779695</cx:pt>
          <cx:pt idx="2903">1.5294669999999999</cx:pt>
          <cx:pt idx="2904">1.5854150000000002</cx:pt>
          <cx:pt idx="2905">1.077299</cx:pt>
          <cx:pt idx="2906">0.78212619999999999</cx:pt>
          <cx:pt idx="2907">0.63035780000000008</cx:pt>
          <cx:pt idx="2908">0.59275080000000002</cx:pt>
          <cx:pt idx="2909">0.83077780000000001</cx:pt>
          <cx:pt idx="2910">1.50238</cx:pt>
          <cx:pt idx="2911">2</cx:pt>
          <cx:pt idx="2912">1.9238050000000002</cx:pt>
          <cx:pt idx="2913">1.9158984530000001</cx:pt>
          <cx:pt idx="2914">1.1778310000000001</cx:pt>
          <cx:pt idx="2915">0.76271730000000004</cx:pt>
          <cx:pt idx="2916">0.1376829</cx:pt>
          <cx:pt idx="2917">0</cx:pt>
          <cx:pt idx="2918">0</cx:pt>
          <cx:pt idx="2919">0</cx:pt>
          <cx:pt idx="2920">0</cx:pt>
          <cx:pt idx="2921">0</cx:pt>
          <cx:pt idx="2922">0</cx:pt>
          <cx:pt idx="2923">0</cx:pt>
          <cx:pt idx="2924">0</cx:pt>
          <cx:pt idx="2925">0</cx:pt>
          <cx:pt idx="2926">0.11074529999999999</cx:pt>
          <cx:pt idx="2927">0.47829070000000001</cx:pt>
          <cx:pt idx="2928">0.48951094640000004</cx:pt>
          <cx:pt idx="2929">0.8284338</cx:pt>
          <cx:pt idx="2930">1.273055</cx:pt>
          <cx:pt idx="2931">1.5636859999999999</cx:pt>
          <cx:pt idx="2932">1.7539410000000002</cx:pt>
          <cx:pt idx="2933">1.753661905</cx:pt>
          <cx:pt idx="2934">1.7533750000000001</cx:pt>
          <cx:pt idx="2935">1.581968</cx:pt>
          <cx:pt idx="2936">1.2997890000000001</cx:pt>
          <cx:pt idx="2937">0.75972660000000003</cx:pt>
          <cx:pt idx="2938">0.68949110000000002</cx:pt>
          <cx:pt idx="2939">0.69079390270000007</cx:pt>
          <cx:pt idx="2940">0.77273199999999997</cx:pt>
          <cx:pt idx="2941">1.0433300000000001</cx:pt>
          <cx:pt idx="2942">1.026958</cx:pt>
          <cx:pt idx="2943">0.71024770000000004</cx:pt>
          <cx:pt idx="2944">0.68889549999999999</cx:pt>
          <cx:pt idx="2945">0.66754329999999995</cx:pt>
          <cx:pt idx="2946">0.51156990000000002</cx:pt>
          <cx:pt idx="2947">0</cx:pt>
          <cx:pt idx="2948">0</cx:pt>
          <cx:pt idx="2949">0</cx:pt>
          <cx:pt idx="2950">0</cx:pt>
          <cx:pt idx="2951">0.1365036</cx:pt>
          <cx:pt idx="2952">0.50977800000000006</cx:pt>
          <cx:pt idx="2953">0.60973129999999998</cx:pt>
          <cx:pt idx="2954">0.64350870000000004</cx:pt>
          <cx:pt idx="2955">0.6169694</cx:pt>
          <cx:pt idx="2956">0.84938990000000003</cx:pt>
          <cx:pt idx="2957">0.91763400000000006</cx:pt>
          <cx:pt idx="2958">1.052026565</cx:pt>
          <cx:pt idx="2959">1.4625870000000001</cx:pt>
          <cx:pt idx="2960">1.5573320000000002</cx:pt>
          <cx:pt idx="2961">1.5054400000000001</cx:pt>
          <cx:pt idx="2962">1.1983570000000001</cx:pt>
          <cx:pt idx="2963">1.1270499999999999</cx:pt>
          <cx:pt idx="2964">1.2949789999999999</cx:pt>
          <cx:pt idx="2965">1.3219509999999999</cx:pt>
          <cx:pt idx="2966">1.2828120000000001</cx:pt>
          <cx:pt idx="2967">1.4038710000000001</cx:pt>
          <cx:pt idx="2968">1.2900160000000001</cx:pt>
          <cx:pt idx="2969">1.6495410000000001</cx:pt>
          <cx:pt idx="2970">1.814292</cx:pt>
          <cx:pt idx="2971">1.9538820000000001</cx:pt>
          <cx:pt idx="2972">2</cx:pt>
          <cx:pt idx="2973">1.8336078409999998</cx:pt>
          <cx:pt idx="2974">1.8111412010000001</cx:pt>
          <cx:pt idx="2975">1.7886689999999998</cx:pt>
          <cx:pt idx="2976">1.5791110000000002</cx:pt>
          <cx:pt idx="2977">1.4543029999999999</cx:pt>
          <cx:pt idx="2978">1.408922</cx:pt>
          <cx:pt idx="2979">0.97445020000000004</cx:pt>
          <cx:pt idx="2980">0.66773480000000007</cx:pt>
          <cx:pt idx="2981">0.46456616519999999</cx:pt>
          <cx:pt idx="2982">0.2864987</cx:pt>
          <cx:pt idx="2983">0.13654170000000002</cx:pt>
          <cx:pt idx="2984">0.1873609</cx:pt>
          <cx:pt idx="2985">0</cx:pt>
          <cx:pt idx="2986">0.055215405750000002</cx:pt>
          <cx:pt idx="2987">0.10329670000000001</cx:pt>
          <cx:pt idx="2988">0.29982579999999998</cx:pt>
          <cx:pt idx="2989">0.2784565</cx:pt>
          <cx:pt idx="2990">0.040134530000000002</cx:pt>
          <cx:pt idx="2991">0</cx:pt>
          <cx:pt idx="2992">0.0050531112300000007</cx:pt>
          <cx:pt idx="2993">0.061578527269999996</cx:pt>
          <cx:pt idx="2994">0.087373825820000001</cx:pt>
          <cx:pt idx="2995">0.097762920000000003</cx:pt>
          <cx:pt idx="2996">0</cx:pt>
          <cx:pt idx="2997">0.11829729999999999</cx:pt>
          <cx:pt idx="2998">0.12217403600000001</cx:pt>
          <cx:pt idx="2999">0.61354930000000008</cx:pt>
          <cx:pt idx="3000">1.320125</cx:pt>
          <cx:pt idx="3001">1.317731344</cx:pt>
          <cx:pt idx="3002">1.1994910000000001</cx:pt>
          <cx:pt idx="3003">1.43946</cx:pt>
          <cx:pt idx="3004">1.464847397</cx:pt>
          <cx:pt idx="3005">1.5156350000000001</cx:pt>
          <cx:pt idx="3006">1.6395459999999999</cx:pt>
          <cx:pt idx="3007">1.8037917200000002</cx:pt>
          <cx:pt idx="3008">1.9681209999999998</cx:pt>
          <cx:pt idx="3009">2</cx:pt>
          <cx:pt idx="3010">1.8779586539999999</cx:pt>
          <cx:pt idx="3011">1.7605170000000001</cx:pt>
          <cx:pt idx="3012">1.4562139999999999</cx:pt>
          <cx:pt idx="3013">1.3003479999999998</cx:pt>
          <cx:pt idx="3014">1.2265889999999999</cx:pt>
          <cx:pt idx="3015">0.68680269999999988</cx:pt>
          <cx:pt idx="3016">0.32037999999999994</cx:pt>
          <cx:pt idx="3017">0.20215900000000001</cx:pt>
          <cx:pt idx="3018">0</cx:pt>
          <cx:pt idx="3019">0</cx:pt>
          <cx:pt idx="3020">0</cx:pt>
          <cx:pt idx="3021">0</cx:pt>
          <cx:pt idx="3022">0</cx:pt>
          <cx:pt idx="3023">0</cx:pt>
          <cx:pt idx="3024">0</cx:pt>
          <cx:pt idx="3025">0.073364403019999996</cx:pt>
          <cx:pt idx="3026">0.176562</cx:pt>
          <cx:pt idx="3027">0.4469648</cx:pt>
          <cx:pt idx="3028">0.63469340000000007</cx:pt>
          <cx:pt idx="3029">0.69795879999999999</cx:pt>
          <cx:pt idx="3030">0.51313640000000005</cx:pt>
          <cx:pt idx="3031">0.029262199999999999</cx:pt>
          <cx:pt idx="3032">0.027347853639999999</cx:pt>
          <cx:pt idx="3033">0.02502632963</cx:pt>
          <cx:pt idx="3034">0.024057989649999997</cx:pt>
          <cx:pt idx="3035">0.020779410000000002</cx:pt>
          <cx:pt idx="3036">0.32389499999999999</cx:pt>
          <cx:pt idx="3037">0.41995350000000004</cx:pt>
          <cx:pt idx="3038">0.31036859999999999</cx:pt>
          <cx:pt idx="3039">0.1009259</cx:pt>
          <cx:pt idx="3040">0</cx:pt>
          <cx:pt idx="3041">0.084234628480000004</cx:pt>
          <cx:pt idx="3042">0.2120698</cx:pt>
          <cx:pt idx="3043">0.52621470000000004</cx:pt>
          <cx:pt idx="3044">0.91586070000000008</cx:pt>
          <cx:pt idx="3045">1.0870679999999999</cx:pt>
          <cx:pt idx="3046">1.3000720000000001</cx:pt>
          <cx:pt idx="3047">1.21587</cx:pt>
          <cx:pt idx="3048">0.48743580000000003</cx:pt>
          <cx:pt idx="3049">0.039253759999999999</cx:pt>
          <cx:pt idx="3050">0</cx:pt>
          <cx:pt idx="3051">0.0018060816399999998</cx:pt>
          <cx:pt idx="3052">0.01528028</cx:pt>
          <cx:pt idx="3053">0.1449134</cx:pt>
          <cx:pt idx="3054">0.21354040000000002</cx:pt>
          <cx:pt idx="3055">0.16367860000000001</cx:pt>
          <cx:pt idx="3056">0.17639299999999999</cx:pt>
          <cx:pt idx="3057">0.5942442</cx:pt>
          <cx:pt idx="3058">0.85050409999999999</cx:pt>
          <cx:pt idx="3059">1.045509</cx:pt>
          <cx:pt idx="3060">1.097148</cx:pt>
          <cx:pt idx="3061">0.95514500000000002</cx:pt>
          <cx:pt idx="3062">0.83382210000000001</cx:pt>
          <cx:pt idx="3063">0.85894770269999998</cx:pt>
          <cx:pt idx="3064">0.88506259999999992</cx:pt>
          <cx:pt idx="3065">1.2061390000000001</cx:pt>
          <cx:pt idx="3066">1.3568907590000001</cx:pt>
          <cx:pt idx="3067">1.5212680000000001</cx:pt>
          <cx:pt idx="3068">1.5402250000000002</cx:pt>
          <cx:pt idx="3069">1.3905320000000001</cx:pt>
          <cx:pt idx="3070">1.1095140000000001</cx:pt>
          <cx:pt idx="3071">1.1046665710000001</cx:pt>
          <cx:pt idx="3072">0.80697269999999999</cx:pt>
          <cx:pt idx="3073">0.64735339999999997</cx:pt>
          <cx:pt idx="3074">0.62475849999999999</cx:pt>
          <cx:pt idx="3075">0.73091579999999989</cx:pt>
          <cx:pt idx="3076">0.6457832</cx:pt>
          <cx:pt idx="3077">0.76911669999999999</cx:pt>
          <cx:pt idx="3078">0.76542540100000001</cx:pt>
          <cx:pt idx="3079">0.58161779999999996</cx:pt>
          <cx:pt idx="3080">0.42278759999999999</cx:pt>
          <cx:pt idx="3081">0.32421289999999997</cx:pt>
          <cx:pt idx="3082">0.38460630000000001</cx:pt>
          <cx:pt idx="3083">0.54196579999999994</cx:pt>
          <cx:pt idx="3084">0.55402909999999994</cx:pt>
          <cx:pt idx="3085">0.31839190000000001</cx:pt>
          <cx:pt idx="3086">0.11503450000000001</cx:pt>
          <cx:pt idx="3087">0.12828500000000001</cx:pt>
          <cx:pt idx="3088">0.19406582060000002</cx:pt>
          <cx:pt idx="3089">0.32615450000000001</cx:pt>
          <cx:pt idx="3090">0.73504440000000004</cx:pt>
          <cx:pt idx="3091">1.0434829999999999</cx:pt>
          <cx:pt idx="3092">1.275161</cx:pt>
          <cx:pt idx="3093">1.5565620000000002</cx:pt>
          <cx:pt idx="3094">1.476599</cx:pt>
          <cx:pt idx="3095">1.4806834719999999</cx:pt>
          <cx:pt idx="3096">1.818303</cx:pt>
          <cx:pt idx="3097">1.8470629999999999</cx:pt>
          <cx:pt idx="3098">1.7427440000000001</cx:pt>
          <cx:pt idx="3099">1.8705000000000001</cx:pt>
          <cx:pt idx="3100">1.8327717290000001</cx:pt>
          <cx:pt idx="3101">1.7762639999999998</cx:pt>
          <cx:pt idx="3102">1.675737</cx:pt>
          <cx:pt idx="3103">2</cx:pt>
          <cx:pt idx="3104">1.9893388089999999</cx:pt>
          <cx:pt idx="3105">1.9564980000000001</cx:pt>
          <cx:pt idx="3106">1.8120830000000001</cx:pt>
          <cx:pt idx="3107">1.8043469999999999</cx:pt>
          <cx:pt idx="3108">1.633124</cx:pt>
          <cx:pt idx="3109">1.5081249999999999</cx:pt>
          <cx:pt idx="3110">1.444836</cx:pt>
          <cx:pt idx="3111">1.5539810000000001</cx:pt>
          <cx:pt idx="3112">1.0322469999999999</cx:pt>
          <cx:pt idx="3113">0.87289599999999989</cx:pt>
          <cx:pt idx="3114">0.8169947327</cx:pt>
          <cx:pt idx="3115">0.76535989999999998</cx:pt>
          <cx:pt idx="3116">0.78041050000000001</cx:pt>
          <cx:pt idx="3117">1.0840890000000001</cx:pt>
          <cx:pt idx="3118">1.4855869999999998</cx:pt>
          <cx:pt idx="3119">1.8014169999999998</cx:pt>
          <cx:pt idx="3120">1.970764</cx:pt>
          <cx:pt idx="3121">1.9853399469999999</cx:pt>
          <cx:pt idx="3122">2</cx:pt>
          <cx:pt idx="3123">1.9942500599999999</cx:pt>
          <cx:pt idx="3124">1.9120341170000001</cx:pt>
          <cx:pt idx="3125">1.8773589999999998</cx:pt>
          <cx:pt idx="3126">1.7470289999999999</cx:pt>
          <cx:pt idx="3127">1.684912</cx:pt>
          <cx:pt idx="3128">1.2107649999999999</cx:pt>
          <cx:pt idx="3129">1.10365</cx:pt>
          <cx:pt idx="3130">1.101846031</cx:pt>
          <cx:pt idx="3131">0.86969819999999998</cx:pt>
          <cx:pt idx="3132">0.8606599774</cx:pt>
          <cx:pt idx="3133">0.58090529999999996</cx:pt>
          <cx:pt idx="3134">0.22356239999999999</cx:pt>
          <cx:pt idx="3135">0</cx:pt>
          <cx:pt idx="3136">0.11697210650000001</cx:pt>
          <cx:pt idx="3137">0.16872599999999999</cx:pt>
          <cx:pt idx="3138">0.26764530000000003</cx:pt>
          <cx:pt idx="3139">0.29226980000000002</cx:pt>
          <cx:pt idx="3140">0.47973059999999995</cx:pt>
          <cx:pt idx="3141">0.52266060000000003</cx:pt>
          <cx:pt idx="3142">0.50052529999999995</cx:pt>
          <cx:pt idx="3143">0.336395</cx:pt>
          <cx:pt idx="3144">0.29748570000000002</cx:pt>
          <cx:pt idx="3145">0.37105300000000002</cx:pt>
          <cx:pt idx="3146">0.52249979999999996</cx:pt>
          <cx:pt idx="3147">0.82335559999999997</cx:pt>
          <cx:pt idx="3148">1.4215059999999999</cx:pt>
          <cx:pt idx="3149">1.7266509999999999</cx:pt>
          <cx:pt idx="3150">1.9169069999999999</cx:pt>
          <cx:pt idx="3151">2</cx:pt>
          <cx:pt idx="3152">1.9592509999999999</cx:pt>
          <cx:pt idx="3153">1.8975559999999998</cx:pt>
          <cx:pt idx="3154">2</cx:pt>
          <cx:pt idx="3155">2</cx:pt>
          <cx:pt idx="3156">2</cx:pt>
          <cx:pt idx="3157">2</cx:pt>
          <cx:pt idx="3158">1.8376070000000002</cx:pt>
          <cx:pt idx="3159">1.8189839240000001</cx:pt>
          <cx:pt idx="3160">1.368209</cx:pt>
          <cx:pt idx="3161">1.0160750000000001</cx:pt>
          <cx:pt idx="3162">0.80927440000000006</cx:pt>
          <cx:pt idx="3163">0.44923689999999999</cx:pt>
          <cx:pt idx="3164">0.62878540000000005</cx:pt>
          <cx:pt idx="3165">0.62597795209999996</cx:pt>
          <cx:pt idx="3166">0.54326960000000002</cx:pt>
          <cx:pt idx="3167">0.54137889559999997</cx:pt>
          <cx:pt idx="3168">0.065867690000000007</cx:pt>
          <cx:pt idx="3169">0.16451899999999997</cx:pt>
          <cx:pt idx="3170">0.15098890000000001</cx:pt>
          <cx:pt idx="3171">0.24060239999999999</cx:pt>
          <cx:pt idx="3172">0.84803580000000001</cx:pt>
          <cx:pt idx="3173">1.0362739999999999</cx:pt>
          <cx:pt idx="3174">1.7068809999999999</cx:pt>
          <cx:pt idx="3175">1.963382</cx:pt>
          <cx:pt idx="3176">2</cx:pt>
          <cx:pt idx="3177">1.9389336660000001</cx:pt>
          <cx:pt idx="3178">1.8168010000000001</cx:pt>
          <cx:pt idx="3179">1.445748</cx:pt>
          <cx:pt idx="3180">1.039868</cx:pt>
          <cx:pt idx="3181">0.95305019999999996</cx:pt>
          <cx:pt idx="3182">1.104895</cx:pt>
          <cx:pt idx="3183">1.050246</cx:pt>
          <cx:pt idx="3184">0.96273949999999997</cx:pt>
          <cx:pt idx="3185">0.80606909999999998</cx:pt>
          <cx:pt idx="3186">0.54680280000000003</cx:pt>
          <cx:pt idx="3187">0.48248789999999997</cx:pt>
          <cx:pt idx="3188">0.52109070000000002</cx:pt>
          <cx:pt idx="3189">0.4347975</cx:pt>
          <cx:pt idx="3190">0.070982320000000002</cx:pt>
          <cx:pt idx="3191">0</cx:pt>
          <cx:pt idx="3192">0.049256659999999994</cx:pt>
          <cx:pt idx="3193">0.1425466</cx:pt>
          <cx:pt idx="3194">0.22921119999999998</cx:pt>
          <cx:pt idx="3195">0.48274050000000002</cx:pt>
          <cx:pt idx="3196">0.64629259999999999</cx:pt>
          <cx:pt idx="3197">1.249652</cx:pt>
          <cx:pt idx="3198">1.3794679999999999</cx:pt>
          <cx:pt idx="3199">1.3597839999999999</cx:pt>
          <cx:pt idx="3200">1.4301730000000001</cx:pt>
          <cx:pt idx="3201">1.3906129999999999</cx:pt>
          <cx:pt idx="3202">1.5332669999999999</cx:pt>
          <cx:pt idx="3203">1.4211009999999999</cx:pt>
          <cx:pt idx="3204">1.5219649999999998</cx:pt>
          <cx:pt idx="3205">1.9793000000000001</cx:pt>
          <cx:pt idx="3206">1.981962875</cx:pt>
          <cx:pt idx="3207">1.9839693009999999</cx:pt>
          <cx:pt idx="3208">1.985975727</cx:pt>
          <cx:pt idx="3209">1.9979935739999999</cx:pt>
          <cx:pt idx="3210">2</cx:pt>
          <cx:pt idx="3211">1.7439410000000002</cx:pt>
          <cx:pt idx="3212">1.7303188840000001</cx:pt>
          <cx:pt idx="3213">1.1741299999999999</cx:pt>
          <cx:pt idx="3214">0.7824354</cx:pt>
          <cx:pt idx="3215">0.52097510000000002</cx:pt>
          <cx:pt idx="3216">0</cx:pt>
          <cx:pt idx="3217">0.055080634479999994</cx:pt>
          <cx:pt idx="3218">0.2987957</cx:pt>
          <cx:pt idx="3219">0.59065210000000001</cx:pt>
          <cx:pt idx="3220">0.83813680010000002</cx:pt>
          <cx:pt idx="3221">1.0619459999999998</cx:pt>
          <cx:pt idx="3222">1.3180340000000001</cx:pt>
          <cx:pt idx="3223">1.693146</cx:pt>
          <cx:pt idx="3224">1.82389</cx:pt>
          <cx:pt idx="3225">1.781471077</cx:pt>
          <cx:pt idx="3226">1.7436970000000001</cx:pt>
          <cx:pt idx="3227">1.7625010000000001</cx:pt>
          <cx:pt idx="3228">1.604069</cx:pt>
          <cx:pt idx="3229">1.0208349999999999</cx:pt>
          <cx:pt idx="3230">0.94248676819999999</cx:pt>
          <cx:pt idx="3231">0.87167060000000007</cx:pt>
          <cx:pt idx="3232">0.40939560000000003</cx:pt>
          <cx:pt idx="3233">0.38892058969999999</cx:pt>
          <cx:pt idx="3234">0.37067800000000001</cx:pt>
          <cx:pt idx="3235">0.47737139999999995</cx:pt>
          <cx:pt idx="3236">0.3756717</cx:pt>
          <cx:pt idx="3237">0.45701310000000001</cx:pt>
          <cx:pt idx="3238">1.2491729999999999</cx:pt>
          <cx:pt idx="3239">1.2548830369999999</cx:pt>
          <cx:pt idx="3240">1.4880230000000001</cx:pt>
          <cx:pt idx="3241">1.7681610000000001</cx:pt>
          <cx:pt idx="3242">1.8498849999999998</cx:pt>
          <cx:pt idx="3243">1.697006</cx:pt>
          <cx:pt idx="3244">1.6103800000000001</cx:pt>
          <cx:pt idx="3245">1.612883531</cx:pt>
          <cx:pt idx="3246">1.9350559999999999</cx:pt>
          <cx:pt idx="3247">1.937105125</cx:pt>
          <cx:pt idx="3248">2</cx:pt>
          <cx:pt idx="3249">1.994469147</cx:pt>
          <cx:pt idx="3250">1.9386192470000001</cx:pt>
          <cx:pt idx="3251">1.9219457610000001</cx:pt>
          <cx:pt idx="3252">1.8773249999999999</cx:pt>
          <cx:pt idx="3253">1.5843499999999999</cx:pt>
          <cx:pt idx="3254">1.4371389999999999</cx:pt>
          <cx:pt idx="3255">1.323475</cx:pt>
          <cx:pt idx="3256">0.91676800000000003</cx:pt>
          <cx:pt idx="3257">0.24110589999999998</cx:pt>
          <cx:pt idx="3258">0</cx:pt>
          <cx:pt idx="3259">0</cx:pt>
          <cx:pt idx="3260">0</cx:pt>
          <cx:pt idx="3261">0</cx:pt>
          <cx:pt idx="3262">0</cx:pt>
          <cx:pt idx="3263">0</cx:pt>
          <cx:pt idx="3264">0.1255126</cx:pt>
          <cx:pt idx="3265">0.29466740000000002</cx:pt>
          <cx:pt idx="3266">0.47339680000000001</cx:pt>
          <cx:pt idx="3267">0.77038830000000003</cx:pt>
          <cx:pt idx="3268">0.84066180000000001</cx:pt>
          <cx:pt idx="3269">0.7648353</cx:pt>
          <cx:pt idx="3270">0.97546499999999992</cx:pt>
          <cx:pt idx="3271">1.3770789999999999</cx:pt>
          <cx:pt idx="3272">2</cx:pt>
          <cx:pt idx="3273">1.9645973989999999</cx:pt>
          <cx:pt idx="3274">1.9288640000000001</cx:pt>
          <cx:pt idx="3275">1.4591589999999999</cx:pt>
          <cx:pt idx="3276">0.69565659999999996</cx:pt>
          <cx:pt idx="3277">0.083080070000000006</cx:pt>
          <cx:pt idx="3278">0.079783919499999995</cx:pt>
          <cx:pt idx="3279">0</cx:pt>
          <cx:pt idx="3280">0.0051950280199999999</cx:pt>
          <cx:pt idx="3281">0.019587229180000002</cx:pt>
          <cx:pt idx="3282">0.020565280000000002</cx:pt>
          <cx:pt idx="3283">0.23268830000000001</cx:pt>
          <cx:pt idx="3284">0.01573956</cx:pt>
          <cx:pt idx="3285">0</cx:pt>
          <cx:pt idx="3286">0.18889105310000001</cx:pt>
          <cx:pt idx="3287">0.2791767</cx:pt>
          <cx:pt idx="3288">0.71832980000000002</cx:pt>
          <cx:pt idx="3289">0.85677099999999995</cx:pt>
          <cx:pt idx="3290">0.8766467</cx:pt>
          <cx:pt idx="3291">0.80076150000000001</cx:pt>
          <cx:pt idx="3292">0.63424880000000006</cx:pt>
          <cx:pt idx="3293">0</cx:pt>
          <cx:pt idx="3294">0.20211858429999999</cx:pt>
          <cx:pt idx="3295">0.29586259999999998</cx:pt>
          <cx:pt idx="3296">0.70467609999999992</cx:pt>
          <cx:pt idx="3297">0.88964699999999997</cx:pt>
          <cx:pt idx="3298">0.89087887700000001</cx:pt>
          <cx:pt idx="3299">0.92870940000000002</cx:pt>
          <cx:pt idx="3300">0.77267459999999999</cx:pt>
          <cx:pt idx="3301">0.58276320000000004</cx:pt>
          <cx:pt idx="3302">0.5781829624</cx:pt>
          <cx:pt idx="3303">0.46737620000000002</cx:pt>
          <cx:pt idx="3304">0.61945090000000003</cx:pt>
          <cx:pt idx="3305">0.95852649999999995</cx:pt>
          <cx:pt idx="3306">1.204618</cx:pt>
          <cx:pt idx="3307">1.315831</cx:pt>
          <cx:pt idx="3308">1.869634</cx:pt>
          <cx:pt idx="3309">2</cx:pt>
          <cx:pt idx="3310">1.7507400000000002</cx:pt>
          <cx:pt idx="3311">1.3654789999999999</cx:pt>
          <cx:pt idx="3312">0.71426500000000004</cx:pt>
          <cx:pt idx="3313">0.49758429999999998</cx:pt>
          <cx:pt idx="3314">0.46766360000000001</cx:pt>
          <cx:pt idx="3315">0.46412855069999998</cx:pt>
          <cx:pt idx="3316">0.28384120000000002</cx:pt>
          <cx:pt idx="3317">0.46348754079999999</cx:pt>
          <cx:pt idx="3318">0.80612660000000003</cx:pt>
          <cx:pt idx="3319">0.86077520000000007</cx:pt>
          <cx:pt idx="3320">1.057005</cx:pt>
          <cx:pt idx="3321">1.2362709999999999</cx:pt>
          <cx:pt idx="3322">1.1388450000000001</cx:pt>
          <cx:pt idx="3323">0.87774039999999998</cx:pt>
          <cx:pt idx="3324">0.81926180000000004</cx:pt>
          <cx:pt idx="3325">0.82094007410000003</cx:pt>
          <cx:pt idx="3326">0.90450969999999997</cx:pt>
          <cx:pt idx="3327">0.86637789999999992</cx:pt>
          <cx:pt idx="3328">0.89584320000000006</cx:pt>
          <cx:pt idx="3329">1.04359</cx:pt>
          <cx:pt idx="3330">1.2759720000000001</cx:pt>
          <cx:pt idx="3331">1.3821299999999999</cx:pt>
          <cx:pt idx="3332">1.1448069999999999</cx:pt>
          <cx:pt idx="3333">1.1455275330000001</cx:pt>
          <cx:pt idx="3334">1.238251</cx:pt>
          <cx:pt idx="3335">1.2496028109999999</cx:pt>
          <cx:pt idx="3336">1.9579920000000002</cx:pt>
          <cx:pt idx="3337">2</cx:pt>
          <cx:pt idx="3338">1.983599235</cx:pt>
          <cx:pt idx="3339">1.968688</cx:pt>
          <cx:pt idx="3340">1.8595439999999999</cx:pt>
          <cx:pt idx="3341">0.75438810000000001</cx:pt>
          <cx:pt idx="3342">0.52794180000000002</cx:pt>
          <cx:pt idx="3343">0.4224736</cx:pt>
          <cx:pt idx="3344">0.22291149999999998</cx:pt>
          <cx:pt idx="3345">0.034187099999999998</cx:pt>
          <cx:pt idx="3346">0</cx:pt>
          <cx:pt idx="3347">0.054326530000000005</cx:pt>
          <cx:pt idx="3348">0.2158987</cx:pt>
          <cx:pt idx="3349">0.2506916092</cx:pt>
          <cx:pt idx="3350">0.26148290000000002</cx:pt>
          <cx:pt idx="3351">0.12520896880000001</cx:pt>
          <cx:pt idx="3352">0</cx:pt>
          <cx:pt idx="3353">0</cx:pt>
          <cx:pt idx="3354">0</cx:pt>
          <cx:pt idx="3355">0</cx:pt>
          <cx:pt idx="3356">0.13050819999999999</cx:pt>
          <cx:pt idx="3357">0.77564820000000001</cx:pt>
          <cx:pt idx="3358">0.97555510000000001</cx:pt>
          <cx:pt idx="3359">1.256114</cx:pt>
          <cx:pt idx="3360">1.4029419999999999</cx:pt>
          <cx:pt idx="3361">1.6447450000000001</cx:pt>
          <cx:pt idx="3362">1.9501580000000001</cx:pt>
          <cx:pt idx="3363">2</cx:pt>
          <cx:pt idx="3364">1.90727212</cx:pt>
          <cx:pt idx="3365">1.875482791</cx:pt>
          <cx:pt idx="3366">1.8448900000000001</cx:pt>
          <cx:pt idx="3367">1.7279550000000001</cx:pt>
          <cx:pt idx="3368">1.5405709999999999</cx:pt>
          <cx:pt idx="3369">1.444218</cx:pt>
          <cx:pt idx="3370">0.81138440000000001</cx:pt>
          <cx:pt idx="3371">0.36749160000000003</cx:pt>
          <cx:pt idx="3372">0.33302490000000001</cx:pt>
          <cx:pt idx="3373">0.031824249999999998</cx:pt>
          <cx:pt idx="3374">0</cx:pt>
          <cx:pt idx="3375">0.01705753942</cx:pt>
          <cx:pt idx="3376">0.032475239999999995</cx:pt>
          <cx:pt idx="3377">0.4463821</cx:pt>
          <cx:pt idx="3378">0.60734139999999992</cx:pt>
          <cx:pt idx="3379">0.51732210000000001</cx:pt>
          <cx:pt idx="3380">0.62887949999999992</cx:pt>
          <cx:pt idx="3381">0.72216920000000007</cx:pt>
          <cx:pt idx="3382">0.96282330000000005</cx:pt>
          <cx:pt idx="3383">1.2903340000000001</cx:pt>
          <cx:pt idx="3384">1.478675</cx:pt>
          <cx:pt idx="3385">1.6295630000000001</cx:pt>
          <cx:pt idx="3386">1.774246</cx:pt>
          <cx:pt idx="3387">2</cx:pt>
          <cx:pt idx="3388">2</cx:pt>
          <cx:pt idx="3389">2</cx:pt>
          <cx:pt idx="3390">2</cx:pt>
          <cx:pt idx="3391">1.7519960000000001</cx:pt>
          <cx:pt idx="3392">1.340133486</cx:pt>
          <cx:pt idx="3393">0.96749600000000002</cx:pt>
          <cx:pt idx="3394">0.71355310000000005</cx:pt>
          <cx:pt idx="3395">0.054090119999999998</cx:pt>
          <cx:pt idx="3396">0</cx:pt>
          <cx:pt idx="3397">0.098654734029999996</cx:pt>
          <cx:pt idx="3398">0.17210339999999999</cx:pt>
          <cx:pt idx="3399">0.1807116369</cx:pt>
          <cx:pt idx="3400">0.72211560000000008</cx:pt>
          <cx:pt idx="3401">1.361434</cx:pt>
          <cx:pt idx="3402">1.367155823</cx:pt>
          <cx:pt idx="3403">1.84012</cx:pt>
          <cx:pt idx="3404">2</cx:pt>
          <cx:pt idx="3405">1.9891220000000001</cx:pt>
          <cx:pt idx="3406">1.879518</cx:pt>
          <cx:pt idx="3407">1.495214</cx:pt>
          <cx:pt idx="3408">1.4119190000000001</cx:pt>
          <cx:pt idx="3409">1.3956819999999999</cx:pt>
          <cx:pt idx="3410">0.98395779999999999</cx:pt>
          <cx:pt idx="3411">0.89495720000000001</cx:pt>
          <cx:pt idx="3412">1.1579380000000001</cx:pt>
          <cx:pt idx="3413">1.1744049999999999</cx:pt>
          <cx:pt idx="3414">1.138294444</cx:pt>
          <cx:pt idx="3415">1.1049359999999999</cx:pt>
          <cx:pt idx="3416">0.99667209999999995</cx:pt>
          <cx:pt idx="3417">1.024489854</cx:pt>
          <cx:pt idx="3418">1.0505929999999999</cx:pt>
          <cx:pt idx="3419">1.0002719999999998</cx:pt>
          <cx:pt idx="3420">1.093148</cx:pt>
          <cx:pt idx="3421">1.2523839999999999</cx:pt>
          <cx:pt idx="3422">1.3597640000000002</cx:pt>
          <cx:pt idx="3423">1.1339109999999999</cx:pt>
          <cx:pt idx="3424">1.132531746</cx:pt>
          <cx:pt idx="3425">1.076217</cx:pt>
          <cx:pt idx="3426">0.9598145266</cx:pt>
          <cx:pt idx="3427">0.83607029999999993</cx:pt>
          <cx:pt idx="3428">0.94077259999999996</cx:pt>
          <cx:pt idx="3429">1.2598399999999998</cx:pt>
          <cx:pt idx="3430">1.492375</cx:pt>
          <cx:pt idx="3431">1.6367099999999999</cx:pt>
          <cx:pt idx="3432">1.5704570000000002</cx:pt>
          <cx:pt idx="3433">1.6653169999999999</cx:pt>
          <cx:pt idx="3434">1.738923</cx:pt>
          <cx:pt idx="3435">1.7189320000000001</cx:pt>
          <cx:pt idx="3436">1.4171950000000002</cx:pt>
          <cx:pt idx="3437">1.337577</cx:pt>
          <cx:pt idx="3438">1.4219440000000001</cx:pt>
          <cx:pt idx="3439">1.0930169999999999</cx:pt>
          <cx:pt idx="3440">0.95694979999999996</cx:pt>
          <cx:pt idx="3441">0.65685689999999997</cx:pt>
          <cx:pt idx="3442">0.65000559999999996</cx:pt>
          <cx:pt idx="3443">0.29892389999999996</cx:pt>
          <cx:pt idx="3444">0</cx:pt>
          <cx:pt idx="3445">0.137408</cx:pt>
          <cx:pt idx="3446">0.57942399999999994</cx:pt>
          <cx:pt idx="3447">0.66164630000000002</cx:pt>
          <cx:pt idx="3448">0.80326580000000003</cx:pt>
          <cx:pt idx="3449">1.0342310000000001</cx:pt>
          <cx:pt idx="3450">1.2524059999999999</cx:pt>
          <cx:pt idx="3451">1.5410069999999998</cx:pt>
          <cx:pt idx="3452">1.5780730000000001</cx:pt>
          <cx:pt idx="3453">1.430747</cx:pt>
          <cx:pt idx="3454">1.344082</cx:pt>
          <cx:pt idx="3455">1.4501249999999999</cx:pt>
          <cx:pt idx="3456">1.428223</cx:pt>
          <cx:pt idx="3457">1.3600559999999999</cx:pt>
          <cx:pt idx="3458">1.1010389999999999</cx:pt>
          <cx:pt idx="3459">1.1353520000000001</cx:pt>
          <cx:pt idx="3460">1.0224550000000001</cx:pt>
          <cx:pt idx="3461">1.239595</cx:pt>
          <cx:pt idx="3462">1.3359479999999999</cx:pt>
          <cx:pt idx="3463">1.5002019999999998</cx:pt>
          <cx:pt idx="3464">1.5712409999999999</cx:pt>
          <cx:pt idx="3465">1.215033</cx:pt>
          <cx:pt idx="3466">1.089728</cx:pt>
          <cx:pt idx="3467">1.13751</cx:pt>
          <cx:pt idx="3468">1.57585</cx:pt>
          <cx:pt idx="3469">1.5787231019999999</cx:pt>
          <cx:pt idx="3470">1.6482300000000001</cx:pt>
          <cx:pt idx="3471">1.5402340000000001</cx:pt>
          <cx:pt idx="3472">1.5395098270000001</cx:pt>
          <cx:pt idx="3473">1.4469640000000001</cx:pt>
          <cx:pt idx="3474">1.3808639999999999</cx:pt>
          <cx:pt idx="3475">1.3762710460000001</cx:pt>
          <cx:pt idx="3476">1.235223</cx:pt>
          <cx:pt idx="3477">0.86313609999999996</cx:pt>
          <cx:pt idx="3478">0.33625509999999997</cx:pt>
          <cx:pt idx="3479">0.1527008</cx:pt>
          <cx:pt idx="3480">0</cx:pt>
          <cx:pt idx="3481">0.0046207087399999999</cx:pt>
          <cx:pt idx="3482">0.011400850000000001</cx:pt>
          <cx:pt idx="3483">0.48478160000000003</cx:pt>
          <cx:pt idx="3484">0.50358265300000005</cx:pt>
          <cx:pt idx="3485">1.0762690000000001</cx:pt>
          <cx:pt idx="3486">1.474359</cx:pt>
          <cx:pt idx="3487">1.7576750000000001</cx:pt>
          <cx:pt idx="3488">1.760559032</cx:pt>
          <cx:pt idx="3489">1.9405789999999998</cx:pt>
          <cx:pt idx="3490">1.942453862</cx:pt>
          <cx:pt idx="3491">2</cx:pt>
          <cx:pt idx="3492">1.8474919999999999</cx:pt>
          <cx:pt idx="3493">1.6144970000000001</cx:pt>
          <cx:pt idx="3494">1.4893829999999999</cx:pt>
          <cx:pt idx="3495">1.7108889999999999</cx:pt>
          <cx:pt idx="3496">2</cx:pt>
          <cx:pt idx="3497">1.996334104</cx:pt>
          <cx:pt idx="3498">1.9943954389999998</cx:pt>
          <cx:pt idx="3499">1.9924282090000001</cx:pt>
          <cx:pt idx="3500">1.988520361</cx:pt>
          <cx:pt idx="3501">1.9882785319999998</cx:pt>
          <cx:pt idx="3502">1.9870712150000001</cx:pt>
          <cx:pt idx="3503">1.9821750520000001</cx:pt>
          <cx:pt idx="3504">1.9811980900000001</cx:pt>
          <cx:pt idx="3505">1.9809524769999998</cx:pt>
          <cx:pt idx="3506">1.9807220000000001</cx:pt>
          <cx:pt idx="3507">1.3096709999999998</cx:pt>
          <cx:pt idx="3508">1.219867</cx:pt>
          <cx:pt idx="3509">1.2754730000000001</cx:pt>
          <cx:pt idx="3510">1.527922</cx:pt>
          <cx:pt idx="3511">1.5482579999999999</cx:pt>
          <cx:pt idx="3512">1.4222489999999999</cx:pt>
          <cx:pt idx="3513">1.094854</cx:pt>
          <cx:pt idx="3514">1.0275669999999999</cx:pt>
          <cx:pt idx="3515">0.76592669999999996</cx:pt>
          <cx:pt idx="3516">0.45162860000000005</cx:pt>
          <cx:pt idx="3517">0.35539000000000004</cx:pt>
          <cx:pt idx="3518">0.4675532</cx:pt>
          <cx:pt idx="3519">0.25202140000000001</cx:pt>
          <cx:pt idx="3520">0.26374009999999998</cx:pt>
          <cx:pt idx="3521">0.43032910000000002</cx:pt>
          <cx:pt idx="3522">0.2955643</cx:pt>
          <cx:pt idx="3523">0.32677970000000001</cx:pt>
          <cx:pt idx="3524">0.1941977</cx:pt>
          <cx:pt idx="3525">0.1065374</cx:pt>
          <cx:pt idx="3526">0.25813469999999999</cx:pt>
          <cx:pt idx="3527">0.12550303839999999</cx:pt>
          <cx:pt idx="3528">0</cx:pt>
          <cx:pt idx="3529">0</cx:pt>
          <cx:pt idx="3530">0</cx:pt>
          <cx:pt idx="3531">0</cx:pt>
          <cx:pt idx="3532">0.03542080047</cx:pt>
          <cx:pt idx="3533">0.058187514069999995</cx:pt>
          <cx:pt idx="3534">0.096778690000000001</cx:pt>
          <cx:pt idx="3535">0.26601019999999997</cx:pt>
          <cx:pt idx="3536">0.57992510000000008</cx:pt>
          <cx:pt idx="3537">0.93420460000000005</cx:pt>
          <cx:pt idx="3538">0.97510509999999995</cx:pt>
          <cx:pt idx="3539">0.84128467009999996</cx:pt>
          <cx:pt idx="3540">0.75378670000000003</cx:pt>
          <cx:pt idx="3541">0.65080789999999988</cx:pt>
          <cx:pt idx="3542">0.44986710000000002</cx:pt>
          <cx:pt idx="3543">0</cx:pt>
          <cx:pt idx="3544">0</cx:pt>
          <cx:pt idx="3545">0</cx:pt>
          <cx:pt idx="3546">0</cx:pt>
          <cx:pt idx="3547">0</cx:pt>
          <cx:pt idx="3548">0</cx:pt>
          <cx:pt idx="3549">0.1965886</cx:pt>
          <cx:pt idx="3550">0.43961719999999999</cx:pt>
          <cx:pt idx="3551">0.59824049999999995</cx:pt>
          <cx:pt idx="3552">0.65472759999999997</cx:pt>
          <cx:pt idx="3553">0.59701500000000007</cx:pt>
          <cx:pt idx="3554">0.71596349999999997</cx:pt>
          <cx:pt idx="3555">0.6589994213999999</cx:pt>
          <cx:pt idx="3556">0.55351039999999996</cx:pt>
          <cx:pt idx="3557">0.62248219999999999</cx:pt>
          <cx:pt idx="3558">0.52593699999999999</cx:pt>
          <cx:pt idx="3559">0.25113610000000003</cx:pt>
          <cx:pt idx="3560">0.16952660000000003</cx:pt>
          <cx:pt idx="3561">0.23593240000000001</cx:pt>
          <cx:pt idx="3562">0.11874570000000001</cx:pt>
          <cx:pt idx="3563">0</cx:pt>
          <cx:pt idx="3564">0</cx:pt>
          <cx:pt idx="3565">0</cx:pt>
          <cx:pt idx="3566">0</cx:pt>
          <cx:pt idx="3567">0.025489767819999998</cx:pt>
          <cx:pt idx="3568">0.077266669999999996</cx:pt>
          <cx:pt idx="3569">0.413968</cx:pt>
          <cx:pt idx="3570">0.60793900000000001</cx:pt>
          <cx:pt idx="3571">0.58296990000000004</cx:pt>
          <cx:pt idx="3572">0.98370250000000004</cx:pt>
          <cx:pt idx="3573">0.98868565110000006</cx:pt>
          <cx:pt idx="3574">1.299571</cx:pt>
          <cx:pt idx="3575">1.3064545839999999</cx:pt>
          <cx:pt idx="3576">1.741104</cx:pt>
          <cx:pt idx="3577">1.9961959999999999</cx:pt>
          <cx:pt idx="3578">1.9956943620000001</cx:pt>
          <cx:pt idx="3579">1.777585</cx:pt>
          <cx:pt idx="3580">1.5061410000000002</cx:pt>
          <cx:pt idx="3581">1.3158459999999998</cx:pt>
          <cx:pt idx="3582">0.96057100000000006</cx:pt>
          <cx:pt idx="3583">0.90588390000000008</cx:pt>
          <cx:pt idx="3584">0.42955399999999999</cx:pt>
          <cx:pt idx="3585">0.061909249999999999</cx:pt>
          <cx:pt idx="3586">0.059925376599999997</cx:pt>
          <cx:pt idx="3587">0</cx:pt>
          <cx:pt idx="3588">0</cx:pt>
          <cx:pt idx="3589">0</cx:pt>
          <cx:pt idx="3590">0</cx:pt>
          <cx:pt idx="3591">0</cx:pt>
          <cx:pt idx="3592">0</cx:pt>
          <cx:pt idx="3593">0.12427784629999999</cx:pt>
          <cx:pt idx="3594">0.16230236749999999</cx:pt>
          <cx:pt idx="3595">0.26158999999999999</cx:pt>
          <cx:pt idx="3596">0.57171379999999994</cx:pt>
          <cx:pt idx="3597">0.57129865530000001</cx:pt>
          <cx:pt idx="3598">0.52070300000000003</cx:pt>
          <cx:pt idx="3599">0.2700919</cx:pt>
          <cx:pt idx="3600">0.26594693880000003</cx:pt>
          <cx:pt idx="3601">0</cx:pt>
          <cx:pt idx="3602">0.033685221040000005</cx:pt>
          <cx:pt idx="3603">0.063938965769999995</cx:pt>
          <cx:pt idx="3604">0.07138448</cx:pt>
          <cx:pt idx="3605">0</cx:pt>
          <cx:pt idx="3606">0</cx:pt>
          <cx:pt idx="3607">0</cx:pt>
          <cx:pt idx="3608">0</cx:pt>
          <cx:pt idx="3609">0</cx:pt>
          <cx:pt idx="3610">0</cx:pt>
          <cx:pt idx="3611">0</cx:pt>
          <cx:pt idx="3612">0</cx:pt>
          <cx:pt idx="3613">0</cx:pt>
          <cx:pt idx="3614">0</cx:pt>
          <cx:pt idx="3615">0</cx:pt>
          <cx:pt idx="3616">0</cx:pt>
          <cx:pt idx="3617">0</cx:pt>
          <cx:pt idx="3618">0.53673990000000005</cx:pt>
          <cx:pt idx="3619">0.71573710000000001</cx:pt>
          <cx:pt idx="3620">0.89707009999999998</cx:pt>
          <cx:pt idx="3621">1.1655660000000001</cx:pt>
          <cx:pt idx="3622">1.5279640000000001</cx:pt>
          <cx:pt idx="3623">1.7784599999999999</cx:pt>
          <cx:pt idx="3624">1.7802131639999998</cx:pt>
          <cx:pt idx="3625">1.929195</cx:pt>
          <cx:pt idx="3626">1.7666360000000001</cx:pt>
          <cx:pt idx="3627">1.7248929999999998</cx:pt>
          <cx:pt idx="3628">1.454067</cx:pt>
          <cx:pt idx="3629">1.2118800000000001</cx:pt>
          <cx:pt idx="3630">1.3591300000000002</cx:pt>
          <cx:pt idx="3631">1.495852</cx:pt>
          <cx:pt idx="3632">1.9999090000000002</cx:pt>
          <cx:pt idx="3633">1.8156919999999999</cx:pt>
          <cx:pt idx="3634">1.65343</cx:pt>
          <cx:pt idx="3635">1.6246309999999999</cx:pt>
          <cx:pt idx="3636">1.313836936</cx:pt>
          <cx:pt idx="3637">1.003196</cx:pt>
          <cx:pt idx="3638">0.58534930000000007</cx:pt>
          <cx:pt idx="3639">0.64279390000000003</cx:pt>
          <cx:pt idx="3640">0.77884789999999993</cx:pt>
          <cx:pt idx="3641">0.87513372570000003</cx:pt>
          <cx:pt idx="3642">0.92575269999999998</cx:pt>
          <cx:pt idx="3643">1.38127</cx:pt>
          <cx:pt idx="3644">1.859445</cx:pt>
          <cx:pt idx="3645">2</cx:pt>
          <cx:pt idx="3646">1.9124860000000001</cx:pt>
          <cx:pt idx="3647">1.7774529999999999</cx:pt>
          <cx:pt idx="3648">1.695112</cx:pt>
          <cx:pt idx="3649">1.706026</cx:pt>
          <cx:pt idx="3650">1.8715039999999998</cx:pt>
          <cx:pt idx="3651">1.8715890669999999</cx:pt>
          <cx:pt idx="3652">1.882549</cx:pt>
          <cx:pt idx="3653">1.996864</cx:pt>
          <cx:pt idx="3654">1.9882820280000002</cx:pt>
          <cx:pt idx="3655">1.9180067569999999</cx:pt>
          <cx:pt idx="3656">1.909289464</cx:pt>
          <cx:pt idx="3657">1.8394900000000001</cx:pt>
          <cx:pt idx="3658">1.838313106</cx:pt>
          <cx:pt idx="3659">1.5273750000000001</cx:pt>
          <cx:pt idx="3660">1.4337249999999999</cx:pt>
          <cx:pt idx="3661">1.3537999999999999</cx:pt>
          <cx:pt idx="3662">1.1638549999999999</cx:pt>
          <cx:pt idx="3663">0.99123251150000002</cx:pt>
          <cx:pt idx="3664">0.80903940000000008</cx:pt>
          <cx:pt idx="3665">0.81071914820000002</cx:pt>
          <cx:pt idx="3666">1.022043</cx:pt>
          <cx:pt idx="3667">1.077305</cx:pt>
          <cx:pt idx="3668">0.88264480000000001</cx:pt>
          <cx:pt idx="3669">0.97524956759999992</cx:pt>
          <cx:pt idx="3670">1.005968</cx:pt>
          <cx:pt idx="3671">1.1732750000000001</cx:pt>
          <cx:pt idx="3672">1.7349299999999999</cx:pt>
          <cx:pt idx="3673">1.90374</cx:pt>
          <cx:pt idx="3674">2</cx:pt>
          <cx:pt idx="3675">1.9751560000000001</cx:pt>
          <cx:pt idx="3676">1.788416</cx:pt>
          <cx:pt idx="3677">1.7056370000000001</cx:pt>
          <cx:pt idx="3678">1.822786</cx:pt>
          <cx:pt idx="3679">1.947594</cx:pt>
          <cx:pt idx="3680">2</cx:pt>
          <cx:pt idx="3681">1.979841467</cx:pt>
          <cx:pt idx="3682">1.959838191</cx:pt>
          <cx:pt idx="3683">1.8997582470000001</cx:pt>
          <cx:pt idx="3684">1.8899920000000001</cx:pt>
          <cx:pt idx="3685">1.77962</cx:pt>
          <cx:pt idx="3686">1.778964175</cx:pt>
          <cx:pt idx="3687">1.7651429999999999</cx:pt>
          <cx:pt idx="3688">1.6865209999999999</cx:pt>
          <cx:pt idx="3689">1.72072</cx:pt>
          <cx:pt idx="3690">1.836681</cx:pt>
          <cx:pt idx="3691">1.7480250000000002</cx:pt>
          <cx:pt idx="3692">1.7844450000000001</cx:pt>
          <cx:pt idx="3693">1.9647600000000001</cx:pt>
          <cx:pt idx="3694">1.9887239999999999</cx:pt>
          <cx:pt idx="3695">1.9275849999999999</cx:pt>
          <cx:pt idx="3696">1.76793</cx:pt>
          <cx:pt idx="3697">1.7706926340000002</cx:pt>
          <cx:pt idx="3698">1.9376589999999998</cx:pt>
          <cx:pt idx="3699">1.939508351</cx:pt>
          <cx:pt idx="3700">2</cx:pt>
          <cx:pt idx="3701">1.9744619999999999</cx:pt>
          <cx:pt idx="3702">1.7241569999999999</cx:pt>
          <cx:pt idx="3703">1.413268</cx:pt>
          <cx:pt idx="3704">1.3305099999999999</cx:pt>
          <cx:pt idx="3705">1.4445671379999998</cx:pt>
          <cx:pt idx="3706">1.4987079999999999</cx:pt>
          <cx:pt idx="3707">1.7826750000000002</cx:pt>
          <cx:pt idx="3708">1.7849546319999998</cx:pt>
          <cx:pt idx="3709">2</cx:pt>
          <cx:pt idx="3710">1.9599959999999998</cx:pt>
          <cx:pt idx="3711">1.495844</cx:pt>
          <cx:pt idx="3712">1.3249649999999999</cx:pt>
          <cx:pt idx="3713">1.3141659999999999</cx:pt>
          <cx:pt idx="3714">1.169138</cx:pt>
          <cx:pt idx="3715">0.84890370000000004</cx:pt>
          <cx:pt idx="3716">0.57824089999999995</cx:pt>
          <cx:pt idx="3717">0.5404468</cx:pt>
          <cx:pt idx="3718">0.27022341589999999</cx:pt>
          <cx:pt idx="3719">0</cx:pt>
          <cx:pt idx="3720">0.012318098539999999</cx:pt>
          <cx:pt idx="3721">0.029873460000000001</cx:pt>
          <cx:pt idx="3722">0.024703339999999997</cx:pt>
          <cx:pt idx="3723">0.024510052039999997</cx:pt>
          <cx:pt idx="3724">0.012058621490000001</cx:pt>
          <cx:pt idx="3725">0</cx:pt>
          <cx:pt idx="3726">0.095842179999999999</cx:pt>
          <cx:pt idx="3727">0.37896030000000003</cx:pt>
          <cx:pt idx="3728">0.26615509999999998</cx:pt>
          <cx:pt idx="3729">0</cx:pt>
          <cx:pt idx="3730">0.057548458240000003</cx:pt>
          <cx:pt idx="3731">0.079805130000000002</cx:pt>
          <cx:pt idx="3732">0.093633045070000004</cx:pt>
          <cx:pt idx="3733">0.45032200000000006</cx:pt>
          <cx:pt idx="3734">0.63586779999999998</cx:pt>
          <cx:pt idx="3735">0.61610432110000002</cx:pt>
          <cx:pt idx="3736">0.57733750000000006</cx:pt>
          <cx:pt idx="3737">0.4614528</cx:pt>
          <cx:pt idx="3738">0.51525532929999995</cx:pt>
          <cx:pt idx="3739">0.56623159999999995</cx:pt>
          <cx:pt idx="3740">0.32543089999999997</cx:pt>
          <cx:pt idx="3741">0</cx:pt>
          <cx:pt idx="3742">0.024579314550000002</cx:pt>
          <cx:pt idx="3743">0.032731596459999998</cx:pt>
          <cx:pt idx="3744">0.18786580759999999</cx:pt>
          <cx:pt idx="3745">0.20423160580000002</cx:pt>
          <cx:pt idx="3746">0.2449277</cx:pt>
          <cx:pt idx="3747">0.25215712600000001</cx:pt>
          <cx:pt idx="3748">0.70318150000000001</cx:pt>
          <cx:pt idx="3749">0.71087602239999992</cx:pt>
          <cx:pt idx="3750">0.94329960000000002</cx:pt>
          <cx:pt idx="3751">1.086911</cx:pt>
          <cx:pt idx="3752">1.0547420000000001</cx:pt>
          <cx:pt idx="3753">1.3361050000000001</cx:pt>
          <cx:pt idx="3754">1.3553639999999998</cx:pt>
          <cx:pt idx="3755">1.1880470000000001</cx:pt>
          <cx:pt idx="3756">1.324803</cx:pt>
          <cx:pt idx="3757">1.3265376119999999</cx:pt>
          <cx:pt idx="3758">1.431373</cx:pt>
          <cx:pt idx="3759">1.759827</cx:pt>
          <cx:pt idx="3760">2</cx:pt>
          <cx:pt idx="3761">1.9915379450000001</cx:pt>
          <cx:pt idx="3762">1.974872535</cx:pt>
          <cx:pt idx="3763">1.9584700000000002</cx:pt>
          <cx:pt idx="3764">0.97475200000000006</cx:pt>
          <cx:pt idx="3765">0.62039599999999995</cx:pt>
          <cx:pt idx="3766">0.1503379</cx:pt>
          <cx:pt idx="3767">0</cx:pt>
          <cx:pt idx="3768">0</cx:pt>
          <cx:pt idx="3769">0</cx:pt>
          <cx:pt idx="3770">0</cx:pt>
          <cx:pt idx="3771">0</cx:pt>
          <cx:pt idx="3772">0</cx:pt>
          <cx:pt idx="3773">0.119257</cx:pt>
          <cx:pt idx="3774">0.34191180000000004</cx:pt>
          <cx:pt idx="3775">0.64323869999999994</cx:pt>
          <cx:pt idx="3776">0.85612799999999989</cx:pt>
          <cx:pt idx="3777">1.2496989999999999</cx:pt>
          <cx:pt idx="3778">1.147559</cx:pt>
          <cx:pt idx="3779">0</cx:pt>
          <cx:pt idx="3780">0</cx:pt>
          <cx:pt idx="3781">0</cx:pt>
          <cx:pt idx="3782">0.096411603319999997</cx:pt>
          <cx:pt idx="3783">0.1158212</cx:pt>
          <cx:pt idx="3784">0.28244849999999999</cx:pt>
          <cx:pt idx="3785">0.58805320000000005</cx:pt>
          <cx:pt idx="3786">0.81817640000000003</cx:pt>
          <cx:pt idx="3787">1.015155714</cx:pt>
          <cx:pt idx="3788">1.204730498</cx:pt>
          <cx:pt idx="3789">1.5853039999999998</cx:pt>
          <cx:pt idx="3790">2</cx:pt>
          <cx:pt idx="3791">2</cx:pt>
          <cx:pt idx="3792">2</cx:pt>
          <cx:pt idx="3793">1.7423029999999999</cx:pt>
          <cx:pt idx="3794">1.7385813289999998</cx:pt>
          <cx:pt idx="3795">1.026905</cx:pt>
          <cx:pt idx="3796">0.38471369999999999</cx:pt>
          <cx:pt idx="3797">0</cx:pt>
          <cx:pt idx="3798">0</cx:pt>
          <cx:pt idx="3799">0</cx:pt>
          <cx:pt idx="3800">0</cx:pt>
          <cx:pt idx="3801">0</cx:pt>
          <cx:pt idx="3802">0</cx:pt>
          <cx:pt idx="3803">0</cx:pt>
          <cx:pt idx="3804">0</cx:pt>
          <cx:pt idx="3805">0</cx:pt>
          <cx:pt idx="3806">0.025755788540000001</cx:pt>
          <cx:pt idx="3807">0.1535774</cx:pt>
          <cx:pt idx="3808">0.2026733</cx:pt>
          <cx:pt idx="3809">0.20387171859999997</cx:pt>
          <cx:pt idx="3810">0.52169514569999997</cx:pt>
          <cx:pt idx="3811">0.8357635000000001</cx:pt>
          <cx:pt idx="3812">0.8351554967</cx:pt>
          <cx:pt idx="3813">0.7778006999999999</cx:pt>
          <cx:pt idx="3814">0.65063680000000002</cx:pt>
          <cx:pt idx="3815">0.44274849999999999</cx:pt>
          <cx:pt idx="3816">0.26884479999999999</cx:pt>
          <cx:pt idx="3817">0.3427635</cx:pt>
          <cx:pt idx="3818">0.50820724279999996</cx:pt>
          <cx:pt idx="3819">0.67242729999999995</cx:pt>
          <cx:pt idx="3820">0.72327580000000002</cx:pt>
          <cx:pt idx="3821">0.5842986</cx:pt>
          <cx:pt idx="3822">0.65188624100000003</cx:pt>
          <cx:pt idx="3823">0.68438029999999994</cx:pt>
          <cx:pt idx="3824">0.93116180000000004</cx:pt>
          <cx:pt idx="3825">0.90887320000000005</cx:pt>
          <cx:pt idx="3826">0.79989999999999994</cx:pt>
          <cx:pt idx="3827">0.68347899999999995</cx:pt>
          <cx:pt idx="3828">0.66417550000000003</cx:pt>
          <cx:pt idx="3829">0.85049200000000003</cx:pt>
          <cx:pt idx="3830">1.1355310000000001</cx:pt>
          <cx:pt idx="3831">1.2936570000000001</cx:pt>
          <cx:pt idx="3832">1.2954288249999999</cx:pt>
          <cx:pt idx="3833">1.4073070000000001</cx:pt>
          <cx:pt idx="3834">1.3668279999999999</cx:pt>
          <cx:pt idx="3835">1.5072989999999999</cx:pt>
          <cx:pt idx="3836">1.6220079999999999</cx:pt>
          <cx:pt idx="3837">1.8460409999999998</cx:pt>
          <cx:pt idx="3838">1.9563120000000001</cx:pt>
          <cx:pt idx="3839">2</cx:pt>
          <cx:pt idx="3840">1.9383889999999999</cx:pt>
          <cx:pt idx="3841">1.443179</cx:pt>
          <cx:pt idx="3842">1.337003932</cx:pt>
          <cx:pt idx="3843">1.2678610000000001</cx:pt>
          <cx:pt idx="3844">1.148415</cx:pt>
          <cx:pt idx="3845">1.264453</cx:pt>
          <cx:pt idx="3846">1.4583470000000001</cx:pt>
          <cx:pt idx="3847">1.5463900000000002</cx:pt>
          <cx:pt idx="3848">1.611877</cx:pt>
          <cx:pt idx="3849">1.5944139999999998</cx:pt>
          <cx:pt idx="3850">0.96527699999999994</cx:pt>
          <cx:pt idx="3851">0.59177290000000005</cx:pt>
          <cx:pt idx="3852">0.49400250000000001</cx:pt>
          <cx:pt idx="3853">0.58292670000000002</cx:pt>
          <cx:pt idx="3854">0.78811819999999999</cx:pt>
          <cx:pt idx="3855">0.91168679999999991</cx:pt>
          <cx:pt idx="3856">0.85209789999999996</cx:pt>
          <cx:pt idx="3857">0.85220155590000002</cx:pt>
          <cx:pt idx="3858">0.87756479999999992</cx:pt>
          <cx:pt idx="3859">0.62952869999999994</cx:pt>
          <cx:pt idx="3860">0.42587550000000002</cx:pt>
          <cx:pt idx="3861">0.29999549999999997</cx:pt>
          <cx:pt idx="3862">0.29912584720000002</cx:pt>
          <cx:pt idx="3863">0.27089020000000003</cx:pt>
          <cx:pt idx="3864">0.2688223213</cx:pt>
          <cx:pt idx="3865">0</cx:pt>
          <cx:pt idx="3866">0.0057655872599999998</cx:pt>
          <cx:pt idx="3867">0.0070487487999999999</cx:pt>
          <cx:pt idx="3868">0.010887353779999999</cx:pt>
          <cx:pt idx="3869">0.012809216199999999</cx:pt>
          <cx:pt idx="3870">0.01409717756</cx:pt>
          <cx:pt idx="3871">0.015349939999999999</cx:pt>
          <cx:pt idx="3872">0.38716900000000004</cx:pt>
          <cx:pt idx="3873">0.39910173770000001</cx:pt>
          <cx:pt idx="3874">1.3059889999999998</cx:pt>
          <cx:pt idx="3875">1.5788489999999999</cx:pt>
          <cx:pt idx="3876">2</cx:pt>
          <cx:pt idx="3877">1.982191842</cx:pt>
          <cx:pt idx="3878">1.964404</cx:pt>
          <cx:pt idx="3879">1.7214130000000001</cx:pt>
          <cx:pt idx="3880">1.285563</cx:pt>
          <cx:pt idx="3881">1.166984</cx:pt>
          <cx:pt idx="3882">1.1243129999999999</cx:pt>
          <cx:pt idx="3883">1.237249</cx:pt>
          <cx:pt idx="3884">0.55733549999999998</cx:pt>
          <cx:pt idx="3885">0.26413880000000001</cx:pt>
          <cx:pt idx="3886">0.076027159999999996</cx:pt>
          <cx:pt idx="3887">0</cx:pt>
          <cx:pt idx="3888">0.14295559999999999</cx:pt>
          <cx:pt idx="3889">0.22318639999999998</cx:pt>
          <cx:pt idx="3890">0.16724900000000001</cx:pt>
          <cx:pt idx="3891">0.21523209999999998</cx:pt>
          <cx:pt idx="3892">0.29163329999999998</cx:pt>
          <cx:pt idx="3893">0.12707389999999999</cx:pt>
          <cx:pt idx="3894">0.16563839999999999</cx:pt>
          <cx:pt idx="3895">0.34900120000000001</cx:pt>
          <cx:pt idx="3896">0.46807580000000004</cx:pt>
          <cx:pt idx="3897">0.2917302</cx:pt>
          <cx:pt idx="3898">0.28793039449999996</cx:pt>
          <cx:pt idx="3899">0.1665778</cx:pt>
          <cx:pt idx="3900">0.1475062</cx:pt>
          <cx:pt idx="3901">0.34756629999999999</cx:pt>
          <cx:pt idx="3902">0.7986588</cx:pt>
          <cx:pt idx="3903">0.81112140600000004</cx:pt>
          <cx:pt idx="3904">1.130037</cx:pt>
          <cx:pt idx="3905">1.382293</cx:pt>
          <cx:pt idx="3906">1.383841876</cx:pt>
          <cx:pt idx="3907">1.4805219999999999</cx:pt>
          <cx:pt idx="3908">1.516918</cx:pt>
          <cx:pt idx="3909">1.362554</cx:pt>
          <cx:pt idx="3910">1.5031489999999998</cx:pt>
          <cx:pt idx="3911">1.9288130000000001</cx:pt>
          <cx:pt idx="3912">2</cx:pt>
          <cx:pt idx="3913">1.8977789999999999</cx:pt>
          <cx:pt idx="3914">1.8968037799999999</cx:pt>
          <cx:pt idx="3915">1.835931</cx:pt>
          <cx:pt idx="3916">2</cx:pt>
          <cx:pt idx="3917">2</cx:pt>
          <cx:pt idx="3918">2</cx:pt>
          <cx:pt idx="3919">2</cx:pt>
          <cx:pt idx="3920">2</cx:pt>
          <cx:pt idx="3921">2</cx:pt>
          <cx:pt idx="3922">2</cx:pt>
          <cx:pt idx="3923">2</cx:pt>
          <cx:pt idx="3924">1.5694779999999999</cx:pt>
          <cx:pt idx="3925">0.96700050000000004</cx:pt>
          <cx:pt idx="3926">0.51854359999999999</cx:pt>
          <cx:pt idx="3927">0</cx:pt>
          <cx:pt idx="3928">0</cx:pt>
          <cx:pt idx="3929">0</cx:pt>
          <cx:pt idx="3930">8.1903750000000003e-05</cx:pt>
          <cx:pt idx="3931">0.074065010000000001</cx:pt>
          <cx:pt idx="3932">0.72705580000000003</cx:pt>
          <cx:pt idx="3933">0.82297449999999994</cx:pt>
          <cx:pt idx="3934">0.82256468760000001</cx:pt>
          <cx:pt idx="3935">0.79595343760000004</cx:pt>
          <cx:pt idx="3936">0.74357699999999993</cx:pt>
          <cx:pt idx="3937">0.8813358</cx:pt>
          <cx:pt idx="3938">1.0981289999999999</cx:pt>
          <cx:pt idx="3939">1.1861729999999999</cx:pt>
          <cx:pt idx="3940">0.95153109999999996</cx:pt>
          <cx:pt idx="3941">0.89634609999999992</cx:pt>
          <cx:pt idx="3942">0.94364210000000004</cx:pt>
          <cx:pt idx="3943">1.3768790000000002</cx:pt>
          <cx:pt idx="3944">2</cx:pt>
          <cx:pt idx="3945">1.997408302</cx:pt>
          <cx:pt idx="3946">1.9818386430000001</cx:pt>
          <cx:pt idx="3947">1.9636578199999999</cx:pt>
          <cx:pt idx="3948">1.9584757210000001</cx:pt>
          <cx:pt idx="3949">1.9532520919999998</cx:pt>
          <cx:pt idx="3950">1.9248070000000002</cx:pt>
          <cx:pt idx="3951">1.9092131480000001</cx:pt>
          <cx:pt idx="3952">1.41516</cx:pt>
          <cx:pt idx="3953">1.0135080000000001</cx:pt>
          <cx:pt idx="3954">0.49500968849999999</cx:pt>
          <cx:pt idx="3955">0</cx:pt>
          <cx:pt idx="3956">0.0067219468100000006</cx:pt>
          <cx:pt idx="3957">0.014092899999999998</cx:pt>
          <cx:pt idx="3958">0.080307259999999991</cx:pt>
          <cx:pt idx="3959">0.27849070000000004</cx:pt>
          <cx:pt idx="3960">0.59745470000000001</cx:pt>
          <cx:pt idx="3961">0.54433770000000004</cx:pt>
          <cx:pt idx="3962">0.77208609999999989</cx:pt>
          <cx:pt idx="3963">1.2092000000000001</cx:pt>
          <cx:pt idx="3964">1.4945459999999999</cx:pt>
          <cx:pt idx="3965">1.5971986229999999</cx:pt>
          <cx:pt idx="3966">1.6929750000000001</cx:pt>
          <cx:pt idx="3967">1.6482480000000002</cx:pt>
          <cx:pt idx="3968">1.641456872</cx:pt>
          <cx:pt idx="3969">0.78042719999999999</cx:pt>
          <cx:pt idx="3970">0.73025000000000007</cx:pt>
          <cx:pt idx="3971">0.75148650000000006</cx:pt>
          <cx:pt idx="3972">0.84633520000000007</cx:pt>
          <cx:pt idx="3973">0.8443516605000001</cx:pt>
          <cx:pt idx="3974">0.5888601</cx:pt>
          <cx:pt idx="3975">0.44639329999999999</cx:pt>
          <cx:pt idx="3976">0.56179129999999999</cx:pt>
          <cx:pt idx="3977">0.46168480000000001</cx:pt>
          <cx:pt idx="3978">0.31810739999999998</cx:pt>
          <cx:pt idx="3979">0.10464359999999999</cx:pt>
          <cx:pt idx="3980">0</cx:pt>
          <cx:pt idx="3981">0.034408139819999996</cx:pt>
          <cx:pt idx="3982">0.20643160000000002</cx:pt>
          <cx:pt idx="3983">0.44681989999999999</cx:pt>
          <cx:pt idx="3984">0.5172852</cx:pt>
          <cx:pt idx="3985">0.48059730000000001</cx:pt>
          <cx:pt idx="3986">0.54805289999999995</cx:pt>
          <cx:pt idx="3987">0.66721530000000007</cx:pt>
          <cx:pt idx="3988">0.65484570000000009</cx:pt>
          <cx:pt idx="3989">0.8131602</cx:pt>
          <cx:pt idx="3990">0.72999629999999993</cx:pt>
          <cx:pt idx="3991">0.94553929999999997</cx:pt>
          <cx:pt idx="3992">1.168604</cx:pt>
          <cx:pt idx="3993">1.3015569999999999</cx:pt>
          <cx:pt idx="3994">1.281911</cx:pt>
          <cx:pt idx="3995">1.152393</cx:pt>
          <cx:pt idx="3996">1.1784910000000002</cx:pt>
          <cx:pt idx="3997">1.342978</cx:pt>
          <cx:pt idx="3998">1.3458256560000001</cx:pt>
          <cx:pt idx="3999">1.6928829999999999</cx:pt>
          <cx:pt idx="4000">2</cx:pt>
          <cx:pt idx="4001">2</cx:pt>
          <cx:pt idx="4002">2</cx:pt>
          <cx:pt idx="4003">1.961849</cx:pt>
          <cx:pt idx="4004">1.807871</cx:pt>
          <cx:pt idx="4005">2</cx:pt>
          <cx:pt idx="4006">1.9791377720000001</cx:pt>
          <cx:pt idx="4007">1.968711882</cx:pt>
          <cx:pt idx="4008">1.86424404</cx:pt>
          <cx:pt idx="4009">1.854142</cx:pt>
          <cx:pt idx="4010">1.8911230000000001</cx:pt>
          <cx:pt idx="4011">2</cx:pt>
          <cx:pt idx="4012">1.698976</cx:pt>
          <cx:pt idx="4013">1.5990770000000001</cx:pt>
          <cx:pt idx="4014">1.6039598369999999</cx:pt>
          <cx:pt idx="4015">1.9172499999999999</cx:pt>
          <cx:pt idx="4016">2</cx:pt>
          <cx:pt idx="4017">1.9727269999999999</cx:pt>
          <cx:pt idx="4018">1.6834610000000001</cx:pt>
          <cx:pt idx="4019">1.6167769999999999</cx:pt>
          <cx:pt idx="4020">1.1229720000000001</cx:pt>
          <cx:pt idx="4021">0.96036829999999995</cx:pt>
          <cx:pt idx="4022">0.8449433999999999</cx:pt>
          <cx:pt idx="4023">1.1095869999999999</cx:pt>
          <cx:pt idx="4024">1.154657</cx:pt>
          <cx:pt idx="4025">1.1079219999999999</cx:pt>
          <cx:pt idx="4026">1.111774</cx:pt>
          <cx:pt idx="4027">1.063965</cx:pt>
          <cx:pt idx="4028">1.165662</cx:pt>
          <cx:pt idx="4029">1.173083171</cx:pt>
          <cx:pt idx="4030">1.4139120000000001</cx:pt>
          <cx:pt idx="4031">1.4314609999999999</cx:pt>
          <cx:pt idx="4032">1.4275934880000001</cx:pt>
          <cx:pt idx="4033">0.95624140000000002</cx:pt>
          <cx:pt idx="4034">0.2690341</cx:pt>
          <cx:pt idx="4035">0.053617070000000003</cx:pt>
          <cx:pt idx="4036">0</cx:pt>
          <cx:pt idx="4037">0.019359671950000001</cx:pt>
          <cx:pt idx="4038">0.026984635259999997</cx:pt>
          <cx:pt idx="4039">0.03469810433</cx:pt>
          <cx:pt idx="4040">0.04238271263</cx:pt>
          <cx:pt idx="4041">0.057840434980000001</cx:pt>
          <cx:pt idx="4042">0.080861551759999997</cx:pt>
          <cx:pt idx="4043">0.08470385591</cx:pt>
          <cx:pt idx="4044">0.088575020369999993</cx:pt>
          <cx:pt idx="4045">0.1154980863</cx:pt>
          <cx:pt idx="4046">0.1192211</cx:pt>
          <cx:pt idx="4047">0.13360929999999999</cx:pt>
          <cx:pt idx="4048">0.061573740000000002</cx:pt>
          <cx:pt idx="4049">0.091981129999999994</cx:pt>
          <cx:pt idx="4050">0.051362209999999998</cx:pt>
          <cx:pt idx="4051">0.094762979999999997</cx:pt>
          <cx:pt idx="4052">0.63198169999999998</cx:pt>
          <cx:pt idx="4053">0.91931039999999997</cx:pt>
          <cx:pt idx="4054">1.4153399999999998</cx:pt>
          <cx:pt idx="4055">1.6256250000000001</cx:pt>
          <cx:pt idx="4056">1.626924563</cx:pt>
          <cx:pt idx="4057">1.7949879999999998</cx:pt>
          <cx:pt idx="4058">1.7514580000000002</cx:pt>
          <cx:pt idx="4059">1.4484190000000001</cx:pt>
          <cx:pt idx="4060">1.2118960000000001</cx:pt>
          <cx:pt idx="4061">1.0997129999999999</cx:pt>
          <cx:pt idx="4062">1.0985721990000001</cx:pt>
          <cx:pt idx="4063">1.0615330000000001</cx:pt>
          <cx:pt idx="4064">1.1361750000000002</cx:pt>
          <cx:pt idx="4065">0.95139529999999994</cx:pt>
          <cx:pt idx="4066">0.57666580000000001</cx:pt>
          <cx:pt idx="4067">0.088725450000000011</cx:pt>
          <cx:pt idx="4068">0</cx:pt>
          <cx:pt idx="4069">0.087076759999999989</cx:pt>
          <cx:pt idx="4070">0.089753771730000001</cx:pt>
          <cx:pt idx="4071">0.60572389999999998</cx:pt>
          <cx:pt idx="4072">0.69537549999999992</cx:pt>
          <cx:pt idx="4073">0.70847300000000002</cx:pt>
          <cx:pt idx="4074">0.84278520000000001</cx:pt>
          <cx:pt idx="4075">1.0439000000000001</cx:pt>
          <cx:pt idx="4076">1.1763710000000001</cx:pt>
          <cx:pt idx="4077">1.0536179999999999</cx:pt>
          <cx:pt idx="4078">0.68179900000000004</cx:pt>
          <cx:pt idx="4079">0.67431134290000005</cx:pt>
          <cx:pt idx="4080">0.1937731</cx:pt>
          <cx:pt idx="4081">0.02293303</cx:pt>
          <cx:pt idx="4082">0</cx:pt>
          <cx:pt idx="4083">0.058864496700000005</cx:pt>
          <cx:pt idx="4084">0.1159009</cx:pt>
          <cx:pt idx="4085">0.20848120000000001</cx:pt>
          <cx:pt idx="4086">0.0055150580000000006</cx:pt>
          <cx:pt idx="4087">0.1794182349</cx:pt>
          <cx:pt idx="4088">0.21110019999999999</cx:pt>
          <cx:pt idx="4089">0.28852879999999997</cx:pt>
          <cx:pt idx="4090">0.137742</cx:pt>
          <cx:pt idx="4091">0.033132229999999999</cx:pt>
          <cx:pt idx="4092">0</cx:pt>
          <cx:pt idx="4093">0.23533860000000001</cx:pt>
          <cx:pt idx="4094">0.30240449999999996</cx:pt>
          <cx:pt idx="4095">0.2588765529</cx:pt>
          <cx:pt idx="4096">0.2167</cx:pt>
          <cx:pt idx="4097">0.29143180000000002</cx:pt>
          <cx:pt idx="4098">0.44500469999999998</cx:pt>
          <cx:pt idx="4099">0.44674668930000005</cx:pt>
          <cx:pt idx="4100">0.91417720000000002</cx:pt>
          <cx:pt idx="4101">1.2024900000000001</cx:pt>
          <cx:pt idx="4102">1.4659909999999998</cx:pt>
          <cx:pt idx="4103">1.558584</cx:pt>
          <cx:pt idx="4104">1.857351</cx:pt>
          <cx:pt idx="4105">1.924574</cx:pt>
          <cx:pt idx="4106">1.56016</cx:pt>
          <cx:pt idx="4107">1.1439550000000001</cx:pt>
          <cx:pt idx="4108">0.7951815000000001</cx:pt>
          <cx:pt idx="4109">0.60950740000000003</cx:pt>
          <cx:pt idx="4110">0.57707030000000004</cx:pt>
          <cx:pt idx="4111">0.57770495529999999</cx:pt>
          <cx:pt idx="4112">0.74669399999999997</cx:pt>
          <cx:pt idx="4113">0.55540210000000001</cx:pt>
          <cx:pt idx="4114">0.43795409999999996</cx:pt>
          <cx:pt idx="4115">0.54487740000000007</cx:pt>
          <cx:pt idx="4116">0.8648342</cx:pt>
          <cx:pt idx="4117">1.1208119999999999</cx:pt>
          <cx:pt idx="4118">1.4655549999999999</cx:pt>
          <cx:pt idx="4119">1.729471</cx:pt>
          <cx:pt idx="4120">1.7973969999999999</cx:pt>
          <cx:pt idx="4121">1.6751549999999999</cx:pt>
          <cx:pt idx="4122">0.83418750000000008</cx:pt>
          <cx:pt idx="4123">0.83162958290000011</cx:pt>
          <cx:pt idx="4124">0.50166060000000001</cx:pt>
          <cx:pt idx="4125">0.091686989999999996</cx:pt>
          <cx:pt idx="4126">0</cx:pt>
          <cx:pt idx="4127">0</cx:pt>
          <cx:pt idx="4128">0</cx:pt>
          <cx:pt idx="4129">0</cx:pt>
          <cx:pt idx="4130">0</cx:pt>
          <cx:pt idx="4131">0.019686708719999998</cx:pt>
          <cx:pt idx="4132">0.06882982</cx:pt>
          <cx:pt idx="4133">0.38476999999999995</cx:pt>
          <cx:pt idx="4134">0.52798290000000003</cx:pt>
          <cx:pt idx="4135">0.52869388240000004</cx:pt>
          <cx:pt idx="4136">0.90509130000000004</cx:pt>
          <cx:pt idx="4137">0.91512846059999997</cx:pt>
          <cx:pt idx="4138">1.241012212</cx:pt>
          <cx:pt idx="4139">1.8850089999999999</cx:pt>
          <cx:pt idx="4140">2</cx:pt>
          <cx:pt idx="4141">2</cx:pt>
          <cx:pt idx="4142">2</cx:pt>
          <cx:pt idx="4143">2</cx:pt>
          <cx:pt idx="4144">2</cx:pt>
          <cx:pt idx="4145">2</cx:pt>
          <cx:pt idx="4146">2</cx:pt>
          <cx:pt idx="4147">2</cx:pt>
          <cx:pt idx="4148">1.880969154</cx:pt>
          <cx:pt idx="4149">1.6450260000000001</cx:pt>
          <cx:pt idx="4150">0.93467679999999997</cx:pt>
          <cx:pt idx="4151">0.27407419999999999</cx:pt>
          <cx:pt idx="4152">0</cx:pt>
          <cx:pt idx="4153">0.1812256538</cx:pt>
          <cx:pt idx="4154">0.20165849999999999</cx:pt>
          <cx:pt idx="4155">0.55746969999999996</cx:pt>
          <cx:pt idx="4156">0.81044629999999995</cx:pt>
          <cx:pt idx="4157">0.82051799999999997</cx:pt>
          <cx:pt idx="4158">0.61992626110000004</cx:pt>
          <cx:pt idx="4159">0.42085340000000004</cx:pt>
          <cx:pt idx="4160">0.2616735</cx:pt>
          <cx:pt idx="4161">0.17247460000000001</cx:pt>
          <cx:pt idx="4162">0</cx:pt>
          <cx:pt idx="4163">0.081230280000000002</cx:pt>
          <cx:pt idx="4164">0.046303950000000003</cx:pt>
          <cx:pt idx="4165">0.091556130000000013</cx:pt>
          <cx:pt idx="4166">0.22934640000000001</cx:pt>
          <cx:pt idx="4167">0.42071309999999995</cx:pt>
          <cx:pt idx="4168">0.52497830000000001</cx:pt>
          <cx:pt idx="4169">0.47322639999999999</cx:pt>
          <cx:pt idx="4170">0.27894910000000001</cx:pt>
          <cx:pt idx="4171">0</cx:pt>
          <cx:pt idx="4172">0.00045796884000000001</cx:pt>
          <cx:pt idx="4173">0.029960010229999997</cx:pt>
          <cx:pt idx="4174">0.16293340000000001</cx:pt>
          <cx:pt idx="4175">0.68073359999999994</cx:pt>
          <cx:pt idx="4176">0.93150959999999994</cx:pt>
          <cx:pt idx="4177">1.188142</cx:pt>
          <cx:pt idx="4178">1.2599590000000001</cx:pt>
          <cx:pt idx="4179">1.326173</cx:pt>
          <cx:pt idx="4180">1.6594820000000001</cx:pt>
          <cx:pt idx="4181">1.6281939999999999</cx:pt>
          <cx:pt idx="4182">1.6287700359999999</cx:pt>
          <cx:pt idx="4183">1.678785</cx:pt>
          <cx:pt idx="4184">1.9005300000000001</cx:pt>
          <cx:pt idx="4185">2</cx:pt>
          <cx:pt idx="4186">1.9013730000000002</cx:pt>
          <cx:pt idx="4187">1.6951879999999999</cx:pt>
          <cx:pt idx="4188">1.6190010000000001</cx:pt>
          <cx:pt idx="4189">1.69737</cx:pt>
          <cx:pt idx="4190">1.6671100000000001</cx:pt>
          <cx:pt idx="4191">1.526292</cx:pt>
          <cx:pt idx="4192">0.9130777000000001</cx:pt>
          <cx:pt idx="4193">0.52045029999999992</cx:pt>
          <cx:pt idx="4194">0.12352460000000001</cx:pt>
          <cx:pt idx="4195">0</cx:pt>
          <cx:pt idx="4196">0</cx:pt>
          <cx:pt idx="4197">0</cx:pt>
          <cx:pt idx="4198">0</cx:pt>
          <cx:pt idx="4199">0</cx:pt>
          <cx:pt idx="4200">0</cx:pt>
          <cx:pt idx="4201">0</cx:pt>
          <cx:pt idx="4202">0.23639623180000002</cx:pt>
          <cx:pt idx="4203">0.26559751510000001</cx:pt>
          <cx:pt idx="4204">0.32492873690000001</cx:pt>
          <cx:pt idx="4205">0.38333129999999999</cx:pt>
          <cx:pt idx="4206">0</cx:pt>
          <cx:pt idx="4207">0</cx:pt>
          <cx:pt idx="4208">0</cx:pt>
          <cx:pt idx="4209">0</cx:pt>
          <cx:pt idx="4210">0</cx:pt>
          <cx:pt idx="4211">0</cx:pt>
          <cx:pt idx="4212">0</cx:pt>
          <cx:pt idx="4213">0</cx:pt>
          <cx:pt idx="4214">0</cx:pt>
          <cx:pt idx="4215">0</cx:pt>
          <cx:pt idx="4216">0</cx:pt>
          <cx:pt idx="4217">0</cx:pt>
          <cx:pt idx="4218">0</cx:pt>
          <cx:pt idx="4219">0</cx:pt>
          <cx:pt idx="4220">0</cx:pt>
          <cx:pt idx="4221">0</cx:pt>
          <cx:pt idx="4222">0</cx:pt>
          <cx:pt idx="4223">0</cx:pt>
          <cx:pt idx="4224">0</cx:pt>
          <cx:pt idx="4225">0</cx:pt>
          <cx:pt idx="4226">0</cx:pt>
          <cx:pt idx="4227">0</cx:pt>
          <cx:pt idx="4228">0</cx:pt>
          <cx:pt idx="4229">0</cx:pt>
          <cx:pt idx="4230">0</cx:pt>
          <cx:pt idx="4231">0</cx:pt>
          <cx:pt idx="4232">0</cx:pt>
          <cx:pt idx="4233">0</cx:pt>
          <cx:pt idx="4234">0</cx:pt>
          <cx:pt idx="4235">0</cx:pt>
          <cx:pt idx="4236">0</cx:pt>
          <cx:pt idx="4237">0</cx:pt>
          <cx:pt idx="4238">0</cx:pt>
          <cx:pt idx="4239">0</cx:pt>
          <cx:pt idx="4240">0</cx:pt>
          <cx:pt idx="4241">0</cx:pt>
          <cx:pt idx="4242">0</cx:pt>
          <cx:pt idx="4243">0</cx:pt>
          <cx:pt idx="4244">0</cx:pt>
          <cx:pt idx="4245">0</cx:pt>
          <cx:pt idx="4246">0</cx:pt>
          <cx:pt idx="4247">0</cx:pt>
          <cx:pt idx="4248">0</cx:pt>
          <cx:pt idx="4249">0</cx:pt>
          <cx:pt idx="4250">0</cx:pt>
          <cx:pt idx="4251">0</cx:pt>
          <cx:pt idx="4252">0</cx:pt>
          <cx:pt idx="4253">0</cx:pt>
          <cx:pt idx="4254">0</cx:pt>
          <cx:pt idx="4255">0</cx:pt>
          <cx:pt idx="4256">0</cx:pt>
          <cx:pt idx="4257">0</cx:pt>
          <cx:pt idx="4258">0</cx:pt>
          <cx:pt idx="4259">0</cx:pt>
          <cx:pt idx="4260">0</cx:pt>
          <cx:pt idx="4261">0</cx:pt>
          <cx:pt idx="4262">0</cx:pt>
          <cx:pt idx="4263">0</cx:pt>
          <cx:pt idx="4264">0</cx:pt>
          <cx:pt idx="4265">0</cx:pt>
          <cx:pt idx="4266">0</cx:pt>
          <cx:pt idx="4267">0</cx:pt>
          <cx:pt idx="4268">0</cx:pt>
          <cx:pt idx="4269">0</cx:pt>
          <cx:pt idx="4270">0</cx:pt>
          <cx:pt idx="4271">0</cx:pt>
          <cx:pt idx="4272">0</cx:pt>
          <cx:pt idx="4273">0</cx:pt>
          <cx:pt idx="4274">0</cx:pt>
          <cx:pt idx="4275">0</cx:pt>
          <cx:pt idx="4276">0</cx:pt>
          <cx:pt idx="4277">0</cx:pt>
          <cx:pt idx="4278">0</cx:pt>
          <cx:pt idx="4279">0</cx:pt>
          <cx:pt idx="4280">0</cx:pt>
          <cx:pt idx="4281">0</cx:pt>
          <cx:pt idx="4282">0</cx:pt>
          <cx:pt idx="4283">0</cx:pt>
          <cx:pt idx="4284">0</cx:pt>
          <cx:pt idx="4285">0</cx:pt>
          <cx:pt idx="4286">0</cx:pt>
          <cx:pt idx="4287">0</cx:pt>
          <cx:pt idx="4288">0</cx:pt>
          <cx:pt idx="4289">0</cx:pt>
          <cx:pt idx="4290">0</cx:pt>
          <cx:pt idx="4291">0</cx:pt>
          <cx:pt idx="4292">0</cx:pt>
          <cx:pt idx="4293">0</cx:pt>
          <cx:pt idx="4294">0</cx:pt>
          <cx:pt idx="4295">0</cx:pt>
          <cx:pt idx="4296">0</cx:pt>
          <cx:pt idx="4297">0</cx:pt>
          <cx:pt idx="4298">0</cx:pt>
          <cx:pt idx="4299">0</cx:pt>
          <cx:pt idx="4300">0</cx:pt>
          <cx:pt idx="4301">0</cx:pt>
          <cx:pt idx="4302">0</cx:pt>
          <cx:pt idx="4303">0</cx:pt>
          <cx:pt idx="4304">0</cx:pt>
          <cx:pt idx="4305">0</cx:pt>
          <cx:pt idx="4306">0</cx:pt>
          <cx:pt idx="4307">0</cx:pt>
          <cx:pt idx="4308">0</cx:pt>
          <cx:pt idx="4309">0</cx:pt>
          <cx:pt idx="4310">0</cx:pt>
          <cx:pt idx="4311">0</cx:pt>
          <cx:pt idx="4312">0</cx:pt>
          <cx:pt idx="4313">0</cx:pt>
          <cx:pt idx="4314">0</cx:pt>
          <cx:pt idx="4315">0</cx:pt>
          <cx:pt idx="4316">0</cx:pt>
          <cx:pt idx="4317">0</cx:pt>
          <cx:pt idx="4318">0</cx:pt>
          <cx:pt idx="4319">0</cx:pt>
          <cx:pt idx="4320">0</cx:pt>
          <cx:pt idx="4321">0</cx:pt>
          <cx:pt idx="4322">0</cx:pt>
          <cx:pt idx="4323">0</cx:pt>
          <cx:pt idx="4324">0</cx:pt>
          <cx:pt idx="4325">0</cx:pt>
          <cx:pt idx="4326">0</cx:pt>
          <cx:pt idx="4327">0</cx:pt>
          <cx:pt idx="4328">0</cx:pt>
          <cx:pt idx="4329">0</cx:pt>
          <cx:pt idx="4330">0</cx:pt>
          <cx:pt idx="4331">0</cx:pt>
          <cx:pt idx="4332">0</cx:pt>
          <cx:pt idx="4333">0</cx:pt>
          <cx:pt idx="4334">0</cx:pt>
          <cx:pt idx="4335">0</cx:pt>
          <cx:pt idx="4336">0</cx:pt>
          <cx:pt idx="4337">0</cx:pt>
          <cx:pt idx="4338">0</cx:pt>
          <cx:pt idx="4339">0</cx:pt>
          <cx:pt idx="4340">0</cx:pt>
          <cx:pt idx="4341">0</cx:pt>
          <cx:pt idx="4342">0</cx:pt>
          <cx:pt idx="4343">0</cx:pt>
          <cx:pt idx="4344">0</cx:pt>
          <cx:pt idx="4345">0</cx:pt>
          <cx:pt idx="4346">0</cx:pt>
          <cx:pt idx="4347">0</cx:pt>
          <cx:pt idx="4348">0</cx:pt>
          <cx:pt idx="4349">0</cx:pt>
          <cx:pt idx="4350">0</cx:pt>
          <cx:pt idx="4351">0</cx:pt>
          <cx:pt idx="4352">0</cx:pt>
          <cx:pt idx="4353">0</cx:pt>
          <cx:pt idx="4354">0</cx:pt>
          <cx:pt idx="4355">0</cx:pt>
          <cx:pt idx="4356">0</cx:pt>
          <cx:pt idx="4357">0</cx:pt>
          <cx:pt idx="4358">0</cx:pt>
          <cx:pt idx="4359">0</cx:pt>
          <cx:pt idx="4360">0</cx:pt>
          <cx:pt idx="4361">0</cx:pt>
          <cx:pt idx="4362">0</cx:pt>
          <cx:pt idx="4363">0</cx:pt>
          <cx:pt idx="4364">0</cx:pt>
          <cx:pt idx="4365">0</cx:pt>
          <cx:pt idx="4366">0</cx:pt>
          <cx:pt idx="4367">0</cx:pt>
          <cx:pt idx="4368">0</cx:pt>
          <cx:pt idx="4369">0</cx:pt>
          <cx:pt idx="4370">0</cx:pt>
          <cx:pt idx="4371">0</cx:pt>
          <cx:pt idx="4372">0</cx:pt>
          <cx:pt idx="4373">0</cx:pt>
          <cx:pt idx="4374">0</cx:pt>
          <cx:pt idx="4375">0</cx:pt>
          <cx:pt idx="4376">0</cx:pt>
          <cx:pt idx="4377">0</cx:pt>
          <cx:pt idx="4378">0</cx:pt>
          <cx:pt idx="4379">0</cx:pt>
          <cx:pt idx="4380">0</cx:pt>
          <cx:pt idx="4381">0</cx:pt>
          <cx:pt idx="4382">0</cx:pt>
          <cx:pt idx="4383">0</cx:pt>
          <cx:pt idx="4384">0</cx:pt>
          <cx:pt idx="4385">0</cx:pt>
          <cx:pt idx="4386">0</cx:pt>
          <cx:pt idx="4387">0</cx:pt>
          <cx:pt idx="4388">0</cx:pt>
          <cx:pt idx="4389">0</cx:pt>
          <cx:pt idx="4390">0</cx:pt>
          <cx:pt idx="4391">0</cx:pt>
          <cx:pt idx="4392">0</cx:pt>
          <cx:pt idx="4393">0</cx:pt>
          <cx:pt idx="4394">0</cx:pt>
          <cx:pt idx="4395">0</cx:pt>
          <cx:pt idx="4396">0</cx:pt>
          <cx:pt idx="4397">0</cx:pt>
          <cx:pt idx="4398">0</cx:pt>
          <cx:pt idx="4399">0</cx:pt>
          <cx:pt idx="4400">0</cx:pt>
          <cx:pt idx="4401">0</cx:pt>
          <cx:pt idx="4402">0</cx:pt>
          <cx:pt idx="4403">0</cx:pt>
          <cx:pt idx="4404">0</cx:pt>
          <cx:pt idx="4405">0</cx:pt>
          <cx:pt idx="4406">0</cx:pt>
          <cx:pt idx="4407">0</cx:pt>
          <cx:pt idx="4408">0</cx:pt>
          <cx:pt idx="4409">0</cx:pt>
          <cx:pt idx="4410">0</cx:pt>
          <cx:pt idx="4411">0</cx:pt>
          <cx:pt idx="4412">0</cx:pt>
          <cx:pt idx="4413">0</cx:pt>
          <cx:pt idx="4414">0</cx:pt>
          <cx:pt idx="4415">0</cx:pt>
          <cx:pt idx="4416">0</cx:pt>
          <cx:pt idx="4417">0</cx:pt>
          <cx:pt idx="4418">0</cx:pt>
          <cx:pt idx="4419">0</cx:pt>
          <cx:pt idx="4420">0</cx:pt>
          <cx:pt idx="4421">0</cx:pt>
          <cx:pt idx="4422">0</cx:pt>
          <cx:pt idx="4423">0</cx:pt>
          <cx:pt idx="4424">0</cx:pt>
          <cx:pt idx="4425">0</cx:pt>
          <cx:pt idx="4426">0</cx:pt>
          <cx:pt idx="4427">0</cx:pt>
          <cx:pt idx="4428">0</cx:pt>
          <cx:pt idx="4429">0</cx:pt>
          <cx:pt idx="4430">0</cx:pt>
          <cx:pt idx="4431">0</cx:pt>
          <cx:pt idx="4432">0</cx:pt>
          <cx:pt idx="4433">0</cx:pt>
          <cx:pt idx="4434">0</cx:pt>
          <cx:pt idx="4435">0</cx:pt>
          <cx:pt idx="4436">0</cx:pt>
          <cx:pt idx="4437">0</cx:pt>
          <cx:pt idx="4438">0</cx:pt>
          <cx:pt idx="4439">0</cx:pt>
          <cx:pt idx="4440">0</cx:pt>
          <cx:pt idx="4441">0</cx:pt>
          <cx:pt idx="4442">0</cx:pt>
          <cx:pt idx="4443">0</cx:pt>
          <cx:pt idx="4444">0</cx:pt>
          <cx:pt idx="4445">0</cx:pt>
          <cx:pt idx="4446">0</cx:pt>
          <cx:pt idx="4447">0</cx:pt>
          <cx:pt idx="4448">0</cx:pt>
          <cx:pt idx="4449">0</cx:pt>
          <cx:pt idx="4450">0</cx:pt>
          <cx:pt idx="4451">0</cx:pt>
          <cx:pt idx="4452">0</cx:pt>
          <cx:pt idx="4453">0</cx:pt>
          <cx:pt idx="4454">0</cx:pt>
          <cx:pt idx="4455">0</cx:pt>
          <cx:pt idx="4456">0</cx:pt>
          <cx:pt idx="4457">0</cx:pt>
          <cx:pt idx="4458">0</cx:pt>
          <cx:pt idx="4459">0</cx:pt>
          <cx:pt idx="4460">0</cx:pt>
          <cx:pt idx="4461">0</cx:pt>
          <cx:pt idx="4462">0</cx:pt>
          <cx:pt idx="4463">0</cx:pt>
          <cx:pt idx="4464">0</cx:pt>
          <cx:pt idx="4465">0</cx:pt>
          <cx:pt idx="4466">0</cx:pt>
          <cx:pt idx="4467">0</cx:pt>
          <cx:pt idx="4468">0</cx:pt>
          <cx:pt idx="4469">0</cx:pt>
          <cx:pt idx="4470">0</cx:pt>
          <cx:pt idx="4471">0</cx:pt>
          <cx:pt idx="4472">0</cx:pt>
          <cx:pt idx="4473">0</cx:pt>
          <cx:pt idx="4474">0</cx:pt>
          <cx:pt idx="4475">0</cx:pt>
          <cx:pt idx="4476">0</cx:pt>
          <cx:pt idx="4477">0</cx:pt>
          <cx:pt idx="4478">0</cx:pt>
          <cx:pt idx="4479">0</cx:pt>
          <cx:pt idx="4480">0</cx:pt>
          <cx:pt idx="4481">0</cx:pt>
          <cx:pt idx="4482">0</cx:pt>
          <cx:pt idx="4483">0</cx:pt>
          <cx:pt idx="4484">0</cx:pt>
          <cx:pt idx="4485">0</cx:pt>
          <cx:pt idx="4486">0</cx:pt>
          <cx:pt idx="4487">0</cx:pt>
          <cx:pt idx="4488">0</cx:pt>
          <cx:pt idx="4489">0</cx:pt>
          <cx:pt idx="4490">0</cx:pt>
          <cx:pt idx="4491">0</cx:pt>
          <cx:pt idx="4492">0</cx:pt>
          <cx:pt idx="4493">0</cx:pt>
          <cx:pt idx="4494">0</cx:pt>
          <cx:pt idx="4495">0</cx:pt>
          <cx:pt idx="4496">0</cx:pt>
          <cx:pt idx="4497">0</cx:pt>
          <cx:pt idx="4498">0</cx:pt>
          <cx:pt idx="4499">0</cx:pt>
          <cx:pt idx="4500">0</cx:pt>
          <cx:pt idx="4501">0</cx:pt>
          <cx:pt idx="4502">0</cx:pt>
          <cx:pt idx="4503">0</cx:pt>
          <cx:pt idx="4504">0</cx:pt>
          <cx:pt idx="4505">0</cx:pt>
          <cx:pt idx="4506">0</cx:pt>
          <cx:pt idx="4507">0</cx:pt>
          <cx:pt idx="4508">0</cx:pt>
          <cx:pt idx="4509">0</cx:pt>
          <cx:pt idx="4510">0</cx:pt>
          <cx:pt idx="4511">0</cx:pt>
          <cx:pt idx="4512">0</cx:pt>
          <cx:pt idx="4513">0</cx:pt>
          <cx:pt idx="4514">0</cx:pt>
          <cx:pt idx="4515">0</cx:pt>
          <cx:pt idx="4516">0</cx:pt>
          <cx:pt idx="4517">0</cx:pt>
          <cx:pt idx="4518">0</cx:pt>
          <cx:pt idx="4519">0</cx:pt>
          <cx:pt idx="4520">0</cx:pt>
          <cx:pt idx="4521">0</cx:pt>
          <cx:pt idx="4522">0</cx:pt>
          <cx:pt idx="4523">0</cx:pt>
          <cx:pt idx="4524">0</cx:pt>
          <cx:pt idx="4525">0</cx:pt>
          <cx:pt idx="4526">0</cx:pt>
          <cx:pt idx="4527">0</cx:pt>
          <cx:pt idx="4528">0</cx:pt>
          <cx:pt idx="4529">0</cx:pt>
          <cx:pt idx="4530">0</cx:pt>
          <cx:pt idx="4531">0</cx:pt>
          <cx:pt idx="4532">0</cx:pt>
          <cx:pt idx="4533">0</cx:pt>
          <cx:pt idx="4534">0</cx:pt>
          <cx:pt idx="4535">0</cx:pt>
          <cx:pt idx="4536">0</cx:pt>
          <cx:pt idx="4537">0</cx:pt>
          <cx:pt idx="4538">0</cx:pt>
          <cx:pt idx="4539">0</cx:pt>
          <cx:pt idx="4540">0</cx:pt>
          <cx:pt idx="4541">0</cx:pt>
          <cx:pt idx="4542">0</cx:pt>
          <cx:pt idx="4543">0</cx:pt>
          <cx:pt idx="4544">0</cx:pt>
          <cx:pt idx="4545">0</cx:pt>
          <cx:pt idx="4546">0</cx:pt>
          <cx:pt idx="4547">0</cx:pt>
          <cx:pt idx="4548">0</cx:pt>
          <cx:pt idx="4549">0</cx:pt>
          <cx:pt idx="4550">0</cx:pt>
          <cx:pt idx="4551">0</cx:pt>
          <cx:pt idx="4552">0</cx:pt>
          <cx:pt idx="4553">0</cx:pt>
          <cx:pt idx="4554">0</cx:pt>
          <cx:pt idx="4555">0</cx:pt>
          <cx:pt idx="4556">0</cx:pt>
          <cx:pt idx="4557">0</cx:pt>
          <cx:pt idx="4558">0</cx:pt>
          <cx:pt idx="4559">0</cx:pt>
          <cx:pt idx="4560">0</cx:pt>
          <cx:pt idx="4561">0</cx:pt>
          <cx:pt idx="4562">0</cx:pt>
          <cx:pt idx="4563">0</cx:pt>
          <cx:pt idx="4564">0</cx:pt>
          <cx:pt idx="4565">0</cx:pt>
          <cx:pt idx="4566">0</cx:pt>
          <cx:pt idx="4567">0</cx:pt>
          <cx:pt idx="4568">0</cx:pt>
          <cx:pt idx="4569">0</cx:pt>
          <cx:pt idx="4570">0</cx:pt>
          <cx:pt idx="4571">0</cx:pt>
          <cx:pt idx="4572">0</cx:pt>
          <cx:pt idx="4573">0</cx:pt>
          <cx:pt idx="4574">0</cx:pt>
          <cx:pt idx="4575">0</cx:pt>
          <cx:pt idx="4576">0</cx:pt>
          <cx:pt idx="4577">0</cx:pt>
          <cx:pt idx="4578">0</cx:pt>
          <cx:pt idx="4579">0</cx:pt>
          <cx:pt idx="4580">0</cx:pt>
          <cx:pt idx="4581">0</cx:pt>
          <cx:pt idx="4582">0</cx:pt>
          <cx:pt idx="4583">0</cx:pt>
          <cx:pt idx="4584">0</cx:pt>
          <cx:pt idx="4585">0</cx:pt>
          <cx:pt idx="4586">0</cx:pt>
          <cx:pt idx="4587">0</cx:pt>
          <cx:pt idx="4588">0</cx:pt>
          <cx:pt idx="4589">0</cx:pt>
          <cx:pt idx="4590">0</cx:pt>
          <cx:pt idx="4591">0</cx:pt>
          <cx:pt idx="4592">0</cx:pt>
          <cx:pt idx="4593">0</cx:pt>
          <cx:pt idx="4594">0</cx:pt>
          <cx:pt idx="4595">0</cx:pt>
          <cx:pt idx="4596">0</cx:pt>
          <cx:pt idx="4597">0</cx:pt>
          <cx:pt idx="4598">0</cx:pt>
          <cx:pt idx="4599">0</cx:pt>
          <cx:pt idx="4600">0</cx:pt>
          <cx:pt idx="4601">0</cx:pt>
          <cx:pt idx="4602">0</cx:pt>
          <cx:pt idx="4603">0</cx:pt>
          <cx:pt idx="4604">0</cx:pt>
          <cx:pt idx="4605">0</cx:pt>
          <cx:pt idx="4606">0</cx:pt>
          <cx:pt idx="4607">0</cx:pt>
          <cx:pt idx="4608">0</cx:pt>
          <cx:pt idx="4609">0</cx:pt>
          <cx:pt idx="4610">0</cx:pt>
          <cx:pt idx="4611">0</cx:pt>
          <cx:pt idx="4612">0</cx:pt>
          <cx:pt idx="4613">0</cx:pt>
          <cx:pt idx="4614">0</cx:pt>
          <cx:pt idx="4615">0</cx:pt>
          <cx:pt idx="4616">0</cx:pt>
          <cx:pt idx="4617">0</cx:pt>
          <cx:pt idx="4618">0</cx:pt>
          <cx:pt idx="4619">0</cx:pt>
          <cx:pt idx="4620">0</cx:pt>
          <cx:pt idx="4621">0</cx:pt>
          <cx:pt idx="4622">0</cx:pt>
          <cx:pt idx="4623">0</cx:pt>
          <cx:pt idx="4624">0</cx:pt>
          <cx:pt idx="4625">0</cx:pt>
          <cx:pt idx="4626">0</cx:pt>
          <cx:pt idx="4627">0</cx:pt>
          <cx:pt idx="4628">0</cx:pt>
          <cx:pt idx="4629">0</cx:pt>
          <cx:pt idx="4630">0</cx:pt>
          <cx:pt idx="4631">0</cx:pt>
          <cx:pt idx="4632">0</cx:pt>
          <cx:pt idx="4633">0</cx:pt>
          <cx:pt idx="4634">0</cx:pt>
          <cx:pt idx="4635">0</cx:pt>
          <cx:pt idx="4636">0</cx:pt>
          <cx:pt idx="4637">0</cx:pt>
          <cx:pt idx="4638">0</cx:pt>
          <cx:pt idx="4639">0</cx:pt>
          <cx:pt idx="4640">0</cx:pt>
          <cx:pt idx="4641">0</cx:pt>
          <cx:pt idx="4642">0</cx:pt>
          <cx:pt idx="4643">0</cx:pt>
          <cx:pt idx="4644">0</cx:pt>
          <cx:pt idx="4645">0</cx:pt>
          <cx:pt idx="4646">0</cx:pt>
          <cx:pt idx="4647">0</cx:pt>
          <cx:pt idx="4648">0</cx:pt>
          <cx:pt idx="4649">0</cx:pt>
          <cx:pt idx="4650">0</cx:pt>
          <cx:pt idx="4651">0</cx:pt>
          <cx:pt idx="4652">0</cx:pt>
          <cx:pt idx="4653">0</cx:pt>
          <cx:pt idx="4654">0</cx:pt>
          <cx:pt idx="4655">0</cx:pt>
          <cx:pt idx="4656">0</cx:pt>
          <cx:pt idx="4657">0</cx:pt>
          <cx:pt idx="4658">0</cx:pt>
          <cx:pt idx="4659">0</cx:pt>
          <cx:pt idx="4660">0</cx:pt>
          <cx:pt idx="4661">0</cx:pt>
          <cx:pt idx="4662">0</cx:pt>
          <cx:pt idx="4663">0</cx:pt>
          <cx:pt idx="4664">0</cx:pt>
          <cx:pt idx="4665">0</cx:pt>
          <cx:pt idx="4666">0</cx:pt>
          <cx:pt idx="4667">0</cx:pt>
          <cx:pt idx="4668">0</cx:pt>
          <cx:pt idx="4669">0</cx:pt>
          <cx:pt idx="4670">0</cx:pt>
          <cx:pt idx="4671">0</cx:pt>
          <cx:pt idx="4672">0</cx:pt>
          <cx:pt idx="4673">0</cx:pt>
          <cx:pt idx="4674">0</cx:pt>
          <cx:pt idx="4675">0</cx:pt>
          <cx:pt idx="4676">0</cx:pt>
          <cx:pt idx="4677">0</cx:pt>
          <cx:pt idx="4678">0</cx:pt>
          <cx:pt idx="4679">0</cx:pt>
          <cx:pt idx="4680">0</cx:pt>
          <cx:pt idx="4681">0</cx:pt>
          <cx:pt idx="4682">0</cx:pt>
          <cx:pt idx="4683">0</cx:pt>
          <cx:pt idx="4684">0</cx:pt>
          <cx:pt idx="4685">0</cx:pt>
          <cx:pt idx="4686">0</cx:pt>
          <cx:pt idx="4687">0</cx:pt>
          <cx:pt idx="4688">0</cx:pt>
          <cx:pt idx="4689">0</cx:pt>
          <cx:pt idx="4690">0</cx:pt>
          <cx:pt idx="4691">0</cx:pt>
          <cx:pt idx="4692">0</cx:pt>
          <cx:pt idx="4693">0</cx:pt>
          <cx:pt idx="4694">0</cx:pt>
          <cx:pt idx="4695">0</cx:pt>
          <cx:pt idx="4696">0</cx:pt>
          <cx:pt idx="4697">0</cx:pt>
          <cx:pt idx="4698">0</cx:pt>
          <cx:pt idx="4699">0</cx:pt>
          <cx:pt idx="4700">0</cx:pt>
          <cx:pt idx="4701">0</cx:pt>
          <cx:pt idx="4702">0</cx:pt>
          <cx:pt idx="4703">0</cx:pt>
          <cx:pt idx="4704">0</cx:pt>
          <cx:pt idx="4705">0</cx:pt>
          <cx:pt idx="4706">0</cx:pt>
          <cx:pt idx="4707">0</cx:pt>
          <cx:pt idx="4708">0</cx:pt>
          <cx:pt idx="4709">0</cx:pt>
          <cx:pt idx="4710">0</cx:pt>
          <cx:pt idx="4711">0</cx:pt>
          <cx:pt idx="4712">0</cx:pt>
          <cx:pt idx="4713">0</cx:pt>
          <cx:pt idx="4714">0</cx:pt>
          <cx:pt idx="4715">0</cx:pt>
          <cx:pt idx="4716">0</cx:pt>
          <cx:pt idx="4717">0</cx:pt>
          <cx:pt idx="4718">0</cx:pt>
          <cx:pt idx="4719">0</cx:pt>
          <cx:pt idx="4720">0</cx:pt>
          <cx:pt idx="4721">0</cx:pt>
          <cx:pt idx="4722">0</cx:pt>
          <cx:pt idx="4723">0</cx:pt>
          <cx:pt idx="4724">0</cx:pt>
          <cx:pt idx="4725">0</cx:pt>
          <cx:pt idx="4726">0</cx:pt>
          <cx:pt idx="4727">0</cx:pt>
          <cx:pt idx="4728">0</cx:pt>
          <cx:pt idx="4729">0</cx:pt>
          <cx:pt idx="4730">0</cx:pt>
          <cx:pt idx="4731">0</cx:pt>
          <cx:pt idx="4732">0</cx:pt>
          <cx:pt idx="4733">0</cx:pt>
          <cx:pt idx="4734">0</cx:pt>
          <cx:pt idx="4735">0</cx:pt>
          <cx:pt idx="4736">0</cx:pt>
          <cx:pt idx="4737">0</cx:pt>
          <cx:pt idx="4738">0</cx:pt>
          <cx:pt idx="4739">0</cx:pt>
          <cx:pt idx="4740">0</cx:pt>
          <cx:pt idx="4741">0</cx:pt>
          <cx:pt idx="4742">0</cx:pt>
          <cx:pt idx="4743">0</cx:pt>
          <cx:pt idx="4744">0</cx:pt>
          <cx:pt idx="4745">0</cx:pt>
          <cx:pt idx="4746">0</cx:pt>
          <cx:pt idx="4747">0</cx:pt>
          <cx:pt idx="4748">0</cx:pt>
          <cx:pt idx="4749">0</cx:pt>
          <cx:pt idx="4750">0</cx:pt>
          <cx:pt idx="4751">0</cx:pt>
          <cx:pt idx="4752">0</cx:pt>
          <cx:pt idx="4753">0</cx:pt>
          <cx:pt idx="4754">0</cx:pt>
          <cx:pt idx="4755">0</cx:pt>
          <cx:pt idx="4756">0</cx:pt>
          <cx:pt idx="4757">0</cx:pt>
          <cx:pt idx="4758">0</cx:pt>
          <cx:pt idx="4759">0</cx:pt>
          <cx:pt idx="4760">0</cx:pt>
          <cx:pt idx="4761">0</cx:pt>
          <cx:pt idx="4762">0</cx:pt>
          <cx:pt idx="4763">0</cx:pt>
          <cx:pt idx="4764">0</cx:pt>
          <cx:pt idx="4765">0</cx:pt>
          <cx:pt idx="4766">0</cx:pt>
          <cx:pt idx="4767">0</cx:pt>
          <cx:pt idx="4768">0</cx:pt>
          <cx:pt idx="4769">0</cx:pt>
          <cx:pt idx="4770">0</cx:pt>
          <cx:pt idx="4771">0</cx:pt>
          <cx:pt idx="4772">0</cx:pt>
          <cx:pt idx="4773">0</cx:pt>
          <cx:pt idx="4774">0</cx:pt>
          <cx:pt idx="4775">0</cx:pt>
          <cx:pt idx="4776">0</cx:pt>
          <cx:pt idx="4777">0</cx:pt>
          <cx:pt idx="4778">0</cx:pt>
          <cx:pt idx="4779">0</cx:pt>
          <cx:pt idx="4780">0</cx:pt>
          <cx:pt idx="4781">0</cx:pt>
          <cx:pt idx="4782">0</cx:pt>
          <cx:pt idx="4783">0</cx:pt>
          <cx:pt idx="4784">0</cx:pt>
          <cx:pt idx="4785">0</cx:pt>
          <cx:pt idx="4786">0</cx:pt>
          <cx:pt idx="4787">0</cx:pt>
          <cx:pt idx="4788">0</cx:pt>
          <cx:pt idx="4789">0</cx:pt>
          <cx:pt idx="4790">0</cx:pt>
          <cx:pt idx="4791">0</cx:pt>
          <cx:pt idx="4792">0</cx:pt>
          <cx:pt idx="4793">0</cx:pt>
          <cx:pt idx="4794">0</cx:pt>
          <cx:pt idx="4795">0</cx:pt>
          <cx:pt idx="4796">0</cx:pt>
          <cx:pt idx="4797">0</cx:pt>
          <cx:pt idx="4798">0</cx:pt>
          <cx:pt idx="4799">0</cx:pt>
          <cx:pt idx="4800">0</cx:pt>
          <cx:pt idx="4801">0</cx:pt>
          <cx:pt idx="4802">0</cx:pt>
          <cx:pt idx="4803">0</cx:pt>
          <cx:pt idx="4804">0</cx:pt>
          <cx:pt idx="4805">0</cx:pt>
          <cx:pt idx="4806">0</cx:pt>
          <cx:pt idx="4807">0</cx:pt>
          <cx:pt idx="4808">0</cx:pt>
          <cx:pt idx="4809">0</cx:pt>
          <cx:pt idx="4810">0</cx:pt>
          <cx:pt idx="4811">0</cx:pt>
          <cx:pt idx="4812">0</cx:pt>
          <cx:pt idx="4813">0</cx:pt>
          <cx:pt idx="4814">0</cx:pt>
          <cx:pt idx="4815">0</cx:pt>
          <cx:pt idx="4816">0</cx:pt>
          <cx:pt idx="4817">0</cx:pt>
          <cx:pt idx="4818">0</cx:pt>
          <cx:pt idx="4819">0</cx:pt>
          <cx:pt idx="4820">0</cx:pt>
          <cx:pt idx="4821">0</cx:pt>
          <cx:pt idx="4822">0</cx:pt>
          <cx:pt idx="4823">0</cx:pt>
          <cx:pt idx="4824">0</cx:pt>
          <cx:pt idx="4825">0</cx:pt>
          <cx:pt idx="4826">0</cx:pt>
          <cx:pt idx="4827">0</cx:pt>
          <cx:pt idx="4828">0</cx:pt>
          <cx:pt idx="4829">0</cx:pt>
          <cx:pt idx="4830">0</cx:pt>
          <cx:pt idx="4831">0</cx:pt>
          <cx:pt idx="4832">0</cx:pt>
          <cx:pt idx="4833">0</cx:pt>
          <cx:pt idx="4834">0</cx:pt>
          <cx:pt idx="4835">0</cx:pt>
          <cx:pt idx="4836">0</cx:pt>
          <cx:pt idx="4837">0</cx:pt>
          <cx:pt idx="4838">0</cx:pt>
          <cx:pt idx="4839">0</cx:pt>
          <cx:pt idx="4840">0</cx:pt>
          <cx:pt idx="4841">0</cx:pt>
          <cx:pt idx="4842">0</cx:pt>
          <cx:pt idx="4843">0</cx:pt>
          <cx:pt idx="4844">0</cx:pt>
          <cx:pt idx="4845">0</cx:pt>
          <cx:pt idx="4846">0</cx:pt>
          <cx:pt idx="4847">0</cx:pt>
          <cx:pt idx="4848">0</cx:pt>
          <cx:pt idx="4849">0</cx:pt>
          <cx:pt idx="4850">0</cx:pt>
          <cx:pt idx="4851">0</cx:pt>
          <cx:pt idx="4852">0</cx:pt>
          <cx:pt idx="4853">0</cx:pt>
          <cx:pt idx="4854">0</cx:pt>
          <cx:pt idx="4855">0</cx:pt>
          <cx:pt idx="4856">0</cx:pt>
          <cx:pt idx="4857">0</cx:pt>
          <cx:pt idx="4858">0</cx:pt>
          <cx:pt idx="4859">0</cx:pt>
          <cx:pt idx="4860">0</cx:pt>
          <cx:pt idx="4861">0</cx:pt>
          <cx:pt idx="4862">0</cx:pt>
          <cx:pt idx="4863">0</cx:pt>
          <cx:pt idx="4864">0</cx:pt>
          <cx:pt idx="4865">0</cx:pt>
          <cx:pt idx="4866">0</cx:pt>
          <cx:pt idx="4867">0</cx:pt>
          <cx:pt idx="4868">0</cx:pt>
          <cx:pt idx="4869">0</cx:pt>
          <cx:pt idx="4870">0</cx:pt>
          <cx:pt idx="4871">0</cx:pt>
          <cx:pt idx="4872">0</cx:pt>
          <cx:pt idx="4873">0</cx:pt>
          <cx:pt idx="4874">0</cx:pt>
          <cx:pt idx="4875">0</cx:pt>
          <cx:pt idx="4876">0</cx:pt>
          <cx:pt idx="4877">0</cx:pt>
          <cx:pt idx="4878">0</cx:pt>
          <cx:pt idx="4879">0</cx:pt>
          <cx:pt idx="4880">0</cx:pt>
          <cx:pt idx="4881">0</cx:pt>
          <cx:pt idx="4882">0</cx:pt>
          <cx:pt idx="4883">0</cx:pt>
          <cx:pt idx="4884">0</cx:pt>
          <cx:pt idx="4885">0</cx:pt>
          <cx:pt idx="4886">0</cx:pt>
          <cx:pt idx="4887">0</cx:pt>
          <cx:pt idx="4888">0</cx:pt>
          <cx:pt idx="4889">0</cx:pt>
          <cx:pt idx="4890">0</cx:pt>
          <cx:pt idx="4891">0</cx:pt>
          <cx:pt idx="4892">0</cx:pt>
          <cx:pt idx="4893">0</cx:pt>
          <cx:pt idx="4894">0</cx:pt>
          <cx:pt idx="4895">0</cx:pt>
          <cx:pt idx="4896">0</cx:pt>
          <cx:pt idx="4897">0</cx:pt>
          <cx:pt idx="4898">0</cx:pt>
          <cx:pt idx="4899">0</cx:pt>
          <cx:pt idx="4900">0</cx:pt>
          <cx:pt idx="4901">0</cx:pt>
          <cx:pt idx="4902">0</cx:pt>
          <cx:pt idx="4903">0</cx:pt>
          <cx:pt idx="4904">0</cx:pt>
          <cx:pt idx="4905">0</cx:pt>
          <cx:pt idx="4906">0</cx:pt>
          <cx:pt idx="4907">0</cx:pt>
          <cx:pt idx="4908">0</cx:pt>
          <cx:pt idx="4909">0</cx:pt>
          <cx:pt idx="4910">0</cx:pt>
          <cx:pt idx="4911">0</cx:pt>
          <cx:pt idx="4912">0</cx:pt>
          <cx:pt idx="4913">0</cx:pt>
          <cx:pt idx="4914">0</cx:pt>
          <cx:pt idx="4915">0</cx:pt>
          <cx:pt idx="4916">0</cx:pt>
          <cx:pt idx="4917">0</cx:pt>
          <cx:pt idx="4918">0</cx:pt>
          <cx:pt idx="4919">0</cx:pt>
          <cx:pt idx="4920">0</cx:pt>
          <cx:pt idx="4921">0</cx:pt>
          <cx:pt idx="4922">0</cx:pt>
          <cx:pt idx="4923">0</cx:pt>
          <cx:pt idx="4924">0</cx:pt>
          <cx:pt idx="4925">0</cx:pt>
          <cx:pt idx="4926">0</cx:pt>
          <cx:pt idx="4927">0</cx:pt>
          <cx:pt idx="4928">0</cx:pt>
          <cx:pt idx="4929">0</cx:pt>
          <cx:pt idx="4930">0</cx:pt>
          <cx:pt idx="4931">0</cx:pt>
          <cx:pt idx="4932">0</cx:pt>
          <cx:pt idx="4933">0</cx:pt>
          <cx:pt idx="4934">0</cx:pt>
          <cx:pt idx="4935">0</cx:pt>
          <cx:pt idx="4936">0</cx:pt>
          <cx:pt idx="4937">0</cx:pt>
          <cx:pt idx="4938">0</cx:pt>
          <cx:pt idx="4939">0</cx:pt>
          <cx:pt idx="4940">0</cx:pt>
          <cx:pt idx="4941">0</cx:pt>
          <cx:pt idx="4942">0</cx:pt>
          <cx:pt idx="4943">0</cx:pt>
          <cx:pt idx="4944">0</cx:pt>
          <cx:pt idx="4945">0</cx:pt>
          <cx:pt idx="4946">0</cx:pt>
          <cx:pt idx="4947">0</cx:pt>
          <cx:pt idx="4948">0</cx:pt>
          <cx:pt idx="4949">0</cx:pt>
          <cx:pt idx="4950">0</cx:pt>
          <cx:pt idx="4951">0</cx:pt>
          <cx:pt idx="4952">0</cx:pt>
          <cx:pt idx="4953">0</cx:pt>
          <cx:pt idx="4954">0</cx:pt>
          <cx:pt idx="4955">0</cx:pt>
          <cx:pt idx="4956">0</cx:pt>
          <cx:pt idx="4957">0</cx:pt>
          <cx:pt idx="4958">0</cx:pt>
          <cx:pt idx="4959">0</cx:pt>
          <cx:pt idx="4960">0</cx:pt>
          <cx:pt idx="4961">0</cx:pt>
          <cx:pt idx="4962">0</cx:pt>
          <cx:pt idx="4963">0</cx:pt>
          <cx:pt idx="4964">0</cx:pt>
          <cx:pt idx="4965">0</cx:pt>
          <cx:pt idx="4966">0</cx:pt>
          <cx:pt idx="4967">0</cx:pt>
          <cx:pt idx="4968">0</cx:pt>
          <cx:pt idx="4969">0</cx:pt>
          <cx:pt idx="4970">0</cx:pt>
          <cx:pt idx="4971">0</cx:pt>
          <cx:pt idx="4972">0</cx:pt>
          <cx:pt idx="4973">0</cx:pt>
          <cx:pt idx="4974">0</cx:pt>
          <cx:pt idx="4975">0</cx:pt>
          <cx:pt idx="4976">0</cx:pt>
          <cx:pt idx="4977">0</cx:pt>
          <cx:pt idx="4978">0</cx:pt>
          <cx:pt idx="4979">0</cx:pt>
          <cx:pt idx="4980">0</cx:pt>
          <cx:pt idx="4981">0</cx:pt>
          <cx:pt idx="4982">0</cx:pt>
          <cx:pt idx="4983">0</cx:pt>
          <cx:pt idx="4984">0</cx:pt>
          <cx:pt idx="4985">0</cx:pt>
          <cx:pt idx="4986">0</cx:pt>
          <cx:pt idx="4987">0</cx:pt>
          <cx:pt idx="4988">0</cx:pt>
          <cx:pt idx="4989">0</cx:pt>
          <cx:pt idx="4990">0</cx:pt>
          <cx:pt idx="4991">0</cx:pt>
          <cx:pt idx="4992">0</cx:pt>
          <cx:pt idx="4993">0</cx:pt>
          <cx:pt idx="4994">0</cx:pt>
          <cx:pt idx="4995">0</cx:pt>
          <cx:pt idx="4996">0</cx:pt>
          <cx:pt idx="4997">0</cx:pt>
          <cx:pt idx="4998">0</cx:pt>
          <cx:pt idx="4999">0</cx:pt>
          <cx:pt idx="5000">0</cx:pt>
          <cx:pt idx="5001">0</cx:pt>
          <cx:pt idx="5002">0</cx:pt>
          <cx:pt idx="5003">0</cx:pt>
          <cx:pt idx="5004">0</cx:pt>
          <cx:pt idx="5005">0</cx:pt>
          <cx:pt idx="5006">0</cx:pt>
          <cx:pt idx="5007">0</cx:pt>
          <cx:pt idx="5008">0</cx:pt>
          <cx:pt idx="5009">0</cx:pt>
          <cx:pt idx="5010">0</cx:pt>
          <cx:pt idx="5011">0</cx:pt>
          <cx:pt idx="5012">0</cx:pt>
          <cx:pt idx="5013">0</cx:pt>
          <cx:pt idx="5014">0</cx:pt>
          <cx:pt idx="5015">0</cx:pt>
          <cx:pt idx="5016">0</cx:pt>
          <cx:pt idx="5017">0</cx:pt>
          <cx:pt idx="5018">0</cx:pt>
          <cx:pt idx="5019">0</cx:pt>
          <cx:pt idx="5020">0</cx:pt>
          <cx:pt idx="5021">0</cx:pt>
          <cx:pt idx="5022">0</cx:pt>
          <cx:pt idx="5023">0</cx:pt>
          <cx:pt idx="5024">0</cx:pt>
          <cx:pt idx="5025">0</cx:pt>
          <cx:pt idx="5026">0</cx:pt>
          <cx:pt idx="5027">0</cx:pt>
          <cx:pt idx="5028">0</cx:pt>
          <cx:pt idx="5029">0</cx:pt>
          <cx:pt idx="5030">0</cx:pt>
          <cx:pt idx="5031">0</cx:pt>
          <cx:pt idx="5032">0</cx:pt>
          <cx:pt idx="5033">0</cx:pt>
          <cx:pt idx="5034">0</cx:pt>
          <cx:pt idx="5035">0</cx:pt>
          <cx:pt idx="5036">0</cx:pt>
          <cx:pt idx="5037">0</cx:pt>
          <cx:pt idx="5038">0</cx:pt>
          <cx:pt idx="5039">0</cx:pt>
          <cx:pt idx="5040">0</cx:pt>
          <cx:pt idx="5041">0</cx:pt>
          <cx:pt idx="5042">0</cx:pt>
          <cx:pt idx="5043">0</cx:pt>
          <cx:pt idx="5044">0</cx:pt>
          <cx:pt idx="5045">0</cx:pt>
          <cx:pt idx="5046">0</cx:pt>
          <cx:pt idx="5047">0</cx:pt>
          <cx:pt idx="5048">0</cx:pt>
          <cx:pt idx="5049">0</cx:pt>
          <cx:pt idx="5050">0</cx:pt>
          <cx:pt idx="5051">0</cx:pt>
          <cx:pt idx="5052">0</cx:pt>
          <cx:pt idx="5053">0</cx:pt>
          <cx:pt idx="5054">0</cx:pt>
          <cx:pt idx="5055">0</cx:pt>
          <cx:pt idx="5056">0</cx:pt>
          <cx:pt idx="5057">0</cx:pt>
          <cx:pt idx="5058">0</cx:pt>
          <cx:pt idx="5059">0</cx:pt>
          <cx:pt idx="5060">0</cx:pt>
          <cx:pt idx="5061">0</cx:pt>
          <cx:pt idx="5062">0</cx:pt>
          <cx:pt idx="5063">0</cx:pt>
          <cx:pt idx="5064">0</cx:pt>
          <cx:pt idx="5065">0</cx:pt>
          <cx:pt idx="5066">0</cx:pt>
          <cx:pt idx="5067">0</cx:pt>
          <cx:pt idx="5068">0</cx:pt>
          <cx:pt idx="5069">0</cx:pt>
          <cx:pt idx="5070">0</cx:pt>
          <cx:pt idx="5071">0</cx:pt>
          <cx:pt idx="5072">0</cx:pt>
          <cx:pt idx="5073">0</cx:pt>
          <cx:pt idx="5074">0</cx:pt>
          <cx:pt idx="5075">0</cx:pt>
          <cx:pt idx="5076">0</cx:pt>
          <cx:pt idx="5077">0</cx:pt>
          <cx:pt idx="5078">0</cx:pt>
          <cx:pt idx="5079">0</cx:pt>
          <cx:pt idx="5080">0</cx:pt>
          <cx:pt idx="5081">0</cx:pt>
          <cx:pt idx="5082">0</cx:pt>
          <cx:pt idx="5083">0</cx:pt>
          <cx:pt idx="5084">0</cx:pt>
          <cx:pt idx="5085">0</cx:pt>
          <cx:pt idx="5086">0</cx:pt>
          <cx:pt idx="5087">0</cx:pt>
          <cx:pt idx="5088">0</cx:pt>
          <cx:pt idx="5089">0</cx:pt>
          <cx:pt idx="5090">0</cx:pt>
          <cx:pt idx="5091">0</cx:pt>
          <cx:pt idx="5092">0</cx:pt>
          <cx:pt idx="5093">0</cx:pt>
          <cx:pt idx="5094">0</cx:pt>
          <cx:pt idx="5095">0</cx:pt>
          <cx:pt idx="5096">0</cx:pt>
          <cx:pt idx="5097">0</cx:pt>
          <cx:pt idx="5098">0</cx:pt>
          <cx:pt idx="5099">0</cx:pt>
          <cx:pt idx="5100">0</cx:pt>
          <cx:pt idx="5101">0</cx:pt>
          <cx:pt idx="5102">0</cx:pt>
          <cx:pt idx="5103">0</cx:pt>
          <cx:pt idx="5104">0</cx:pt>
          <cx:pt idx="5105">0</cx:pt>
          <cx:pt idx="5106">0</cx:pt>
          <cx:pt idx="5107">0</cx:pt>
          <cx:pt idx="5108">0</cx:pt>
          <cx:pt idx="5109">0</cx:pt>
          <cx:pt idx="5110">0</cx:pt>
          <cx:pt idx="5111">0</cx:pt>
          <cx:pt idx="5112">0</cx:pt>
          <cx:pt idx="5113">0</cx:pt>
          <cx:pt idx="5114">0</cx:pt>
          <cx:pt idx="5115">0</cx:pt>
          <cx:pt idx="5116">0</cx:pt>
          <cx:pt idx="5117">0</cx:pt>
          <cx:pt idx="5118">0</cx:pt>
          <cx:pt idx="5119">0</cx:pt>
          <cx:pt idx="5120">0</cx:pt>
          <cx:pt idx="5121">0</cx:pt>
          <cx:pt idx="5122">0</cx:pt>
          <cx:pt idx="5123">0</cx:pt>
          <cx:pt idx="5124">0</cx:pt>
          <cx:pt idx="5125">0</cx:pt>
          <cx:pt idx="5126">0</cx:pt>
          <cx:pt idx="5127">0</cx:pt>
          <cx:pt idx="5128">0</cx:pt>
          <cx:pt idx="5129">0</cx:pt>
          <cx:pt idx="5130">0</cx:pt>
          <cx:pt idx="5131">0</cx:pt>
          <cx:pt idx="5132">0</cx:pt>
          <cx:pt idx="5133">0</cx:pt>
          <cx:pt idx="5134">0</cx:pt>
          <cx:pt idx="5135">0</cx:pt>
          <cx:pt idx="5136">0</cx:pt>
          <cx:pt idx="5137">0</cx:pt>
          <cx:pt idx="5138">0</cx:pt>
          <cx:pt idx="5139">0</cx:pt>
          <cx:pt idx="5140">0</cx:pt>
          <cx:pt idx="5141">0</cx:pt>
          <cx:pt idx="5142">0</cx:pt>
          <cx:pt idx="5143">0</cx:pt>
          <cx:pt idx="5144">0</cx:pt>
          <cx:pt idx="5145">0</cx:pt>
          <cx:pt idx="5146">0</cx:pt>
          <cx:pt idx="5147">0</cx:pt>
          <cx:pt idx="5148">0</cx:pt>
          <cx:pt idx="5149">0</cx:pt>
          <cx:pt idx="5150">0</cx:pt>
          <cx:pt idx="5151">0</cx:pt>
          <cx:pt idx="5152">0</cx:pt>
          <cx:pt idx="5153">0</cx:pt>
          <cx:pt idx="5154">0</cx:pt>
          <cx:pt idx="5155">0</cx:pt>
          <cx:pt idx="5156">0</cx:pt>
          <cx:pt idx="5157">0</cx:pt>
          <cx:pt idx="5158">0</cx:pt>
          <cx:pt idx="5159">0</cx:pt>
          <cx:pt idx="5160">0</cx:pt>
          <cx:pt idx="5161">0</cx:pt>
          <cx:pt idx="5162">0</cx:pt>
          <cx:pt idx="5163">0</cx:pt>
          <cx:pt idx="5164">0</cx:pt>
          <cx:pt idx="5165">0</cx:pt>
          <cx:pt idx="5166">0</cx:pt>
          <cx:pt idx="5167">0</cx:pt>
          <cx:pt idx="5168">0</cx:pt>
          <cx:pt idx="5169">0</cx:pt>
          <cx:pt idx="5170">0</cx:pt>
          <cx:pt idx="5171">0</cx:pt>
          <cx:pt idx="5172">0</cx:pt>
          <cx:pt idx="5173">0</cx:pt>
          <cx:pt idx="5174">0</cx:pt>
          <cx:pt idx="5175">0</cx:pt>
          <cx:pt idx="5176">0</cx:pt>
          <cx:pt idx="5177">0</cx:pt>
          <cx:pt idx="5178">0</cx:pt>
          <cx:pt idx="5179">0</cx:pt>
          <cx:pt idx="5180">0</cx:pt>
          <cx:pt idx="5181">0</cx:pt>
          <cx:pt idx="5182">0</cx:pt>
          <cx:pt idx="5183">0</cx:pt>
          <cx:pt idx="5184">0</cx:pt>
          <cx:pt idx="5185">0</cx:pt>
          <cx:pt idx="5186">0</cx:pt>
          <cx:pt idx="5187">0</cx:pt>
          <cx:pt idx="5188">0</cx:pt>
          <cx:pt idx="5189">0</cx:pt>
          <cx:pt idx="5190">0</cx:pt>
          <cx:pt idx="5191">0</cx:pt>
          <cx:pt idx="5192">0.00054341421999999997</cx:pt>
          <cx:pt idx="5193">0.00072444365999999993</cx:pt>
          <cx:pt idx="5194">0.0026085873999999996</cx:pt>
          <cx:pt idx="5195">0.0052510487999999998</cx:pt>
          <cx:pt idx="5196">0.0078226300800000002</cx:pt>
          <cx:pt idx="5197">0.0089436221900000001</cx:pt>
          <cx:pt idx="5198">0.01013860844</cx:pt>
          <cx:pt idx="5199">0.01691029371</cx:pt>
          <cx:pt idx="5200">0.01730881557</cx:pt>
          <cx:pt idx="5201">0.017961238519999999</cx:pt>
          <cx:pt idx="5202">0.017995981549999998</cx:pt>
          <cx:pt idx="5203">0.018032969560000001</cx:pt>
          <cx:pt idx="5204">0.018068853190000001</cx:pt>
          <cx:pt idx="5205">0.01810640245</cx:pt>
          <cx:pt idx="5206">0.018142286069999999</cx:pt>
          <cx:pt idx="5207">0.018177590340000001</cx:pt>
          <cx:pt idx="5208">0.018250733549999999</cx:pt>
          <cx:pt idx="5209">0.018286327499999998</cx:pt>
          <cx:pt idx="5210">0.018359760379999999</cx:pt>
          <cx:pt idx="5211">0.018395064660000002</cx:pt>
          <cx:pt idx="5212">0.018430930179999999</cx:pt>
          <cx:pt idx="5213">0.01846849754</cx:pt>
          <cx:pt idx="5214">0.01853966734</cx:pt>
          <cx:pt idx="5215">0.01861197773</cx:pt>
          <cx:pt idx="5216">0.018649526990000002</cx:pt>
          <cx:pt idx="5217">0.018794147770000002</cx:pt>
          <cx:pt idx="5218">0.018865027879999999</cx:pt>
          <cx:pt idx="5219">0.018902884929999999</cx:pt>
          <cx:pt idx="5220">0.0189381892</cx:pt>
          <cx:pt idx="5221">0.01919265153</cx:pt>
          <cx:pt idx="5222">0.019228535160000001</cx:pt>
          <cx:pt idx="5223">0.019263839429999999</cx:pt>
          <cx:pt idx="5224">0.019300827439999998</cx:pt>
          <cx:pt idx="5225">0.01930732705</cx:pt>
          <cx:pt idx="5226">0.01933727231</cx:pt>
          <cx:pt idx="5227">0.019372576589999999</cx:pt>
          <cx:pt idx="5228">0.019408152430000002</cx:pt>
          <cx:pt idx="5229">0.019446009470000001</cx:pt>
          <cx:pt idx="5230">0.01948131375</cx:pt>
          <cx:pt idx="5231">0.01951717926</cx:pt>
          <cx:pt idx="5232">0.019554746629999998</cx:pt>
          <cx:pt idx="5233">0.019590612149999999</cx:pt>
          <cx:pt idx="5234">0.019626206100000002</cx:pt>
          <cx:pt idx="5235">0.019735776069999999</cx:pt>
          <cx:pt idx="5236">0.019771659699999999</cx:pt>
          <cx:pt idx="5237">0.019806963970000001</cx:pt>
          <cx:pt idx="5238">0.019850451589999998</cx:pt>
          <cx:pt idx="5239">0.019915701130000001</cx:pt>
          <cx:pt idx="5240">0.019951276970000001</cx:pt>
          <cx:pt idx="5241">0.020241622929999998</cx:pt>
          <cx:pt idx="5242">0.020314784239999998</cx:pt>
          <cx:pt idx="5243">0.020350360090000002</cx:pt>
          <cx:pt idx="5244">0.020393576140000001</cx:pt>
          <cx:pt idx="5245">0.020640995719999999</cx:pt>
          <cx:pt idx="5246">0.020936700680000003</cx:pt>
          <cx:pt idx="5247">0.021038087309999998</cx:pt>
          <cx:pt idx="5248">0.021110687370000002</cx:pt>
          <cx:pt idx="5249">0.021182418410000001</cx:pt>
          <cx:pt idx="5250">0.021436609169999999</cx:pt>
          <cx:pt idx="5251">0.021479825219999998</cx:pt>
          <cx:pt idx="5252">0.021689949</cx:pt>
          <cx:pt idx="5253">0.021725542949999999</cx:pt>
          <cx:pt idx="5254">0.021763110320000001</cx:pt>
          <cx:pt idx="5255">0.02179870427</cx:pt>
          <cx:pt idx="5256">0.021834841360000003</cx:pt>
          <cx:pt idx="5257">0.021870996550000001</cx:pt>
          <cx:pt idx="5258">0.0219065905</cx:pt>
          <cx:pt idx="5259">0.02202294976</cx:pt>
          <cx:pt idx="5260">0.02219693646</cx:pt>
          <cx:pt idx="5261">0.022377965899999998</cx:pt>
          <cx:pt idx="5262">0.022414121100000003</cx:pt>
          <cx:pt idx="5263">0.022453390309999998</cx:pt>
          <cx:pt idx="5264">0.022559864369999998</cx:pt>
          <cx:pt idx="5265">0.022566074299999999</cx:pt>
          <cx:pt idx="5266">0.02259601957</cx:pt>
          <cx:pt idx="5267">0.0226688731</cx:pt>
          <cx:pt idx="5268">0.022740332570000001</cx:pt>
          <cx:pt idx="5269">0.022884935249999998</cx:pt>
          <cx:pt idx="5270">0.023102988920000001</cx:pt>
          <cx:pt idx="5271">0.023109198850000002</cx:pt>
          <cx:pt idx="5272">0.023139144109999999</cx:pt>
          <cx:pt idx="5273">0.02317471996</cx:pt>
          <cx:pt idx="5274">0.023247881270000003</cx:pt>
          <cx:pt idx="5275">0.023283185540000001</cx:pt>
          <cx:pt idx="5276">0.02331932263</cx:pt>
          <cx:pt idx="5277">0.023356889999999998</cx:pt>
          <cx:pt idx="5278">0.043085633779999993</cx:pt>
          <cx:pt idx="5279">0.062804340920000007</cx:pt>
          <cx:pt idx="5280">0.082844167629999993</cx:pt>
          <cx:pt idx="5281">0.1028839943</cx:pt>
          <cx:pt idx="5282">0.16315399999999999</cx:pt>
          <cx:pt idx="5283">0.19208345869999999</cx:pt>
          <cx:pt idx="5284">0.19693806229999999</cx:pt>
          <cx:pt idx="5285">0.33295181360000004</cx:pt>
          <cx:pt idx="5286">0.36120191320000006</cx:pt>
          <cx:pt idx="5287">0.58796698660000002</cx:pt>
          <cx:pt idx="5288">0.61666999119999999</cx:pt>
          <cx:pt idx="5289">0.64493424320000003</cx:pt>
          <cx:pt idx="5290">0.67253328839999993</cx:pt>
          <cx:pt idx="5291">0.78578844570000006</cx:pt>
          <cx:pt idx="5292">0.84298215639999996</cx:pt>
          <cx:pt idx="5293">0.8707935</cx:pt>
          <cx:pt idx="5294">0.86997448039999992</cx:pt>
          <cx:pt idx="5295">0.86986073580000001</cx:pt>
          <cx:pt idx="5296">0.86962414700000001</cx:pt>
          <cx:pt idx="5297">0.86951040239999999</cx:pt>
          <cx:pt idx="5298">0.8693939745999999</cx:pt>
          <cx:pt idx="5299">0.8692729387</cx:pt>
          <cx:pt idx="5300">0.86904364119999999</cx:pt>
          <cx:pt idx="5301">0.86881066890000003</cx:pt>
          <cx:pt idx="5302">0.86834110780000007</cx:pt>
          <cx:pt idx="5303">0.86822462160000002</cx:pt>
          <cx:pt idx="5304">0.86811000199999999</cx:pt>
          <cx:pt idx="5305">0.86799444920000002</cx:pt>
          <cx:pt idx="5306">0.86776054359999999</cx:pt>
          <cx:pt idx="5307">0.86694432389999998</cx:pt>
          <cx:pt idx="5308">0.86682422130000003</cx:pt>
          <cx:pt idx="5309">0.86647476280000002</cx:pt>
          <cx:pt idx="5310">0.86624459040000001</cx:pt>
          <cx:pt idx="5311">0.8661244293999999</cx:pt>
          <cx:pt idx="5312">0.86600980979999997</cx:pt>
          <cx:pt idx="5313">0.86589425689999999</cx:pt>
          <cx:pt idx="5314">0.86577777080000007</cx:pt>
          <cx:pt idx="5315">0.8656576681</cx:pt>
          <cx:pt idx="5316">0.86554299020000003</cx:pt>
          <cx:pt idx="5317">0.86472490400000002</cx:pt>
          <cx:pt idx="5318">0.8646111594</cx:pt>
          <cx:pt idx="5319">0.86425995099999997</cx:pt>
          <cx:pt idx="5320">0.86402791199999995</cx:pt>
          <cx:pt idx="5321">0.86390780930000011</cx:pt>
          <cx:pt idx="5322">0.86379313139999991</cx:pt>
          <cx:pt idx="5323">0.86367664529999999</cx:pt>
          <cx:pt idx="5324">0.8635610923999999</cx:pt>
          <cx:pt idx="5325">0.86321075899999999</cx:pt>
          <cx:pt idx="5326">0.86309153129999994</cx:pt>
          <cx:pt idx="5327">0.8629750451</cx:pt>
          <cx:pt idx="5328">0.86262471169999999</cx:pt>
          <cx:pt idx="5329">0.86239453929999998</cx:pt>
          <cx:pt idx="5330">0.8621588255</cx:pt>
          <cx:pt idx="5331">0.8618112336</cx:pt>
          <cx:pt idx="5332">0.86146090019999999</cx:pt>
          <cx:pt idx="5333">0.86134167250000004</cx:pt>
          <cx:pt idx="5334">0.86132166510000008</cx:pt>
          <cx:pt idx="5335">0.86087485289999999</cx:pt>
          <cx:pt idx="5336">0.86076023329999996</cx:pt>
          <cx:pt idx="5337">0.86064468049999998</cx:pt>
          <cx:pt idx="5338">0.86052364449999996</cx:pt>
          <cx:pt idx="5339">0.86040896659999999</cx:pt>
          <cx:pt idx="5340">0.85959181369999993</cx:pt>
          <cx:pt idx="5341">0.85957180629999996</cx:pt>
          <cx:pt idx="5342">0.85947532749999989</cx:pt>
          <cx:pt idx="5343">0.85936158289999998</cx:pt>
          <cx:pt idx="5344">0.85889482169999998</cx:pt>
          <cx:pt idx="5345">0.85877378570000007</cx:pt>
          <cx:pt idx="5346">0.85865823289999998</cx:pt>
          <cx:pt idx="5347">0.85854448829999996</cx:pt>
          <cx:pt idx="5348">0.85819047999999998</cx:pt>
          <cx:pt idx="5349">0.85807492710000011</cx:pt>
          <cx:pt idx="5350">0.85796118250000009</cx:pt>
          <cx:pt idx="5351">0.85784195479999992</cx:pt>
          <cx:pt idx="5352">0.85782107249999995</cx:pt>
          <cx:pt idx="5353">0.85772546869999999</cx:pt>
          <cx:pt idx="5354">0.85761172409999997</cx:pt>
          <cx:pt idx="5355">0.85749617119999999</cx:pt>
          <cx:pt idx="5356">0.85737513529999998</cx:pt>
          <cx:pt idx="5357">0.85726051569999995</cx:pt>
          <cx:pt idx="5358">0.85714496280000008</cx:pt>
          <cx:pt idx="5359">0.85702392689999995</cx:pt>
          <cx:pt idx="5360">0.85690837400000008</cx:pt>
          <cx:pt idx="5361">0.85679462939999995</cx:pt>
          <cx:pt idx="5362">0.85667720999999997</cx:pt>
          <cx:pt idx="5363">0.85656165709999998</cx:pt>
          <cx:pt idx="5364">0.85644062119999997</cx:pt>
          <cx:pt idx="5365">0.85632506829999999</cx:pt>
          <cx:pt idx="5366">0.85621132369999997</cx:pt>
          <cx:pt idx="5367">0.85609209600000002</cx:pt>
          <cx:pt idx="5368">0.85607208859999995</cx:pt>
          <cx:pt idx="5369">0.85597566819999993</cx:pt>
          <cx:pt idx="5370">0.85586186530000008</cx:pt>
          <cx:pt idx="5371">0.8557408876</cx:pt>
          <cx:pt idx="5372">0.85562527650000009</cx:pt>
          <cx:pt idx="5373">0.85551065690000005</cx:pt>
          <cx:pt idx="5374">0.85539510399999996</cx:pt>
          <cx:pt idx="5375">0.85527406810000006</cx:pt>
          <cx:pt idx="5376">0.85515851519999997</cx:pt>
          <cx:pt idx="5377">0.85504477059999995</cx:pt>
          <cx:pt idx="5378">0.85492735120000007</cx:pt>
          <cx:pt idx="5379">0.85481179829999998</cx:pt>
          <cx:pt idx="5380">0.85469076240000008</cx:pt>
          <cx:pt idx="5381">0.85457520949999999</cx:pt>
          <cx:pt idx="5382">0.85446146490000008</cx:pt>
          <cx:pt idx="5383">0.85434223720000002</cx:pt>
          <cx:pt idx="5384">0.85432135489999994</cx:pt>
          <cx:pt idx="5385">0.85422580940000004</cx:pt>
          <cx:pt idx="5386">0.85398554579999997</cx:pt>
          <cx:pt idx="5387">0.85387541760000008</cx:pt>
          <cx:pt idx="5388">0.85376079809999994</cx:pt>
          <cx:pt idx="5389">0.85364524520000007</cx:pt>
          <cx:pt idx="5390">0.85352420929999995</cx:pt>
          <cx:pt idx="5391">0.85340865640000008</cx:pt>
          <cx:pt idx="5392">0.85329491180000006</cx:pt>
          <cx:pt idx="5393">0.85317749239999996</cx:pt>
          <cx:pt idx="5394">0.85306193949999998</cx:pt>
          <cx:pt idx="5395">0.85294090359999997</cx:pt>
          <cx:pt idx="5396">0.85282535069999998</cx:pt>
          <cx:pt idx="5397">0.85271160609999996</cx:pt>
          <cx:pt idx="5398">0.85259237840000002</cx:pt>
          <cx:pt idx="5399">0.85257149600000004</cx:pt>
          <cx:pt idx="5400">0.85247595059999992</cx:pt>
          <cx:pt idx="5401">0.85236127269999995</cx:pt>
          <cx:pt idx="5402">0.85223475359999989</cx:pt>
          <cx:pt idx="5403">0.85212555879999996</cx:pt>
          <cx:pt idx="5404">0.85201093920000004</cx:pt>
          <cx:pt idx="5405">0.85189538639999995</cx:pt>
          <cx:pt idx="5406">0.85177435040000005</cx:pt>
          <cx:pt idx="5407">0.85165879759999996</cx:pt>
          <cx:pt idx="5408">0.85154505299999994</cx:pt>
          <cx:pt idx="5409">0.85142763349999995</cx:pt>
          <cx:pt idx="5410">0.85131208069999997</cx:pt>
          <cx:pt idx="5411">0.85119104469999995</cx:pt>
          <cx:pt idx="5412">0.85107549189999998</cx:pt>
          <cx:pt idx="5413">0.7372128201</cx:pt>
          <cx:pt idx="5414">0.7069059794</cx:pt>
          <cx:pt idx="5415">0.67561999520000005</cx:pt>
          <cx:pt idx="5416">0.64483135499999999</cx:pt>
          <cx:pt idx="5417">0.61258176819999999</cx:pt>
          <cx:pt idx="5418">0.58204180000000005</cx:pt>
          <cx:pt idx="5419">0.58570698079999994</cx:pt>
          <cx:pt idx="5420">1.0324</cx:pt>
          <cx:pt idx="5421">0.99403749770000005</cx:pt>
          <cx:pt idx="5422">0.99141043900000003</cx:pt>
          <cx:pt idx="5423">0.95683015650000003</cx:pt>
          <cx:pt idx="5424">0.92020039350000005</cx:pt>
          <cx:pt idx="5425">0.84492865650000004</cx:pt>
          <cx:pt idx="5426">0.80859700000000001</cx:pt>
          <cx:pt idx="5427">0.86300510000000008</cx:pt>
          <cx:pt idx="5428">0.75522090000000008</cx:pt>
          <cx:pt idx="5429">0.77057346050000008</cx:pt>
          <cx:pt idx="5430">0.78568577480000001</cx:pt>
          <cx:pt idx="5431">0.83223169999999991</cx:pt>
          <cx:pt idx="5432">0.68784339999999999</cx:pt>
          <cx:pt idx="5433">0.70919246020000004</cx:pt>
          <cx:pt idx="5434">0.75155649999999996</cx:pt>
          <cx:pt idx="5435">0.77106355260000004</cx:pt>
          <cx:pt idx="5436">0.84556640049999998</cx:pt>
          <cx:pt idx="5437">0.88354640000000007</cx:pt>
          <cx:pt idx="5438">0.88057738699999999</cx:pt>
          <cx:pt idx="5439">0.51872970000000007</cx:pt>
          <cx:pt idx="5440">0.51607343230000002</cx:pt>
          <cx:pt idx="5441">0.50818461399999992</cx:pt>
          <cx:pt idx="5442">0.50323329999999999</cx:pt>
          <cx:pt idx="5443">0.28752912399999997</cx:pt>
          <cx:pt idx="5444">0.099734539999999997</cx:pt>
          <cx:pt idx="5445">0</cx:pt>
          <cx:pt idx="5446">0</cx:pt>
          <cx:pt idx="5447">0</cx:pt>
          <cx:pt idx="5448">0.40078293590000003</cx:pt>
          <cx:pt idx="5449">0.42543377069999999</cx:pt>
          <cx:pt idx="5450">0.45047330000000002</cx:pt>
          <cx:pt idx="5451">0</cx:pt>
          <cx:pt idx="5452">0</cx:pt>
          <cx:pt idx="5453">0</cx:pt>
          <cx:pt idx="5454">0</cx:pt>
          <cx:pt idx="5455">0</cx:pt>
          <cx:pt idx="5456">0</cx:pt>
          <cx:pt idx="5457">0</cx:pt>
          <cx:pt idx="5458">0</cx:pt>
          <cx:pt idx="5459">0</cx:pt>
          <cx:pt idx="5460">0</cx:pt>
          <cx:pt idx="5461">0</cx:pt>
          <cx:pt idx="5462">0</cx:pt>
          <cx:pt idx="5463">0</cx:pt>
          <cx:pt idx="5464">0</cx:pt>
          <cx:pt idx="5465">0</cx:pt>
          <cx:pt idx="5466">0</cx:pt>
          <cx:pt idx="5467">0</cx:pt>
          <cx:pt idx="5468">0</cx:pt>
          <cx:pt idx="5469">0</cx:pt>
          <cx:pt idx="5470">0</cx:pt>
          <cx:pt idx="5471">0</cx:pt>
          <cx:pt idx="5472">0.1574788</cx:pt>
          <cx:pt idx="5473">0.56469060000000004</cx:pt>
          <cx:pt idx="5474">0.73414249999999992</cx:pt>
          <cx:pt idx="5475">0.36404670000000006</cx:pt>
          <cx:pt idx="5476">0.090415280000000001</cx:pt>
          <cx:pt idx="5477">0.072952080000000002</cx:pt>
          <cx:pt idx="5478">0.19718433499999999</cx:pt>
          <cx:pt idx="5479">0.31904879999999997</cx:pt>
          <cx:pt idx="5480">0.54804299999999995</cx:pt>
          <cx:pt idx="5481">1.0466610000000001</cx:pt>
          <cx:pt idx="5482">1.118735</cx:pt>
          <cx:pt idx="5483">1.295876</cx:pt>
          <cx:pt idx="5484">1.404549</cx:pt>
          <cx:pt idx="5485">1.4361439999999999</cx:pt>
          <cx:pt idx="5486">1.720277351</cx:pt>
          <cx:pt idx="5487">2</cx:pt>
          <cx:pt idx="5488">1.9667769000000002</cx:pt>
          <cx:pt idx="5489">1.9507409999999998</cx:pt>
          <cx:pt idx="5490">1.5053880000000002</cx:pt>
          <cx:pt idx="5491">1.2287360000000001</cx:pt>
          <cx:pt idx="5492">1.2770159999999999</cx:pt>
          <cx:pt idx="5493">1.415953</cx:pt>
          <cx:pt idx="5494">0.73884669999999997</cx:pt>
          <cx:pt idx="5495">0.44997750000000003</cx:pt>
          <cx:pt idx="5496">0.54311390000000004</cx:pt>
          <cx:pt idx="5497">0.78028339999999996</cx:pt>
          <cx:pt idx="5498">0.95080569999999998</cx:pt>
          <cx:pt idx="5499">1.272546</cx:pt>
          <cx:pt idx="5500">1.4231280000000002</cx:pt>
          <cx:pt idx="5501">1.7835799999999999</cx:pt>
          <cx:pt idx="5502">2</cx:pt>
          <cx:pt idx="5503">1.9298238109999999</cx:pt>
          <cx:pt idx="5504">1.8773202680000001</cx:pt>
          <cx:pt idx="5505">1.8253659999999998</cx:pt>
          <cx:pt idx="5506">1.8221257660000001</cx:pt>
          <cx:pt idx="5507">1.4272229999999999</cx:pt>
          <cx:pt idx="5508">0.93749440000000006</cx:pt>
          <cx:pt idx="5509">0.7186691999999999</cx:pt>
          <cx:pt idx="5510">0.33788400000000002</cx:pt>
          <cx:pt idx="5511">0.26226909999999998</cx:pt>
          <cx:pt idx="5512">0.31756889999999999</cx:pt>
          <cx:pt idx="5513">0.46553469999999997</cx:pt>
          <cx:pt idx="5514">0.52914490000000003</cx:pt>
          <cx:pt idx="5515">0.43698819999999999</cx:pt>
          <cx:pt idx="5516">0.47945210000000005</cx:pt>
          <cx:pt idx="5517">0.40688049999999998</cx:pt>
          <cx:pt idx="5518">0.31400060000000002</cx:pt>
          <cx:pt idx="5519">0.39939030000000003</cx:pt>
          <cx:pt idx="5520">0.67432869999999989</cx:pt>
          <cx:pt idx="5521">0.95664930000000004</cx:pt>
          <cx:pt idx="5522">1.401959</cx:pt>
          <cx:pt idx="5523">1.9927000000000001</cx:pt>
          <cx:pt idx="5524">1.9975604240000002</cx:pt>
          <cx:pt idx="5525">1.9978013290000001</cx:pt>
          <cx:pt idx="5526">1.9992696230000002</cx:pt>
          <cx:pt idx="5527">2</cx:pt>
          <cx:pt idx="5528">1.7462360000000001</cx:pt>
          <cx:pt idx="5529">1.4389619999999999</cx:pt>
          <cx:pt idx="5530">0.97795090000000007</cx:pt>
          <cx:pt idx="5531">0.71762449540000006</cx:pt>
          <cx:pt idx="5532">0.47593780000000002</cx:pt>
          <cx:pt idx="5533">0.19387399999999999</cx:pt>
          <cx:pt idx="5534">0.046935520000000001</cx:pt>
          <cx:pt idx="5535">0</cx:pt>
          <cx:pt idx="5536">0</cx:pt>
          <cx:pt idx="5537">0</cx:pt>
          <cx:pt idx="5538">0</cx:pt>
          <cx:pt idx="5539">0.015768698880000001</cx:pt>
          <cx:pt idx="5540">0.03128471905</cx:pt>
          <cx:pt idx="5541">0.23712269999999999</cx:pt>
          <cx:pt idx="5542">0.53796040000000001</cx:pt>
          <cx:pt idx="5543">0.68605479999999996</cx:pt>
          <cx:pt idx="5544">1.052438</cx:pt>
          <cx:pt idx="5545">1.1316729999999999</cx:pt>
          <cx:pt idx="5546">1.3331790000000001</cx:pt>
          <cx:pt idx="5547">1.4553780000000001</cx:pt>
          <cx:pt idx="5548">1.8316730000000001</cx:pt>
          <cx:pt idx="5549">1.963716</cx:pt>
          <cx:pt idx="5550">2</cx:pt>
          <cx:pt idx="5551">1.910998</cx:pt>
          <cx:pt idx="5552">1.7145380000000001</cx:pt>
          <cx:pt idx="5553">1.520804</cx:pt>
          <cx:pt idx="5554">1.5835509999999999</cx:pt>
          <cx:pt idx="5555">1.4361259999999998</cx:pt>
          <cx:pt idx="5556">1.3968340000000001</cx:pt>
          <cx:pt idx="5557">1.178331</cx:pt>
          <cx:pt idx="5558">1.0193649999999999</cx:pt>
          <cx:pt idx="5559">0.98589399999999994</cx:pt>
          <cx:pt idx="5560">1.2222029999999999</cx:pt>
          <cx:pt idx="5561">1.332176</cx:pt>
          <cx:pt idx="5562">1.5333019999999999</cx:pt>
          <cx:pt idx="5563">1.622843</cx:pt>
          <cx:pt idx="5564">1.7944182720000001</cx:pt>
          <cx:pt idx="5565">1.970008</cx:pt>
          <cx:pt idx="5566">2</cx:pt>
          <cx:pt idx="5567">1.9911628300000002</cx:pt>
          <cx:pt idx="5568">1.948676437</cx:pt>
          <cx:pt idx="5569">1.9402069470000001</cx:pt>
          <cx:pt idx="5570">1.9359379999999999</cx:pt>
          <cx:pt idx="5571">1.657141</cx:pt>
          <cx:pt idx="5572">1.5833940000000002</cx:pt>
          <cx:pt idx="5573">1.196679</cx:pt>
          <cx:pt idx="5574">0.45664070000000001</cx:pt>
          <cx:pt idx="5575">0</cx:pt>
          <cx:pt idx="5576">0.0036484362300000001</cx:pt>
          <cx:pt idx="5577">0.0059345670999999996</cx:pt>
          <cx:pt idx="5578">0.0091372078599999997</cx:pt>
          <cx:pt idx="5579">0.010499513220000001</cx:pt>
          <cx:pt idx="5580">0.01233619079</cx:pt>
          <cx:pt idx="5581">0.018737814429999999</cx:pt>
          <cx:pt idx="5582">0.01919801258</cx:pt>
          <cx:pt idx="5583">0.02010011984</cx:pt>
          <cx:pt idx="5584">0.020595981609999998</cx:pt>
          <cx:pt idx="5585">0.026056176600000001</cx:pt>
          <cx:pt idx="5586">0.027882109329999998</cx:pt>
          <cx:pt idx="5587">0.031997602139999998</cx:pt>
          <cx:pt idx="5588">0.033370652299999998</cx:pt>
          <cx:pt idx="5589">0.03429082</cx:pt>
          <cx:pt idx="5590">0.34139580000000003</cx:pt>
          <cx:pt idx="5591">0.3818435</cx:pt>
          <cx:pt idx="5592">0.57333860000000003</cx:pt>
          <cx:pt idx="5593">0.73024990000000001</cx:pt>
          <cx:pt idx="5594">0.76153800000000005</cx:pt>
          <cx:pt idx="5595">0.86417879999999991</cx:pt>
          <cx:pt idx="5596">1.1341840000000001</cx:pt>
          <cx:pt idx="5597">1.2582230000000001</cx:pt>
          <cx:pt idx="5598">1.4565239999999999</cx:pt>
          <cx:pt idx="5599">1.4252359999999999</cx:pt>
          <cx:pt idx="5600">1.1204019999999999</cx:pt>
          <cx:pt idx="5601">0.92792209999999997</cx:pt>
          <cx:pt idx="5602">0.6463293</cx:pt>
          <cx:pt idx="5603">0.2279418</cx:pt>
          <cx:pt idx="5604">0</cx:pt>
          <cx:pt idx="5605">0.21951001919999999</cx:pt>
          <cx:pt idx="5606">0.35073099999999996</cx:pt>
          <cx:pt idx="5607">0.89645410000000003</cx:pt>
          <cx:pt idx="5608">1.2238880000000001</cx:pt>
          <cx:pt idx="5609">1.718062</cx:pt>
          <cx:pt idx="5610">1.9742470000000001</cx:pt>
          <cx:pt idx="5611">2</cx:pt>
          <cx:pt idx="5612">1.9559139999999999</cx:pt>
          <cx:pt idx="5613">1.8347849999999999</cx:pt>
          <cx:pt idx="5614">1.8100880000000001</cx:pt>
          <cx:pt idx="5615">1.6736359999999999</cx:pt>
          <cx:pt idx="5616">1.3648640000000001</cx:pt>
          <cx:pt idx="5617">1.05536268</cx:pt>
          <cx:pt idx="5618">0.89199070000000003</cx:pt>
          <cx:pt idx="5619">0.77210809999999996</cx:pt>
          <cx:pt idx="5620">0.6032978</cx:pt>
          <cx:pt idx="5621">0.3047552</cx:pt>
          <cx:pt idx="5622">0.15062600000000001</cx:pt>
          <cx:pt idx="5623">0.11497199999999999</cx:pt>
          <cx:pt idx="5624">0</cx:pt>
          <cx:pt idx="5625">0</cx:pt>
          <cx:pt idx="5626">0</cx:pt>
          <cx:pt idx="5627">0</cx:pt>
          <cx:pt idx="5628">0</cx:pt>
          <cx:pt idx="5629">0</cx:pt>
          <cx:pt idx="5630">0</cx:pt>
          <cx:pt idx="5631">0</cx:pt>
          <cx:pt idx="5632">0</cx:pt>
          <cx:pt idx="5633">0.00095091511000000009</cx:pt>
          <cx:pt idx="5634">0.22172540120000001</cx:pt>
          <cx:pt idx="5635">0.26260469319999996</cx:pt>
          <cx:pt idx="5636">0.40432160000000006</cx:pt>
          <cx:pt idx="5637">0.8328101</cx:pt>
          <cx:pt idx="5638">1.0913330000000001</cx:pt>
          <cx:pt idx="5639">1.113022</cx:pt>
          <cx:pt idx="5640">1.024251</cx:pt>
          <cx:pt idx="5641">0.86327370000000003</cx:pt>
          <cx:pt idx="5642">0.83532399999999996</cx:pt>
          <cx:pt idx="5643">0.98072170000000003</cx:pt>
          <cx:pt idx="5644">1.2958129999999999</cx:pt>
          <cx:pt idx="5645">1.3522358059999999</cx:pt>
          <cx:pt idx="5646">1.6391999999999998</cx:pt>
          <cx:pt idx="5647">2</cx:pt>
          <cx:pt idx="5648">1.8052269999999999</cx:pt>
          <cx:pt idx="5649">0.86833889999999991</cx:pt>
          <cx:pt idx="5650">0.7259372999999999</cx:pt>
          <cx:pt idx="5651">0.50833309999999998</cx:pt>
          <cx:pt idx="5652">0.35544892150000001</cx:pt>
          <cx:pt idx="5653">0.20493800000000001</cx:pt>
          <cx:pt idx="5654">0.22051790000000002</cx:pt>
          <cx:pt idx="5655">0.46427410000000002</cx:pt>
          <cx:pt idx="5656">0.56177660000000007</cx:pt>
          <cx:pt idx="5657">0.63784580000000002</cx:pt>
          <cx:pt idx="5658">0.51035049999999993</cx:pt>
          <cx:pt idx="5659">0.59032449999999992</cx:pt>
          <cx:pt idx="5660">0.50506053549999996</cx:pt>
          <cx:pt idx="5661">0.46041690000000002</cx:pt>
          <cx:pt idx="5662">0.60602860000000003</cx:pt>
          <cx:pt idx="5663">0.83137969999999994</cx:pt>
          <cx:pt idx="5664">1.0901160000000001</cx:pt>
          <cx:pt idx="5665">1.2408220000000001</cx:pt>
          <cx:pt idx="5666">1.4261109999999999</cx:pt>
          <cx:pt idx="5667">1.6094739999999998</cx:pt>
          <cx:pt idx="5668">1.9646860000000002</cx:pt>
          <cx:pt idx="5669">2</cx:pt>
          <cx:pt idx="5670">1.9780964089999999</cx:pt>
          <cx:pt idx="5671">1.4479160179999999</cx:pt>
          <cx:pt idx="5672">0.88740750000000002</cx:pt>
          <cx:pt idx="5673">0</cx:pt>
          <cx:pt idx="5674">0.00070266749999999998</cx:pt>
          <cx:pt idx="5675">0.0040673095100000004</cx:pt>
          <cx:pt idx="5676">0.0042282566799999996</cx:pt>
          <cx:pt idx="5677">0.00565271847</cx:pt>
          <cx:pt idx="5678">0.0074045393900000001</cx:pt>
          <cx:pt idx="5679">0.0086351770800000005</cx:pt>
          <cx:pt idx="5680">0.010400659999999999</cx:pt>
          <cx:pt idx="5681">0.35381000000000001</cx:pt>
          <cx:pt idx="5682">0.74501839999999997</cx:pt>
          <cx:pt idx="5683">0.89884829999999993</cx:pt>
          <cx:pt idx="5684">1.270753</cx:pt>
          <cx:pt idx="5685">1.4373800000000001</cx:pt>
          <cx:pt idx="5686">1.225946</cx:pt>
          <cx:pt idx="5687">1.4089580000000002</cx:pt>
          <cx:pt idx="5688">1.301183</cx:pt>
          <cx:pt idx="5689">1.2828550000000001</cx:pt>
          <cx:pt idx="5690">1.3683719999999999</cx:pt>
          <cx:pt idx="5691">1.305015</cx:pt>
          <cx:pt idx="5692">1.3491</cx:pt>
          <cx:pt idx="5693">1.269079903</cx:pt>
          <cx:pt idx="5694">1.198909</cx:pt>
          <cx:pt idx="5695">1.243252</cx:pt>
          <cx:pt idx="5696">1.6501679999999999</cx:pt>
          <cx:pt idx="5697">1.7535769999999999</cx:pt>
          <cx:pt idx="5698">1.7295230000000001</cx:pt>
          <cx:pt idx="5699">1.5511680000000001</cx:pt>
          <cx:pt idx="5700">1.4566620000000001</cx:pt>
          <cx:pt idx="5701">1.1518109999999999</cx:pt>
          <cx:pt idx="5702">1.1451047169999999</cx:pt>
          <cx:pt idx="5703">0.86914789999999997</cx:pt>
          <cx:pt idx="5704">1.013336</cx:pt>
          <cx:pt idx="5705">0.7817788</cx:pt>
          <cx:pt idx="5706">0.62607489999999999</cx:pt>
          <cx:pt idx="5707">0.72309749999999995</cx:pt>
          <cx:pt idx="5708">0.58415600000000001</cx:pt>
          <cx:pt idx="5709">0.78220000000000001</cx:pt>
          <cx:pt idx="5710">0.92550929999999998</cx:pt>
          <cx:pt idx="5711">1.156639</cx:pt>
          <cx:pt idx="5712">1.2216230000000001</cx:pt>
          <cx:pt idx="5713">1.191791</cx:pt>
          <cx:pt idx="5714">0.67067899999999991</cx:pt>
          <cx:pt idx="5715">0.51714899999999997</cx:pt>
          <cx:pt idx="5716">0.22720960000000001</cx:pt>
          <cx:pt idx="5717">0</cx:pt>
          <cx:pt idx="5718">0.1600317956</cx:pt>
          <cx:pt idx="5719">0.2163428</cx:pt>
          <cx:pt idx="5720">0.40599739999999995</cx:pt>
          <cx:pt idx="5721">0.28773609999999999</cx:pt>
          <cx:pt idx="5722">0.070816660000000003</cx:pt>
          <cx:pt idx="5723">0.06773506</cx:pt>
          <cx:pt idx="5724">0</cx:pt>
          <cx:pt idx="5725">0.0021996568699999999</cx:pt>
          <cx:pt idx="5726">0.0030234480100000002</cx:pt>
          <cx:pt idx="5727">0.0038472391900000002</cx:pt>
          <cx:pt idx="5728">0.00411470386</cx:pt>
          <cx:pt idx="5729">0.0085247161300000002</cx:pt>
          <cx:pt idx="5730">0.0087857342200000008</cx:pt>
          <cx:pt idx="5731">0.0107029758</cx:pt>
          <cx:pt idx="5732">0.01125066114</cx:pt>
          <cx:pt idx="5733">0.012900438050000001</cx:pt>
          <cx:pt idx="5734">0.013454569999999999</cx:pt>
          <cx:pt idx="5735">0.21393830000000003</cx:pt>
          <cx:pt idx="5736">0.58913890000000002</cx:pt>
          <cx:pt idx="5737">1.1686320000000001</cx:pt>
          <cx:pt idx="5738">1.4433770000000001</cx:pt>
          <cx:pt idx="5739">1.656663</cx:pt>
          <cx:pt idx="5740">2</cx:pt>
          <cx:pt idx="5741">1.99708503</cx:pt>
          <cx:pt idx="5742">1.9675609119999999</cx:pt>
          <cx:pt idx="5743">1.9590909999999999</cx:pt>
          <cx:pt idx="5744">1.753514</cx:pt>
          <cx:pt idx="5745">1.641159</cx:pt>
          <cx:pt idx="5746">1.629389</cx:pt>
          <cx:pt idx="5747">1.8759700000000001</cx:pt>
          <cx:pt idx="5748">1.7566820000000001</cx:pt>
          <cx:pt idx="5749">1.7587177270000001</cx:pt>
          <cx:pt idx="5750">1.9269470000000002</cx:pt>
          <cx:pt idx="5751">1.983959</cx:pt>
          <cx:pt idx="5752">1.946679</cx:pt>
          <cx:pt idx="5753">1.9419999480000001</cx:pt>
          <cx:pt idx="5754">1.828803</cx:pt>
          <cx:pt idx="5755">1.0756189999999999</cx:pt>
          <cx:pt idx="5756">0.71967979999999998</cx:pt>
          <cx:pt idx="5757">0.63396884809999998</cx:pt>
          <cx:pt idx="5758">0.5483015</cx:pt>
          <cx:pt idx="5759">0.53695910000000002</cx:pt>
          <cx:pt idx="5760">0.057450590000000003</cx:pt>
          <cx:pt idx="5761">0.05470371919</cx:pt>
          <cx:pt idx="5762">0</cx:pt>
          <cx:pt idx="5763">0</cx:pt>
          <cx:pt idx="5764">0</cx:pt>
          <cx:pt idx="5765">0</cx:pt>
          <cx:pt idx="5766">0</cx:pt>
          <cx:pt idx="5767">0.1479443</cx:pt>
          <cx:pt idx="5768">0.31743929999999998</cx:pt>
          <cx:pt idx="5769">0.37094169999999999</cx:pt>
          <cx:pt idx="5770">0.24005379999999998</cx:pt>
          <cx:pt idx="5771">0.1247209</cx:pt>
          <cx:pt idx="5772">0.36038769999999998</cx:pt>
          <cx:pt idx="5773">0.58640239999999999</cx:pt>
          <cx:pt idx="5774">0.72396739999999993</cx:pt>
          <cx:pt idx="5775">0.80178129999999992</cx:pt>
          <cx:pt idx="5776">0.99165009999999998</cx:pt>
          <cx:pt idx="5777">0.96096119999999996</cx:pt>
          <cx:pt idx="5778">1.0994410000000001</cx:pt>
          <cx:pt idx="5779">1.298298</cx:pt>
          <cx:pt idx="5780">1.426361</cx:pt>
          <cx:pt idx="5781">2</cx:pt>
          <cx:pt idx="5782">1.9838768469999999</cx:pt>
          <cx:pt idx="5783">1.93460915</cx:pt>
          <cx:pt idx="5784">1.9264840000000001</cx:pt>
          <cx:pt idx="5785">1.6418520000000001</cx:pt>
          <cx:pt idx="5786">0.93690640000000003</cx:pt>
          <cx:pt idx="5787">0.73244219999999993</cx:pt>
          <cx:pt idx="5788">0</cx:pt>
          <cx:pt idx="5789">0.017870810000000001</cx:pt>
          <cx:pt idx="5790">0.076552099999999998</cx:pt>
          <cx:pt idx="5791">0.230767</cx:pt>
          <cx:pt idx="5792">0.639096</cx:pt>
          <cx:pt idx="5793">0.6435785758</cx:pt>
          <cx:pt idx="5794">0.98155300000000001</cx:pt>
          <cx:pt idx="5795">1.3356950000000001</cx:pt>
          <cx:pt idx="5796">1.5255639999999999</cx:pt>
          <cx:pt idx="5797">1.841869</cx:pt>
          <cx:pt idx="5798">1.920453</cx:pt>
          <cx:pt idx="5799">1.8847989999999999</cx:pt>
          <cx:pt idx="5800">1.589766</cx:pt>
          <cx:pt idx="5801">1.5866653040000001</cx:pt>
          <cx:pt idx="5802">1.4914940000000001</cx:pt>
          <cx:pt idx="5803">1.4086719999999999</cx:pt>
          <cx:pt idx="5804">1.1883710000000001</cx:pt>
          <cx:pt idx="5805">1.05376</cx:pt>
          <cx:pt idx="5806">0.72833760000000003</cx:pt>
          <cx:pt idx="5807">0.28212900000000002</cx:pt>
          <cx:pt idx="5808">0.1064706</cx:pt>
          <cx:pt idx="5809">0.024482449999999999</cx:pt>
          <cx:pt idx="5810">0.12968940000000001</cx:pt>
          <cx:pt idx="5811">0.1129539</cx:pt>
          <cx:pt idx="5812">0.17668579999999998</cx:pt>
          <cx:pt idx="5813">0.13315630000000001</cx:pt>
          <cx:pt idx="5814">0.25488460000000002</cx:pt>
          <cx:pt idx="5815">0.52239579999999997</cx:pt>
          <cx:pt idx="5816">0.57247805090000004</cx:pt>
          <cx:pt idx="5817">0.6245636</cx:pt>
          <cx:pt idx="5818">0.27435960000000004</cx:pt>
          <cx:pt idx="5819">0.19453430000000002</cx:pt>
          <cx:pt idx="5820">0.029918449999999999</cx:pt>
          <cx:pt idx="5821">0</cx:pt>
          <cx:pt idx="5822">0.2910123932</cx:pt>
          <cx:pt idx="5823">0.32525484050000003</cx:pt>
          <cx:pt idx="5824">0.42015580000000002</cx:pt>
          <cx:pt idx="5825">0.3078439</cx:pt>
          <cx:pt idx="5826">0.34692200000000001</cx:pt>
          <cx:pt idx="5827">0.25177369999999999</cx:pt>
          <cx:pt idx="5828">0.17117789999999999</cx:pt>
          <cx:pt idx="5829">0</cx:pt>
          <cx:pt idx="5830">0</cx:pt>
          <cx:pt idx="5831">0</cx:pt>
          <cx:pt idx="5832">0.055382449520000002</cx:pt>
          <cx:pt idx="5833">0.090601828120000005</cx:pt>
          <cx:pt idx="5834">0.10991832369999999</cx:pt>
          <cx:pt idx="5835">0.1451286</cx:pt>
          <cx:pt idx="5836">0.37844119999999998</cx:pt>
          <cx:pt idx="5837">0.73643469999999989</cx:pt>
          <cx:pt idx="5838">1.308824</cx:pt>
          <cx:pt idx="5839">1.3121103729999999</cx:pt>
          <cx:pt idx="5840">1.583761</cx:pt>
          <cx:pt idx="5841">1.858805</cx:pt>
          <cx:pt idx="5842">2</cx:pt>
          <cx:pt idx="5843">1.9794810430000001</cx:pt>
          <cx:pt idx="5844">1.9771989999999999</cx:pt>
          <cx:pt idx="5845">1.9305017770000001</cx:pt>
          <cx:pt idx="5846">1.922366</cx:pt>
          <cx:pt idx="5847">1.9231674140000001</cx:pt>
          <cx:pt idx="5848">2</cx:pt>
          <cx:pt idx="5849">2</cx:pt>
          <cx:pt idx="5850">1.9190289999999999</cx:pt>
          <cx:pt idx="5851">1.693506</cx:pt>
          <cx:pt idx="5852">1.5540579999999999</cx:pt>
          <cx:pt idx="5853">1.3334569999999999</cx:pt>
          <cx:pt idx="5854">1.2093320000000001</cx:pt>
          <cx:pt idx="5855">0.71270319999999998</cx:pt>
          <cx:pt idx="5856">0.70875860689999992</cx:pt>
          <cx:pt idx="5857">0.54770229999999998</cx:pt>
          <cx:pt idx="5858">0.57025890000000001</cx:pt>
          <cx:pt idx="5859">0.70457110000000001</cx:pt>
          <cx:pt idx="5860">0.70709772009999994</cx:pt>
          <cx:pt idx="5861">1.05409</cx:pt>
          <cx:pt idx="5862">1.072281</cx:pt>
          <cx:pt idx="5863">1.179516</cx:pt>
          <cx:pt idx="5864">1.5184200000000001</cx:pt>
          <cx:pt idx="5865">1.5991869999999999</cx:pt>
          <cx:pt idx="5866">1.999641</cx:pt>
          <cx:pt idx="5867">1.9347300540000001</cx:pt>
          <cx:pt idx="5868">1.9225522290000001</cx:pt>
          <cx:pt idx="5869">1.9169689999999999</cx:pt>
          <cx:pt idx="5870">2</cx:pt>
          <cx:pt idx="5871">2</cx:pt>
          <cx:pt idx="5872">2</cx:pt>
          <cx:pt idx="5873">2</cx:pt>
          <cx:pt idx="5874">2</cx:pt>
          <cx:pt idx="5875">2</cx:pt>
          <cx:pt idx="5876">2</cx:pt>
          <cx:pt idx="5877">2</cx:pt>
          <cx:pt idx="5878">2</cx:pt>
          <cx:pt idx="5879">2</cx:pt>
          <cx:pt idx="5880">2</cx:pt>
          <cx:pt idx="5881">2</cx:pt>
          <cx:pt idx="5882">2</cx:pt>
          <cx:pt idx="5883">1.9968712400000002</cx:pt>
          <cx:pt idx="5884">1.9666716420000001</cx:pt>
          <cx:pt idx="5885">1.957568</cx:pt>
          <cx:pt idx="5886">1.781663</cx:pt>
          <cx:pt idx="5887">1.8007949999999999</cx:pt>
          <cx:pt idx="5888">1.663915</cx:pt>
          <cx:pt idx="5889">1.5119259999999999</cx:pt>
          <cx:pt idx="5890">1.017137</cx:pt>
          <cx:pt idx="5891">0.92853759999999996</cx:pt>
          <cx:pt idx="5892">0.54486220000000007</cx:pt>
          <cx:pt idx="5893">0.2384443</cx:pt>
          <cx:pt idx="5894">0.08270885</cx:pt>
          <cx:pt idx="5895">0</cx:pt>
          <cx:pt idx="5896">0.079921400000000004</cx:pt>
          <cx:pt idx="5897">0.019827710000000002</cx:pt>
          <cx:pt idx="5898">0.016736470980000001</cx:pt>
          <cx:pt idx="5899">0.012983265900000001</cx:pt>
          <cx:pt idx="5900">0.010539440769999998</cx:pt>
          <cx:pt idx="5901">0.0086507631000000001</cx:pt>
          <cx:pt idx="5902">0.0080711557899999994</cx:pt>
          <cx:pt idx="5903">0.0068298920200000005</cx:pt>
          <cx:pt idx="5904">0</cx:pt>
          <cx:pt idx="5905">0.16243099159999999</cx:pt>
          <cx:pt idx="5906">0.2262180094</cx:pt>
          <cx:pt idx="5907">0.30706510000000004</cx:pt>
          <cx:pt idx="5908">0.3100308095</cx:pt>
          <cx:pt idx="5909">0.71712750000000003</cx:pt>
          <cx:pt idx="5910">0.94633100000000003</cx:pt>
          <cx:pt idx="5911">1.4317029999999999</cx:pt>
          <cx:pt idx="5912">1.8553980000000001</cx:pt>
          <cx:pt idx="5913">2</cx:pt>
          <cx:pt idx="5914">1.8871331499999999</cx:pt>
          <cx:pt idx="5915">1.8800520000000001</cx:pt>
          <cx:pt idx="5916">1.9332120000000002</cx:pt>
          <cx:pt idx="5917">1.922806</cx:pt>
          <cx:pt idx="5918">1.852911</cx:pt>
          <cx:pt idx="5919">1.504991</cx:pt>
          <cx:pt idx="5920">0.98334429999999995</cx:pt>
          <cx:pt idx="5921">0.75673019999999991</cx:pt>
          <cx:pt idx="5922">0.57413769999999997</cx:pt>
          <cx:pt idx="5923">0.44100290000000003</cx:pt>
          <cx:pt idx="5924">0.43025959999999996</cx:pt>
          <cx:pt idx="5925">0.51761820000000003</cx:pt>
          <cx:pt idx="5926">0.41754980000000003</cx:pt>
          <cx:pt idx="5927">0.3975185</cx:pt>
          <cx:pt idx="5928">0.45859670000000002</cx:pt>
          <cx:pt idx="5929">0.64788219999999996</cx:pt>
          <cx:pt idx="5930">0.73537450000000004</cx:pt>
          <cx:pt idx="5931">0.84340609999999994</cx:pt>
          <cx:pt idx="5932">0.99366578279999995</cx:pt>
          <cx:pt idx="5933">1.1427400000000001</cx:pt>
          <cx:pt idx="5934">1.2147759999999999</cx:pt>
          <cx:pt idx="5935">1.8193190000000001</cx:pt>
          <cx:pt idx="5936">2</cx:pt>
          <cx:pt idx="5937">2</cx:pt>
          <cx:pt idx="5938">2</cx:pt>
          <cx:pt idx="5939">2</cx:pt>
          <cx:pt idx="5940">2</cx:pt>
          <cx:pt idx="5941">2</cx:pt>
          <cx:pt idx="5942">2</cx:pt>
          <cx:pt idx="5943">2</cx:pt>
          <cx:pt idx="5944">1.985643029</cx:pt>
          <cx:pt idx="5945">1.895329</cx:pt>
          <cx:pt idx="5946">1.7825460000000002</cx:pt>
          <cx:pt idx="5947">1.487995</cx:pt>
          <cx:pt idx="5948">1.2829740000000001</cx:pt>
          <cx:pt idx="5949">1.240429</cx:pt>
          <cx:pt idx="5950">1.3893739999999999</cx:pt>
          <cx:pt idx="5951">0.93921109999999997</cx:pt>
          <cx:pt idx="5952">0.53319349999999999</cx:pt>
          <cx:pt idx="5953">0</cx:pt>
          <cx:pt idx="5954">0.070312490000000005</cx:pt>
          <cx:pt idx="5955">0.26095190000000001</cx:pt>
          <cx:pt idx="5956">0.57808110000000001</cx:pt>
          <cx:pt idx="5957">1.0382</cx:pt>
          <cx:pt idx="5958">1.043446342</cx:pt>
          <cx:pt idx="5959">1.26231</cx:pt>
          <cx:pt idx="5960">1.247287</cx:pt>
          <cx:pt idx="5961">1.4643780000000002</cx:pt>
          <cx:pt idx="5962">1.5998019999999999</cx:pt>
          <cx:pt idx="5963">1.4730260079999999</cx:pt>
          <cx:pt idx="5964">1.3462499999999999</cx:pt>
          <cx:pt idx="5965">1.340177671</cx:pt>
          <cx:pt idx="5966">0.50665519999999997</cx:pt>
          <cx:pt idx="5967">0.2855413</cx:pt>
          <cx:pt idx="5968">0</cx:pt>
          <cx:pt idx="5969">0</cx:pt>
          <cx:pt idx="5970">0</cx:pt>
          <cx:pt idx="5971">0</cx:pt>
          <cx:pt idx="5972">0</cx:pt>
          <cx:pt idx="5973">0</cx:pt>
          <cx:pt idx="5974">0</cx:pt>
          <cx:pt idx="5975">0</cx:pt>
          <cx:pt idx="5976">0</cx:pt>
          <cx:pt idx="5977">0</cx:pt>
          <cx:pt idx="5978">0</cx:pt>
          <cx:pt idx="5979">0</cx:pt>
          <cx:pt idx="5980">0</cx:pt>
          <cx:pt idx="5981">0</cx:pt>
          <cx:pt idx="5982">0</cx:pt>
          <cx:pt idx="5983">0</cx:pt>
          <cx:pt idx="5984">0</cx:pt>
          <cx:pt idx="5985">0</cx:pt>
          <cx:pt idx="5986">0</cx:pt>
          <cx:pt idx="5987">0</cx:pt>
          <cx:pt idx="5988">0</cx:pt>
          <cx:pt idx="5989">0.002370156</cx:pt>
          <cx:pt idx="5990">0.1022696</cx:pt>
          <cx:pt idx="5991">0.104175697</cx:pt>
          <cx:pt idx="5992">0.21937519999999999</cx:pt>
          <cx:pt idx="5993">0.30428870000000002</cx:pt>
          <cx:pt idx="5994">0.62782709999999997</cx:pt>
          <cx:pt idx="5995">0.92016350000000002</cx:pt>
          <cx:pt idx="5996">1.0043009999999999</cx:pt>
          <cx:pt idx="5997">0.95460820000000002</cx:pt>
          <cx:pt idx="5998">0.80321819999999999</cx:pt>
          <cx:pt idx="5999">0.4001112</cx:pt>
          <cx:pt idx="6000">0.22137080000000001</cx:pt>
          <cx:pt idx="6001">0.1771566</cx:pt>
          <cx:pt idx="6002">0.25325819999999999</cx:pt>
          <cx:pt idx="6003">0.27527970000000002</cx:pt>
          <cx:pt idx="6004">0.21593073230000001</cx:pt>
          <cx:pt idx="6005">0.16108450000000002</cx:pt>
          <cx:pt idx="6006">0.22681209999999999</cx:pt>
          <cx:pt idx="6007">0.35427570000000003</cx:pt>
          <cx:pt idx="6008">0.31596810000000003</cx:pt>
          <cx:pt idx="6009">0</cx:pt>
          <cx:pt idx="6010">0.024757291680000001</cx:pt>
          <cx:pt idx="6011">0.049591330709999999</cx:pt>
          <cx:pt idx="6012">0.05445613832</cx:pt>
          <cx:pt idx="6013">0.079522896139999993</cx:pt>
          <cx:pt idx="6014">0.099063826780000003</cx:pt>
          <cx:pt idx="6015">0.1240909729</cx:pt>
          <cx:pt idx="6016">0.1386136</cx:pt>
          <cx:pt idx="6017">0.70860429999999996</cx:pt>
          <cx:pt idx="6018">1.6072280000000001</cx:pt>
          <cx:pt idx="6019">2</cx:pt>
          <cx:pt idx="6020">2</cx:pt>
          <cx:pt idx="6021">2</cx:pt>
          <cx:pt idx="6022">2</cx:pt>
          <cx:pt idx="6023">2</cx:pt>
          <cx:pt idx="6024">1.9994782440000001</cx:pt>
          <cx:pt idx="6025">1.7364809999999999</cx:pt>
          <cx:pt idx="6026">1.5254679999999998</cx:pt>
          <cx:pt idx="6027">1.394784</cx:pt>
          <cx:pt idx="6028">1.007428</cx:pt>
          <cx:pt idx="6029">0.87140420000000007</cx:pt>
          <cx:pt idx="6030">0.86061809999999994</cx:pt>
          <cx:pt idx="6031">0.93782375110000005</cx:pt>
          <cx:pt idx="6032">1.0106440000000001</cx:pt>
          <cx:pt idx="6033">1.158053</cx:pt>
          <cx:pt idx="6034">1.4779960000000001</cx:pt>
          <cx:pt idx="6035">1.599939</cx:pt>
          <cx:pt idx="6036">1.8177570000000001</cx:pt>
          <cx:pt idx="6037">1.8178479999999999</cx:pt>
          <cx:pt idx="6038">1.681481</cx:pt>
          <cx:pt idx="6039">1.789299</cx:pt>
          <cx:pt idx="6040">1.8307740000000001</cx:pt>
          <cx:pt idx="6041">1.679320283</cx:pt>
          <cx:pt idx="6042">1.609075</cx:pt>
          <cx:pt idx="6043">1.4485249999999998</cx:pt>
          <cx:pt idx="6044">0.8776345000000001</cx:pt>
          <cx:pt idx="6045">0.72847030000000002</cx:pt>
          <cx:pt idx="6046">0.48372959999999998</cx:pt>
          <cx:pt idx="6047">0.48247825080000001</cx:pt>
          <cx:pt idx="6048">0.3275459</cx:pt>
          <cx:pt idx="6049">0.22393339999999998</cx:pt>
          <cx:pt idx="6050">0.2495289</cx:pt>
          <cx:pt idx="6051">0.52633567990000008</cx:pt>
          <cx:pt idx="6052">0.59169709999999998</cx:pt>
          <cx:pt idx="6053">0</cx:pt>
          <cx:pt idx="6054">0</cx:pt>
          <cx:pt idx="6055">0</cx:pt>
          <cx:pt idx="6056">0</cx:pt>
          <cx:pt idx="6057">0</cx:pt>
          <cx:pt idx="6058">0</cx:pt>
          <cx:pt idx="6059">0.044568927830000001</cx:pt>
          <cx:pt idx="6060">0.12932188210000001</cx:pt>
          <cx:pt idx="6061">0.17288730000000002</cx:pt>
          <cx:pt idx="6062">0.32322898260000005</cx:pt>
          <cx:pt idx="6063">0.45925240000000001</cx:pt>
          <cx:pt idx="6064">0.42359859999999999</cx:pt>
          <cx:pt idx="6065">0</cx:pt>
          <cx:pt idx="6066">0</cx:pt>
          <cx:pt idx="6067">0</cx:pt>
          <cx:pt idx="6068">0</cx:pt>
          <cx:pt idx="6069">0.00018233728000000002</cx:pt>
          <cx:pt idx="6070">0.1160786</cx:pt>
          <cx:pt idx="6071">0.30389280000000002</cx:pt>
          <cx:pt idx="6072">0.3062718545</cx:pt>
          <cx:pt idx="6073">0.70660960000000006</cx:pt>
          <cx:pt idx="6074">0.72454350000000001</cx:pt>
          <cx:pt idx="6075">0.97703100000000009</cx:pt>
          <cx:pt idx="6076">0.97982812780000006</cx:pt>
          <cx:pt idx="6077">1.096517</cx:pt>
          <cx:pt idx="6078">1.0483660000000001</cx:pt>
          <cx:pt idx="6079">0.84522819999999999</cx:pt>
          <cx:pt idx="6080">0.3610544</cx:pt>
          <cx:pt idx="6081">0.2802018</cx:pt>
          <cx:pt idx="6082">0.28196510809999997</cx:pt>
          <cx:pt idx="6083">0.3246463</cx:pt>
          <cx:pt idx="6084">0.98036940000000006</cx:pt>
          <cx:pt idx="6085">1.191109</cx:pt>
          <cx:pt idx="6086">1.497233</cx:pt>
          <cx:pt idx="6087">1.6114709999999999</cx:pt>
          <cx:pt idx="6088">1.547525</cx:pt>
          <cx:pt idx="6089">1.592638</cx:pt>
          <cx:pt idx="6090">1.4843119999999999</cx:pt>
          <cx:pt idx="6091">1.2091240000000001</cx:pt>
          <cx:pt idx="6092">1.0949819999999999</cx:pt>
          <cx:pt idx="6093">1.09390027</cx:pt>
          <cx:pt idx="6094">1.0389539999999999</cx:pt>
          <cx:pt idx="6095">1.560665</cx:pt>
          <cx:pt idx="6096">2</cx:pt>
          <cx:pt idx="6097">2</cx:pt>
          <cx:pt idx="6098">2</cx:pt>
          <cx:pt idx="6099">1.6779523810000001</cx:pt>
          <cx:pt idx="6100">1.3608275889999999</cx:pt>
          <cx:pt idx="6101">1.150258</cx:pt>
          <cx:pt idx="6102">1.1441922549999999</cx:pt>
          <cx:pt idx="6103">0.7657697</cx:pt>
          <cx:pt idx="6104">0.47232059999999998</cx:pt>
          <cx:pt idx="6105">0.55559139999999996</cx:pt>
          <cx:pt idx="6106">0.56126407450000004</cx:pt>
          <cx:pt idx="6107">0.73261430000000005</cx:pt>
          <cx:pt idx="6108">0.73525833719999989</cx:pt>
          <cx:pt idx="6109">0.787914</cx:pt>
          <cx:pt idx="6110">0.99800319999999998</cx:pt>
          <cx:pt idx="6111">1.1378789999999999</cx:pt>
          <cx:pt idx="6112">1.101669</cx:pt>
          <cx:pt idx="6113">1.1447700000000001</cx:pt>
          <cx:pt idx="6114">1.6364779999999999</cx:pt>
          <cx:pt idx="6115">1.760057</cx:pt>
          <cx:pt idx="6116">1.758998976</cx:pt>
          <cx:pt idx="6117">1.7158000000000002</cx:pt>
          <cx:pt idx="6118">1.7851980000000001</cx:pt>
          <cx:pt idx="6119">1.028837</cx:pt>
          <cx:pt idx="6120">0.69667879999999993</cx:pt>
          <cx:pt idx="6121">0.5352306</cx:pt>
          <cx:pt idx="6122">0.18650030000000001</cx:pt>
          <cx:pt idx="6123">0.093979583559999996</cx:pt>
          <cx:pt idx="6124">0</cx:pt>
          <cx:pt idx="6125">0.67857889999999998</cx:pt>
          <cx:pt idx="6126">0.6912028456</cx:pt>
          <cx:pt idx="6127">0.99676680000000006</cx:pt>
          <cx:pt idx="6128">1.714002</cx:pt>
          <cx:pt idx="6129">2</cx:pt>
          <cx:pt idx="6130">1.8052705370000002</cx:pt>
          <cx:pt idx="6131">1.689530363</cx:pt>
          <cx:pt idx="6132">1.6524510000000001</cx:pt>
          <cx:pt idx="6133">1.2317089999999999</cx:pt>
          <cx:pt idx="6134">0.081112480000000001</cx:pt>
          <cx:pt idx="6135">0.077894382970000009</cx:pt>
          <cx:pt idx="6136">0</cx:pt>
          <cx:pt idx="6137">0.087283749680000008</cx:pt>
          <cx:pt idx="6138">0.10240050000000001</cx:pt>
          <cx:pt idx="6139">0.36323439999999996</cx:pt>
          <cx:pt idx="6140">0.52142980000000005</cx:pt>
          <cx:pt idx="6141">1.1223369999999999</cx:pt>
          <cx:pt idx="6142">1.4057599999999999</cx:pt>
          <cx:pt idx="6143">1.5392070000000002</cx:pt>
          <cx:pt idx="6144">0.7343192999999999</cx:pt>
          <cx:pt idx="6145">0.72160367619999999</cx:pt>
          <cx:pt idx="6146">0.41381970000000001</cx:pt>
          <cx:pt idx="6147">0</cx:pt>
          <cx:pt idx="6148">0.21538887679999999</cx:pt>
          <cx:pt idx="6149">0.35453359239999999</cx:pt>
          <cx:pt idx="6150">0.71295609999999998</cx:pt>
          <cx:pt idx="6151">1.479023</cx:pt>
          <cx:pt idx="6152">1.7882660000000001</cx:pt>
          <cx:pt idx="6153">2</cx:pt>
          <cx:pt idx="6154">1.6492019999999998</cx:pt>
          <cx:pt idx="6155">1.279909</cx:pt>
          <cx:pt idx="6156">1.270764971</cx:pt>
          <cx:pt idx="6157">1.04955</cx:pt>
          <cx:pt idx="6158">0.37227179999999999</cx:pt>
          <cx:pt idx="6159">0</cx:pt>
          <cx:pt idx="6160">0</cx:pt>
          <cx:pt idx="6161">0</cx:pt>
          <cx:pt idx="6162">0</cx:pt>
          <cx:pt idx="6163">0.054111823730000001</cx:pt>
          <cx:pt idx="6164">0.1033209925</cx:pt>
          <cx:pt idx="6165">0.25994539999999999</cx:pt>
          <cx:pt idx="6166">0.79188599999999998</cx:pt>
          <cx:pt idx="6167">1.4431149999999999</cx:pt>
          <cx:pt idx="6168">0</cx:pt>
          <cx:pt idx="6169">0</cx:pt>
          <cx:pt idx="6170">0</cx:pt>
          <cx:pt idx="6171">0</cx:pt>
          <cx:pt idx="6172">0</cx:pt>
          <cx:pt idx="6173">0</cx:pt>
          <cx:pt idx="6174">0</cx:pt>
          <cx:pt idx="6175">0</cx:pt>
          <cx:pt idx="6176">0</cx:pt>
          <cx:pt idx="6177">0</cx:pt>
          <cx:pt idx="6178">0</cx:pt>
          <cx:pt idx="6179">0</cx:pt>
          <cx:pt idx="6180">0</cx:pt>
          <cx:pt idx="6181">0</cx:pt>
          <cx:pt idx="6182">0</cx:pt>
          <cx:pt idx="6183">0</cx:pt>
          <cx:pt idx="6184">0</cx:pt>
          <cx:pt idx="6185">0</cx:pt>
          <cx:pt idx="6186">0.20766613799999997</cx:pt>
          <cx:pt idx="6187">0.60578462600000005</cx:pt>
          <cx:pt idx="6188">0.80564453599999997</cx:pt>
          <cx:pt idx="6189">1.5955764719999999</cx:pt>
          <cx:pt idx="6190">2</cx:pt>
          <cx:pt idx="6191">1.9845655869999999</cx:pt>
          <cx:pt idx="6192">0.47000248300000003</cx:pt>
          <cx:pt idx="6193">0</cx:pt>
          <cx:pt idx="6194">0</cx:pt>
          <cx:pt idx="6195">0</cx:pt>
          <cx:pt idx="6196">0</cx:pt>
          <cx:pt idx="6197">0</cx:pt>
          <cx:pt idx="6198">0</cx:pt>
          <cx:pt idx="6199">0</cx:pt>
          <cx:pt idx="6200">0</cx:pt>
          <cx:pt idx="6201">0</cx:pt>
          <cx:pt idx="6202">0</cx:pt>
          <cx:pt idx="6203">0</cx:pt>
          <cx:pt idx="6204">0</cx:pt>
          <cx:pt idx="6205">0</cx:pt>
          <cx:pt idx="6206">0</cx:pt>
          <cx:pt idx="6207">0</cx:pt>
          <cx:pt idx="6208">0</cx:pt>
          <cx:pt idx="6209">0</cx:pt>
          <cx:pt idx="6210">0</cx:pt>
          <cx:pt idx="6211">0</cx:pt>
          <cx:pt idx="6212">0</cx:pt>
          <cx:pt idx="6213">0</cx:pt>
          <cx:pt idx="6214">0</cx:pt>
          <cx:pt idx="6215">0</cx:pt>
          <cx:pt idx="6216">0</cx:pt>
          <cx:pt idx="6217">0</cx:pt>
          <cx:pt idx="6218">0</cx:pt>
          <cx:pt idx="6219">0</cx:pt>
          <cx:pt idx="6220">0</cx:pt>
          <cx:pt idx="6221">0</cx:pt>
          <cx:pt idx="6222">0</cx:pt>
          <cx:pt idx="6223">0</cx:pt>
          <cx:pt idx="6224">0</cx:pt>
          <cx:pt idx="6225">0</cx:pt>
          <cx:pt idx="6226">0</cx:pt>
          <cx:pt idx="6227">0</cx:pt>
          <cx:pt idx="6228">0</cx:pt>
          <cx:pt idx="6229">0</cx:pt>
          <cx:pt idx="6230">0</cx:pt>
          <cx:pt idx="6231">0</cx:pt>
          <cx:pt idx="6232">0</cx:pt>
          <cx:pt idx="6233">0</cx:pt>
          <cx:pt idx="6234">0</cx:pt>
          <cx:pt idx="6235">0</cx:pt>
          <cx:pt idx="6236">0</cx:pt>
          <cx:pt idx="6237">0</cx:pt>
          <cx:pt idx="6238">0</cx:pt>
          <cx:pt idx="6239">0</cx:pt>
          <cx:pt idx="6240">0</cx:pt>
          <cx:pt idx="6241">0</cx:pt>
          <cx:pt idx="6242">0</cx:pt>
          <cx:pt idx="6243">0</cx:pt>
          <cx:pt idx="6244">0</cx:pt>
          <cx:pt idx="6245">0</cx:pt>
          <cx:pt idx="6246">0</cx:pt>
          <cx:pt idx="6247">0</cx:pt>
          <cx:pt idx="6248">0</cx:pt>
          <cx:pt idx="6249">0</cx:pt>
          <cx:pt idx="6250">0</cx:pt>
          <cx:pt idx="6251">0</cx:pt>
          <cx:pt idx="6252">0</cx:pt>
          <cx:pt idx="6253">0</cx:pt>
          <cx:pt idx="6254">0</cx:pt>
          <cx:pt idx="6255">0</cx:pt>
          <cx:pt idx="6256">0</cx:pt>
          <cx:pt idx="6257">0</cx:pt>
          <cx:pt idx="6258">0</cx:pt>
          <cx:pt idx="6259">0</cx:pt>
          <cx:pt idx="6260">0</cx:pt>
          <cx:pt idx="6261">0</cx:pt>
          <cx:pt idx="6262">0</cx:pt>
          <cx:pt idx="6263">0</cx:pt>
          <cx:pt idx="6264">0</cx:pt>
          <cx:pt idx="6265">0</cx:pt>
          <cx:pt idx="6266">0</cx:pt>
          <cx:pt idx="6267">0</cx:pt>
          <cx:pt idx="6268">0</cx:pt>
          <cx:pt idx="6269">0</cx:pt>
          <cx:pt idx="6270">0</cx:pt>
          <cx:pt idx="6271">0</cx:pt>
          <cx:pt idx="6272">0</cx:pt>
          <cx:pt idx="6273">0</cx:pt>
          <cx:pt idx="6274">0</cx:pt>
          <cx:pt idx="6275">0</cx:pt>
          <cx:pt idx="6276">0</cx:pt>
          <cx:pt idx="6277">0</cx:pt>
          <cx:pt idx="6278">0</cx:pt>
          <cx:pt idx="6279">0</cx:pt>
          <cx:pt idx="6280">0</cx:pt>
          <cx:pt idx="6281">0</cx:pt>
          <cx:pt idx="6282">0</cx:pt>
          <cx:pt idx="6283">0</cx:pt>
          <cx:pt idx="6284">0</cx:pt>
          <cx:pt idx="6285">0</cx:pt>
          <cx:pt idx="6286">0</cx:pt>
          <cx:pt idx="6287">0</cx:pt>
          <cx:pt idx="6288">0</cx:pt>
          <cx:pt idx="6289">0</cx:pt>
          <cx:pt idx="6290">0</cx:pt>
          <cx:pt idx="6291">0</cx:pt>
          <cx:pt idx="6292">0</cx:pt>
          <cx:pt idx="6293">0</cx:pt>
          <cx:pt idx="6294">0</cx:pt>
          <cx:pt idx="6295">0</cx:pt>
          <cx:pt idx="6296">0</cx:pt>
          <cx:pt idx="6297">0</cx:pt>
          <cx:pt idx="6298">0</cx:pt>
          <cx:pt idx="6299">0</cx:pt>
          <cx:pt idx="6300">0</cx:pt>
          <cx:pt idx="6301">0</cx:pt>
          <cx:pt idx="6302">0</cx:pt>
          <cx:pt idx="6303">0</cx:pt>
          <cx:pt idx="6304">0</cx:pt>
          <cx:pt idx="6305">0</cx:pt>
          <cx:pt idx="6306">0</cx:pt>
          <cx:pt idx="6307">0</cx:pt>
          <cx:pt idx="6308">0</cx:pt>
          <cx:pt idx="6309">0</cx:pt>
          <cx:pt idx="6310">0</cx:pt>
          <cx:pt idx="6311">0</cx:pt>
          <cx:pt idx="6312">0</cx:pt>
          <cx:pt idx="6313">0</cx:pt>
          <cx:pt idx="6314">0</cx:pt>
          <cx:pt idx="6315">0</cx:pt>
          <cx:pt idx="6316">0</cx:pt>
          <cx:pt idx="6317">0</cx:pt>
          <cx:pt idx="6318">0</cx:pt>
          <cx:pt idx="6319">0</cx:pt>
          <cx:pt idx="6320">0</cx:pt>
          <cx:pt idx="6321">0</cx:pt>
          <cx:pt idx="6322">0</cx:pt>
          <cx:pt idx="6323">0.068974187510000007</cx:pt>
          <cx:pt idx="6324">0.20233738809999999</cx:pt>
          <cx:pt idx="6325">0.78940402600000004</cx:pt>
          <cx:pt idx="6326">0.91660998770000002</cx:pt>
          <cx:pt idx="6327">0.98201428710000005</cx:pt>
          <cx:pt idx="6328">1.5721267990000001</cx:pt>
          <cx:pt idx="6329">1.6411009870000002</cx:pt>
          <cx:pt idx="6330">1.7054900000000002</cx:pt>
          <cx:pt idx="6331">1.710210673</cx:pt>
          <cx:pt idx="6332">2</cx:pt>
          <cx:pt idx="6333">1.9980910629999999</cx:pt>
          <cx:pt idx="6334">1.9937415039999999</cx:pt>
          <cx:pt idx="6335">1.9893622149999999</cx:pt>
          <cx:pt idx="6336">1.9886984679999999</cx:pt>
          <cx:pt idx="6337">1.9874780000000001</cx:pt>
          <cx:pt idx="6338">1.9536715770000002</cx:pt>
          <cx:pt idx="6339">1.135381</cx:pt>
          <cx:pt idx="6340">0</cx:pt>
          <cx:pt idx="6341">0</cx:pt>
          <cx:pt idx="6342">0</cx:pt>
          <cx:pt idx="6343">0</cx:pt>
          <cx:pt idx="6344">0</cx:pt>
          <cx:pt idx="6345">0</cx:pt>
          <cx:pt idx="6346">0</cx:pt>
          <cx:pt idx="6347">0</cx:pt>
          <cx:pt idx="6348">0</cx:pt>
          <cx:pt idx="6349">0</cx:pt>
          <cx:pt idx="6350">0</cx:pt>
          <cx:pt idx="6351">0</cx:pt>
          <cx:pt idx="6352">0.0034837227100000001</cx:pt>
          <cx:pt idx="6353">0.033083783480000004</cx:pt>
          <cx:pt idx="6354">0.036567506180000001</cx:pt>
          <cx:pt idx="6355">0.053107743459999995</cx:pt>
          <cx:pt idx="6356">0.056257319719999997</cx:pt>
          <cx:pt idx="6357">0.059714575339999999</cx:pt>
          <cx:pt idx="6358">0.076230000000000006</cx:pt>
          <cx:pt idx="6359">0.58394460000000004</cx:pt>
          <cx:pt idx="6360">1.178274</cx:pt>
          <cx:pt idx="6361">1.3154539999999999</cx:pt>
          <cx:pt idx="6362">1.664809</cx:pt>
          <cx:pt idx="6363">1.0824910000000001</cx:pt>
          <cx:pt idx="6364">0.89257959999999992</cx:pt>
          <cx:pt idx="6365">0.85842380000000007</cx:pt>
          <cx:pt idx="6366">1.0429007889999999</cx:pt>
          <cx:pt idx="6367">1.1627700000000001</cx:pt>
          <cx:pt idx="6368">1.3545640000000001</cx:pt>
          <cx:pt idx="6369">1.4377709999999999</cx:pt>
          <cx:pt idx="6370">1.7886600000000001</cx:pt>
          <cx:pt idx="6371">1.7138849999999999</cx:pt>
          <cx:pt idx="6372">1.010224</cx:pt>
          <cx:pt idx="6373">0.99629880400000004</cx:pt>
          <cx:pt idx="6374">0.28897089999999998</cx:pt>
          <cx:pt idx="6375">0.28840896020000001</cx:pt>
          <cx:pt idx="6376">0.25333319999999998</cx:pt>
          <cx:pt idx="6377">0.096165029999999999</cx:pt>
          <cx:pt idx="6378">0</cx:pt>
          <cx:pt idx="6379">0.51125660000000006</cx:pt>
          <cx:pt idx="6380">0.71653390000000006</cx:pt>
          <cx:pt idx="6381">0.71725811530000005</cx:pt>
          <cx:pt idx="6382">0.8951884</cx:pt>
          <cx:pt idx="6383">1.0073719999999999</cx:pt>
          <cx:pt idx="6384">1.0868980000000001</cx:pt>
          <cx:pt idx="6385">1.184871</cx:pt>
          <cx:pt idx="6386">1.1640699999999999</cx:pt>
          <cx:pt idx="6387">1.0521070000000001</cx:pt>
          <cx:pt idx="6388">1.0054959999999999</cx:pt>
          <cx:pt idx="6389">1.0219689999999999</cx:pt>
          <cx:pt idx="6390">1.1978420000000001</cx:pt>
          <cx:pt idx="6391">1.200940967</cx:pt>
          <cx:pt idx="6392">1.5846309999999999</cx:pt>
          <cx:pt idx="6393">1.8418700000000001</cx:pt>
          <cx:pt idx="6394">2</cx:pt>
          <cx:pt idx="6395">1.978036516</cx:pt>
          <cx:pt idx="6396">1.9135701729999999</cx:pt>
          <cx:pt idx="6397">1.903343475</cx:pt>
          <cx:pt idx="6398">1.8920258599999999</cx:pt>
          <cx:pt idx="6399">1.8596637110000001</cx:pt>
          <cx:pt idx="6400">1.8281399060000001</cx:pt>
          <cx:pt idx="6401">1.8064290000000001</cx:pt>
          <cx:pt idx="6402">1.74854245</cx:pt>
          <cx:pt idx="6403">0</cx:pt>
          <cx:pt idx="6404">0</cx:pt>
          <cx:pt idx="6405">0</cx:pt>
          <cx:pt idx="6406">0</cx:pt>
          <cx:pt idx="6407">0</cx:pt>
          <cx:pt idx="6408">0</cx:pt>
          <cx:pt idx="6409">0</cx:pt>
          <cx:pt idx="6410">0</cx:pt>
          <cx:pt idx="6411">0</cx:pt>
          <cx:pt idx="6412">0</cx:pt>
          <cx:pt idx="6413">0</cx:pt>
          <cx:pt idx="6414">0</cx:pt>
          <cx:pt idx="6415">0</cx:pt>
          <cx:pt idx="6416">0</cx:pt>
          <cx:pt idx="6417">1.6562862300000001</cx:pt>
          <cx:pt idx="6418">2</cx:pt>
          <cx:pt idx="6419">1.9419579909999998</cx:pt>
          <cx:pt idx="6420">1.6566419999999999</cx:pt>
          <cx:pt idx="6421">1.076333</cx:pt>
          <cx:pt idx="6422">1.0657430080000001</cx:pt>
          <cx:pt idx="6423">0.74585780000000002</cx:pt>
          <cx:pt idx="6424">0</cx:pt>
          <cx:pt idx="6425">0.046351134719999992</cx:pt>
          <cx:pt idx="6426">2</cx:pt>
          <cx:pt idx="6427">1.9242693990000002</cx:pt>
          <cx:pt idx="6428">1.4774289999999999</cx:pt>
          <cx:pt idx="6429">0.86476410000000004</cx:pt>
          <cx:pt idx="6430">0.85648908509999999</cx:pt>
          <cx:pt idx="6431">0.64133889999999993</cx:pt>
          <cx:pt idx="6432">0.64354800359999997</cx:pt>
          <cx:pt idx="6433">0.90201260000000005</cx:pt>
          <cx:pt idx="6434">1.09385</cx:pt>
          <cx:pt idx="6435">0</cx:pt>
          <cx:pt idx="6436">0</cx:pt>
          <cx:pt idx="6437">0</cx:pt>
          <cx:pt idx="6438">0</cx:pt>
          <cx:pt idx="6439">0</cx:pt>
          <cx:pt idx="6440">0</cx:pt>
          <cx:pt idx="6441">0</cx:pt>
          <cx:pt idx="6442">0</cx:pt>
          <cx:pt idx="6443">0</cx:pt>
          <cx:pt idx="6444">0</cx:pt>
          <cx:pt idx="6445">0</cx:pt>
          <cx:pt idx="6446">0</cx:pt>
          <cx:pt idx="6447">0</cx:pt>
          <cx:pt idx="6448">0</cx:pt>
          <cx:pt idx="6449">0</cx:pt>
          <cx:pt idx="6450">0</cx:pt>
          <cx:pt idx="6451">0</cx:pt>
          <cx:pt idx="6452">0</cx:pt>
          <cx:pt idx="6453">0</cx:pt>
          <cx:pt idx="6454">0</cx:pt>
          <cx:pt idx="6455">0</cx:pt>
          <cx:pt idx="6456">0</cx:pt>
          <cx:pt idx="6457">0</cx:pt>
          <cx:pt idx="6458">0</cx:pt>
          <cx:pt idx="6459">0</cx:pt>
          <cx:pt idx="6460">0</cx:pt>
          <cx:pt idx="6461">0</cx:pt>
          <cx:pt idx="6462">0</cx:pt>
          <cx:pt idx="6463">0</cx:pt>
          <cx:pt idx="6464">0</cx:pt>
          <cx:pt idx="6465">0</cx:pt>
          <cx:pt idx="6466">0</cx:pt>
          <cx:pt idx="6467">0</cx:pt>
          <cx:pt idx="6468">0</cx:pt>
          <cx:pt idx="6469">0</cx:pt>
          <cx:pt idx="6470">0</cx:pt>
          <cx:pt idx="6471">0</cx:pt>
          <cx:pt idx="6472">0</cx:pt>
          <cx:pt idx="6473">0</cx:pt>
          <cx:pt idx="6474">1.3013619829999998</cx:pt>
          <cx:pt idx="6475">2</cx:pt>
          <cx:pt idx="6476">1.967640598</cx:pt>
          <cx:pt idx="6477">1.946455281</cx:pt>
          <cx:pt idx="6478">1.9197230200000002</cx:pt>
          <cx:pt idx="6479">1.8876550000000001</cx:pt>
          <cx:pt idx="6480">1.6310579999999999</cx:pt>
          <cx:pt idx="6481">1.201414</cx:pt>
          <cx:pt idx="6482">1.143958</cx:pt>
          <cx:pt idx="6483">1.172892</cx:pt>
          <cx:pt idx="6484">1.6732499999999999</cx:pt>
          <cx:pt idx="6485">1.8538300000000001</cx:pt>
          <cx:pt idx="6486">1.855019585</cx:pt>
          <cx:pt idx="6487">2</cx:pt>
          <cx:pt idx="6488">1.999479974</cx:pt>
          <cx:pt idx="6489">1.9989832599999999</cx:pt>
          <cx:pt idx="6490">1.9984964489999999</cx:pt>
          <cx:pt idx="6491">1.9967405919999999</cx:pt>
          <cx:pt idx="6492">1.9957258580000001</cx:pt>
          <cx:pt idx="6493">1.994222181</cx:pt>
          <cx:pt idx="6494">1.9939836629999999</cx:pt>
          <cx:pt idx="6495">1.9937197019999999</cx:pt>
          <cx:pt idx="6496">1.989959695</cx:pt>
          <cx:pt idx="6497">1.9897093960000001</cx:pt>
          <cx:pt idx="6498">1.987717027</cx:pt>
          <cx:pt idx="6499">1.987202766</cx:pt>
          <cx:pt idx="6500">1.9849463109999999</cx:pt>
          <cx:pt idx="6501">1.9846960119999999</cx:pt>
          <cx:pt idx="6502">1.9814366039999998</cx:pt>
          <cx:pt idx="6503">1.98068182</cx:pt>
          <cx:pt idx="6504">1.9789436359999999</cx:pt>
          <cx:pt idx="6505">1.9781908580000001</cx:pt>
          <cx:pt idx="6506">1.9779268959999998</cx:pt>
          <cx:pt idx="6507">1.9774262980000001</cx:pt>
          <cx:pt idx="6508">1.9769258239999998</cx:pt>
          <cx:pt idx="6509">1.97642322</cx:pt>
          <cx:pt idx="6510">1.972677</cx:pt>
          <cx:pt idx="6511">1.8342876279999998</cx:pt>
          <cx:pt idx="6512">1.7071350000000001</cx:pt>
          <cx:pt idx="6513">1.6686129999999999</cx:pt>
          <cx:pt idx="6514">1.4137710000000001</cx:pt>
          <cx:pt idx="6515">0.58482860000000003</cx:pt>
          <cx:pt idx="6516">0.57581785009999997</cx:pt>
          <cx:pt idx="6517">0</cx:pt>
          <cx:pt idx="6518">0.1042179904</cx:pt>
          <cx:pt idx="6519">0.29935189919999999</cx:pt>
          <cx:pt idx="6520">0.3117303052</cx:pt>
          <cx:pt idx="6521">0.37718040000000003</cx:pt>
          <cx:pt idx="6522">1.4147810000000001</cx:pt>
          <cx:pt idx="6523">1.9154820000000001</cx:pt>
          <cx:pt idx="6524">2</cx:pt>
          <cx:pt idx="6525">2</cx:pt>
          <cx:pt idx="6526">2</cx:pt>
          <cx:pt idx="6527">2</cx:pt>
          <cx:pt idx="6528">2</cx:pt>
          <cx:pt idx="6529">2</cx:pt>
          <cx:pt idx="6530">2</cx:pt>
          <cx:pt idx="6531">2</cx:pt>
          <cx:pt idx="6532">2</cx:pt>
          <cx:pt idx="6533">1.425067503</cx:pt>
          <cx:pt idx="6534">1.21974144</cx:pt>
          <cx:pt idx="6535">1.0342069999999999</cx:pt>
          <cx:pt idx="6536">0</cx:pt>
          <cx:pt idx="6537">0</cx:pt>
          <cx:pt idx="6538">0</cx:pt>
          <cx:pt idx="6539">0</cx:pt>
          <cx:pt idx="6540">0</cx:pt>
          <cx:pt idx="6541">0</cx:pt>
          <cx:pt idx="6542">0</cx:pt>
          <cx:pt idx="6543">0</cx:pt>
          <cx:pt idx="6544">0</cx:pt>
          <cx:pt idx="6545">0</cx:pt>
          <cx:pt idx="6546">0</cx:pt>
          <cx:pt idx="6547">0</cx:pt>
          <cx:pt idx="6548">0</cx:pt>
          <cx:pt idx="6549">0</cx:pt>
          <cx:pt idx="6550">0</cx:pt>
          <cx:pt idx="6551">0.038736575850000003</cx:pt>
          <cx:pt idx="6552">0.122487518</cx:pt>
          <cx:pt idx="6553">0.36370800000000003</cx:pt>
          <cx:pt idx="6554">0.95308769999999998</cx:pt>
          <cx:pt idx="6555">1.3344100000000001</cx:pt>
          <cx:pt idx="6556">1.4448660000000002</cx:pt>
          <cx:pt idx="6557">1.8811439999999999</cx:pt>
          <cx:pt idx="6558">1.8820630629999999</cx:pt>
          <cx:pt idx="6559">2</cx:pt>
          <cx:pt idx="6560">2</cx:pt>
          <cx:pt idx="6561">2</cx:pt>
          <cx:pt idx="6562">2</cx:pt>
          <cx:pt idx="6563">2</cx:pt>
          <cx:pt idx="6564">2</cx:pt>
          <cx:pt idx="6565">2</cx:pt>
          <cx:pt idx="6566">1.9507376510000001</cx:pt>
          <cx:pt idx="6567">1.937872687</cx:pt>
          <cx:pt idx="6568">1.8886103380000001</cx:pt>
          <cx:pt idx="6569">1.8270554849999998</cx:pt>
          <cx:pt idx="6570">1.7897040000000002</cx:pt>
          <cx:pt idx="6571">0.99328950000000005</cx:pt>
          <cx:pt idx="6572">0.072537190000000001</cx:pt>
          <cx:pt idx="6573">0</cx:pt>
          <cx:pt idx="6574">0.011197361910000002</cx:pt>
          <cx:pt idx="6575">0.30076570000000002</cx:pt>
          <cx:pt idx="6576">0.84246730000000003</cx:pt>
          <cx:pt idx="6577">1.537228</cx:pt>
          <cx:pt idx="6578">2</cx:pt>
          <cx:pt idx="6579">1.9654735109999999</cx:pt>
          <cx:pt idx="6580">1.934266877</cx:pt>
          <cx:pt idx="6581">1.9180282800000001</cx:pt>
          <cx:pt idx="6582">1.803194097</cx:pt>
          <cx:pt idx="6583">1.770462789</cx:pt>
          <cx:pt idx="6584">1.7540930370000001</cx:pt>
          <cx:pt idx="6585">1.721230574</cx:pt>
          <cx:pt idx="6586">1.590026639</cx:pt>
          <cx:pt idx="6587">1.5739109999999998</cx:pt>
          <cx:pt idx="6588">1.5505658070000001</cx:pt>
          <cx:pt idx="6589">0</cx:pt>
          <cx:pt idx="6590">0</cx:pt>
          <cx:pt idx="6591">0</cx:pt>
          <cx:pt idx="6592">0</cx:pt>
          <cx:pt idx="6593">0</cx:pt>
          <cx:pt idx="6594">0</cx:pt>
          <cx:pt idx="6595">0</cx:pt>
          <cx:pt idx="6596">0</cx:pt>
          <cx:pt idx="6597">0</cx:pt>
          <cx:pt idx="6598">0.43749728570000002</cx:pt>
          <cx:pt idx="6599">0.84863936109999993</cx:pt>
          <cx:pt idx="6600">1.2696909999999999</cx:pt>
          <cx:pt idx="6601">2</cx:pt>
          <cx:pt idx="6602">1.797010942</cx:pt>
          <cx:pt idx="6603">1.661875915</cx:pt>
          <cx:pt idx="6604">1.5945612120000001</cx:pt>
          <cx:pt idx="6605">1.459931807</cx:pt>
          <cx:pt idx="6606">1.3921114829999999</cx:pt>
          <cx:pt idx="6607">1.1233919999999999</cx:pt>
          <cx:pt idx="6608">1.1042585390000001</cx:pt>
          <cx:pt idx="6609">0.29316619999999999</cx:pt>
          <cx:pt idx="6610">0</cx:pt>
          <cx:pt idx="6611">0</cx:pt>
          <cx:pt idx="6612">0</cx:pt>
          <cx:pt idx="6613">0</cx:pt>
          <cx:pt idx="6614">0</cx:pt>
          <cx:pt idx="6615">0</cx:pt>
          <cx:pt idx="6616">0</cx:pt>
          <cx:pt idx="6617">0</cx:pt>
          <cx:pt idx="6618">0</cx:pt>
          <cx:pt idx="6619">0</cx:pt>
          <cx:pt idx="6620">0</cx:pt>
          <cx:pt idx="6621">0</cx:pt>
          <cx:pt idx="6622">0</cx:pt>
          <cx:pt idx="6623">0</cx:pt>
          <cx:pt idx="6624">0</cx:pt>
          <cx:pt idx="6625">0</cx:pt>
          <cx:pt idx="6626">0</cx:pt>
          <cx:pt idx="6627">0</cx:pt>
          <cx:pt idx="6628">0</cx:pt>
          <cx:pt idx="6629">0</cx:pt>
          <cx:pt idx="6630">0.1402284</cx:pt>
          <cx:pt idx="6631">0.193356</cx:pt>
          <cx:pt idx="6632">0.49098590000000003</cx:pt>
          <cx:pt idx="6633">0.72202949999999999</cx:pt>
          <cx:pt idx="6634">1.125993</cx:pt>
          <cx:pt idx="6635">1.404504</cx:pt>
          <cx:pt idx="6636">1.8991640000000001</cx:pt>
          <cx:pt idx="6637">2</cx:pt>
          <cx:pt idx="6638">0.70820731120000002</cx:pt>
          <cx:pt idx="6639">0.47182499739999995</cx:pt>
          <cx:pt idx="6640">0</cx:pt>
          <cx:pt idx="6641">0</cx:pt>
          <cx:pt idx="6642">0</cx:pt>
          <cx:pt idx="6643">0</cx:pt>
          <cx:pt idx="6644">0</cx:pt>
          <cx:pt idx="6645">0</cx:pt>
          <cx:pt idx="6646">0</cx:pt>
          <cx:pt idx="6647">0</cx:pt>
          <cx:pt idx="6648">0</cx:pt>
          <cx:pt idx="6649">0</cx:pt>
          <cx:pt idx="6650">0</cx:pt>
          <cx:pt idx="6651">0</cx:pt>
          <cx:pt idx="6652">0</cx:pt>
          <cx:pt idx="6653">0</cx:pt>
          <cx:pt idx="6654">0</cx:pt>
          <cx:pt idx="6655">0</cx:pt>
          <cx:pt idx="6656">2</cx:pt>
          <cx:pt idx="6657">1.829393182</cx:pt>
          <cx:pt idx="6658">1.742368452</cx:pt>
          <cx:pt idx="6659">1.2195664050000001</cx:pt>
          <cx:pt idx="6660">0.34805534339999999</cx:pt>
          <cx:pt idx="6661">0.086327494750000011</cx:pt>
          <cx:pt idx="6662">0</cx:pt>
          <cx:pt idx="6663">0</cx:pt>
          <cx:pt idx="6664">0</cx:pt>
          <cx:pt idx="6665">0</cx:pt>
          <cx:pt idx="6666">0</cx:pt>
          <cx:pt idx="6667">0</cx:pt>
          <cx:pt idx="6668">0</cx:pt>
          <cx:pt idx="6669">0</cx:pt>
          <cx:pt idx="6670">0</cx:pt>
          <cx:pt idx="6671">0</cx:pt>
          <cx:pt idx="6672">0</cx:pt>
          <cx:pt idx="6673">0</cx:pt>
          <cx:pt idx="6674">0</cx:pt>
          <cx:pt idx="6675">0</cx:pt>
          <cx:pt idx="6676">0</cx:pt>
          <cx:pt idx="6677">0</cx:pt>
          <cx:pt idx="6678">0</cx:pt>
          <cx:pt idx="6679">0</cx:pt>
          <cx:pt idx="6680">0</cx:pt>
          <cx:pt idx="6681">0</cx:pt>
          <cx:pt idx="6682">0</cx:pt>
          <cx:pt idx="6683">0</cx:pt>
          <cx:pt idx="6684">0</cx:pt>
          <cx:pt idx="6685">0</cx:pt>
          <cx:pt idx="6686">0</cx:pt>
          <cx:pt idx="6687">0.20284237860000001</cx:pt>
          <cx:pt idx="6688">0.29984888730000003</cx:pt>
          <cx:pt idx="6689">0.36704177770000002</cx:pt>
          <cx:pt idx="6690">0.46561130000000001</cx:pt>
          <cx:pt idx="6691">0.70106390000000007</cx:pt>
          <cx:pt idx="6692">0.76864779999999999</cx:pt>
          <cx:pt idx="6693">0.82424739999999996</cx:pt>
          <cx:pt idx="6694">0.87881969999999998</cx:pt>
          <cx:pt idx="6695">1.3351</cx:pt>
          <cx:pt idx="6696">1.4990729999999999</cx:pt>
          <cx:pt idx="6697">1.714296</cx:pt>
          <cx:pt idx="6698">1.65951</cx:pt>
          <cx:pt idx="6699">2</cx:pt>
          <cx:pt idx="6700">1.9263480000000002</cx:pt>
          <cx:pt idx="6701">1.9255461270000001</cx:pt>
          <cx:pt idx="6702">1.8278179999999999</cx:pt>
          <cx:pt idx="6703">2</cx:pt>
          <cx:pt idx="6704">1.9999479059999998</cx:pt>
          <cx:pt idx="6705">1.9864993259999999</cx:pt>
          <cx:pt idx="6706">1.949536317</cx:pt>
          <cx:pt idx="6707">1.9461283800000002</cx:pt>
          <cx:pt idx="6708">1.9293760499999999</cx:pt>
          <cx:pt idx="6709">1.9259950000000001</cx:pt>
          <cx:pt idx="6710">0</cx:pt>
          <cx:pt idx="6711">0</cx:pt>
          <cx:pt idx="6712">0</cx:pt>
          <cx:pt idx="6713">0</cx:pt>
          <cx:pt idx="6714">0</cx:pt>
          <cx:pt idx="6715">0</cx:pt>
          <cx:pt idx="6716">0</cx:pt>
          <cx:pt idx="6717">0</cx:pt>
          <cx:pt idx="6718">0</cx:pt>
          <cx:pt idx="6719">0</cx:pt>
          <cx:pt idx="6720">0.016672332849999999</cx:pt>
          <cx:pt idx="6721">0.032340306399999998</cx:pt>
          <cx:pt idx="6722">0.048377885410000002</cx:pt>
          <cx:pt idx="6723">0.06455205671</cx:pt>
          <cx:pt idx="6724">0.08059767000000001</cx:pt>
          <cx:pt idx="6725">0.22524120280000001</cx:pt>
          <cx:pt idx="6726">0.24128681610000002</cx:pt>
          <cx:pt idx="6727">0.25733242940000001</cx:pt>
          <cx:pt idx="6728">0.33705429999999997</cx:pt>
          <cx:pt idx="6729">1.8827950000000002</cx:pt>
          <cx:pt idx="6730">2</cx:pt>
          <cx:pt idx="6731">1.99452772</cx:pt>
          <cx:pt idx="6732">1.9925398329999999</cx:pt>
          <cx:pt idx="6733">1.9910515259999999</cx:pt>
          <cx:pt idx="6734">1.9885675359999999</cx:pt>
          <cx:pt idx="6735">1.988067459</cx:pt>
          <cx:pt idx="6736">1.9835913590000001</cx:pt>
          <cx:pt idx="6737">1.98111507</cx:pt>
          <cx:pt idx="6738">1.9746468590000001</cx:pt>
          <cx:pt idx="6739">1.968202</cx:pt>
          <cx:pt idx="6740">1.904957</cx:pt>
          <cx:pt idx="6741">1.7207380000000001</cx:pt>
          <cx:pt idx="6742">1.375499</cx:pt>
          <cx:pt idx="6743">1.137991</cx:pt>
          <cx:pt idx="6744">0.84895089999999995</cx:pt>
          <cx:pt idx="6745">0.031222409999999999</cx:pt>
          <cx:pt idx="6746">0</cx:pt>
          <cx:pt idx="6747">0.1244064498</cx:pt>
          <cx:pt idx="6748">0.15479321339999999</cx:pt>
          <cx:pt idx="6749">0.30983372920000002</cx:pt>
          <cx:pt idx="6750">0.37083910000000003</cx:pt>
          <cx:pt idx="6751">0.64233119999999999</cx:pt>
          <cx:pt idx="6752">0.83659856739999994</cx:pt>
          <cx:pt idx="6753">1.2035480000000001</cx:pt>
          <cx:pt idx="6754">1.3293039999999998</cx:pt>
          <cx:pt idx="6755">2</cx:pt>
          <cx:pt idx="6756">1.8714562620000001</cx:pt>
          <cx:pt idx="6757">1.4852455920000001</cx:pt>
          <cx:pt idx="6758">1.2924138909999998</cx:pt>
          <cx:pt idx="6759">1.22761085</cx:pt>
          <cx:pt idx="6760">1.163322886</cx:pt>
          <cx:pt idx="6761">1.0970390000000001</cx:pt>
          <cx:pt idx="6762">0.41387030000000002</cx:pt>
          <cx:pt idx="6763">0.25937987360000003</cx:pt>
          <cx:pt idx="6764">0.09997745999999999</cx:pt>
          <cx:pt idx="6765">0</cx:pt>
          <cx:pt idx="6766">0</cx:pt>
          <cx:pt idx="6767">0</cx:pt>
          <cx:pt idx="6768">0</cx:pt>
          <cx:pt idx="6769">0</cx:pt>
          <cx:pt idx="6770">0</cx:pt>
          <cx:pt idx="6771">0</cx:pt>
          <cx:pt idx="6772">0</cx:pt>
          <cx:pt idx="6773">0</cx:pt>
          <cx:pt idx="6774">0</cx:pt>
          <cx:pt idx="6775">0</cx:pt>
          <cx:pt idx="6776">0</cx:pt>
          <cx:pt idx="6777">0</cx:pt>
          <cx:pt idx="6778">0</cx:pt>
          <cx:pt idx="6779">0</cx:pt>
          <cx:pt idx="6780">0.00039694444000000002</cx:pt>
          <cx:pt idx="6781">0.052140341909999999</cx:pt>
          <cx:pt idx="6782">0.077301387870000002</cx:pt>
          <cx:pt idx="6783">0.2053474133</cx:pt>
          <cx:pt idx="6784">0.3080147151</cx:pt>
          <cx:pt idx="6785">0.61483860000000001</cx:pt>
          <cx:pt idx="6786">1.3429390000000001</cx:pt>
          <cx:pt idx="6787">1.770786</cx:pt>
          <cx:pt idx="6788">2</cx:pt>
          <cx:pt idx="6789">1.7177298619999999</cx:pt>
          <cx:pt idx="6790">1.4900790000000002</cx:pt>
          <cx:pt idx="6791">1.177198</cx:pt>
          <cx:pt idx="6792">0.93154690000000007</cx:pt>
          <cx:pt idx="6793">0.82437129999999992</cx:pt>
          <cx:pt idx="6794">0.76498699999999997</cx:pt>
          <cx:pt idx="6795">1.228947</cx:pt>
          <cx:pt idx="6796">1.33501</cx:pt>
          <cx:pt idx="6797">1.2902389999999999</cx:pt>
          <cx:pt idx="6798">1.4112739999999999</cx:pt>
          <cx:pt idx="6799">1.5024420000000001</cx:pt>
          <cx:pt idx="6800">2</cx:pt>
          <cx:pt idx="6801">1.9975282619999999</cx:pt>
          <cx:pt idx="6802">1.9926000640000001</cx:pt>
          <cx:pt idx="6803">1.987679752</cx:pt>
          <cx:pt idx="6804">1.9866958370000001</cx:pt>
          <cx:pt idx="6805">1.9861961180000001</cx:pt>
          <cx:pt idx="6806">1.9857077330000001</cx:pt>
          <cx:pt idx="6807">1.982255777</cx:pt>
          <cx:pt idx="6808">1.980287701</cx:pt>
          <cx:pt idx="6809">1.979299844</cx:pt>
          <cx:pt idx="6810">1.972895651</cx:pt>
          <cx:pt idx="6811">1.9689518609999999</cx:pt>
          <cx:pt idx="6812">1.9684790000000001</cx:pt>
          <cx:pt idx="6813">1.4598660000000001</cx:pt>
          <cx:pt idx="6814">1.28532</cx:pt>
          <cx:pt idx="6815">1.6454121960000001</cx:pt>
          <cx:pt idx="6816">2</cx:pt>
          <cx:pt idx="6817">1.99334202</cx:pt>
          <cx:pt idx="6818">1.9737259330000001</cx:pt>
          <cx:pt idx="6819">1.8814859999999998</cx:pt>
          <cx:pt idx="6820">1.827642</cx:pt>
          <cx:pt idx="6821">2</cx:pt>
          <cx:pt idx="6822">1.984985606</cx:pt>
          <cx:pt idx="6823">1.9085959109999999</cx:pt>
          <cx:pt idx="6824">1.893402</cx:pt>
          <cx:pt idx="6825">1.5670120000000001</cx:pt>
          <cx:pt idx="6826">1.5823390000000002</cx:pt>
          <cx:pt idx="6827">1.595896</cx:pt>
          <cx:pt idx="6828">1.923581</cx:pt>
          <cx:pt idx="6829">1.8443499999999999</cx:pt>
          <cx:pt idx="6830">1.943308</cx:pt>
          <cx:pt idx="6831">1.9637970000000002</cx:pt>
          <cx:pt idx="6832">1.9613383630000001</cx:pt>
          <cx:pt idx="6833">1.8359479999999999</cx:pt>
          <cx:pt idx="6834">1.693846</cx:pt>
          <cx:pt idx="6835">1.444116</cx:pt>
          <cx:pt idx="6836">0.91907520000000009</cx:pt>
          <cx:pt idx="6837">0.239928</cx:pt>
          <cx:pt idx="6838">0.23809210539999998</cx:pt>
          <cx:pt idx="6839">0</cx:pt>
          <cx:pt idx="6840">0</cx:pt>
          <cx:pt idx="6841">0</cx:pt>
          <cx:pt idx="6842">0</cx:pt>
          <cx:pt idx="6843">0</cx:pt>
          <cx:pt idx="6844">0</cx:pt>
          <cx:pt idx="6845">0</cx:pt>
          <cx:pt idx="6846">0</cx:pt>
          <cx:pt idx="6847">0</cx:pt>
          <cx:pt idx="6848">0</cx:pt>
          <cx:pt idx="6849">0</cx:pt>
          <cx:pt idx="6850">0</cx:pt>
          <cx:pt idx="6851">0</cx:pt>
          <cx:pt idx="6852">0</cx:pt>
          <cx:pt idx="6853">0.33604529999999999</cx:pt>
          <cx:pt idx="6854">1.8643260000000001</cx:pt>
          <cx:pt idx="6855">2</cx:pt>
          <cx:pt idx="6856">1.993240178</cx:pt>
          <cx:pt idx="6857">1.904901902</cx:pt>
          <cx:pt idx="6858">1.8577219999999999</cx:pt>
          <cx:pt idx="6859">1.851776198</cx:pt>
          <cx:pt idx="6860">1.0788150000000001</cx:pt>
          <cx:pt idx="6861">0.4499282</cx:pt>
          <cx:pt idx="6862">0</cx:pt>
          <cx:pt idx="6863">0</cx:pt>
          <cx:pt idx="6864">0</cx:pt>
          <cx:pt idx="6865">0</cx:pt>
          <cx:pt idx="6866">0</cx:pt>
          <cx:pt idx="6867">0</cx:pt>
          <cx:pt idx="6868">0</cx:pt>
          <cx:pt idx="6869">0</cx:pt>
          <cx:pt idx="6870">0</cx:pt>
          <cx:pt idx="6871">0</cx:pt>
          <cx:pt idx="6872">0</cx:pt>
          <cx:pt idx="6873">0</cx:pt>
          <cx:pt idx="6874">0</cx:pt>
          <cx:pt idx="6875">0</cx:pt>
          <cx:pt idx="6876">0</cx:pt>
          <cx:pt idx="6877">0</cx:pt>
          <cx:pt idx="6878">0</cx:pt>
          <cx:pt idx="6879">0</cx:pt>
          <cx:pt idx="6880">0</cx:pt>
          <cx:pt idx="6881">0</cx:pt>
          <cx:pt idx="6882">0</cx:pt>
          <cx:pt idx="6883">0.048240295169999996</cx:pt>
          <cx:pt idx="6884">0.1916538374</cx:pt>
          <cx:pt idx="6885">0.2154963983</cx:pt>
          <cx:pt idx="6886">0.25097370000000002</cx:pt>
          <cx:pt idx="6887">1.2376399999999999</cx:pt>
          <cx:pt idx="6888">1.2006600299999999</cx:pt>
          <cx:pt idx="6889">0</cx:pt>
          <cx:pt idx="6890">3.4670089999999998e-05</cx:pt>
          <cx:pt idx="6891">0.0046157129299999999</cx:pt>
          <cx:pt idx="6892">0.013844827630000001</cx:pt>
          <cx:pt idx="6893">0.092413646520000003</cx:pt>
          <cx:pt idx="6894">0.1017167237</cx:pt>
          <cx:pt idx="6895">0.11548989999999999</cx:pt>
          <cx:pt idx="6896">1.9375829999999998</cx:pt>
          <cx:pt idx="6897">2</cx:pt>
          <cx:pt idx="6898">2</cx:pt>
          <cx:pt idx="6899">2</cx:pt>
          <cx:pt idx="6900">2</cx:pt>
          <cx:pt idx="6901">2</cx:pt>
          <cx:pt idx="6902">2</cx:pt>
          <cx:pt idx="6903">2</cx:pt>
          <cx:pt idx="6904">2</cx:pt>
          <cx:pt idx="6905">2</cx:pt>
          <cx:pt idx="6906">2</cx:pt>
          <cx:pt idx="6907">1.9991602239999999</cx:pt>
          <cx:pt idx="6908">1.8895146349999998</cx:pt>
          <cx:pt idx="6909">1.81630804</cx:pt>
          <cx:pt idx="6910">1.6699313599999999</cx:pt>
          <cx:pt idx="6911">1.415899</cx:pt>
          <cx:pt idx="6912">1.4178336619999998</cx:pt>
          <cx:pt idx="6913">1.4801113860000001</cx:pt>
          <cx:pt idx="6914">1.6612020000000001</cx:pt>
          <cx:pt idx="6915">1.5383179999999999</cx:pt>
          <cx:pt idx="6916">0.85973910000000009</cx:pt>
          <cx:pt idx="6917">0.87317211750000001</cx:pt>
          <cx:pt idx="6918">1.302176</cx:pt>
          <cx:pt idx="6919">1.307646627</cx:pt>
          <cx:pt idx="6920">1.9743780000000002</cx:pt>
          <cx:pt idx="6921">1.974384511</cx:pt>
          <cx:pt idx="6922">1.978162293</cx:pt>
          <cx:pt idx="6923">1.9785848699999999</cx:pt>
          <cx:pt idx="6924">1.9848888740000001</cx:pt>
          <cx:pt idx="6925">1.986985797</cx:pt>
          <cx:pt idx="6926">1.990344152</cx:pt>
          <cx:pt idx="6927">1.9920250100000001</cx:pt>
          <cx:pt idx="6928">1.992867014</cx:pt>
          <cx:pt idx="6929">1.993286441</cx:pt>
          <cx:pt idx="6930">1.9937058680000002</cx:pt>
          <cx:pt idx="6931">1.9949672979999999</cx:pt>
          <cx:pt idx="6932">1.996225369</cx:pt>
        </cx:lvl>
      </cx:numDim>
    </cx:data>
    <cx:data id="8">
      <cx:numDim type="val">
        <cx:f>'Desalination_Unit_Data (3)'!$I$3:$I$7000</cx:f>
        <cx:lvl ptCount="6933"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cx:pt>
          <cx:pt idx="414">0</cx:pt>
          <cx:pt idx="415">0</cx:pt>
          <cx:pt idx="416">0</cx:pt>
          <cx:pt idx="417">0</cx:pt>
          <cx:pt idx="418">0</cx:pt>
          <cx:pt idx="419">0</cx:pt>
          <cx:pt idx="420">0</cx:pt>
          <cx:pt idx="421">0</cx:pt>
          <cx:pt idx="422">0</cx:pt>
          <cx:pt idx="423">0</cx:pt>
          <cx:pt idx="424">0</cx:pt>
          <cx:pt idx="425">0</cx:pt>
          <cx:pt idx="426">0</cx:pt>
          <cx:pt idx="427">0</cx:pt>
          <cx:pt idx="428">0</cx:pt>
          <cx:pt idx="429">0</cx:pt>
          <cx:pt idx="430">0</cx:pt>
          <cx:pt idx="431">0</cx:pt>
          <cx:pt idx="432">0</cx:pt>
          <cx:pt idx="433">0</cx:pt>
          <cx:pt idx="434">0</cx:pt>
          <cx:pt idx="435">0</cx:pt>
          <cx:pt idx="436">0</cx:pt>
          <cx:pt idx="437">0</cx:pt>
          <cx:pt idx="438">0</cx:pt>
          <cx:pt idx="439">0</cx:pt>
          <cx:pt idx="440">0</cx:pt>
          <cx:pt idx="441">0</cx:pt>
          <cx:pt idx="442">0</cx:pt>
          <cx:pt idx="443">0</cx:pt>
          <cx:pt idx="444">0</cx:pt>
          <cx:pt idx="445">0</cx:pt>
          <cx:pt idx="446">0</cx:pt>
          <cx:pt idx="447">0</cx:pt>
          <cx:pt idx="448">0</cx:pt>
          <cx:pt idx="449">0</cx:pt>
          <cx:pt idx="450">0</cx:pt>
          <cx:pt idx="451">0</cx:pt>
          <cx:pt idx="452">0</cx:pt>
          <cx:pt idx="453">0</cx:pt>
          <cx:pt idx="454">0</cx:pt>
          <cx:pt idx="455">0</cx:pt>
          <cx:pt idx="456">0</cx:pt>
          <cx:pt idx="457">0</cx:pt>
          <cx:pt idx="458">0</cx:pt>
          <cx:pt idx="459">0</cx:pt>
          <cx:pt idx="460">0</cx:pt>
          <cx:pt idx="461">0</cx:pt>
          <cx:pt idx="462">0</cx:pt>
          <cx:pt idx="463">0</cx:pt>
          <cx:pt idx="464">0</cx:pt>
          <cx:pt idx="465">0</cx:pt>
          <cx:pt idx="466">0</cx:pt>
          <cx:pt idx="467">0</cx:pt>
          <cx:pt idx="468">0</cx:pt>
          <cx:pt idx="469">0</cx:pt>
          <cx:pt idx="470">0</cx:pt>
          <cx:pt idx="471">0</cx:pt>
          <cx:pt idx="472">0</cx:pt>
          <cx:pt idx="473">0</cx:pt>
          <cx:pt idx="474">0</cx:pt>
          <cx:pt idx="475">0</cx:pt>
          <cx:pt idx="476">0</cx:pt>
          <cx:pt idx="477">0</cx:pt>
          <cx:pt idx="478">0</cx:pt>
          <cx:pt idx="479">0</cx:pt>
          <cx:pt idx="480">0</cx:pt>
          <cx:pt idx="481">0</cx:pt>
          <cx:pt idx="482">0</cx:pt>
          <cx:pt idx="483">0</cx:pt>
          <cx:pt idx="484">0</cx:pt>
          <cx:pt idx="485">0</cx:pt>
          <cx:pt idx="486">0</cx:pt>
          <cx:pt idx="487">0</cx:pt>
          <cx:pt idx="488">0</cx:pt>
          <cx:pt idx="489">0</cx:pt>
          <cx:pt idx="490">0</cx:pt>
          <cx:pt idx="491">0</cx:pt>
          <cx:pt idx="492">0</cx:pt>
          <cx:pt idx="493">0</cx:pt>
          <cx:pt idx="494">0</cx:pt>
          <cx:pt idx="495">0</cx:pt>
          <cx:pt idx="496">0</cx:pt>
          <cx:pt idx="497">0</cx:pt>
          <cx:pt idx="498">0</cx:pt>
          <cx:pt idx="499">0</cx:pt>
          <cx:pt idx="500">0</cx:pt>
          <cx:pt idx="501">0</cx:pt>
          <cx:pt idx="502">0</cx:pt>
          <cx:pt idx="503">0</cx:pt>
          <cx:pt idx="504">0</cx:pt>
          <cx:pt idx="505">0</cx:pt>
          <cx:pt idx="506">0</cx:pt>
          <cx:pt idx="507">0</cx:pt>
          <cx:pt idx="508">0</cx:pt>
          <cx:pt idx="509">0</cx:pt>
          <cx:pt idx="510">0</cx:pt>
          <cx:pt idx="511">0</cx:pt>
          <cx:pt idx="512">0</cx:pt>
          <cx:pt idx="513">0</cx:pt>
          <cx:pt idx="514">0</cx:pt>
          <cx:pt idx="515">0</cx:pt>
          <cx:pt idx="516">0</cx:pt>
          <cx:pt idx="517">0</cx:pt>
          <cx:pt idx="518">0</cx:pt>
          <cx:pt idx="519">0</cx:pt>
          <cx:pt idx="520">0</cx:pt>
          <cx:pt idx="521">0</cx:pt>
          <cx:pt idx="522">0</cx:pt>
          <cx:pt idx="523">0</cx:pt>
          <cx:pt idx="524">0</cx:pt>
          <cx:pt idx="525">0</cx:pt>
          <cx:pt idx="526">0</cx:pt>
          <cx:pt idx="527">0</cx:pt>
          <cx:pt idx="528">0</cx:pt>
          <cx:pt idx="529">0</cx:pt>
          <cx:pt idx="530">0</cx:pt>
          <cx:pt idx="531">0</cx:pt>
          <cx:pt idx="532">0</cx:pt>
          <cx:pt idx="533">0</cx:pt>
          <cx:pt idx="534">0</cx:pt>
          <cx:pt idx="535">0</cx:pt>
          <cx:pt idx="536">0</cx:pt>
          <cx:pt idx="537">0</cx:pt>
          <cx:pt idx="538">0</cx:pt>
          <cx:pt idx="539">0</cx:pt>
          <cx:pt idx="540">0</cx:pt>
          <cx:pt idx="541">0</cx:pt>
          <cx:pt idx="542">0</cx:pt>
          <cx:pt idx="543">0</cx:pt>
          <cx:pt idx="544">0</cx:pt>
          <cx:pt idx="545">0</cx:pt>
          <cx:pt idx="546">0</cx:pt>
          <cx:pt idx="547">0</cx:pt>
          <cx:pt idx="548">0</cx:pt>
          <cx:pt idx="549">0</cx:pt>
          <cx:pt idx="550">0</cx:pt>
          <cx:pt idx="551">0</cx:pt>
          <cx:pt idx="552">0</cx:pt>
          <cx:pt idx="553">0</cx:pt>
          <cx:pt idx="554">0</cx:pt>
          <cx:pt idx="555">0</cx:pt>
          <cx:pt idx="556">0</cx:pt>
          <cx:pt idx="557">0</cx:pt>
          <cx:pt idx="558">0</cx:pt>
          <cx:pt idx="559">0</cx:pt>
          <cx:pt idx="560">0</cx:pt>
          <cx:pt idx="561">0</cx:pt>
          <cx:pt idx="562">0</cx:pt>
          <cx:pt idx="563">0</cx:pt>
          <cx:pt idx="564">0</cx:pt>
          <cx:pt idx="565">0</cx:pt>
          <cx:pt idx="566">0</cx:pt>
          <cx:pt idx="567">0</cx:pt>
          <cx:pt idx="568">0</cx:pt>
          <cx:pt idx="569">0</cx:pt>
          <cx:pt idx="570">0</cx:pt>
          <cx:pt idx="571">0</cx:pt>
          <cx:pt idx="572">0</cx:pt>
          <cx:pt idx="573">0</cx:pt>
          <cx:pt idx="574">0</cx:pt>
          <cx:pt idx="575">0</cx:pt>
          <cx:pt idx="576">0</cx:pt>
          <cx:pt idx="577">0</cx:pt>
          <cx:pt idx="578">0</cx:pt>
          <cx:pt idx="579">0</cx:pt>
          <cx:pt idx="580">0</cx:pt>
          <cx:pt idx="581">0</cx:pt>
          <cx:pt idx="582">0</cx:pt>
          <cx:pt idx="583">0</cx:pt>
          <cx:pt idx="584">0</cx:pt>
          <cx:pt idx="585">0</cx:pt>
          <cx:pt idx="586">0</cx:pt>
          <cx:pt idx="587">0</cx:pt>
          <cx:pt idx="588">0</cx:pt>
          <cx:pt idx="589">0</cx:pt>
          <cx:pt idx="590">0</cx:pt>
          <cx:pt idx="591">0</cx:pt>
          <cx:pt idx="592">0</cx:pt>
          <cx:pt idx="593">0</cx:pt>
          <cx:pt idx="594">0</cx:pt>
          <cx:pt idx="595">0</cx:pt>
          <cx:pt idx="596">0</cx:pt>
          <cx:pt idx="597">0</cx:pt>
          <cx:pt idx="598">0</cx:pt>
          <cx:pt idx="599">0</cx:pt>
          <cx:pt idx="600">0</cx:pt>
          <cx:pt idx="601">0</cx:pt>
          <cx:pt idx="602">0</cx:pt>
          <cx:pt idx="603">0</cx:pt>
          <cx:pt idx="604">0</cx:pt>
          <cx:pt idx="605">0</cx:pt>
          <cx:pt idx="606">0</cx:pt>
          <cx:pt idx="607">0</cx:pt>
          <cx:pt idx="608">0</cx:pt>
          <cx:pt idx="609">0</cx:pt>
          <cx:pt idx="610">0</cx:pt>
          <cx:pt idx="611">0</cx:pt>
          <cx:pt idx="612">0</cx:pt>
          <cx:pt idx="613">0</cx:pt>
          <cx:pt idx="614">0</cx:pt>
          <cx:pt idx="615">0</cx:pt>
          <cx:pt idx="616">0</cx:pt>
          <cx:pt idx="617">0</cx:pt>
          <cx:pt idx="618">0</cx:pt>
          <cx:pt idx="619">0</cx:pt>
          <cx:pt idx="620">0</cx:pt>
          <cx:pt idx="621">0</cx:pt>
          <cx:pt idx="622">0</cx:pt>
          <cx:pt idx="623">0</cx:pt>
          <cx:pt idx="624">0</cx:pt>
          <cx:pt idx="625">0</cx:pt>
          <cx:pt idx="626">0</cx:pt>
          <cx:pt idx="627">0</cx:pt>
          <cx:pt idx="628">0</cx:pt>
          <cx:pt idx="629">0</cx:pt>
          <cx:pt idx="630">0</cx:pt>
          <cx:pt idx="631">0</cx:pt>
          <cx:pt idx="632">0</cx:pt>
          <cx:pt idx="633">0</cx:pt>
          <cx:pt idx="634">0</cx:pt>
          <cx:pt idx="635">0</cx:pt>
          <cx:pt idx="636">0</cx:pt>
          <cx:pt idx="637">0</cx:pt>
          <cx:pt idx="638">0</cx:pt>
          <cx:pt idx="639">0</cx:pt>
          <cx:pt idx="640">0</cx:pt>
          <cx:pt idx="641">0</cx:pt>
          <cx:pt idx="642">0</cx:pt>
          <cx:pt idx="643">0</cx:pt>
          <cx:pt idx="644">0</cx:pt>
          <cx:pt idx="645">0</cx:pt>
          <cx:pt idx="646">0</cx:pt>
          <cx:pt idx="647">0</cx:pt>
          <cx:pt idx="648">0</cx:pt>
          <cx:pt idx="649">0</cx:pt>
          <cx:pt idx="650">0</cx:pt>
          <cx:pt idx="651">0</cx:pt>
          <cx:pt idx="652">0</cx:pt>
          <cx:pt idx="653">0</cx:pt>
          <cx:pt idx="654">0</cx:pt>
          <cx:pt idx="655">0</cx:pt>
          <cx:pt idx="656">0</cx:pt>
          <cx:pt idx="657">0</cx:pt>
          <cx:pt idx="658">0</cx:pt>
          <cx:pt idx="659">0</cx:pt>
          <cx:pt idx="660">0</cx:pt>
          <cx:pt idx="661">0</cx:pt>
          <cx:pt idx="662">0</cx:pt>
          <cx:pt idx="663">0</cx:pt>
          <cx:pt idx="664">0</cx:pt>
          <cx:pt idx="665">0</cx:pt>
          <cx:pt idx="666">0</cx:pt>
          <cx:pt idx="667">0</cx:pt>
          <cx:pt idx="668">0</cx:pt>
          <cx:pt idx="669">0</cx:pt>
          <cx:pt idx="670">0</cx:pt>
          <cx:pt idx="671">0</cx:pt>
          <cx:pt idx="672">0</cx:pt>
          <cx:pt idx="673">0</cx:pt>
          <cx:pt idx="674">0</cx:pt>
          <cx:pt idx="675">0</cx:pt>
          <cx:pt idx="676">0</cx:pt>
          <cx:pt idx="677">0</cx:pt>
          <cx:pt idx="678">0</cx:pt>
          <cx:pt idx="679">0</cx:pt>
          <cx:pt idx="680">0</cx:pt>
          <cx:pt idx="681">0</cx:pt>
          <cx:pt idx="682">0</cx:pt>
          <cx:pt idx="683">0</cx:pt>
          <cx:pt idx="684">0</cx:pt>
          <cx:pt idx="685">0</cx:pt>
          <cx:pt idx="686">0</cx:pt>
          <cx:pt idx="687">0</cx:pt>
          <cx:pt idx="688">0</cx:pt>
          <cx:pt idx="689">0</cx:pt>
          <cx:pt idx="690">0</cx:pt>
          <cx:pt idx="691">0</cx:pt>
          <cx:pt idx="692">0</cx:pt>
          <cx:pt idx="693">0</cx:pt>
          <cx:pt idx="694">0</cx:pt>
          <cx:pt idx="695">0</cx:pt>
          <cx:pt idx="696">0</cx:pt>
          <cx:pt idx="697">0</cx:pt>
          <cx:pt idx="698">0</cx:pt>
          <cx:pt idx="699">0</cx:pt>
          <cx:pt idx="700">0</cx:pt>
          <cx:pt idx="701">0</cx:pt>
          <cx:pt idx="702">0</cx:pt>
          <cx:pt idx="703">0</cx:pt>
          <cx:pt idx="704">0</cx:pt>
          <cx:pt idx="705">0</cx:pt>
          <cx:pt idx="706">0</cx:pt>
          <cx:pt idx="707">0</cx:pt>
          <cx:pt idx="708">0</cx:pt>
          <cx:pt idx="709">0</cx:pt>
          <cx:pt idx="710">0</cx:pt>
          <cx:pt idx="711">0</cx:pt>
          <cx:pt idx="712">0</cx:pt>
          <cx:pt idx="713">0</cx:pt>
          <cx:pt idx="714">0</cx:pt>
          <cx:pt idx="715">0</cx:pt>
          <cx:pt idx="716">0</cx:pt>
          <cx:pt idx="717">0</cx:pt>
          <cx:pt idx="718">0</cx:pt>
          <cx:pt idx="719">0</cx:pt>
          <cx:pt idx="720">0</cx:pt>
          <cx:pt idx="721">0</cx:pt>
          <cx:pt idx="722">0</cx:pt>
          <cx:pt idx="723">0</cx:pt>
          <cx:pt idx="724">0</cx:pt>
          <cx:pt idx="725">0</cx:pt>
          <cx:pt idx="726">0</cx:pt>
          <cx:pt idx="727">0</cx:pt>
          <cx:pt idx="728">0</cx:pt>
          <cx:pt idx="729">0</cx:pt>
          <cx:pt idx="730">0</cx:pt>
          <cx:pt idx="731">0</cx:pt>
          <cx:pt idx="732">0</cx:pt>
          <cx:pt idx="733">0</cx:pt>
          <cx:pt idx="734">0</cx:pt>
          <cx:pt idx="735">0</cx:pt>
          <cx:pt idx="736">0</cx:pt>
          <cx:pt idx="737">0</cx:pt>
          <cx:pt idx="738">0</cx:pt>
          <cx:pt idx="739">0</cx:pt>
          <cx:pt idx="740">0</cx:pt>
          <cx:pt idx="741">0</cx:pt>
          <cx:pt idx="742">0</cx:pt>
          <cx:pt idx="743">0</cx:pt>
          <cx:pt idx="744">0</cx:pt>
          <cx:pt idx="745">0</cx:pt>
          <cx:pt idx="746">0</cx:pt>
          <cx:pt idx="747">0</cx:pt>
          <cx:pt idx="748">0</cx:pt>
          <cx:pt idx="749">0</cx:pt>
          <cx:pt idx="750">0</cx:pt>
          <cx:pt idx="751">0</cx:pt>
          <cx:pt idx="752">0</cx:pt>
          <cx:pt idx="753">0</cx:pt>
          <cx:pt idx="754">0</cx:pt>
          <cx:pt idx="755">0</cx:pt>
          <cx:pt idx="756">0</cx:pt>
          <cx:pt idx="757">0</cx:pt>
          <cx:pt idx="758">0</cx:pt>
          <cx:pt idx="759">0</cx:pt>
          <cx:pt idx="760">0</cx:pt>
          <cx:pt idx="761">0</cx:pt>
          <cx:pt idx="762">0</cx:pt>
          <cx:pt idx="763">0</cx:pt>
          <cx:pt idx="764">0</cx:pt>
          <cx:pt idx="765">0</cx:pt>
          <cx:pt idx="766">0</cx:pt>
          <cx:pt idx="767">0</cx:pt>
          <cx:pt idx="768">0</cx:pt>
          <cx:pt idx="769">0</cx:pt>
          <cx:pt idx="770">0</cx:pt>
          <cx:pt idx="771">0</cx:pt>
          <cx:pt idx="772">0</cx:pt>
          <cx:pt idx="773">0</cx:pt>
          <cx:pt idx="774">0</cx:pt>
          <cx:pt idx="775">0</cx:pt>
          <cx:pt idx="776">0</cx:pt>
          <cx:pt idx="777">0</cx:pt>
          <cx:pt idx="778">0</cx:pt>
          <cx:pt idx="779">0</cx:pt>
          <cx:pt idx="780">0</cx:pt>
          <cx:pt idx="781">0</cx:pt>
          <cx:pt idx="782">0</cx:pt>
          <cx:pt idx="783">0</cx:pt>
          <cx:pt idx="784">0</cx:pt>
          <cx:pt idx="785">0</cx:pt>
          <cx:pt idx="786">0</cx:pt>
          <cx:pt idx="787">0</cx:pt>
          <cx:pt idx="788">0</cx:pt>
          <cx:pt idx="789">0</cx:pt>
          <cx:pt idx="790">0</cx:pt>
          <cx:pt idx="791">0</cx:pt>
          <cx:pt idx="792">0</cx:pt>
          <cx:pt idx="793">0</cx:pt>
          <cx:pt idx="794">0</cx:pt>
          <cx:pt idx="795">0</cx:pt>
          <cx:pt idx="796">0</cx:pt>
          <cx:pt idx="797">0</cx:pt>
          <cx:pt idx="798">0</cx:pt>
          <cx:pt idx="799">0</cx:pt>
          <cx:pt idx="800">0</cx:pt>
          <cx:pt idx="801">0</cx:pt>
          <cx:pt idx="802">0</cx:pt>
          <cx:pt idx="803">0</cx:pt>
          <cx:pt idx="804">0</cx:pt>
          <cx:pt idx="805">0</cx:pt>
          <cx:pt idx="806">0</cx:pt>
          <cx:pt idx="807">0</cx:pt>
          <cx:pt idx="808">0</cx:pt>
          <cx:pt idx="809">0</cx:pt>
          <cx:pt idx="810">0</cx:pt>
          <cx:pt idx="811">0</cx:pt>
          <cx:pt idx="812">0</cx:pt>
          <cx:pt idx="813">0</cx:pt>
          <cx:pt idx="814">0</cx:pt>
          <cx:pt idx="815">0</cx:pt>
          <cx:pt idx="816">0</cx:pt>
          <cx:pt idx="817">0</cx:pt>
          <cx:pt idx="818">0</cx:pt>
          <cx:pt idx="819">0</cx:pt>
          <cx:pt idx="820">0</cx:pt>
          <cx:pt idx="821">0</cx:pt>
          <cx:pt idx="822">0</cx:pt>
          <cx:pt idx="823">0</cx:pt>
          <cx:pt idx="824">0</cx:pt>
          <cx:pt idx="825">0</cx:pt>
          <cx:pt idx="826">0</cx:pt>
          <cx:pt idx="827">0</cx:pt>
          <cx:pt idx="828">0</cx:pt>
          <cx:pt idx="829">0</cx:pt>
          <cx:pt idx="830">0</cx:pt>
          <cx:pt idx="831">0</cx:pt>
          <cx:pt idx="832">0</cx:pt>
          <cx:pt idx="833">0</cx:pt>
          <cx:pt idx="834">0</cx:pt>
          <cx:pt idx="835">0</cx:pt>
          <cx:pt idx="836">0</cx:pt>
          <cx:pt idx="837">0</cx:pt>
          <cx:pt idx="838">0</cx:pt>
          <cx:pt idx="839">0</cx:pt>
          <cx:pt idx="840">0</cx:pt>
          <cx:pt idx="841">0</cx:pt>
          <cx:pt idx="842">0</cx:pt>
          <cx:pt idx="843">0</cx:pt>
          <cx:pt idx="844">0</cx:pt>
          <cx:pt idx="845">0</cx:pt>
          <cx:pt idx="846">0</cx:pt>
          <cx:pt idx="847">0</cx:pt>
          <cx:pt idx="848">0</cx:pt>
          <cx:pt idx="849">0</cx:pt>
          <cx:pt idx="850">0</cx:pt>
          <cx:pt idx="851">0</cx:pt>
          <cx:pt idx="852">0</cx:pt>
          <cx:pt idx="853">0</cx:pt>
          <cx:pt idx="854">0</cx:pt>
          <cx:pt idx="855">0</cx:pt>
          <cx:pt idx="856">0</cx:pt>
          <cx:pt idx="857">0</cx:pt>
          <cx:pt idx="858">0</cx:pt>
          <cx:pt idx="859">0</cx:pt>
          <cx:pt idx="860">0</cx:pt>
          <cx:pt idx="861">0</cx:pt>
          <cx:pt idx="862">0</cx:pt>
          <cx:pt idx="863">0</cx:pt>
          <cx:pt idx="864">0</cx:pt>
          <cx:pt idx="865">0</cx:pt>
          <cx:pt idx="866">0</cx:pt>
          <cx:pt idx="867">0</cx:pt>
          <cx:pt idx="868">0</cx:pt>
          <cx:pt idx="869">0</cx:pt>
          <cx:pt idx="870">0</cx:pt>
          <cx:pt idx="871">0</cx:pt>
          <cx:pt idx="872">0</cx:pt>
          <cx:pt idx="873">0</cx:pt>
          <cx:pt idx="874">0</cx:pt>
          <cx:pt idx="875">0</cx:pt>
          <cx:pt idx="876">0</cx:pt>
          <cx:pt idx="877">0</cx:pt>
          <cx:pt idx="878">0</cx:pt>
          <cx:pt idx="879">0</cx:pt>
          <cx:pt idx="880">0</cx:pt>
          <cx:pt idx="881">0</cx:pt>
          <cx:pt idx="882">0</cx:pt>
          <cx:pt idx="883">0</cx:pt>
          <cx:pt idx="884">0</cx:pt>
          <cx:pt idx="885">0</cx:pt>
          <cx:pt idx="886">0</cx:pt>
          <cx:pt idx="887">0</cx:pt>
          <cx:pt idx="888">0</cx:pt>
          <cx:pt idx="889">0</cx:pt>
          <cx:pt idx="890">0</cx:pt>
          <cx:pt idx="891">0</cx:pt>
          <cx:pt idx="892">0</cx:pt>
          <cx:pt idx="893">0</cx:pt>
          <cx:pt idx="894">0</cx:pt>
          <cx:pt idx="895">0</cx:pt>
          <cx:pt idx="896">0</cx:pt>
          <cx:pt idx="897">0</cx:pt>
          <cx:pt idx="898">0</cx:pt>
          <cx:pt idx="899">0</cx:pt>
          <cx:pt idx="900">0</cx:pt>
          <cx:pt idx="901">0</cx:pt>
          <cx:pt idx="902">0</cx:pt>
          <cx:pt idx="903">0</cx:pt>
          <cx:pt idx="904">0</cx:pt>
          <cx:pt idx="905">0</cx:pt>
          <cx:pt idx="906">0</cx:pt>
          <cx:pt idx="907">0</cx:pt>
          <cx:pt idx="908">0</cx:pt>
          <cx:pt idx="909">0</cx:pt>
          <cx:pt idx="910">0</cx:pt>
          <cx:pt idx="911">0</cx:pt>
          <cx:pt idx="912">0</cx:pt>
          <cx:pt idx="913">0</cx:pt>
          <cx:pt idx="914">0</cx:pt>
          <cx:pt idx="915">0</cx:pt>
          <cx:pt idx="916">0</cx:pt>
          <cx:pt idx="917">0</cx:pt>
          <cx:pt idx="918">0</cx:pt>
          <cx:pt idx="919">0</cx:pt>
          <cx:pt idx="920">0</cx:pt>
          <cx:pt idx="921">0</cx:pt>
          <cx:pt idx="922">0</cx:pt>
          <cx:pt idx="923">0</cx:pt>
          <cx:pt idx="924">0</cx:pt>
          <cx:pt idx="925">0</cx:pt>
          <cx:pt idx="926">0</cx:pt>
          <cx:pt idx="927">0</cx:pt>
          <cx:pt idx="928">0</cx:pt>
          <cx:pt idx="929">0</cx:pt>
          <cx:pt idx="930">0</cx:pt>
          <cx:pt idx="931">0</cx:pt>
          <cx:pt idx="932">0</cx:pt>
          <cx:pt idx="933">0</cx:pt>
          <cx:pt idx="934">0</cx:pt>
          <cx:pt idx="935">0</cx:pt>
          <cx:pt idx="936">0</cx:pt>
          <cx:pt idx="937">0</cx:pt>
          <cx:pt idx="938">0</cx:pt>
          <cx:pt idx="939">0</cx:pt>
          <cx:pt idx="940">0</cx:pt>
          <cx:pt idx="941">0</cx:pt>
          <cx:pt idx="942">0</cx:pt>
          <cx:pt idx="943">0</cx:pt>
          <cx:pt idx="944">0</cx:pt>
          <cx:pt idx="945">0</cx:pt>
          <cx:pt idx="946">0</cx:pt>
          <cx:pt idx="947">0</cx:pt>
          <cx:pt idx="948">0</cx:pt>
          <cx:pt idx="949">0</cx:pt>
          <cx:pt idx="950">0</cx:pt>
          <cx:pt idx="951">0</cx:pt>
          <cx:pt idx="952">0</cx:pt>
          <cx:pt idx="953">0</cx:pt>
          <cx:pt idx="954">0</cx:pt>
          <cx:pt idx="955">0</cx:pt>
          <cx:pt idx="956">0</cx:pt>
          <cx:pt idx="957">0</cx:pt>
          <cx:pt idx="958">0</cx:pt>
          <cx:pt idx="959">0</cx:pt>
          <cx:pt idx="960">0</cx:pt>
          <cx:pt idx="961">0</cx:pt>
          <cx:pt idx="962">0</cx:pt>
          <cx:pt idx="963">0</cx:pt>
          <cx:pt idx="964">0</cx:pt>
          <cx:pt idx="965">0</cx:pt>
          <cx:pt idx="966">0</cx:pt>
          <cx:pt idx="967">0</cx:pt>
          <cx:pt idx="968">0</cx:pt>
          <cx:pt idx="969">0</cx:pt>
          <cx:pt idx="970">0</cx:pt>
          <cx:pt idx="971">0</cx:pt>
          <cx:pt idx="972">0</cx:pt>
          <cx:pt idx="973">0</cx:pt>
          <cx:pt idx="974">0</cx:pt>
          <cx:pt idx="975">0</cx:pt>
          <cx:pt idx="976">0</cx:pt>
          <cx:pt idx="977">0</cx:pt>
          <cx:pt idx="978">0</cx:pt>
          <cx:pt idx="979">0</cx:pt>
          <cx:pt idx="980">0</cx:pt>
          <cx:pt idx="981">0</cx:pt>
          <cx:pt idx="982">0</cx:pt>
          <cx:pt idx="983">0</cx:pt>
          <cx:pt idx="984">0</cx:pt>
          <cx:pt idx="985">0</cx:pt>
          <cx:pt idx="986">0</cx:pt>
          <cx:pt idx="987">0</cx:pt>
          <cx:pt idx="988">0</cx:pt>
          <cx:pt idx="989">0</cx:pt>
          <cx:pt idx="990">0</cx:pt>
          <cx:pt idx="991">0</cx:pt>
          <cx:pt idx="992">0</cx:pt>
          <cx:pt idx="993">0</cx:pt>
          <cx:pt idx="994">0</cx:pt>
          <cx:pt idx="995">0</cx:pt>
          <cx:pt idx="996">0</cx:pt>
          <cx:pt idx="997">0</cx:pt>
          <cx:pt idx="998">0</cx:pt>
          <cx:pt idx="999">0</cx:pt>
          <cx:pt idx="1000">0</cx:pt>
          <cx:pt idx="1001">0</cx:pt>
          <cx:pt idx="1002">0</cx:pt>
          <cx:pt idx="1003">0</cx:pt>
          <cx:pt idx="1004">0</cx:pt>
          <cx:pt idx="1005">0</cx:pt>
          <cx:pt idx="1006">0</cx:pt>
          <cx:pt idx="1007">0</cx:pt>
          <cx:pt idx="1008">0</cx:pt>
          <cx:pt idx="1009">0</cx:pt>
          <cx:pt idx="1010">0</cx:pt>
          <cx:pt idx="1011">0</cx:pt>
          <cx:pt idx="1012">0</cx:pt>
          <cx:pt idx="1013">0</cx:pt>
          <cx:pt idx="1014">0</cx:pt>
          <cx:pt idx="1015">0</cx:pt>
          <cx:pt idx="1016">0</cx:pt>
          <cx:pt idx="1017">0</cx:pt>
          <cx:pt idx="1018">0</cx:pt>
          <cx:pt idx="1019">0</cx:pt>
          <cx:pt idx="1020">0</cx:pt>
          <cx:pt idx="1021">0</cx:pt>
          <cx:pt idx="1022">0</cx:pt>
          <cx:pt idx="1023">0</cx:pt>
          <cx:pt idx="1024">0</cx:pt>
          <cx:pt idx="1025">0</cx:pt>
          <cx:pt idx="1026">0</cx:pt>
          <cx:pt idx="1027">0</cx:pt>
          <cx:pt idx="1028">0</cx:pt>
          <cx:pt idx="1029">0</cx:pt>
          <cx:pt idx="1030">0</cx:pt>
          <cx:pt idx="1031">0</cx:pt>
          <cx:pt idx="1032">0</cx:pt>
          <cx:pt idx="1033">0</cx:pt>
          <cx:pt idx="1034">0</cx:pt>
          <cx:pt idx="1035">0</cx:pt>
          <cx:pt idx="1036">0</cx:pt>
          <cx:pt idx="1037">0</cx:pt>
          <cx:pt idx="1038">0</cx:pt>
          <cx:pt idx="1039">0</cx:pt>
          <cx:pt idx="1040">0</cx:pt>
          <cx:pt idx="1041">0</cx:pt>
          <cx:pt idx="1042">0</cx:pt>
          <cx:pt idx="1043">0</cx:pt>
          <cx:pt idx="1044">0</cx:pt>
          <cx:pt idx="1045">0</cx:pt>
          <cx:pt idx="1046">0</cx:pt>
          <cx:pt idx="1047">0</cx:pt>
          <cx:pt idx="1048">0</cx:pt>
          <cx:pt idx="1049">0</cx:pt>
          <cx:pt idx="1050">0</cx:pt>
          <cx:pt idx="1051">0</cx:pt>
          <cx:pt idx="1052">0</cx:pt>
          <cx:pt idx="1053">0</cx:pt>
          <cx:pt idx="1054">0</cx:pt>
          <cx:pt idx="1055">0</cx:pt>
          <cx:pt idx="1056">0</cx:pt>
          <cx:pt idx="1057">0</cx:pt>
          <cx:pt idx="1058">0</cx:pt>
          <cx:pt idx="1059">0</cx:pt>
          <cx:pt idx="1060">0</cx:pt>
          <cx:pt idx="1061">0</cx:pt>
          <cx:pt idx="1062">0</cx:pt>
          <cx:pt idx="1063">0</cx:pt>
          <cx:pt idx="1064">0</cx:pt>
          <cx:pt idx="1065">0</cx:pt>
          <cx:pt idx="1066">0</cx:pt>
          <cx:pt idx="1067">0</cx:pt>
          <cx:pt idx="1068">0</cx:pt>
          <cx:pt idx="1069">0</cx:pt>
          <cx:pt idx="1070">0</cx:pt>
          <cx:pt idx="1071">0</cx:pt>
          <cx:pt idx="1072">0</cx:pt>
          <cx:pt idx="1073">0</cx:pt>
          <cx:pt idx="1074">0</cx:pt>
          <cx:pt idx="1075">0</cx:pt>
          <cx:pt idx="1076">0</cx:pt>
          <cx:pt idx="1077">0</cx:pt>
          <cx:pt idx="1078">0</cx:pt>
          <cx:pt idx="1079">0</cx:pt>
          <cx:pt idx="1080">0</cx:pt>
          <cx:pt idx="1081">0</cx:pt>
          <cx:pt idx="1082">0</cx:pt>
          <cx:pt idx="1083">0</cx:pt>
          <cx:pt idx="1084">0</cx:pt>
          <cx:pt idx="1085">0</cx:pt>
          <cx:pt idx="1086">0</cx:pt>
          <cx:pt idx="1087">0</cx:pt>
          <cx:pt idx="1088">0</cx:pt>
          <cx:pt idx="1089">0</cx:pt>
          <cx:pt idx="1090">0</cx:pt>
          <cx:pt idx="1091">0</cx:pt>
          <cx:pt idx="1092">0</cx:pt>
          <cx:pt idx="1093">0</cx:pt>
          <cx:pt idx="1094">0</cx:pt>
          <cx:pt idx="1095">0</cx:pt>
          <cx:pt idx="1096">0</cx:pt>
          <cx:pt idx="1097">0</cx:pt>
          <cx:pt idx="1098">0</cx:pt>
          <cx:pt idx="1099">0</cx:pt>
          <cx:pt idx="1100">0</cx:pt>
          <cx:pt idx="1101">0</cx:pt>
          <cx:pt idx="1102">0</cx:pt>
          <cx:pt idx="1103">0</cx:pt>
          <cx:pt idx="1104">0</cx:pt>
          <cx:pt idx="1105">0</cx:pt>
          <cx:pt idx="1106">0</cx:pt>
          <cx:pt idx="1107">0</cx:pt>
          <cx:pt idx="1108">0</cx:pt>
          <cx:pt idx="1109">0</cx:pt>
          <cx:pt idx="1110">0</cx:pt>
          <cx:pt idx="1111">0</cx:pt>
          <cx:pt idx="1112">0</cx:pt>
          <cx:pt idx="1113">0</cx:pt>
          <cx:pt idx="1114">0</cx:pt>
          <cx:pt idx="1115">0</cx:pt>
          <cx:pt idx="1116">0</cx:pt>
          <cx:pt idx="1117">0</cx:pt>
          <cx:pt idx="1118">0</cx:pt>
          <cx:pt idx="1119">0</cx:pt>
          <cx:pt idx="1120">0</cx:pt>
          <cx:pt idx="1121">0</cx:pt>
          <cx:pt idx="1122">0</cx:pt>
          <cx:pt idx="1123">0</cx:pt>
          <cx:pt idx="1124">0</cx:pt>
          <cx:pt idx="1125">0</cx:pt>
          <cx:pt idx="1126">0</cx:pt>
          <cx:pt idx="1127">0</cx:pt>
          <cx:pt idx="1128">0</cx:pt>
          <cx:pt idx="1129">0</cx:pt>
          <cx:pt idx="1130">0</cx:pt>
          <cx:pt idx="1131">0</cx:pt>
          <cx:pt idx="1132">0</cx:pt>
          <cx:pt idx="1133">0</cx:pt>
          <cx:pt idx="1134">0</cx:pt>
          <cx:pt idx="1135">0</cx:pt>
          <cx:pt idx="1136">0</cx:pt>
          <cx:pt idx="1137">0</cx:pt>
          <cx:pt idx="1138">0</cx:pt>
          <cx:pt idx="1139">0</cx:pt>
          <cx:pt idx="1140">0</cx:pt>
          <cx:pt idx="1141">0</cx:pt>
          <cx:pt idx="1142">0</cx:pt>
          <cx:pt idx="1143">0</cx:pt>
          <cx:pt idx="1144">0</cx:pt>
          <cx:pt idx="1145">0</cx:pt>
          <cx:pt idx="1146">0</cx:pt>
          <cx:pt idx="1147">0</cx:pt>
          <cx:pt idx="1148">0</cx:pt>
          <cx:pt idx="1149">0</cx:pt>
          <cx:pt idx="1150">0</cx:pt>
          <cx:pt idx="1151">0</cx:pt>
          <cx:pt idx="1152">0</cx:pt>
          <cx:pt idx="1153">0</cx:pt>
          <cx:pt idx="1154">0</cx:pt>
          <cx:pt idx="1155">0</cx:pt>
          <cx:pt idx="1156">0</cx:pt>
          <cx:pt idx="1157">0</cx:pt>
          <cx:pt idx="1158">0</cx:pt>
          <cx:pt idx="1159">0</cx:pt>
          <cx:pt idx="1160">0</cx:pt>
          <cx:pt idx="1161">0</cx:pt>
          <cx:pt idx="1162">0</cx:pt>
          <cx:pt idx="1163">0</cx:pt>
          <cx:pt idx="1164">0</cx:pt>
          <cx:pt idx="1165">0</cx:pt>
          <cx:pt idx="1166">0</cx:pt>
          <cx:pt idx="1167">0</cx:pt>
          <cx:pt idx="1168">0</cx:pt>
          <cx:pt idx="1169">0</cx:pt>
          <cx:pt idx="1170">0</cx:pt>
          <cx:pt idx="1171">0</cx:pt>
          <cx:pt idx="1172">0</cx:pt>
          <cx:pt idx="1173">0</cx:pt>
          <cx:pt idx="1174">0</cx:pt>
          <cx:pt idx="1175">0</cx:pt>
          <cx:pt idx="1176">0</cx:pt>
          <cx:pt idx="1177">0</cx:pt>
          <cx:pt idx="1178">0</cx:pt>
          <cx:pt idx="1179">0</cx:pt>
          <cx:pt idx="1180">0</cx:pt>
          <cx:pt idx="1181">0</cx:pt>
          <cx:pt idx="1182">0</cx:pt>
          <cx:pt idx="1183">0</cx:pt>
          <cx:pt idx="1184">0</cx:pt>
          <cx:pt idx="1185">0</cx:pt>
          <cx:pt idx="1186">0</cx:pt>
          <cx:pt idx="1187">0</cx:pt>
          <cx:pt idx="1188">0</cx:pt>
          <cx:pt idx="1189">0</cx:pt>
          <cx:pt idx="1190">0</cx:pt>
          <cx:pt idx="1191">0</cx:pt>
          <cx:pt idx="1192">0</cx:pt>
          <cx:pt idx="1193">0</cx:pt>
          <cx:pt idx="1194">0</cx:pt>
          <cx:pt idx="1195">0</cx:pt>
          <cx:pt idx="1196">0</cx:pt>
          <cx:pt idx="1197">0</cx:pt>
          <cx:pt idx="1198">0</cx:pt>
          <cx:pt idx="1199">0</cx:pt>
          <cx:pt idx="1200">0</cx:pt>
          <cx:pt idx="1201">0</cx:pt>
          <cx:pt idx="1202">0</cx:pt>
          <cx:pt idx="1203">0</cx:pt>
          <cx:pt idx="1204">0</cx:pt>
          <cx:pt idx="1205">0</cx:pt>
          <cx:pt idx="1206">0</cx:pt>
          <cx:pt idx="1207">0</cx:pt>
          <cx:pt idx="1208">0</cx:pt>
          <cx:pt idx="1209">0</cx:pt>
          <cx:pt idx="1210">0</cx:pt>
          <cx:pt idx="1211">0</cx:pt>
          <cx:pt idx="1212">0</cx:pt>
          <cx:pt idx="1213">0</cx:pt>
          <cx:pt idx="1214">0</cx:pt>
          <cx:pt idx="1215">0</cx:pt>
          <cx:pt idx="1216">0</cx:pt>
          <cx:pt idx="1217">0</cx:pt>
          <cx:pt idx="1218">0</cx:pt>
          <cx:pt idx="1219">0</cx:pt>
          <cx:pt idx="1220">0</cx:pt>
          <cx:pt idx="1221">0</cx:pt>
          <cx:pt idx="1222">0</cx:pt>
          <cx:pt idx="1223">0</cx:pt>
          <cx:pt idx="1224">0</cx:pt>
          <cx:pt idx="1225">0</cx:pt>
          <cx:pt idx="1226">0</cx:pt>
          <cx:pt idx="1227">0</cx:pt>
          <cx:pt idx="1228">0</cx:pt>
          <cx:pt idx="1229">0</cx:pt>
          <cx:pt idx="1230">0</cx:pt>
          <cx:pt idx="1231">0</cx:pt>
          <cx:pt idx="1232">0</cx:pt>
          <cx:pt idx="1233">0</cx:pt>
          <cx:pt idx="1234">0</cx:pt>
          <cx:pt idx="1235">0</cx:pt>
          <cx:pt idx="1236">0</cx:pt>
          <cx:pt idx="1237">0</cx:pt>
          <cx:pt idx="1238">0</cx:pt>
          <cx:pt idx="1239">0</cx:pt>
          <cx:pt idx="1240">0</cx:pt>
          <cx:pt idx="1241">0</cx:pt>
          <cx:pt idx="1242">0</cx:pt>
          <cx:pt idx="1243">0</cx:pt>
          <cx:pt idx="1244">0</cx:pt>
          <cx:pt idx="1245">0</cx:pt>
          <cx:pt idx="1246">0</cx:pt>
          <cx:pt idx="1247">0</cx:pt>
          <cx:pt idx="1248">0</cx:pt>
          <cx:pt idx="1249">0</cx:pt>
          <cx:pt idx="1250">0</cx:pt>
          <cx:pt idx="1251">0</cx:pt>
          <cx:pt idx="1252">0</cx:pt>
          <cx:pt idx="1253">0</cx:pt>
          <cx:pt idx="1254">0</cx:pt>
          <cx:pt idx="1255">0</cx:pt>
          <cx:pt idx="1256">0</cx:pt>
          <cx:pt idx="1257">0</cx:pt>
          <cx:pt idx="1258">0</cx:pt>
          <cx:pt idx="1259">0</cx:pt>
          <cx:pt idx="1260">0</cx:pt>
          <cx:pt idx="1261">0</cx:pt>
          <cx:pt idx="1262">0</cx:pt>
          <cx:pt idx="1263">0</cx:pt>
          <cx:pt idx="1264">0</cx:pt>
          <cx:pt idx="1265">0</cx:pt>
          <cx:pt idx="1266">0</cx:pt>
          <cx:pt idx="1267">0</cx:pt>
          <cx:pt idx="1268">0</cx:pt>
          <cx:pt idx="1269">0</cx:pt>
          <cx:pt idx="1270">0</cx:pt>
          <cx:pt idx="1271">0</cx:pt>
          <cx:pt idx="1272">0</cx:pt>
          <cx:pt idx="1273">0</cx:pt>
          <cx:pt idx="1274">0</cx:pt>
          <cx:pt idx="1275">0</cx:pt>
          <cx:pt idx="1276">0</cx:pt>
          <cx:pt idx="1277">0</cx:pt>
          <cx:pt idx="1278">0</cx:pt>
          <cx:pt idx="1279">0</cx:pt>
          <cx:pt idx="1280">0</cx:pt>
          <cx:pt idx="1281">0</cx:pt>
          <cx:pt idx="1282">0</cx:pt>
          <cx:pt idx="1283">0</cx:pt>
          <cx:pt idx="1284">0</cx:pt>
          <cx:pt idx="1285">0</cx:pt>
          <cx:pt idx="1286">0</cx:pt>
          <cx:pt idx="1287">0</cx:pt>
          <cx:pt idx="1288">0</cx:pt>
          <cx:pt idx="1289">0</cx:pt>
          <cx:pt idx="1290">0</cx:pt>
          <cx:pt idx="1291">0</cx:pt>
          <cx:pt idx="1292">0</cx:pt>
          <cx:pt idx="1293">0</cx:pt>
          <cx:pt idx="1294">0</cx:pt>
          <cx:pt idx="1295">0</cx:pt>
          <cx:pt idx="1296">0</cx:pt>
          <cx:pt idx="1297">0</cx:pt>
          <cx:pt idx="1298">0</cx:pt>
          <cx:pt idx="1299">0</cx:pt>
          <cx:pt idx="1300">0</cx:pt>
          <cx:pt idx="1301">0</cx:pt>
          <cx:pt idx="1302">0</cx:pt>
          <cx:pt idx="1303">0</cx:pt>
          <cx:pt idx="1304">0</cx:pt>
          <cx:pt idx="1305">0</cx:pt>
          <cx:pt idx="1306">0</cx:pt>
          <cx:pt idx="1307">0</cx:pt>
          <cx:pt idx="1308">0</cx:pt>
          <cx:pt idx="1309">0</cx:pt>
          <cx:pt idx="1310">0</cx:pt>
          <cx:pt idx="1311">0</cx:pt>
          <cx:pt idx="1312">0</cx:pt>
          <cx:pt idx="1313">0</cx:pt>
          <cx:pt idx="1314">0</cx:pt>
          <cx:pt idx="1315">0</cx:pt>
          <cx:pt idx="1316">0</cx:pt>
          <cx:pt idx="1317">0</cx:pt>
          <cx:pt idx="1318">0</cx:pt>
          <cx:pt idx="1319">0</cx:pt>
          <cx:pt idx="1320">0</cx:pt>
          <cx:pt idx="1321">0</cx:pt>
          <cx:pt idx="1322">0</cx:pt>
          <cx:pt idx="1323">0</cx:pt>
          <cx:pt idx="1324">0</cx:pt>
          <cx:pt idx="1325">0</cx:pt>
          <cx:pt idx="1326">0</cx:pt>
          <cx:pt idx="1327">0</cx:pt>
          <cx:pt idx="1328">0</cx:pt>
          <cx:pt idx="1329">0</cx:pt>
          <cx:pt idx="1330">0</cx:pt>
          <cx:pt idx="1331">0</cx:pt>
          <cx:pt idx="1332">0</cx:pt>
          <cx:pt idx="1333">0</cx:pt>
          <cx:pt idx="1334">0</cx:pt>
          <cx:pt idx="1335">0</cx:pt>
          <cx:pt idx="1336">0</cx:pt>
          <cx:pt idx="1337">0</cx:pt>
          <cx:pt idx="1338">0</cx:pt>
          <cx:pt idx="1339">0</cx:pt>
          <cx:pt idx="1340">0</cx:pt>
          <cx:pt idx="1341">0</cx:pt>
          <cx:pt idx="1342">0</cx:pt>
          <cx:pt idx="1343">0</cx:pt>
          <cx:pt idx="1344">0</cx:pt>
          <cx:pt idx="1345">0</cx:pt>
          <cx:pt idx="1346">0</cx:pt>
          <cx:pt idx="1347">0</cx:pt>
          <cx:pt idx="1348">0</cx:pt>
          <cx:pt idx="1349">0</cx:pt>
          <cx:pt idx="1350">0</cx:pt>
          <cx:pt idx="1351">0</cx:pt>
          <cx:pt idx="1352">0</cx:pt>
          <cx:pt idx="1353">0</cx:pt>
          <cx:pt idx="1354">0</cx:pt>
          <cx:pt idx="1355">0</cx:pt>
          <cx:pt idx="1356">0</cx:pt>
          <cx:pt idx="1357">0</cx:pt>
          <cx:pt idx="1358">0</cx:pt>
          <cx:pt idx="1359">0</cx:pt>
          <cx:pt idx="1360">0</cx:pt>
          <cx:pt idx="1361">0</cx:pt>
          <cx:pt idx="1362">0</cx:pt>
          <cx:pt idx="1363">0</cx:pt>
          <cx:pt idx="1364">0</cx:pt>
          <cx:pt idx="1365">0</cx:pt>
          <cx:pt idx="1366">0</cx:pt>
          <cx:pt idx="1367">0</cx:pt>
          <cx:pt idx="1368">0</cx:pt>
          <cx:pt idx="1369">0</cx:pt>
          <cx:pt idx="1370">0</cx:pt>
          <cx:pt idx="1371">0</cx:pt>
          <cx:pt idx="1372">0</cx:pt>
          <cx:pt idx="1373">0</cx:pt>
          <cx:pt idx="1374">0</cx:pt>
          <cx:pt idx="1375">0</cx:pt>
          <cx:pt idx="1376">0</cx:pt>
          <cx:pt idx="1377">0</cx:pt>
          <cx:pt idx="1378">0</cx:pt>
          <cx:pt idx="1379">0</cx:pt>
          <cx:pt idx="1380">0</cx:pt>
          <cx:pt idx="1381">0</cx:pt>
          <cx:pt idx="1382">0</cx:pt>
          <cx:pt idx="1383">0</cx:pt>
          <cx:pt idx="1384">0</cx:pt>
          <cx:pt idx="1385">0</cx:pt>
          <cx:pt idx="1386">0</cx:pt>
          <cx:pt idx="1387">0</cx:pt>
          <cx:pt idx="1388">0</cx:pt>
          <cx:pt idx="1389">0</cx:pt>
          <cx:pt idx="1390">0</cx:pt>
          <cx:pt idx="1391">0</cx:pt>
          <cx:pt idx="1392">0</cx:pt>
          <cx:pt idx="1393">0</cx:pt>
          <cx:pt idx="1394">0</cx:pt>
          <cx:pt idx="1395">0</cx:pt>
          <cx:pt idx="1396">0</cx:pt>
          <cx:pt idx="1397">0</cx:pt>
          <cx:pt idx="1398">0</cx:pt>
          <cx:pt idx="1399">0</cx:pt>
          <cx:pt idx="1400">0</cx:pt>
          <cx:pt idx="1401">0</cx:pt>
          <cx:pt idx="1402">0</cx:pt>
          <cx:pt idx="1403">0</cx:pt>
          <cx:pt idx="1404">0</cx:pt>
          <cx:pt idx="1405">0</cx:pt>
          <cx:pt idx="1406">0</cx:pt>
          <cx:pt idx="1407">0</cx:pt>
          <cx:pt idx="1408">0</cx:pt>
          <cx:pt idx="1409">0</cx:pt>
          <cx:pt idx="1410">0</cx:pt>
          <cx:pt idx="1411">0</cx:pt>
          <cx:pt idx="1412">0</cx:pt>
          <cx:pt idx="1413">0</cx:pt>
          <cx:pt idx="1414">0</cx:pt>
          <cx:pt idx="1415">0</cx:pt>
          <cx:pt idx="1416">0</cx:pt>
          <cx:pt idx="1417">0</cx:pt>
          <cx:pt idx="1418">0</cx:pt>
          <cx:pt idx="1419">0</cx:pt>
          <cx:pt idx="1420">0</cx:pt>
          <cx:pt idx="1421">0</cx:pt>
          <cx:pt idx="1422">0</cx:pt>
          <cx:pt idx="1423">0</cx:pt>
          <cx:pt idx="1424">0</cx:pt>
          <cx:pt idx="1425">0</cx:pt>
          <cx:pt idx="1426">0</cx:pt>
          <cx:pt idx="1427">0</cx:pt>
          <cx:pt idx="1428">0</cx:pt>
          <cx:pt idx="1429">0</cx:pt>
          <cx:pt idx="1430">0</cx:pt>
          <cx:pt idx="1431">0</cx:pt>
          <cx:pt idx="1432">0</cx:pt>
          <cx:pt idx="1433">0</cx:pt>
          <cx:pt idx="1434">0</cx:pt>
          <cx:pt idx="1435">0</cx:pt>
          <cx:pt idx="1436">0</cx:pt>
          <cx:pt idx="1437">0</cx:pt>
          <cx:pt idx="1438">0</cx:pt>
          <cx:pt idx="1439">0</cx:pt>
          <cx:pt idx="1440">0</cx:pt>
          <cx:pt idx="1441">0</cx:pt>
          <cx:pt idx="1442">0</cx:pt>
          <cx:pt idx="1443">0</cx:pt>
          <cx:pt idx="1444">0</cx:pt>
          <cx:pt idx="1445">0</cx:pt>
          <cx:pt idx="1446">0</cx:pt>
          <cx:pt idx="1447">0</cx:pt>
          <cx:pt idx="1448">0</cx:pt>
          <cx:pt idx="1449">0</cx:pt>
          <cx:pt idx="1450">0</cx:pt>
          <cx:pt idx="1451">0</cx:pt>
          <cx:pt idx="1452">0</cx:pt>
          <cx:pt idx="1453">0</cx:pt>
          <cx:pt idx="1454">0</cx:pt>
          <cx:pt idx="1455">0</cx:pt>
          <cx:pt idx="1456">0</cx:pt>
          <cx:pt idx="1457">0</cx:pt>
          <cx:pt idx="1458">0</cx:pt>
          <cx:pt idx="1459">0</cx:pt>
          <cx:pt idx="1460">0</cx:pt>
          <cx:pt idx="1461">0</cx:pt>
          <cx:pt idx="1462">0</cx:pt>
          <cx:pt idx="1463">0</cx:pt>
          <cx:pt idx="1464">0</cx:pt>
          <cx:pt idx="1465">0</cx:pt>
          <cx:pt idx="1466">0</cx:pt>
          <cx:pt idx="1467">0</cx:pt>
          <cx:pt idx="1468">0</cx:pt>
          <cx:pt idx="1469">0</cx:pt>
          <cx:pt idx="1470">0</cx:pt>
          <cx:pt idx="1471">0</cx:pt>
          <cx:pt idx="1472">0</cx:pt>
          <cx:pt idx="1473">0</cx:pt>
          <cx:pt idx="1474">0</cx:pt>
          <cx:pt idx="1475">0</cx:pt>
          <cx:pt idx="1476">0</cx:pt>
          <cx:pt idx="1477">0</cx:pt>
          <cx:pt idx="1478">0</cx:pt>
          <cx:pt idx="1479">0</cx:pt>
          <cx:pt idx="1480">0</cx:pt>
          <cx:pt idx="1481">0</cx:pt>
          <cx:pt idx="1482">0</cx:pt>
          <cx:pt idx="1483">0</cx:pt>
          <cx:pt idx="1484">0</cx:pt>
          <cx:pt idx="1485">0</cx:pt>
          <cx:pt idx="1486">0</cx:pt>
          <cx:pt idx="1487">0</cx:pt>
          <cx:pt idx="1488">0</cx:pt>
          <cx:pt idx="1489">0</cx:pt>
          <cx:pt idx="1490">0</cx:pt>
          <cx:pt idx="1491">0</cx:pt>
          <cx:pt idx="1492">0</cx:pt>
          <cx:pt idx="1493">0</cx:pt>
          <cx:pt idx="1494">0</cx:pt>
          <cx:pt idx="1495">0</cx:pt>
          <cx:pt idx="1496">0</cx:pt>
          <cx:pt idx="1497">0</cx:pt>
          <cx:pt idx="1498">0</cx:pt>
          <cx:pt idx="1499">0</cx:pt>
          <cx:pt idx="1500">0</cx:pt>
          <cx:pt idx="1501">0</cx:pt>
          <cx:pt idx="1502">0</cx:pt>
          <cx:pt idx="1503">0</cx:pt>
          <cx:pt idx="1504">0</cx:pt>
          <cx:pt idx="1505">0</cx:pt>
          <cx:pt idx="1506">0</cx:pt>
          <cx:pt idx="1507">0</cx:pt>
          <cx:pt idx="1508">0</cx:pt>
          <cx:pt idx="1509">0</cx:pt>
          <cx:pt idx="1510">0</cx:pt>
          <cx:pt idx="1511">0</cx:pt>
          <cx:pt idx="1512">0</cx:pt>
          <cx:pt idx="1513">0</cx:pt>
          <cx:pt idx="1514">0</cx:pt>
          <cx:pt idx="1515">0</cx:pt>
          <cx:pt idx="1516">0</cx:pt>
          <cx:pt idx="1517">0</cx:pt>
          <cx:pt idx="1518">0</cx:pt>
          <cx:pt idx="1519">0</cx:pt>
          <cx:pt idx="1520">0</cx:pt>
          <cx:pt idx="1521">0</cx:pt>
          <cx:pt idx="1522">0</cx:pt>
          <cx:pt idx="1523">0</cx:pt>
          <cx:pt idx="1524">0</cx:pt>
          <cx:pt idx="1525">0</cx:pt>
          <cx:pt idx="1526">0</cx:pt>
          <cx:pt idx="1527">0</cx:pt>
          <cx:pt idx="1528">0</cx:pt>
          <cx:pt idx="1529">0</cx:pt>
          <cx:pt idx="1530">0</cx:pt>
          <cx:pt idx="1531">0</cx:pt>
          <cx:pt idx="1532">0</cx:pt>
          <cx:pt idx="1533">0</cx:pt>
          <cx:pt idx="1534">0</cx:pt>
          <cx:pt idx="1535">0</cx:pt>
          <cx:pt idx="1536">0</cx:pt>
          <cx:pt idx="1537">0</cx:pt>
          <cx:pt idx="1538">0</cx:pt>
          <cx:pt idx="1539">0</cx:pt>
          <cx:pt idx="1540">0</cx:pt>
          <cx:pt idx="1541">0</cx:pt>
          <cx:pt idx="1542">0</cx:pt>
          <cx:pt idx="1543">0</cx:pt>
          <cx:pt idx="1544">0</cx:pt>
          <cx:pt idx="1545">0</cx:pt>
          <cx:pt idx="1546">0</cx:pt>
          <cx:pt idx="1547">0</cx:pt>
          <cx:pt idx="1548">0</cx:pt>
          <cx:pt idx="1549">0</cx:pt>
          <cx:pt idx="1550">0</cx:pt>
          <cx:pt idx="1551">0</cx:pt>
          <cx:pt idx="1552">0</cx:pt>
          <cx:pt idx="1553">0</cx:pt>
          <cx:pt idx="1554">0</cx:pt>
          <cx:pt idx="1555">0</cx:pt>
          <cx:pt idx="1556">0</cx:pt>
          <cx:pt idx="1557">0</cx:pt>
          <cx:pt idx="1558">0</cx:pt>
          <cx:pt idx="1559">0</cx:pt>
          <cx:pt idx="1560">0</cx:pt>
          <cx:pt idx="1561">0</cx:pt>
          <cx:pt idx="1562">0</cx:pt>
          <cx:pt idx="1563">0</cx:pt>
          <cx:pt idx="1564">0</cx:pt>
          <cx:pt idx="1565">0</cx:pt>
          <cx:pt idx="1566">0</cx:pt>
          <cx:pt idx="1567">0</cx:pt>
          <cx:pt idx="1568">0</cx:pt>
          <cx:pt idx="1569">0</cx:pt>
          <cx:pt idx="1570">0</cx:pt>
          <cx:pt idx="1571">0</cx:pt>
          <cx:pt idx="1572">0</cx:pt>
          <cx:pt idx="1573">0</cx:pt>
          <cx:pt idx="1574">0</cx:pt>
          <cx:pt idx="1575">0</cx:pt>
          <cx:pt idx="1576">0</cx:pt>
          <cx:pt idx="1577">0</cx:pt>
          <cx:pt idx="1578">0</cx:pt>
          <cx:pt idx="1579">0</cx:pt>
          <cx:pt idx="1580">0</cx:pt>
          <cx:pt idx="1581">0</cx:pt>
          <cx:pt idx="1582">0</cx:pt>
          <cx:pt idx="1583">0</cx:pt>
          <cx:pt idx="1584">0</cx:pt>
          <cx:pt idx="1585">0</cx:pt>
          <cx:pt idx="1586">0</cx:pt>
          <cx:pt idx="1587">0</cx:pt>
          <cx:pt idx="1588">0</cx:pt>
          <cx:pt idx="1589">0</cx:pt>
          <cx:pt idx="1590">0</cx:pt>
          <cx:pt idx="1591">0</cx:pt>
          <cx:pt idx="1592">0</cx:pt>
          <cx:pt idx="1593">0</cx:pt>
          <cx:pt idx="1594">0</cx:pt>
          <cx:pt idx="1595">0</cx:pt>
          <cx:pt idx="1596">0</cx:pt>
          <cx:pt idx="1597">0</cx:pt>
          <cx:pt idx="1598">0</cx:pt>
          <cx:pt idx="1599">0</cx:pt>
          <cx:pt idx="1600">0</cx:pt>
          <cx:pt idx="1601">0</cx:pt>
          <cx:pt idx="1602">0</cx:pt>
          <cx:pt idx="1603">0</cx:pt>
          <cx:pt idx="1604">0</cx:pt>
          <cx:pt idx="1605">0</cx:pt>
          <cx:pt idx="1606">0</cx:pt>
          <cx:pt idx="1607">0</cx:pt>
          <cx:pt idx="1608">0</cx:pt>
          <cx:pt idx="1609">0</cx:pt>
          <cx:pt idx="1610">0</cx:pt>
          <cx:pt idx="1611">0</cx:pt>
          <cx:pt idx="1612">0</cx:pt>
          <cx:pt idx="1613">0</cx:pt>
          <cx:pt idx="1614">0</cx:pt>
          <cx:pt idx="1615">0</cx:pt>
          <cx:pt idx="1616">0</cx:pt>
          <cx:pt idx="1617">0</cx:pt>
          <cx:pt idx="1618">0</cx:pt>
          <cx:pt idx="1619">0</cx:pt>
          <cx:pt idx="1620">0</cx:pt>
          <cx:pt idx="1621">0</cx:pt>
          <cx:pt idx="1622">0</cx:pt>
          <cx:pt idx="1623">0</cx:pt>
          <cx:pt idx="1624">0</cx:pt>
          <cx:pt idx="1625">0</cx:pt>
          <cx:pt idx="1626">0</cx:pt>
          <cx:pt idx="1627">0</cx:pt>
          <cx:pt idx="1628">0</cx:pt>
          <cx:pt idx="1629">0</cx:pt>
          <cx:pt idx="1630">0</cx:pt>
          <cx:pt idx="1631">0</cx:pt>
          <cx:pt idx="1632">0</cx:pt>
          <cx:pt idx="1633">0</cx:pt>
          <cx:pt idx="1634">0</cx:pt>
          <cx:pt idx="1635">0</cx:pt>
          <cx:pt idx="1636">0</cx:pt>
          <cx:pt idx="1637">0</cx:pt>
          <cx:pt idx="1638">0</cx:pt>
          <cx:pt idx="1639">0</cx:pt>
          <cx:pt idx="1640">0</cx:pt>
          <cx:pt idx="1641">0</cx:pt>
          <cx:pt idx="1642">0</cx:pt>
          <cx:pt idx="1643">0</cx:pt>
          <cx:pt idx="1644">0</cx:pt>
          <cx:pt idx="1645">0</cx:pt>
          <cx:pt idx="1646">0</cx:pt>
          <cx:pt idx="1647">0</cx:pt>
          <cx:pt idx="1648">0</cx:pt>
          <cx:pt idx="1649">0</cx:pt>
          <cx:pt idx="1650">0</cx:pt>
          <cx:pt idx="1651">0</cx:pt>
          <cx:pt idx="1652">0</cx:pt>
          <cx:pt idx="1653">0</cx:pt>
          <cx:pt idx="1654">0</cx:pt>
          <cx:pt idx="1655">0</cx:pt>
          <cx:pt idx="1656">0</cx:pt>
          <cx:pt idx="1657">0</cx:pt>
          <cx:pt idx="1658">0</cx:pt>
          <cx:pt idx="1659">0</cx:pt>
          <cx:pt idx="1660">0</cx:pt>
          <cx:pt idx="1661">0</cx:pt>
          <cx:pt idx="1662">0</cx:pt>
          <cx:pt idx="1663">0</cx:pt>
          <cx:pt idx="1664">0</cx:pt>
          <cx:pt idx="1665">0</cx:pt>
          <cx:pt idx="1666">0</cx:pt>
          <cx:pt idx="1667">0</cx:pt>
          <cx:pt idx="1668">0</cx:pt>
          <cx:pt idx="1669">0</cx:pt>
          <cx:pt idx="1670">0</cx:pt>
          <cx:pt idx="1671">0</cx:pt>
          <cx:pt idx="1672">0</cx:pt>
          <cx:pt idx="1673">0</cx:pt>
          <cx:pt idx="1674">0</cx:pt>
          <cx:pt idx="1675">0</cx:pt>
          <cx:pt idx="1676">0</cx:pt>
          <cx:pt idx="1677">0</cx:pt>
          <cx:pt idx="1678">0</cx:pt>
          <cx:pt idx="1679">0</cx:pt>
          <cx:pt idx="1680">0</cx:pt>
          <cx:pt idx="1681">0</cx:pt>
          <cx:pt idx="1682">0</cx:pt>
          <cx:pt idx="1683">0</cx:pt>
          <cx:pt idx="1684">0</cx:pt>
          <cx:pt idx="1685">0</cx:pt>
          <cx:pt idx="1686">0</cx:pt>
          <cx:pt idx="1687">0</cx:pt>
          <cx:pt idx="1688">0</cx:pt>
          <cx:pt idx="1689">0</cx:pt>
          <cx:pt idx="1690">0</cx:pt>
          <cx:pt idx="1691">0</cx:pt>
          <cx:pt idx="1692">0</cx:pt>
          <cx:pt idx="1693">0</cx:pt>
          <cx:pt idx="1694">0</cx:pt>
          <cx:pt idx="1695">0</cx:pt>
          <cx:pt idx="1696">0</cx:pt>
          <cx:pt idx="1697">0</cx:pt>
          <cx:pt idx="1698">0</cx:pt>
          <cx:pt idx="1699">0</cx:pt>
          <cx:pt idx="1700">0</cx:pt>
          <cx:pt idx="1701">0</cx:pt>
          <cx:pt idx="1702">0</cx:pt>
          <cx:pt idx="1703">0</cx:pt>
          <cx:pt idx="1704">0</cx:pt>
          <cx:pt idx="1705">0</cx:pt>
          <cx:pt idx="1706">0</cx:pt>
          <cx:pt idx="1707">0</cx:pt>
          <cx:pt idx="1708">0</cx:pt>
          <cx:pt idx="1709">0</cx:pt>
          <cx:pt idx="1710">0</cx:pt>
          <cx:pt idx="1711">0</cx:pt>
          <cx:pt idx="1712">0</cx:pt>
          <cx:pt idx="1713">0</cx:pt>
          <cx:pt idx="1714">0</cx:pt>
          <cx:pt idx="1715">0</cx:pt>
          <cx:pt idx="1716">0</cx:pt>
          <cx:pt idx="1717">0</cx:pt>
          <cx:pt idx="1718">0</cx:pt>
          <cx:pt idx="1719">0</cx:pt>
          <cx:pt idx="1720">0</cx:pt>
          <cx:pt idx="1721">0</cx:pt>
          <cx:pt idx="1722">0</cx:pt>
          <cx:pt idx="1723">0</cx:pt>
          <cx:pt idx="1724">0</cx:pt>
          <cx:pt idx="1725">0</cx:pt>
          <cx:pt idx="1726">0</cx:pt>
          <cx:pt idx="1727">0</cx:pt>
          <cx:pt idx="1728">0</cx:pt>
          <cx:pt idx="1729">0</cx:pt>
          <cx:pt idx="1730">0</cx:pt>
          <cx:pt idx="1731">0</cx:pt>
          <cx:pt idx="1732">0</cx:pt>
          <cx:pt idx="1733">0</cx:pt>
          <cx:pt idx="1734">0</cx:pt>
          <cx:pt idx="1735">0</cx:pt>
          <cx:pt idx="1736">0</cx:pt>
          <cx:pt idx="1737">0</cx:pt>
          <cx:pt idx="1738">0</cx:pt>
          <cx:pt idx="1739">0</cx:pt>
          <cx:pt idx="1740">0</cx:pt>
          <cx:pt idx="1741">0</cx:pt>
          <cx:pt idx="1742">0</cx:pt>
          <cx:pt idx="1743">0</cx:pt>
          <cx:pt idx="1744">0</cx:pt>
          <cx:pt idx="1745">0</cx:pt>
          <cx:pt idx="1746">0</cx:pt>
          <cx:pt idx="1747">0</cx:pt>
          <cx:pt idx="1748">0</cx:pt>
          <cx:pt idx="1749">0</cx:pt>
          <cx:pt idx="1750">0</cx:pt>
          <cx:pt idx="1751">0</cx:pt>
          <cx:pt idx="1752">0</cx:pt>
          <cx:pt idx="1753">0</cx:pt>
          <cx:pt idx="1754">0</cx:pt>
          <cx:pt idx="1755">0</cx:pt>
          <cx:pt idx="1756">0</cx:pt>
          <cx:pt idx="1757">0</cx:pt>
          <cx:pt idx="1758">0</cx:pt>
          <cx:pt idx="1759">0</cx:pt>
          <cx:pt idx="1760">0</cx:pt>
          <cx:pt idx="1761">0</cx:pt>
          <cx:pt idx="1762">0</cx:pt>
          <cx:pt idx="1763">0</cx:pt>
          <cx:pt idx="1764">0</cx:pt>
          <cx:pt idx="1765">0</cx:pt>
          <cx:pt idx="1766">0</cx:pt>
          <cx:pt idx="1767">0</cx:pt>
          <cx:pt idx="1768">0</cx:pt>
          <cx:pt idx="1769">0</cx:pt>
          <cx:pt idx="1770">0</cx:pt>
          <cx:pt idx="1771">0</cx:pt>
          <cx:pt idx="1772">0</cx:pt>
          <cx:pt idx="1773">0</cx:pt>
          <cx:pt idx="1774">0</cx:pt>
          <cx:pt idx="1775">0</cx:pt>
          <cx:pt idx="1776">0</cx:pt>
          <cx:pt idx="1777">0</cx:pt>
          <cx:pt idx="1778">0</cx:pt>
          <cx:pt idx="1779">0</cx:pt>
          <cx:pt idx="1780">0</cx:pt>
          <cx:pt idx="1781">0</cx:pt>
          <cx:pt idx="1782">0</cx:pt>
          <cx:pt idx="1783">0</cx:pt>
          <cx:pt idx="1784">0</cx:pt>
          <cx:pt idx="1785">0</cx:pt>
          <cx:pt idx="1786">0</cx:pt>
          <cx:pt idx="1787">0</cx:pt>
          <cx:pt idx="1788">0</cx:pt>
          <cx:pt idx="1789">0</cx:pt>
          <cx:pt idx="1790">0</cx:pt>
          <cx:pt idx="1791">0</cx:pt>
          <cx:pt idx="1792">0</cx:pt>
          <cx:pt idx="1793">0</cx:pt>
          <cx:pt idx="1794">0</cx:pt>
          <cx:pt idx="1795">0</cx:pt>
          <cx:pt idx="1796">0</cx:pt>
          <cx:pt idx="1797">0</cx:pt>
          <cx:pt idx="1798">0</cx:pt>
          <cx:pt idx="1799">0</cx:pt>
          <cx:pt idx="1800">0</cx:pt>
          <cx:pt idx="1801">0</cx:pt>
          <cx:pt idx="1802">0</cx:pt>
          <cx:pt idx="1803">0</cx:pt>
          <cx:pt idx="1804">0</cx:pt>
          <cx:pt idx="1805">0</cx:pt>
          <cx:pt idx="1806">0</cx:pt>
          <cx:pt idx="1807">0</cx:pt>
          <cx:pt idx="1808">0</cx:pt>
          <cx:pt idx="1809">0</cx:pt>
          <cx:pt idx="1810">0</cx:pt>
          <cx:pt idx="1811">0</cx:pt>
          <cx:pt idx="1812">0</cx:pt>
          <cx:pt idx="1813">0</cx:pt>
          <cx:pt idx="1814">0</cx:pt>
          <cx:pt idx="1815">0</cx:pt>
          <cx:pt idx="1816">0</cx:pt>
          <cx:pt idx="1817">0</cx:pt>
          <cx:pt idx="1818">0</cx:pt>
          <cx:pt idx="1819">0</cx:pt>
          <cx:pt idx="1820">0</cx:pt>
          <cx:pt idx="1821">0</cx:pt>
          <cx:pt idx="1822">0</cx:pt>
          <cx:pt idx="1823">0</cx:pt>
          <cx:pt idx="1824">0</cx:pt>
          <cx:pt idx="1825">0</cx:pt>
          <cx:pt idx="1826">0</cx:pt>
          <cx:pt idx="1827">0</cx:pt>
          <cx:pt idx="1828">0</cx:pt>
          <cx:pt idx="1829">0</cx:pt>
          <cx:pt idx="1830">0</cx:pt>
          <cx:pt idx="1831">0</cx:pt>
          <cx:pt idx="1832">0</cx:pt>
          <cx:pt idx="1833">0</cx:pt>
          <cx:pt idx="1834">0</cx:pt>
          <cx:pt idx="1835">0</cx:pt>
          <cx:pt idx="1836">0</cx:pt>
          <cx:pt idx="1837">0</cx:pt>
          <cx:pt idx="1838">0</cx:pt>
          <cx:pt idx="1839">0</cx:pt>
          <cx:pt idx="1840">0</cx:pt>
          <cx:pt idx="1841">0</cx:pt>
          <cx:pt idx="1842">0</cx:pt>
          <cx:pt idx="1843">0</cx:pt>
          <cx:pt idx="1844">0</cx:pt>
          <cx:pt idx="1845">0</cx:pt>
          <cx:pt idx="1846">0</cx:pt>
          <cx:pt idx="1847">0</cx:pt>
          <cx:pt idx="1848">0</cx:pt>
          <cx:pt idx="1849">0</cx:pt>
          <cx:pt idx="1850">0</cx:pt>
          <cx:pt idx="1851">0</cx:pt>
          <cx:pt idx="1852">0</cx:pt>
          <cx:pt idx="1853">0</cx:pt>
          <cx:pt idx="1854">0</cx:pt>
          <cx:pt idx="1855">0</cx:pt>
          <cx:pt idx="1856">0</cx:pt>
          <cx:pt idx="1857">0</cx:pt>
          <cx:pt idx="1858">0</cx:pt>
          <cx:pt idx="1859">0</cx:pt>
          <cx:pt idx="1860">0</cx:pt>
          <cx:pt idx="1861">0</cx:pt>
          <cx:pt idx="1862">0</cx:pt>
          <cx:pt idx="1863">0</cx:pt>
          <cx:pt idx="1864">0</cx:pt>
          <cx:pt idx="1865">0</cx:pt>
          <cx:pt idx="1866">0</cx:pt>
          <cx:pt idx="1867">0</cx:pt>
          <cx:pt idx="1868">0</cx:pt>
          <cx:pt idx="1869">0</cx:pt>
          <cx:pt idx="1870">0</cx:pt>
          <cx:pt idx="1871">0</cx:pt>
          <cx:pt idx="1872">0</cx:pt>
          <cx:pt idx="1873">0</cx:pt>
          <cx:pt idx="1874">0</cx:pt>
          <cx:pt idx="1875">0</cx:pt>
          <cx:pt idx="1876">0</cx:pt>
          <cx:pt idx="1877">0</cx:pt>
          <cx:pt idx="1878">0</cx:pt>
          <cx:pt idx="1879">0</cx:pt>
          <cx:pt idx="1880">0</cx:pt>
          <cx:pt idx="1881">0</cx:pt>
          <cx:pt idx="1882">0</cx:pt>
          <cx:pt idx="1883">0</cx:pt>
          <cx:pt idx="1884">0</cx:pt>
          <cx:pt idx="1885">0</cx:pt>
          <cx:pt idx="1886">0</cx:pt>
          <cx:pt idx="1887">0</cx:pt>
          <cx:pt idx="1888">0</cx:pt>
          <cx:pt idx="1889">0</cx:pt>
          <cx:pt idx="1890">0</cx:pt>
          <cx:pt idx="1891">0</cx:pt>
          <cx:pt idx="1892">0</cx:pt>
          <cx:pt idx="1893">0</cx:pt>
          <cx:pt idx="1894">0</cx:pt>
          <cx:pt idx="1895">0</cx:pt>
          <cx:pt idx="1896">0</cx:pt>
          <cx:pt idx="1897">0</cx:pt>
          <cx:pt idx="1898">0</cx:pt>
          <cx:pt idx="1899">0</cx:pt>
          <cx:pt idx="1900">0</cx:pt>
          <cx:pt idx="1901">0</cx:pt>
          <cx:pt idx="1902">0</cx:pt>
          <cx:pt idx="1903">0</cx:pt>
          <cx:pt idx="1904">0</cx:pt>
          <cx:pt idx="1905">0</cx:pt>
          <cx:pt idx="1906">0</cx:pt>
          <cx:pt idx="1907">0</cx:pt>
          <cx:pt idx="1908">0</cx:pt>
          <cx:pt idx="1909">0</cx:pt>
          <cx:pt idx="1910">0</cx:pt>
          <cx:pt idx="1911">0</cx:pt>
          <cx:pt idx="1912">0</cx:pt>
          <cx:pt idx="1913">0</cx:pt>
          <cx:pt idx="1914">0</cx:pt>
          <cx:pt idx="1915">0</cx:pt>
          <cx:pt idx="1916">0</cx:pt>
          <cx:pt idx="1917">0</cx:pt>
          <cx:pt idx="1918">0</cx:pt>
          <cx:pt idx="1919">0</cx:pt>
          <cx:pt idx="1920">0</cx:pt>
          <cx:pt idx="1921">0</cx:pt>
          <cx:pt idx="1922">0</cx:pt>
          <cx:pt idx="1923">0</cx:pt>
          <cx:pt idx="1924">0</cx:pt>
          <cx:pt idx="1925">0</cx:pt>
          <cx:pt idx="1926">0</cx:pt>
          <cx:pt idx="1927">0</cx:pt>
          <cx:pt idx="1928">0</cx:pt>
          <cx:pt idx="1929">0</cx:pt>
          <cx:pt idx="1930">0</cx:pt>
          <cx:pt idx="1931">0</cx:pt>
          <cx:pt idx="1932">0</cx:pt>
          <cx:pt idx="1933">0</cx:pt>
          <cx:pt idx="1934">0</cx:pt>
          <cx:pt idx="1935">0</cx:pt>
          <cx:pt idx="1936">0</cx:pt>
          <cx:pt idx="1937">0</cx:pt>
          <cx:pt idx="1938">0</cx:pt>
          <cx:pt idx="1939">0</cx:pt>
          <cx:pt idx="1940">0</cx:pt>
          <cx:pt idx="1941">0</cx:pt>
          <cx:pt idx="1942">0</cx:pt>
          <cx:pt idx="1943">0</cx:pt>
          <cx:pt idx="1944">0</cx:pt>
          <cx:pt idx="1945">0</cx:pt>
          <cx:pt idx="1946">0</cx:pt>
          <cx:pt idx="1947">0</cx:pt>
          <cx:pt idx="1948">0</cx:pt>
          <cx:pt idx="1949">0</cx:pt>
          <cx:pt idx="1950">0</cx:pt>
          <cx:pt idx="1951">0</cx:pt>
          <cx:pt idx="1952">0</cx:pt>
          <cx:pt idx="1953">0</cx:pt>
          <cx:pt idx="1954">0</cx:pt>
          <cx:pt idx="1955">0</cx:pt>
          <cx:pt idx="1956">0</cx:pt>
          <cx:pt idx="1957">0</cx:pt>
          <cx:pt idx="1958">0</cx:pt>
          <cx:pt idx="1959">0</cx:pt>
          <cx:pt idx="1960">0</cx:pt>
          <cx:pt idx="1961">0</cx:pt>
          <cx:pt idx="1962">0</cx:pt>
          <cx:pt idx="1963">0</cx:pt>
          <cx:pt idx="1964">0</cx:pt>
          <cx:pt idx="1965">0</cx:pt>
          <cx:pt idx="1966">0</cx:pt>
          <cx:pt idx="1967">0</cx:pt>
          <cx:pt idx="1968">0</cx:pt>
          <cx:pt idx="1969">0</cx:pt>
          <cx:pt idx="1970">0</cx:pt>
          <cx:pt idx="1971">0</cx:pt>
          <cx:pt idx="1972">0</cx:pt>
          <cx:pt idx="1973">0</cx:pt>
          <cx:pt idx="1974">0</cx:pt>
          <cx:pt idx="1975">0</cx:pt>
          <cx:pt idx="1976">0</cx:pt>
          <cx:pt idx="1977">0</cx:pt>
          <cx:pt idx="1978">0</cx:pt>
          <cx:pt idx="1979">0</cx:pt>
          <cx:pt idx="1980">0</cx:pt>
          <cx:pt idx="1981">0</cx:pt>
          <cx:pt idx="1982">0</cx:pt>
          <cx:pt idx="1983">0</cx:pt>
          <cx:pt idx="1984">0</cx:pt>
          <cx:pt idx="1985">0</cx:pt>
          <cx:pt idx="1986">0</cx:pt>
          <cx:pt idx="1987">0</cx:pt>
          <cx:pt idx="1988">0</cx:pt>
          <cx:pt idx="1989">0</cx:pt>
          <cx:pt idx="1990">0</cx:pt>
          <cx:pt idx="1991">0</cx:pt>
          <cx:pt idx="1992">0</cx:pt>
          <cx:pt idx="1993">0</cx:pt>
          <cx:pt idx="1994">0</cx:pt>
          <cx:pt idx="1995">0</cx:pt>
          <cx:pt idx="1996">0</cx:pt>
          <cx:pt idx="1997">0</cx:pt>
          <cx:pt idx="1998">0</cx:pt>
          <cx:pt idx="1999">0</cx:pt>
          <cx:pt idx="2000">0</cx:pt>
          <cx:pt idx="2001">0</cx:pt>
          <cx:pt idx="2002">0</cx:pt>
          <cx:pt idx="2003">0</cx:pt>
          <cx:pt idx="2004">0</cx:pt>
          <cx:pt idx="2005">0</cx:pt>
          <cx:pt idx="2006">0</cx:pt>
          <cx:pt idx="2007">0</cx:pt>
          <cx:pt idx="2008">0</cx:pt>
          <cx:pt idx="2009">0</cx:pt>
          <cx:pt idx="2010">0</cx:pt>
          <cx:pt idx="2011">0</cx:pt>
          <cx:pt idx="2012">0</cx:pt>
          <cx:pt idx="2013">0</cx:pt>
          <cx:pt idx="2014">0</cx:pt>
          <cx:pt idx="2015">0</cx:pt>
          <cx:pt idx="2016">0</cx:pt>
          <cx:pt idx="2017">0</cx:pt>
          <cx:pt idx="2018">0</cx:pt>
          <cx:pt idx="2019">0</cx:pt>
          <cx:pt idx="2020">0</cx:pt>
          <cx:pt idx="2021">0</cx:pt>
          <cx:pt idx="2022">0</cx:pt>
          <cx:pt idx="2023">0</cx:pt>
          <cx:pt idx="2024">0</cx:pt>
          <cx:pt idx="2025">0</cx:pt>
          <cx:pt idx="2026">0</cx:pt>
          <cx:pt idx="2027">0</cx:pt>
          <cx:pt idx="2028">0</cx:pt>
          <cx:pt idx="2029">0</cx:pt>
          <cx:pt idx="2030">0</cx:pt>
          <cx:pt idx="2031">0</cx:pt>
          <cx:pt idx="2032">0</cx:pt>
          <cx:pt idx="2033">0</cx:pt>
          <cx:pt idx="2034">0</cx:pt>
          <cx:pt idx="2035">0</cx:pt>
          <cx:pt idx="2036">0</cx:pt>
          <cx:pt idx="2037">0</cx:pt>
          <cx:pt idx="2038">0</cx:pt>
          <cx:pt idx="2039">0</cx:pt>
          <cx:pt idx="2040">0</cx:pt>
          <cx:pt idx="2041">0</cx:pt>
          <cx:pt idx="2042">0</cx:pt>
          <cx:pt idx="2043">0</cx:pt>
          <cx:pt idx="2044">0</cx:pt>
          <cx:pt idx="2045">0</cx:pt>
          <cx:pt idx="2046">0</cx:pt>
          <cx:pt idx="2047">0</cx:pt>
          <cx:pt idx="2048">0</cx:pt>
          <cx:pt idx="2049">0</cx:pt>
          <cx:pt idx="2050">0</cx:pt>
          <cx:pt idx="2051">0</cx:pt>
          <cx:pt idx="2052">0</cx:pt>
          <cx:pt idx="2053">0</cx:pt>
          <cx:pt idx="2054">0</cx:pt>
          <cx:pt idx="2055">0</cx:pt>
          <cx:pt idx="2056">0</cx:pt>
          <cx:pt idx="2057">0</cx:pt>
          <cx:pt idx="2058">0</cx:pt>
          <cx:pt idx="2059">0</cx:pt>
          <cx:pt idx="2060">0</cx:pt>
          <cx:pt idx="2061">0</cx:pt>
          <cx:pt idx="2062">0</cx:pt>
          <cx:pt idx="2063">0</cx:pt>
          <cx:pt idx="2064">0</cx:pt>
          <cx:pt idx="2065">0</cx:pt>
          <cx:pt idx="2066">0</cx:pt>
          <cx:pt idx="2067">0</cx:pt>
          <cx:pt idx="2068">0</cx:pt>
          <cx:pt idx="2069">0</cx:pt>
          <cx:pt idx="2070">0</cx:pt>
          <cx:pt idx="2071">0</cx:pt>
          <cx:pt idx="2072">0</cx:pt>
          <cx:pt idx="2073">0</cx:pt>
          <cx:pt idx="2074">0</cx:pt>
          <cx:pt idx="2075">0</cx:pt>
          <cx:pt idx="2076">0</cx:pt>
          <cx:pt idx="2077">0</cx:pt>
          <cx:pt idx="2078">0</cx:pt>
          <cx:pt idx="2079">0</cx:pt>
          <cx:pt idx="2080">0</cx:pt>
          <cx:pt idx="2081">0</cx:pt>
          <cx:pt idx="2082">0</cx:pt>
          <cx:pt idx="2083">0</cx:pt>
          <cx:pt idx="2084">0</cx:pt>
          <cx:pt idx="2085">0</cx:pt>
          <cx:pt idx="2086">0</cx:pt>
          <cx:pt idx="2087">0</cx:pt>
          <cx:pt idx="2088">0</cx:pt>
          <cx:pt idx="2089">0</cx:pt>
          <cx:pt idx="2090">0</cx:pt>
          <cx:pt idx="2091">0</cx:pt>
          <cx:pt idx="2092">0</cx:pt>
          <cx:pt idx="2093">0</cx:pt>
          <cx:pt idx="2094">0</cx:pt>
          <cx:pt idx="2095">0</cx:pt>
          <cx:pt idx="2096">0</cx:pt>
          <cx:pt idx="2097">0</cx:pt>
          <cx:pt idx="2098">0</cx:pt>
          <cx:pt idx="2099">0</cx:pt>
          <cx:pt idx="2100">0</cx:pt>
          <cx:pt idx="2101">0</cx:pt>
          <cx:pt idx="2102">0</cx:pt>
          <cx:pt idx="2103">0</cx:pt>
          <cx:pt idx="2104">0</cx:pt>
          <cx:pt idx="2105">0</cx:pt>
          <cx:pt idx="2106">0</cx:pt>
          <cx:pt idx="2107">0</cx:pt>
          <cx:pt idx="2108">0</cx:pt>
          <cx:pt idx="2109">0</cx:pt>
          <cx:pt idx="2110">0</cx:pt>
          <cx:pt idx="2111">0</cx:pt>
          <cx:pt idx="2112">0</cx:pt>
          <cx:pt idx="2113">0</cx:pt>
          <cx:pt idx="2114">0</cx:pt>
          <cx:pt idx="2115">0</cx:pt>
          <cx:pt idx="2116">0</cx:pt>
          <cx:pt idx="2117">0</cx:pt>
          <cx:pt idx="2118">0</cx:pt>
          <cx:pt idx="2119">0</cx:pt>
          <cx:pt idx="2120">0</cx:pt>
          <cx:pt idx="2121">0</cx:pt>
          <cx:pt idx="2122">0</cx:pt>
          <cx:pt idx="2123">0</cx:pt>
          <cx:pt idx="2124">0</cx:pt>
          <cx:pt idx="2125">0</cx:pt>
          <cx:pt idx="2126">0</cx:pt>
          <cx:pt idx="2127">0</cx:pt>
          <cx:pt idx="2128">0</cx:pt>
          <cx:pt idx="2129">0</cx:pt>
          <cx:pt idx="2130">0</cx:pt>
          <cx:pt idx="2131">0</cx:pt>
          <cx:pt idx="2132">0</cx:pt>
          <cx:pt idx="2133">0</cx:pt>
          <cx:pt idx="2134">0</cx:pt>
          <cx:pt idx="2135">0</cx:pt>
          <cx:pt idx="2136">0</cx:pt>
          <cx:pt idx="2137">0</cx:pt>
          <cx:pt idx="2138">0</cx:pt>
          <cx:pt idx="2139">0</cx:pt>
          <cx:pt idx="2140">0</cx:pt>
          <cx:pt idx="2141">0</cx:pt>
          <cx:pt idx="2142">0</cx:pt>
          <cx:pt idx="2143">0</cx:pt>
          <cx:pt idx="2144">0</cx:pt>
          <cx:pt idx="2145">0</cx:pt>
          <cx:pt idx="2146">0</cx:pt>
          <cx:pt idx="2147">0</cx:pt>
          <cx:pt idx="2148">0</cx:pt>
          <cx:pt idx="2149">0</cx:pt>
          <cx:pt idx="2150">0</cx:pt>
          <cx:pt idx="2151">0</cx:pt>
          <cx:pt idx="2152">0</cx:pt>
          <cx:pt idx="2153">0</cx:pt>
          <cx:pt idx="2154">0</cx:pt>
          <cx:pt idx="2155">0</cx:pt>
          <cx:pt idx="2156">0</cx:pt>
          <cx:pt idx="2157">0</cx:pt>
          <cx:pt idx="2158">0</cx:pt>
          <cx:pt idx="2159">0</cx:pt>
          <cx:pt idx="2160">0</cx:pt>
          <cx:pt idx="2161">0</cx:pt>
          <cx:pt idx="2162">0</cx:pt>
          <cx:pt idx="2163">0</cx:pt>
          <cx:pt idx="2164">0</cx:pt>
          <cx:pt idx="2165">0</cx:pt>
          <cx:pt idx="2166">0</cx:pt>
          <cx:pt idx="2167">0</cx:pt>
          <cx:pt idx="2168">0</cx:pt>
          <cx:pt idx="2169">0</cx:pt>
          <cx:pt idx="2170">0</cx:pt>
          <cx:pt idx="2171">0</cx:pt>
          <cx:pt idx="2172">0</cx:pt>
          <cx:pt idx="2173">0</cx:pt>
          <cx:pt idx="2174">0</cx:pt>
          <cx:pt idx="2175">0</cx:pt>
          <cx:pt idx="2176">0</cx:pt>
          <cx:pt idx="2177">0</cx:pt>
          <cx:pt idx="2178">0</cx:pt>
          <cx:pt idx="2179">0</cx:pt>
          <cx:pt idx="2180">0</cx:pt>
          <cx:pt idx="2181">0</cx:pt>
          <cx:pt idx="2182">0</cx:pt>
          <cx:pt idx="2183">0</cx:pt>
          <cx:pt idx="2184">0</cx:pt>
          <cx:pt idx="2185">0</cx:pt>
          <cx:pt idx="2186">0</cx:pt>
          <cx:pt idx="2187">0</cx:pt>
          <cx:pt idx="2188">0</cx:pt>
          <cx:pt idx="2189">0</cx:pt>
          <cx:pt idx="2190">0</cx:pt>
          <cx:pt idx="2191">0</cx:pt>
          <cx:pt idx="2192">0</cx:pt>
          <cx:pt idx="2193">0</cx:pt>
          <cx:pt idx="2194">0</cx:pt>
          <cx:pt idx="2195">0</cx:pt>
          <cx:pt idx="2196">0</cx:pt>
          <cx:pt idx="2197">0</cx:pt>
          <cx:pt idx="2198">0</cx:pt>
          <cx:pt idx="2199">0</cx:pt>
          <cx:pt idx="2200">0</cx:pt>
          <cx:pt idx="2201">0</cx:pt>
          <cx:pt idx="2202">0</cx:pt>
          <cx:pt idx="2203">0</cx:pt>
          <cx:pt idx="2204">0</cx:pt>
          <cx:pt idx="2205">0</cx:pt>
          <cx:pt idx="2206">0</cx:pt>
          <cx:pt idx="2207">0</cx:pt>
          <cx:pt idx="2208">0</cx:pt>
          <cx:pt idx="2209">0</cx:pt>
          <cx:pt idx="2210">0</cx:pt>
          <cx:pt idx="2211">0</cx:pt>
          <cx:pt idx="2212">0</cx:pt>
          <cx:pt idx="2213">0</cx:pt>
          <cx:pt idx="2214">0</cx:pt>
          <cx:pt idx="2215">0</cx:pt>
          <cx:pt idx="2216">0</cx:pt>
          <cx:pt idx="2217">0</cx:pt>
          <cx:pt idx="2218">0</cx:pt>
          <cx:pt idx="2219">0</cx:pt>
          <cx:pt idx="2220">0</cx:pt>
          <cx:pt idx="2221">0</cx:pt>
          <cx:pt idx="2222">0</cx:pt>
          <cx:pt idx="2223">0</cx:pt>
          <cx:pt idx="2224">0</cx:pt>
          <cx:pt idx="2225">0</cx:pt>
          <cx:pt idx="2226">0</cx:pt>
          <cx:pt idx="2227">0</cx:pt>
          <cx:pt idx="2228">0</cx:pt>
          <cx:pt idx="2229">0</cx:pt>
          <cx:pt idx="2230">0</cx:pt>
          <cx:pt idx="2231">0</cx:pt>
          <cx:pt idx="2232">0</cx:pt>
          <cx:pt idx="2233">0</cx:pt>
          <cx:pt idx="2234">0</cx:pt>
          <cx:pt idx="2235">0</cx:pt>
          <cx:pt idx="2236">0</cx:pt>
          <cx:pt idx="2237">0</cx:pt>
          <cx:pt idx="2238">0</cx:pt>
          <cx:pt idx="2239">0</cx:pt>
          <cx:pt idx="2240">0</cx:pt>
          <cx:pt idx="2241">0</cx:pt>
          <cx:pt idx="2242">0</cx:pt>
          <cx:pt idx="2243">0</cx:pt>
          <cx:pt idx="2244">0</cx:pt>
          <cx:pt idx="2245">0</cx:pt>
          <cx:pt idx="2246">0</cx:pt>
          <cx:pt idx="2247">0</cx:pt>
          <cx:pt idx="2248">0</cx:pt>
          <cx:pt idx="2249">0</cx:pt>
          <cx:pt idx="2250">0</cx:pt>
          <cx:pt idx="2251">0</cx:pt>
          <cx:pt idx="2252">0</cx:pt>
          <cx:pt idx="2253">0</cx:pt>
          <cx:pt idx="2254">0</cx:pt>
          <cx:pt idx="2255">0</cx:pt>
          <cx:pt idx="2256">0</cx:pt>
          <cx:pt idx="2257">0</cx:pt>
          <cx:pt idx="2258">0</cx:pt>
          <cx:pt idx="2259">0</cx:pt>
          <cx:pt idx="2260">0</cx:pt>
          <cx:pt idx="2261">0</cx:pt>
          <cx:pt idx="2262">0</cx:pt>
          <cx:pt idx="2263">0</cx:pt>
          <cx:pt idx="2264">0</cx:pt>
          <cx:pt idx="2265">0</cx:pt>
          <cx:pt idx="2266">0</cx:pt>
          <cx:pt idx="2267">0</cx:pt>
          <cx:pt idx="2268">0</cx:pt>
          <cx:pt idx="2269">0</cx:pt>
          <cx:pt idx="2270">0</cx:pt>
          <cx:pt idx="2271">0</cx:pt>
          <cx:pt idx="2272">0</cx:pt>
          <cx:pt idx="2273">0</cx:pt>
          <cx:pt idx="2274">0</cx:pt>
          <cx:pt idx="2275">0</cx:pt>
          <cx:pt idx="2276">0</cx:pt>
          <cx:pt idx="2277">0</cx:pt>
          <cx:pt idx="2278">0</cx:pt>
          <cx:pt idx="2279">0</cx:pt>
          <cx:pt idx="2280">0</cx:pt>
          <cx:pt idx="2281">0</cx:pt>
          <cx:pt idx="2282">0</cx:pt>
          <cx:pt idx="2283">0</cx:pt>
          <cx:pt idx="2284">0</cx:pt>
          <cx:pt idx="2285">0</cx:pt>
          <cx:pt idx="2286">0</cx:pt>
          <cx:pt idx="2287">0</cx:pt>
          <cx:pt idx="2288">0</cx:pt>
          <cx:pt idx="2289">0</cx:pt>
          <cx:pt idx="2290">0</cx:pt>
          <cx:pt idx="2291">0</cx:pt>
          <cx:pt idx="2292">0</cx:pt>
          <cx:pt idx="2293">0</cx:pt>
          <cx:pt idx="2294">0</cx:pt>
          <cx:pt idx="2295">0</cx:pt>
          <cx:pt idx="2296">0</cx:pt>
          <cx:pt idx="2297">0</cx:pt>
          <cx:pt idx="2298">0</cx:pt>
          <cx:pt idx="2299">0</cx:pt>
          <cx:pt idx="2300">0</cx:pt>
          <cx:pt idx="2301">0</cx:pt>
          <cx:pt idx="2302">0</cx:pt>
          <cx:pt idx="2303">0</cx:pt>
          <cx:pt idx="2304">0</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0</cx:pt>
          <cx:pt idx="2322">0</cx:pt>
          <cx:pt idx="2323">0</cx:pt>
          <cx:pt idx="2324">0</cx:pt>
          <cx:pt idx="2325">0</cx:pt>
          <cx:pt idx="2326">0</cx:pt>
          <cx:pt idx="2327">0</cx:pt>
          <cx:pt idx="2328">0</cx:pt>
          <cx:pt idx="2329">0</cx:pt>
          <cx:pt idx="2330">0</cx:pt>
          <cx:pt idx="2331">0</cx:pt>
          <cx:pt idx="2332">0</cx:pt>
          <cx:pt idx="2333">0</cx:pt>
          <cx:pt idx="2334">0</cx:pt>
          <cx:pt idx="2335">0</cx:pt>
          <cx:pt idx="2336">0</cx:pt>
          <cx:pt idx="2337">0</cx:pt>
          <cx:pt idx="2338">0</cx:pt>
          <cx:pt idx="2339">0</cx:pt>
          <cx:pt idx="2340">0</cx:pt>
          <cx:pt idx="2341">0</cx:pt>
          <cx:pt idx="2342">0</cx:pt>
          <cx:pt idx="2343">0</cx:pt>
          <cx:pt idx="2344">0</cx:pt>
          <cx:pt idx="2345">0</cx:pt>
          <cx:pt idx="2346">0</cx:pt>
          <cx:pt idx="2347">0</cx:pt>
          <cx:pt idx="2348">0</cx:pt>
          <cx:pt idx="2349">0</cx:pt>
          <cx:pt idx="2350">0</cx:pt>
          <cx:pt idx="2351">0</cx:pt>
          <cx:pt idx="2352">0</cx:pt>
          <cx:pt idx="2353">0</cx:pt>
          <cx:pt idx="2354">0</cx:pt>
          <cx:pt idx="2355">0</cx:pt>
          <cx:pt idx="2356">0</cx:pt>
          <cx:pt idx="2357">0</cx:pt>
          <cx:pt idx="2358">0</cx:pt>
          <cx:pt idx="2359">0</cx:pt>
          <cx:pt idx="2360">0</cx:pt>
          <cx:pt idx="2361">0</cx:pt>
          <cx:pt idx="2362">0</cx:pt>
          <cx:pt idx="2363">0</cx:pt>
          <cx:pt idx="2364">0</cx:pt>
          <cx:pt idx="2365">0</cx:pt>
          <cx:pt idx="2366">0</cx:pt>
          <cx:pt idx="2367">0</cx:pt>
          <cx:pt idx="2368">0</cx:pt>
          <cx:pt idx="2369">0</cx:pt>
          <cx:pt idx="2370">0</cx:pt>
          <cx:pt idx="2371">0</cx:pt>
          <cx:pt idx="2372">0</cx:pt>
          <cx:pt idx="2373">0</cx:pt>
          <cx:pt idx="2374">0</cx:pt>
          <cx:pt idx="2375">0</cx:pt>
          <cx:pt idx="2376">0</cx:pt>
          <cx:pt idx="2377">0</cx:pt>
          <cx:pt idx="2378">0</cx:pt>
          <cx:pt idx="2379">0</cx:pt>
          <cx:pt idx="2380">0</cx:pt>
          <cx:pt idx="2381">0</cx:pt>
          <cx:pt idx="2382">0</cx:pt>
          <cx:pt idx="2383">0</cx:pt>
          <cx:pt idx="2384">0</cx:pt>
          <cx:pt idx="2385">0</cx:pt>
          <cx:pt idx="2386">0</cx:pt>
          <cx:pt idx="2387">0</cx:pt>
          <cx:pt idx="2388">0</cx:pt>
          <cx:pt idx="2389">0</cx:pt>
          <cx:pt idx="2390">0</cx:pt>
          <cx:pt idx="2391">0</cx:pt>
          <cx:pt idx="2392">0</cx:pt>
          <cx:pt idx="2393">0</cx:pt>
          <cx:pt idx="2394">0</cx:pt>
          <cx:pt idx="2395">0</cx:pt>
          <cx:pt idx="2396">0</cx:pt>
          <cx:pt idx="2397">0</cx:pt>
          <cx:pt idx="2398">0</cx:pt>
          <cx:pt idx="2399">0</cx:pt>
          <cx:pt idx="2400">0</cx:pt>
          <cx:pt idx="2401">0</cx:pt>
          <cx:pt idx="2402">0</cx:pt>
          <cx:pt idx="2403">0</cx:pt>
          <cx:pt idx="2404">0</cx:pt>
          <cx:pt idx="2405">0</cx:pt>
          <cx:pt idx="2406">0</cx:pt>
          <cx:pt idx="2407">0</cx:pt>
          <cx:pt idx="2408">0</cx:pt>
          <cx:pt idx="2409">0</cx:pt>
          <cx:pt idx="2410">0</cx:pt>
          <cx:pt idx="2411">0</cx:pt>
          <cx:pt idx="2412">0</cx:pt>
          <cx:pt idx="2413">0</cx:pt>
          <cx:pt idx="2414">0</cx:pt>
          <cx:pt idx="2415">0</cx:pt>
          <cx:pt idx="2416">0</cx:pt>
          <cx:pt idx="2417">0</cx:pt>
          <cx:pt idx="2418">0</cx:pt>
          <cx:pt idx="2419">0</cx:pt>
          <cx:pt idx="2420">0</cx:pt>
          <cx:pt idx="2421">0</cx:pt>
          <cx:pt idx="2422">0</cx:pt>
          <cx:pt idx="2423">0</cx:pt>
          <cx:pt idx="2424">0</cx:pt>
          <cx:pt idx="2425">0</cx:pt>
          <cx:pt idx="2426">0</cx:pt>
          <cx:pt idx="2427">0</cx:pt>
          <cx:pt idx="2428">0</cx:pt>
          <cx:pt idx="2429">0</cx:pt>
          <cx:pt idx="2430">0</cx:pt>
          <cx:pt idx="2431">0</cx:pt>
          <cx:pt idx="2432">0</cx:pt>
          <cx:pt idx="2433">0</cx:pt>
          <cx:pt idx="2434">0</cx:pt>
          <cx:pt idx="2435">0</cx:pt>
          <cx:pt idx="2436">0</cx:pt>
          <cx:pt idx="2437">0</cx:pt>
          <cx:pt idx="2438">0</cx:pt>
          <cx:pt idx="2439">0</cx:pt>
          <cx:pt idx="2440">0</cx:pt>
          <cx:pt idx="2441">0</cx:pt>
          <cx:pt idx="2442">0</cx:pt>
          <cx:pt idx="2443">0</cx:pt>
          <cx:pt idx="2444">0</cx:pt>
          <cx:pt idx="2445">0</cx:pt>
          <cx:pt idx="2446">0</cx:pt>
          <cx:pt idx="2447">0</cx:pt>
          <cx:pt idx="2448">0</cx:pt>
          <cx:pt idx="2449">0</cx:pt>
          <cx:pt idx="2450">0</cx:pt>
          <cx:pt idx="2451">0</cx:pt>
          <cx:pt idx="2452">0</cx:pt>
          <cx:pt idx="2453">0</cx:pt>
          <cx:pt idx="2454">0</cx:pt>
          <cx:pt idx="2455">0</cx:pt>
          <cx:pt idx="2456">0</cx:pt>
          <cx:pt idx="2457">0</cx:pt>
          <cx:pt idx="2458">0</cx:pt>
          <cx:pt idx="2459">0</cx:pt>
          <cx:pt idx="2460">0</cx:pt>
          <cx:pt idx="2461">0</cx:pt>
          <cx:pt idx="2462">0</cx:pt>
          <cx:pt idx="2463">0</cx:pt>
          <cx:pt idx="2464">0</cx:pt>
          <cx:pt idx="2465">0</cx:pt>
          <cx:pt idx="2466">0</cx:pt>
          <cx:pt idx="2467">0</cx:pt>
          <cx:pt idx="2468">0</cx:pt>
          <cx:pt idx="2469">0</cx:pt>
          <cx:pt idx="2470">0</cx:pt>
          <cx:pt idx="2471">0</cx:pt>
          <cx:pt idx="2472">0</cx:pt>
          <cx:pt idx="2473">0</cx:pt>
          <cx:pt idx="2474">0</cx:pt>
          <cx:pt idx="2475">0</cx:pt>
          <cx:pt idx="2476">0</cx:pt>
          <cx:pt idx="2477">0</cx:pt>
          <cx:pt idx="2478">0</cx:pt>
          <cx:pt idx="2479">0</cx:pt>
          <cx:pt idx="2480">0</cx:pt>
          <cx:pt idx="2481">0</cx:pt>
          <cx:pt idx="2482">0</cx:pt>
          <cx:pt idx="2483">0</cx:pt>
          <cx:pt idx="2484">0</cx:pt>
          <cx:pt idx="2485">0</cx:pt>
          <cx:pt idx="2486">0</cx:pt>
          <cx:pt idx="2487">0</cx:pt>
          <cx:pt idx="2488">0</cx:pt>
          <cx:pt idx="2489">0</cx:pt>
          <cx:pt idx="2490">0</cx:pt>
          <cx:pt idx="2491">0</cx:pt>
          <cx:pt idx="2492">0</cx:pt>
          <cx:pt idx="2493">0</cx:pt>
          <cx:pt idx="2494">0</cx:pt>
          <cx:pt idx="2495">0</cx:pt>
          <cx:pt idx="2496">0</cx:pt>
          <cx:pt idx="2497">0</cx:pt>
          <cx:pt idx="2498">0</cx:pt>
          <cx:pt idx="2499">0</cx:pt>
          <cx:pt idx="2500">0</cx:pt>
          <cx:pt idx="2501">0</cx:pt>
          <cx:pt idx="2502">0</cx:pt>
          <cx:pt idx="2503">0</cx:pt>
          <cx:pt idx="2504">0</cx:pt>
          <cx:pt idx="2505">0</cx:pt>
          <cx:pt idx="2506">0</cx:pt>
          <cx:pt idx="2507">0</cx:pt>
          <cx:pt idx="2508">0</cx:pt>
          <cx:pt idx="2509">0</cx:pt>
          <cx:pt idx="2510">0</cx:pt>
          <cx:pt idx="2511">0</cx:pt>
          <cx:pt idx="2512">0</cx:pt>
          <cx:pt idx="2513">0</cx:pt>
          <cx:pt idx="2514">0</cx:pt>
          <cx:pt idx="2515">0</cx:pt>
          <cx:pt idx="2516">0</cx:pt>
          <cx:pt idx="2517">0</cx:pt>
          <cx:pt idx="2518">0</cx:pt>
          <cx:pt idx="2519">0</cx:pt>
          <cx:pt idx="2520">0</cx:pt>
          <cx:pt idx="2521">0</cx:pt>
          <cx:pt idx="2522">0</cx:pt>
          <cx:pt idx="2523">0</cx:pt>
          <cx:pt idx="2524">0</cx:pt>
          <cx:pt idx="2525">0</cx:pt>
          <cx:pt idx="2526">0</cx:pt>
          <cx:pt idx="2527">0</cx:pt>
          <cx:pt idx="2528">0</cx:pt>
          <cx:pt idx="2529">0</cx:pt>
          <cx:pt idx="2530">0</cx:pt>
          <cx:pt idx="2531">0</cx:pt>
          <cx:pt idx="2532">0</cx:pt>
          <cx:pt idx="2533">0</cx:pt>
          <cx:pt idx="2534">0</cx:pt>
          <cx:pt idx="2535">0</cx:pt>
          <cx:pt idx="2536">0</cx:pt>
          <cx:pt idx="2537">0</cx:pt>
          <cx:pt idx="2538">0</cx:pt>
          <cx:pt idx="2539">0</cx:pt>
          <cx:pt idx="2540">0</cx:pt>
          <cx:pt idx="2541">0</cx:pt>
          <cx:pt idx="2542">0</cx:pt>
          <cx:pt idx="2543">0</cx:pt>
          <cx:pt idx="2544">0</cx:pt>
          <cx:pt idx="2545">0</cx:pt>
          <cx:pt idx="2546">0</cx:pt>
          <cx:pt idx="2547">0</cx:pt>
          <cx:pt idx="2548">0</cx:pt>
          <cx:pt idx="2549">0</cx:pt>
          <cx:pt idx="2550">0</cx:pt>
          <cx:pt idx="2551">0</cx:pt>
          <cx:pt idx="2552">0</cx:pt>
          <cx:pt idx="2553">0</cx:pt>
          <cx:pt idx="2554">0</cx:pt>
          <cx:pt idx="2555">0</cx:pt>
          <cx:pt idx="2556">0</cx:pt>
          <cx:pt idx="2557">0</cx:pt>
          <cx:pt idx="2558">0</cx:pt>
          <cx:pt idx="2559">0</cx:pt>
          <cx:pt idx="2560">0</cx:pt>
          <cx:pt idx="2561">0</cx:pt>
          <cx:pt idx="2562">0</cx:pt>
          <cx:pt idx="2563">0</cx:pt>
          <cx:pt idx="2564">0</cx:pt>
          <cx:pt idx="2565">0</cx:pt>
          <cx:pt idx="2566">0</cx:pt>
          <cx:pt idx="2567">0</cx:pt>
          <cx:pt idx="2568">0</cx:pt>
          <cx:pt idx="2569">0</cx:pt>
          <cx:pt idx="2570">0</cx:pt>
          <cx:pt idx="2571">0</cx:pt>
          <cx:pt idx="2572">0</cx:pt>
          <cx:pt idx="2573">0</cx:pt>
          <cx:pt idx="2574">0</cx:pt>
          <cx:pt idx="2575">0</cx:pt>
          <cx:pt idx="2576">0</cx:pt>
          <cx:pt idx="2577">0</cx:pt>
          <cx:pt idx="2578">0</cx:pt>
          <cx:pt idx="2579">0</cx:pt>
          <cx:pt idx="2580">0</cx:pt>
          <cx:pt idx="2581">0</cx:pt>
          <cx:pt idx="2582">0</cx:pt>
          <cx:pt idx="2583">0</cx:pt>
          <cx:pt idx="2584">0</cx:pt>
          <cx:pt idx="2585">0</cx:pt>
          <cx:pt idx="2586">0</cx:pt>
          <cx:pt idx="2587">0</cx:pt>
          <cx:pt idx="2588">0</cx:pt>
          <cx:pt idx="2589">0</cx:pt>
          <cx:pt idx="2590">0</cx:pt>
          <cx:pt idx="2591">0</cx:pt>
          <cx:pt idx="2592">0</cx:pt>
          <cx:pt idx="2593">0</cx:pt>
          <cx:pt idx="2594">0</cx:pt>
          <cx:pt idx="2595">0</cx:pt>
          <cx:pt idx="2596">0</cx:pt>
          <cx:pt idx="2597">0</cx:pt>
          <cx:pt idx="2598">0</cx:pt>
          <cx:pt idx="2599">0</cx:pt>
          <cx:pt idx="2600">0</cx:pt>
          <cx:pt idx="2601">0</cx:pt>
          <cx:pt idx="2602">0</cx:pt>
          <cx:pt idx="2603">0</cx:pt>
          <cx:pt idx="2604">0</cx:pt>
          <cx:pt idx="2605">0</cx:pt>
          <cx:pt idx="2606">0</cx:pt>
          <cx:pt idx="2607">0</cx:pt>
          <cx:pt idx="2608">0</cx:pt>
          <cx:pt idx="2609">0</cx:pt>
          <cx:pt idx="2610">0</cx:pt>
          <cx:pt idx="2611">0</cx:pt>
          <cx:pt idx="2612">0</cx:pt>
          <cx:pt idx="2613">0</cx:pt>
          <cx:pt idx="2614">0</cx:pt>
          <cx:pt idx="2615">0</cx:pt>
          <cx:pt idx="2616">0</cx:pt>
          <cx:pt idx="2617">0</cx:pt>
          <cx:pt idx="2618">0</cx:pt>
          <cx:pt idx="2619">0</cx:pt>
          <cx:pt idx="2620">0</cx:pt>
          <cx:pt idx="2621">0</cx:pt>
          <cx:pt idx="2622">0</cx:pt>
          <cx:pt idx="2623">0</cx:pt>
          <cx:pt idx="2624">0</cx:pt>
          <cx:pt idx="2625">0</cx:pt>
          <cx:pt idx="2626">0</cx:pt>
          <cx:pt idx="2627">0</cx:pt>
          <cx:pt idx="2628">0</cx:pt>
          <cx:pt idx="2629">0</cx:pt>
          <cx:pt idx="2630">0</cx:pt>
          <cx:pt idx="2631">0</cx:pt>
          <cx:pt idx="2632">0</cx:pt>
          <cx:pt idx="2633">0</cx:pt>
          <cx:pt idx="2634">0</cx:pt>
          <cx:pt idx="2635">0</cx:pt>
          <cx:pt idx="2636">0</cx:pt>
          <cx:pt idx="2637">0</cx:pt>
          <cx:pt idx="2638">0</cx:pt>
          <cx:pt idx="2639">0</cx:pt>
          <cx:pt idx="2640">0</cx:pt>
          <cx:pt idx="2641">0</cx:pt>
          <cx:pt idx="2642">0</cx:pt>
          <cx:pt idx="2643">0</cx:pt>
          <cx:pt idx="2644">0</cx:pt>
          <cx:pt idx="2645">0</cx:pt>
          <cx:pt idx="2646">0</cx:pt>
          <cx:pt idx="2647">0</cx:pt>
          <cx:pt idx="2648">0</cx:pt>
          <cx:pt idx="2649">0</cx:pt>
          <cx:pt idx="2650">0</cx:pt>
          <cx:pt idx="2651">0</cx:pt>
          <cx:pt idx="2652">0</cx:pt>
          <cx:pt idx="2653">0</cx:pt>
          <cx:pt idx="2654">0</cx:pt>
          <cx:pt idx="2655">0</cx:pt>
          <cx:pt idx="2656">0</cx:pt>
          <cx:pt idx="2657">0</cx:pt>
          <cx:pt idx="2658">0</cx:pt>
          <cx:pt idx="2659">0</cx:pt>
          <cx:pt idx="2660">0</cx:pt>
          <cx:pt idx="2661">0</cx:pt>
          <cx:pt idx="2662">0</cx:pt>
          <cx:pt idx="2663">0</cx:pt>
          <cx:pt idx="2664">0</cx:pt>
          <cx:pt idx="2665">0</cx:pt>
          <cx:pt idx="2666">0</cx:pt>
          <cx:pt idx="2667">0</cx:pt>
          <cx:pt idx="2668">0</cx:pt>
          <cx:pt idx="2669">0</cx:pt>
          <cx:pt idx="2670">0</cx:pt>
          <cx:pt idx="2671">0</cx:pt>
          <cx:pt idx="2672">0</cx:pt>
          <cx:pt idx="2673">0</cx:pt>
          <cx:pt idx="2674">0</cx:pt>
          <cx:pt idx="2675">0</cx:pt>
          <cx:pt idx="2676">0</cx:pt>
          <cx:pt idx="2677">0</cx:pt>
          <cx:pt idx="2678">0</cx:pt>
          <cx:pt idx="2679">0</cx:pt>
          <cx:pt idx="2680">0</cx:pt>
          <cx:pt idx="2681">0</cx:pt>
          <cx:pt idx="2682">0</cx:pt>
          <cx:pt idx="2683">0</cx:pt>
          <cx:pt idx="2684">0</cx:pt>
          <cx:pt idx="2685">0</cx:pt>
          <cx:pt idx="2686">0</cx:pt>
          <cx:pt idx="2687">0</cx:pt>
          <cx:pt idx="2688">0</cx:pt>
          <cx:pt idx="2689">0</cx:pt>
          <cx:pt idx="2690">0</cx:pt>
          <cx:pt idx="2691">0</cx:pt>
          <cx:pt idx="2692">0</cx:pt>
          <cx:pt idx="2693">0</cx:pt>
          <cx:pt idx="2694">0</cx:pt>
          <cx:pt idx="2695">0</cx:pt>
          <cx:pt idx="2696">0</cx:pt>
          <cx:pt idx="2697">0</cx:pt>
          <cx:pt idx="2698">0</cx:pt>
          <cx:pt idx="2699">0</cx:pt>
          <cx:pt idx="2700">0</cx:pt>
          <cx:pt idx="2701">0</cx:pt>
          <cx:pt idx="2702">0</cx:pt>
          <cx:pt idx="2703">0</cx:pt>
          <cx:pt idx="2704">0</cx:pt>
          <cx:pt idx="2705">0</cx:pt>
          <cx:pt idx="2706">0</cx:pt>
          <cx:pt idx="2707">0</cx:pt>
          <cx:pt idx="2708">0</cx:pt>
          <cx:pt idx="2709">0</cx:pt>
          <cx:pt idx="2710">0</cx:pt>
          <cx:pt idx="2711">0</cx:pt>
          <cx:pt idx="2712">0</cx:pt>
          <cx:pt idx="2713">0</cx:pt>
          <cx:pt idx="2714">0</cx:pt>
          <cx:pt idx="2715">0</cx:pt>
          <cx:pt idx="2716">0</cx:pt>
          <cx:pt idx="2717">0</cx:pt>
          <cx:pt idx="2718">0</cx:pt>
          <cx:pt idx="2719">0</cx:pt>
          <cx:pt idx="2720">0</cx:pt>
          <cx:pt idx="2721">0</cx:pt>
          <cx:pt idx="2722">0</cx:pt>
          <cx:pt idx="2723">0</cx:pt>
          <cx:pt idx="2724">0</cx:pt>
          <cx:pt idx="2725">0</cx:pt>
          <cx:pt idx="2726">0</cx:pt>
          <cx:pt idx="2727">0</cx:pt>
          <cx:pt idx="2728">0</cx:pt>
          <cx:pt idx="2729">0</cx:pt>
          <cx:pt idx="2730">0</cx:pt>
          <cx:pt idx="2731">0</cx:pt>
          <cx:pt idx="2732">0</cx:pt>
          <cx:pt idx="2733">0</cx:pt>
          <cx:pt idx="2734">0</cx:pt>
          <cx:pt idx="2735">0</cx:pt>
          <cx:pt idx="2736">0</cx:pt>
          <cx:pt idx="2737">0</cx:pt>
          <cx:pt idx="2738">0</cx:pt>
          <cx:pt idx="2739">0</cx:pt>
          <cx:pt idx="2740">0</cx:pt>
          <cx:pt idx="2741">0</cx:pt>
          <cx:pt idx="2742">0</cx:pt>
          <cx:pt idx="2743">0</cx:pt>
          <cx:pt idx="2744">0</cx:pt>
          <cx:pt idx="2745">0</cx:pt>
          <cx:pt idx="2746">0</cx:pt>
          <cx:pt idx="2747">0</cx:pt>
          <cx:pt idx="2748">0</cx:pt>
          <cx:pt idx="2749">0</cx:pt>
          <cx:pt idx="2750">0</cx:pt>
          <cx:pt idx="2751">0</cx:pt>
          <cx:pt idx="2752">0</cx:pt>
          <cx:pt idx="2753">0</cx:pt>
          <cx:pt idx="2754">0</cx:pt>
          <cx:pt idx="2755">0</cx:pt>
          <cx:pt idx="2756">0</cx:pt>
          <cx:pt idx="2757">0</cx:pt>
          <cx:pt idx="2758">0</cx:pt>
          <cx:pt idx="2759">0</cx:pt>
          <cx:pt idx="2760">0</cx:pt>
          <cx:pt idx="2761">0</cx:pt>
          <cx:pt idx="2762">0</cx:pt>
          <cx:pt idx="2763">0</cx:pt>
          <cx:pt idx="2764">0</cx:pt>
          <cx:pt idx="2765">0</cx:pt>
          <cx:pt idx="2766">0</cx:pt>
          <cx:pt idx="2767">0</cx:pt>
          <cx:pt idx="2768">0</cx:pt>
          <cx:pt idx="2769">0</cx:pt>
          <cx:pt idx="2770">0</cx:pt>
          <cx:pt idx="2771">0</cx:pt>
          <cx:pt idx="2772">0</cx:pt>
          <cx:pt idx="2773">0</cx:pt>
          <cx:pt idx="2774">0</cx:pt>
          <cx:pt idx="2775">0</cx:pt>
          <cx:pt idx="2776">0</cx:pt>
          <cx:pt idx="2777">0</cx:pt>
          <cx:pt idx="2778">0</cx:pt>
          <cx:pt idx="2779">0</cx:pt>
          <cx:pt idx="2780">0</cx:pt>
          <cx:pt idx="2781">0</cx:pt>
          <cx:pt idx="2782">0</cx:pt>
          <cx:pt idx="2783">0</cx:pt>
          <cx:pt idx="2784">0</cx:pt>
          <cx:pt idx="2785">0</cx:pt>
          <cx:pt idx="2786">0</cx:pt>
          <cx:pt idx="2787">0</cx:pt>
          <cx:pt idx="2788">0</cx:pt>
          <cx:pt idx="2789">0</cx:pt>
          <cx:pt idx="2790">0</cx:pt>
          <cx:pt idx="2791">0</cx:pt>
          <cx:pt idx="2792">0</cx:pt>
          <cx:pt idx="2793">0</cx:pt>
          <cx:pt idx="2794">0</cx:pt>
          <cx:pt idx="2795">0</cx:pt>
          <cx:pt idx="2796">0</cx:pt>
          <cx:pt idx="2797">0</cx:pt>
          <cx:pt idx="2798">0</cx:pt>
          <cx:pt idx="2799">0</cx:pt>
          <cx:pt idx="2800">0</cx:pt>
          <cx:pt idx="2801">0</cx:pt>
          <cx:pt idx="2802">0</cx:pt>
          <cx:pt idx="2803">0</cx:pt>
          <cx:pt idx="2804">0</cx:pt>
          <cx:pt idx="2805">0</cx:pt>
          <cx:pt idx="2806">0</cx:pt>
          <cx:pt idx="2807">0</cx:pt>
          <cx:pt idx="2808">0</cx:pt>
          <cx:pt idx="2809">0</cx:pt>
          <cx:pt idx="2810">0</cx:pt>
          <cx:pt idx="2811">0</cx:pt>
          <cx:pt idx="2812">0</cx:pt>
          <cx:pt idx="2813">0</cx:pt>
          <cx:pt idx="2814">0</cx:pt>
          <cx:pt idx="2815">0</cx:pt>
          <cx:pt idx="2816">0</cx:pt>
          <cx:pt idx="2817">0</cx:pt>
          <cx:pt idx="2818">0</cx:pt>
          <cx:pt idx="2819">0</cx:pt>
          <cx:pt idx="2820">0</cx:pt>
          <cx:pt idx="2821">0</cx:pt>
          <cx:pt idx="2822">0</cx:pt>
          <cx:pt idx="2823">0</cx:pt>
          <cx:pt idx="2824">0</cx:pt>
          <cx:pt idx="2825">0</cx:pt>
          <cx:pt idx="2826">0</cx:pt>
          <cx:pt idx="2827">0</cx:pt>
          <cx:pt idx="2828">0</cx:pt>
          <cx:pt idx="2829">0</cx:pt>
          <cx:pt idx="2830">0</cx:pt>
          <cx:pt idx="2831">0</cx:pt>
          <cx:pt idx="2832">0</cx:pt>
          <cx:pt idx="2833">0</cx:pt>
          <cx:pt idx="2834">0</cx:pt>
          <cx:pt idx="2835">0</cx:pt>
          <cx:pt idx="2836">0</cx:pt>
          <cx:pt idx="2837">0</cx:pt>
          <cx:pt idx="2838">0</cx:pt>
          <cx:pt idx="2839">0</cx:pt>
          <cx:pt idx="2840">0</cx:pt>
          <cx:pt idx="2841">0</cx:pt>
          <cx:pt idx="2842">0</cx:pt>
          <cx:pt idx="2843">0</cx:pt>
          <cx:pt idx="2844">0</cx:pt>
          <cx:pt idx="2845">0</cx:pt>
          <cx:pt idx="2846">0</cx:pt>
          <cx:pt idx="2847">0</cx:pt>
          <cx:pt idx="2848">0</cx:pt>
          <cx:pt idx="2849">0</cx:pt>
          <cx:pt idx="2850">0</cx:pt>
          <cx:pt idx="2851">0</cx:pt>
          <cx:pt idx="2852">0</cx:pt>
          <cx:pt idx="2853">0</cx:pt>
          <cx:pt idx="2854">0</cx:pt>
          <cx:pt idx="2855">0</cx:pt>
          <cx:pt idx="2856">0</cx:pt>
          <cx:pt idx="2857">0</cx:pt>
          <cx:pt idx="2858">0</cx:pt>
          <cx:pt idx="2859">0</cx:pt>
          <cx:pt idx="2860">0</cx:pt>
          <cx:pt idx="2861">0</cx:pt>
          <cx:pt idx="2862">0</cx:pt>
          <cx:pt idx="2863">0</cx:pt>
          <cx:pt idx="2864">0</cx:pt>
          <cx:pt idx="2865">0</cx:pt>
          <cx:pt idx="2866">0</cx:pt>
          <cx:pt idx="2867">0</cx:pt>
          <cx:pt idx="2868">0</cx:pt>
          <cx:pt idx="2869">0</cx:pt>
          <cx:pt idx="2870">0</cx:pt>
          <cx:pt idx="2871">0</cx:pt>
          <cx:pt idx="2872">0</cx:pt>
          <cx:pt idx="2873">0</cx:pt>
          <cx:pt idx="2874">0</cx:pt>
          <cx:pt idx="2875">0</cx:pt>
          <cx:pt idx="2876">0</cx:pt>
          <cx:pt idx="2877">0</cx:pt>
          <cx:pt idx="2878">0</cx:pt>
          <cx:pt idx="2879">0</cx:pt>
          <cx:pt idx="2880">0</cx:pt>
          <cx:pt idx="2881">0</cx:pt>
          <cx:pt idx="2882">0</cx:pt>
          <cx:pt idx="2883">0</cx:pt>
          <cx:pt idx="2884">0</cx:pt>
          <cx:pt idx="2885">0</cx:pt>
          <cx:pt idx="2886">0</cx:pt>
          <cx:pt idx="2887">0</cx:pt>
          <cx:pt idx="2888">0</cx:pt>
          <cx:pt idx="2889">0</cx:pt>
          <cx:pt idx="2890">0</cx:pt>
          <cx:pt idx="2891">0</cx:pt>
          <cx:pt idx="2892">0</cx:pt>
          <cx:pt idx="2893">0</cx:pt>
          <cx:pt idx="2894">0</cx:pt>
          <cx:pt idx="2895">0</cx:pt>
          <cx:pt idx="2896">0</cx:pt>
          <cx:pt idx="2897">0</cx:pt>
          <cx:pt idx="2898">0</cx:pt>
          <cx:pt idx="2899">0</cx:pt>
          <cx:pt idx="2900">0</cx:pt>
          <cx:pt idx="2901">0</cx:pt>
          <cx:pt idx="2902">0</cx:pt>
          <cx:pt idx="2903">0</cx:pt>
          <cx:pt idx="2904">0</cx:pt>
          <cx:pt idx="2905">0</cx:pt>
          <cx:pt idx="2906">0</cx:pt>
          <cx:pt idx="2907">0</cx:pt>
          <cx:pt idx="2908">0</cx:pt>
          <cx:pt idx="2909">0</cx:pt>
          <cx:pt idx="2910">0</cx:pt>
          <cx:pt idx="2911">0</cx:pt>
          <cx:pt idx="2912">0</cx:pt>
          <cx:pt idx="2913">0</cx:pt>
          <cx:pt idx="2914">0</cx:pt>
          <cx:pt idx="2915">0</cx:pt>
          <cx:pt idx="2916">0</cx:pt>
          <cx:pt idx="2917">0</cx:pt>
          <cx:pt idx="2918">0</cx:pt>
          <cx:pt idx="2919">0</cx:pt>
          <cx:pt idx="2920">0</cx:pt>
          <cx:pt idx="2921">0</cx:pt>
          <cx:pt idx="2922">0</cx:pt>
          <cx:pt idx="2923">0</cx:pt>
          <cx:pt idx="2924">0</cx:pt>
          <cx:pt idx="2925">0</cx:pt>
          <cx:pt idx="2926">0</cx:pt>
          <cx:pt idx="2927">0</cx:pt>
          <cx:pt idx="2928">0</cx:pt>
          <cx:pt idx="2929">0</cx:pt>
          <cx:pt idx="2930">0</cx:pt>
          <cx:pt idx="2931">0</cx:pt>
          <cx:pt idx="2932">0</cx:pt>
          <cx:pt idx="2933">0</cx:pt>
          <cx:pt idx="2934">0</cx:pt>
          <cx:pt idx="2935">0</cx:pt>
          <cx:pt idx="2936">0</cx:pt>
          <cx:pt idx="2937">0</cx:pt>
          <cx:pt idx="2938">0</cx:pt>
          <cx:pt idx="2939">0</cx:pt>
          <cx:pt idx="2940">0</cx:pt>
          <cx:pt idx="2941">0</cx:pt>
          <cx:pt idx="2942">0</cx:pt>
          <cx:pt idx="2943">0</cx:pt>
          <cx:pt idx="2944">0</cx:pt>
          <cx:pt idx="2945">0</cx:pt>
          <cx:pt idx="2946">0</cx:pt>
          <cx:pt idx="2947">0</cx:pt>
          <cx:pt idx="2948">0</cx:pt>
          <cx:pt idx="2949">0</cx:pt>
          <cx:pt idx="2950">0</cx:pt>
          <cx:pt idx="2951">0</cx:pt>
          <cx:pt idx="2952">0</cx:pt>
          <cx:pt idx="2953">0</cx:pt>
          <cx:pt idx="2954">0</cx:pt>
          <cx:pt idx="2955">0</cx:pt>
          <cx:pt idx="2956">0</cx:pt>
          <cx:pt idx="2957">0</cx:pt>
          <cx:pt idx="2958">0</cx:pt>
          <cx:pt idx="2959">0</cx:pt>
          <cx:pt idx="2960">0</cx:pt>
          <cx:pt idx="2961">0</cx:pt>
          <cx:pt idx="2962">0</cx:pt>
          <cx:pt idx="2963">0</cx:pt>
          <cx:pt idx="2964">0</cx:pt>
          <cx:pt idx="2965">0</cx:pt>
          <cx:pt idx="2966">0</cx:pt>
          <cx:pt idx="2967">0</cx:pt>
          <cx:pt idx="2968">0</cx:pt>
          <cx:pt idx="2969">0</cx:pt>
          <cx:pt idx="2970">0</cx:pt>
          <cx:pt idx="2971">0</cx:pt>
          <cx:pt idx="2972">0</cx:pt>
          <cx:pt idx="2973">0</cx:pt>
          <cx:pt idx="2974">0</cx:pt>
          <cx:pt idx="2975">0</cx:pt>
          <cx:pt idx="2976">0</cx:pt>
          <cx:pt idx="2977">0</cx:pt>
          <cx:pt idx="2978">0</cx:pt>
          <cx:pt idx="2979">0</cx:pt>
          <cx:pt idx="2980">0</cx:pt>
          <cx:pt idx="2981">0</cx:pt>
          <cx:pt idx="2982">0</cx:pt>
          <cx:pt idx="2983">0</cx:pt>
          <cx:pt idx="2984">0</cx:pt>
          <cx:pt idx="2985">0</cx:pt>
          <cx:pt idx="2986">0</cx:pt>
          <cx:pt idx="2987">0</cx:pt>
          <cx:pt idx="2988">0</cx:pt>
          <cx:pt idx="2989">0</cx:pt>
          <cx:pt idx="2990">0</cx:pt>
          <cx:pt idx="2991">0</cx:pt>
          <cx:pt idx="2992">0</cx:pt>
          <cx:pt idx="2993">0</cx:pt>
          <cx:pt idx="2994">0</cx:pt>
          <cx:pt idx="2995">0</cx:pt>
          <cx:pt idx="2996">0</cx:pt>
          <cx:pt idx="2997">0</cx:pt>
          <cx:pt idx="2998">0</cx:pt>
          <cx:pt idx="2999">0</cx:pt>
          <cx:pt idx="3000">0</cx:pt>
          <cx:pt idx="3001">0</cx:pt>
          <cx:pt idx="3002">0</cx:pt>
          <cx:pt idx="3003">0</cx:pt>
          <cx:pt idx="3004">0</cx:pt>
          <cx:pt idx="3005">0</cx:pt>
          <cx:pt idx="3006">0</cx:pt>
          <cx:pt idx="3007">0</cx:pt>
          <cx:pt idx="3008">0</cx:pt>
          <cx:pt idx="3009">0</cx:pt>
          <cx:pt idx="3010">0</cx:pt>
          <cx:pt idx="3011">0</cx:pt>
          <cx:pt idx="3012">0</cx:pt>
          <cx:pt idx="3013">0</cx:pt>
          <cx:pt idx="3014">0</cx:pt>
          <cx:pt idx="3015">0</cx:pt>
          <cx:pt idx="3016">0</cx:pt>
          <cx:pt idx="3017">0</cx:pt>
          <cx:pt idx="3018">0</cx:pt>
          <cx:pt idx="3019">0</cx:pt>
          <cx:pt idx="3020">0</cx:pt>
          <cx:pt idx="3021">0</cx:pt>
          <cx:pt idx="3022">0</cx:pt>
          <cx:pt idx="3023">0</cx:pt>
          <cx:pt idx="3024">0</cx:pt>
          <cx:pt idx="3025">0</cx:pt>
          <cx:pt idx="3026">0</cx:pt>
          <cx:pt idx="3027">0</cx:pt>
          <cx:pt idx="3028">0</cx:pt>
          <cx:pt idx="3029">0</cx:pt>
          <cx:pt idx="3030">0</cx:pt>
          <cx:pt idx="3031">0</cx:pt>
          <cx:pt idx="3032">0</cx:pt>
          <cx:pt idx="3033">0</cx:pt>
          <cx:pt idx="3034">0</cx:pt>
          <cx:pt idx="3035">0</cx:pt>
          <cx:pt idx="3036">0</cx:pt>
          <cx:pt idx="3037">0</cx:pt>
          <cx:pt idx="3038">0</cx:pt>
          <cx:pt idx="3039">0</cx:pt>
          <cx:pt idx="3040">0</cx:pt>
          <cx:pt idx="3041">0</cx:pt>
          <cx:pt idx="3042">0</cx:pt>
          <cx:pt idx="3043">0</cx:pt>
          <cx:pt idx="3044">0</cx:pt>
          <cx:pt idx="3045">0</cx:pt>
          <cx:pt idx="3046">0</cx:pt>
          <cx:pt idx="3047">0</cx:pt>
          <cx:pt idx="3048">0</cx:pt>
          <cx:pt idx="3049">0</cx:pt>
          <cx:pt idx="3050">0</cx:pt>
          <cx:pt idx="3051">0</cx:pt>
          <cx:pt idx="3052">0</cx:pt>
          <cx:pt idx="3053">0</cx:pt>
          <cx:pt idx="3054">0</cx:pt>
          <cx:pt idx="3055">0</cx:pt>
          <cx:pt idx="3056">0</cx:pt>
          <cx:pt idx="3057">0</cx:pt>
          <cx:pt idx="3058">0</cx:pt>
          <cx:pt idx="3059">0</cx:pt>
          <cx:pt idx="3060">0</cx:pt>
          <cx:pt idx="3061">0</cx:pt>
          <cx:pt idx="3062">0</cx:pt>
          <cx:pt idx="3063">0</cx:pt>
          <cx:pt idx="3064">0</cx:pt>
          <cx:pt idx="3065">0</cx:pt>
          <cx:pt idx="3066">0</cx:pt>
          <cx:pt idx="3067">0</cx:pt>
          <cx:pt idx="3068">0</cx:pt>
          <cx:pt idx="3069">0</cx:pt>
          <cx:pt idx="3070">0</cx:pt>
          <cx:pt idx="3071">0</cx:pt>
          <cx:pt idx="3072">0</cx:pt>
          <cx:pt idx="3073">0</cx:pt>
          <cx:pt idx="3074">0</cx:pt>
          <cx:pt idx="3075">0</cx:pt>
          <cx:pt idx="3076">0</cx:pt>
          <cx:pt idx="3077">0</cx:pt>
          <cx:pt idx="3078">0</cx:pt>
          <cx:pt idx="3079">0</cx:pt>
          <cx:pt idx="3080">0</cx:pt>
          <cx:pt idx="3081">0</cx:pt>
          <cx:pt idx="3082">0</cx:pt>
          <cx:pt idx="3083">0</cx:pt>
          <cx:pt idx="3084">0</cx:pt>
          <cx:pt idx="3085">0</cx:pt>
          <cx:pt idx="3086">0</cx:pt>
          <cx:pt idx="3087">0</cx:pt>
          <cx:pt idx="3088">0</cx:pt>
          <cx:pt idx="3089">0</cx:pt>
          <cx:pt idx="3090">0</cx:pt>
          <cx:pt idx="3091">0</cx:pt>
          <cx:pt idx="3092">0</cx:pt>
          <cx:pt idx="3093">0</cx:pt>
          <cx:pt idx="3094">0</cx:pt>
          <cx:pt idx="3095">0</cx:pt>
          <cx:pt idx="3096">0</cx:pt>
          <cx:pt idx="3097">0</cx:pt>
          <cx:pt idx="3098">0</cx:pt>
          <cx:pt idx="3099">0</cx:pt>
          <cx:pt idx="3100">0</cx:pt>
          <cx:pt idx="3101">0</cx:pt>
          <cx:pt idx="3102">0</cx:pt>
          <cx:pt idx="3103">0</cx:pt>
          <cx:pt idx="3104">0</cx:pt>
          <cx:pt idx="3105">0</cx:pt>
          <cx:pt idx="3106">0</cx:pt>
          <cx:pt idx="3107">0</cx:pt>
          <cx:pt idx="3108">0</cx:pt>
          <cx:pt idx="3109">0</cx:pt>
          <cx:pt idx="3110">0</cx:pt>
          <cx:pt idx="3111">0</cx:pt>
          <cx:pt idx="3112">0</cx:pt>
          <cx:pt idx="3113">0</cx:pt>
          <cx:pt idx="3114">0</cx:pt>
          <cx:pt idx="3115">0</cx:pt>
          <cx:pt idx="3116">0</cx:pt>
          <cx:pt idx="3117">0</cx:pt>
          <cx:pt idx="3118">0</cx:pt>
          <cx:pt idx="3119">0</cx:pt>
          <cx:pt idx="3120">0</cx:pt>
          <cx:pt idx="3121">0</cx:pt>
          <cx:pt idx="3122">0</cx:pt>
          <cx:pt idx="3123">0</cx:pt>
          <cx:pt idx="3124">0</cx:pt>
          <cx:pt idx="3125">0</cx:pt>
          <cx:pt idx="3126">0</cx:pt>
          <cx:pt idx="3127">0</cx:pt>
          <cx:pt idx="3128">0</cx:pt>
          <cx:pt idx="3129">0</cx:pt>
          <cx:pt idx="3130">0</cx:pt>
          <cx:pt idx="3131">0</cx:pt>
          <cx:pt idx="3132">0</cx:pt>
          <cx:pt idx="3133">0</cx:pt>
          <cx:pt idx="3134">0</cx:pt>
          <cx:pt idx="3135">0</cx:pt>
          <cx:pt idx="3136">0</cx:pt>
          <cx:pt idx="3137">0</cx:pt>
          <cx:pt idx="3138">0</cx:pt>
          <cx:pt idx="3139">0</cx:pt>
          <cx:pt idx="3140">0</cx:pt>
          <cx:pt idx="3141">0</cx:pt>
          <cx:pt idx="3142">0</cx:pt>
          <cx:pt idx="3143">0</cx:pt>
          <cx:pt idx="3144">0</cx:pt>
          <cx:pt idx="3145">0</cx:pt>
          <cx:pt idx="3146">0</cx:pt>
          <cx:pt idx="3147">0</cx:pt>
          <cx:pt idx="3148">0</cx:pt>
          <cx:pt idx="3149">0</cx:pt>
          <cx:pt idx="3150">0</cx:pt>
          <cx:pt idx="3151">0</cx:pt>
          <cx:pt idx="3152">0</cx:pt>
          <cx:pt idx="3153">0</cx:pt>
          <cx:pt idx="3154">0</cx:pt>
          <cx:pt idx="3155">0</cx:pt>
          <cx:pt idx="3156">0</cx:pt>
          <cx:pt idx="3157">0</cx:pt>
          <cx:pt idx="3158">0</cx:pt>
          <cx:pt idx="3159">0</cx:pt>
          <cx:pt idx="3160">0</cx:pt>
          <cx:pt idx="3161">0</cx:pt>
          <cx:pt idx="3162">0</cx:pt>
          <cx:pt idx="3163">0</cx:pt>
          <cx:pt idx="3164">0</cx:pt>
          <cx:pt idx="3165">0</cx:pt>
          <cx:pt idx="3166">0</cx:pt>
          <cx:pt idx="3167">0</cx:pt>
          <cx:pt idx="3168">0</cx:pt>
          <cx:pt idx="3169">0</cx:pt>
          <cx:pt idx="3170">0</cx:pt>
          <cx:pt idx="3171">0</cx:pt>
          <cx:pt idx="3172">0</cx:pt>
          <cx:pt idx="3173">0</cx:pt>
          <cx:pt idx="3174">0</cx:pt>
          <cx:pt idx="3175">0</cx:pt>
          <cx:pt idx="3176">0</cx:pt>
          <cx:pt idx="3177">0</cx:pt>
          <cx:pt idx="3178">0</cx:pt>
          <cx:pt idx="3179">0</cx:pt>
          <cx:pt idx="3180">0</cx:pt>
          <cx:pt idx="3181">0</cx:pt>
          <cx:pt idx="3182">0</cx:pt>
          <cx:pt idx="3183">0</cx:pt>
          <cx:pt idx="3184">0</cx:pt>
          <cx:pt idx="3185">0</cx:pt>
          <cx:pt idx="3186">0</cx:pt>
          <cx:pt idx="3187">0</cx:pt>
          <cx:pt idx="3188">0</cx:pt>
          <cx:pt idx="3189">0</cx:pt>
          <cx:pt idx="3190">0</cx:pt>
          <cx:pt idx="3191">0</cx:pt>
          <cx:pt idx="3192">0</cx:pt>
          <cx:pt idx="3193">0</cx:pt>
          <cx:pt idx="3194">0</cx:pt>
          <cx:pt idx="3195">0</cx:pt>
          <cx:pt idx="3196">0</cx:pt>
          <cx:pt idx="3197">0</cx:pt>
          <cx:pt idx="3198">0</cx:pt>
          <cx:pt idx="3199">0</cx:pt>
          <cx:pt idx="3200">0</cx:pt>
          <cx:pt idx="3201">0</cx:pt>
          <cx:pt idx="3202">0</cx:pt>
          <cx:pt idx="3203">0</cx:pt>
          <cx:pt idx="3204">0</cx:pt>
          <cx:pt idx="3205">0</cx:pt>
          <cx:pt idx="3206">0</cx:pt>
          <cx:pt idx="3207">0</cx:pt>
          <cx:pt idx="3208">0</cx:pt>
          <cx:pt idx="3209">0</cx:pt>
          <cx:pt idx="3210">0</cx:pt>
          <cx:pt idx="3211">0</cx:pt>
          <cx:pt idx="3212">0</cx:pt>
          <cx:pt idx="3213">0</cx:pt>
          <cx:pt idx="3214">0</cx:pt>
          <cx:pt idx="3215">0</cx:pt>
          <cx:pt idx="3216">0</cx:pt>
          <cx:pt idx="3217">0</cx:pt>
          <cx:pt idx="3218">0</cx:pt>
          <cx:pt idx="3219">0</cx:pt>
          <cx:pt idx="3220">0</cx:pt>
          <cx:pt idx="3221">0</cx:pt>
          <cx:pt idx="3222">0</cx:pt>
          <cx:pt idx="3223">0</cx:pt>
          <cx:pt idx="3224">0</cx:pt>
          <cx:pt idx="3225">0</cx:pt>
          <cx:pt idx="3226">0</cx:pt>
          <cx:pt idx="3227">0</cx:pt>
          <cx:pt idx="3228">0</cx:pt>
          <cx:pt idx="3229">0</cx:pt>
          <cx:pt idx="3230">0</cx:pt>
          <cx:pt idx="3231">0</cx:pt>
          <cx:pt idx="3232">0</cx:pt>
          <cx:pt idx="3233">0</cx:pt>
          <cx:pt idx="3234">0</cx:pt>
          <cx:pt idx="3235">0</cx:pt>
          <cx:pt idx="3236">0</cx:pt>
          <cx:pt idx="3237">0</cx:pt>
          <cx:pt idx="3238">0</cx:pt>
          <cx:pt idx="3239">0</cx:pt>
          <cx:pt idx="3240">0</cx:pt>
          <cx:pt idx="3241">0</cx:pt>
          <cx:pt idx="3242">0</cx:pt>
          <cx:pt idx="3243">0</cx:pt>
          <cx:pt idx="3244">0</cx:pt>
          <cx:pt idx="3245">0</cx:pt>
          <cx:pt idx="3246">0</cx:pt>
          <cx:pt idx="3247">0</cx:pt>
          <cx:pt idx="3248">0</cx:pt>
          <cx:pt idx="3249">0</cx:pt>
          <cx:pt idx="3250">0</cx:pt>
          <cx:pt idx="3251">0</cx:pt>
          <cx:pt idx="3252">0</cx:pt>
          <cx:pt idx="3253">0</cx:pt>
          <cx:pt idx="3254">0</cx:pt>
          <cx:pt idx="3255">0</cx:pt>
          <cx:pt idx="3256">0</cx:pt>
          <cx:pt idx="3257">0</cx:pt>
          <cx:pt idx="3258">0</cx:pt>
          <cx:pt idx="3259">0</cx:pt>
          <cx:pt idx="3260">0</cx:pt>
          <cx:pt idx="3261">0</cx:pt>
          <cx:pt idx="3262">0</cx:pt>
          <cx:pt idx="3263">0</cx:pt>
          <cx:pt idx="3264">0</cx:pt>
          <cx:pt idx="3265">0</cx:pt>
          <cx:pt idx="3266">0</cx:pt>
          <cx:pt idx="3267">0</cx:pt>
          <cx:pt idx="3268">0</cx:pt>
          <cx:pt idx="3269">0</cx:pt>
          <cx:pt idx="3270">0</cx:pt>
          <cx:pt idx="3271">0</cx:pt>
          <cx:pt idx="3272">0</cx:pt>
          <cx:pt idx="3273">0</cx:pt>
          <cx:pt idx="3274">0</cx:pt>
          <cx:pt idx="3275">0</cx:pt>
          <cx:pt idx="3276">0</cx:pt>
          <cx:pt idx="3277">0</cx:pt>
          <cx:pt idx="3278">0</cx:pt>
          <cx:pt idx="3279">0</cx:pt>
          <cx:pt idx="3280">0</cx:pt>
          <cx:pt idx="3281">0</cx:pt>
          <cx:pt idx="3282">0</cx:pt>
          <cx:pt idx="3283">0</cx:pt>
          <cx:pt idx="3284">0</cx:pt>
          <cx:pt idx="3285">0</cx:pt>
          <cx:pt idx="3286">0</cx:pt>
          <cx:pt idx="3287">0</cx:pt>
          <cx:pt idx="3288">0</cx:pt>
          <cx:pt idx="3289">0</cx:pt>
          <cx:pt idx="3290">0</cx:pt>
          <cx:pt idx="3291">0</cx:pt>
          <cx:pt idx="3292">0</cx:pt>
          <cx:pt idx="3293">0</cx:pt>
          <cx:pt idx="3294">0</cx:pt>
          <cx:pt idx="3295">0</cx:pt>
          <cx:pt idx="3296">0</cx:pt>
          <cx:pt idx="3297">0</cx:pt>
          <cx:pt idx="3298">0</cx:pt>
          <cx:pt idx="3299">0</cx:pt>
          <cx:pt idx="3300">0</cx:pt>
          <cx:pt idx="3301">0</cx:pt>
          <cx:pt idx="3302">0</cx:pt>
          <cx:pt idx="3303">0</cx:pt>
          <cx:pt idx="3304">0</cx:pt>
          <cx:pt idx="3305">0</cx:pt>
          <cx:pt idx="3306">0</cx:pt>
          <cx:pt idx="3307">0</cx:pt>
          <cx:pt idx="3308">0</cx:pt>
          <cx:pt idx="3309">0</cx:pt>
          <cx:pt idx="3310">0</cx:pt>
          <cx:pt idx="3311">0</cx:pt>
          <cx:pt idx="3312">0</cx:pt>
          <cx:pt idx="3313">0</cx:pt>
          <cx:pt idx="3314">0</cx:pt>
          <cx:pt idx="3315">0</cx:pt>
          <cx:pt idx="3316">0</cx:pt>
          <cx:pt idx="3317">0</cx:pt>
          <cx:pt idx="3318">0</cx:pt>
          <cx:pt idx="3319">0</cx:pt>
          <cx:pt idx="3320">0</cx:pt>
          <cx:pt idx="3321">0</cx:pt>
          <cx:pt idx="3322">0</cx:pt>
          <cx:pt idx="3323">0</cx:pt>
          <cx:pt idx="3324">0</cx:pt>
          <cx:pt idx="3325">0</cx:pt>
          <cx:pt idx="3326">0</cx:pt>
          <cx:pt idx="3327">0</cx:pt>
          <cx:pt idx="3328">0</cx:pt>
          <cx:pt idx="3329">0</cx:pt>
          <cx:pt idx="3330">0</cx:pt>
          <cx:pt idx="3331">0</cx:pt>
          <cx:pt idx="3332">0</cx:pt>
          <cx:pt idx="3333">0</cx:pt>
          <cx:pt idx="3334">0</cx:pt>
          <cx:pt idx="3335">0</cx:pt>
          <cx:pt idx="3336">0</cx:pt>
          <cx:pt idx="3337">0</cx:pt>
          <cx:pt idx="3338">0</cx:pt>
          <cx:pt idx="3339">0</cx:pt>
          <cx:pt idx="3340">0</cx:pt>
          <cx:pt idx="3341">0</cx:pt>
          <cx:pt idx="3342">0</cx:pt>
          <cx:pt idx="3343">0</cx:pt>
          <cx:pt idx="3344">0</cx:pt>
          <cx:pt idx="3345">0</cx:pt>
          <cx:pt idx="3346">0</cx:pt>
          <cx:pt idx="3347">0</cx:pt>
          <cx:pt idx="3348">0</cx:pt>
          <cx:pt idx="3349">0</cx:pt>
          <cx:pt idx="3350">0</cx:pt>
          <cx:pt idx="3351">0</cx:pt>
          <cx:pt idx="3352">0</cx:pt>
          <cx:pt idx="3353">0</cx:pt>
          <cx:pt idx="3354">0</cx:pt>
          <cx:pt idx="3355">0</cx:pt>
          <cx:pt idx="3356">0</cx:pt>
          <cx:pt idx="3357">0</cx:pt>
          <cx:pt idx="3358">0</cx:pt>
          <cx:pt idx="3359">0</cx:pt>
          <cx:pt idx="3360">0</cx:pt>
          <cx:pt idx="3361">0</cx:pt>
          <cx:pt idx="3362">0</cx:pt>
          <cx:pt idx="3363">0</cx:pt>
          <cx:pt idx="3364">0</cx:pt>
          <cx:pt idx="3365">0</cx:pt>
          <cx:pt idx="3366">0</cx:pt>
          <cx:pt idx="3367">0</cx:pt>
          <cx:pt idx="3368">0</cx:pt>
          <cx:pt idx="3369">0</cx:pt>
          <cx:pt idx="3370">0</cx:pt>
          <cx:pt idx="3371">0</cx:pt>
          <cx:pt idx="3372">0</cx:pt>
          <cx:pt idx="3373">0</cx:pt>
          <cx:pt idx="3374">0</cx:pt>
          <cx:pt idx="3375">0</cx:pt>
          <cx:pt idx="3376">0</cx:pt>
          <cx:pt idx="3377">0</cx:pt>
          <cx:pt idx="3378">0</cx:pt>
          <cx:pt idx="3379">0</cx:pt>
          <cx:pt idx="3380">0</cx:pt>
          <cx:pt idx="3381">0</cx:pt>
          <cx:pt idx="3382">0</cx:pt>
          <cx:pt idx="3383">0</cx:pt>
          <cx:pt idx="3384">0</cx:pt>
          <cx:pt idx="3385">0</cx:pt>
          <cx:pt idx="3386">0</cx:pt>
          <cx:pt idx="3387">0</cx:pt>
          <cx:pt idx="3388">0</cx:pt>
          <cx:pt idx="3389">0</cx:pt>
          <cx:pt idx="3390">0</cx:pt>
          <cx:pt idx="3391">0</cx:pt>
          <cx:pt idx="3392">0</cx:pt>
          <cx:pt idx="3393">0</cx:pt>
          <cx:pt idx="3394">0</cx:pt>
          <cx:pt idx="3395">0</cx:pt>
          <cx:pt idx="3396">0</cx:pt>
          <cx:pt idx="3397">0</cx:pt>
          <cx:pt idx="3398">0</cx:pt>
          <cx:pt idx="3399">0</cx:pt>
          <cx:pt idx="3400">0</cx:pt>
          <cx:pt idx="3401">0</cx:pt>
          <cx:pt idx="3402">0</cx:pt>
          <cx:pt idx="3403">0</cx:pt>
          <cx:pt idx="3404">0</cx:pt>
          <cx:pt idx="3405">0</cx:pt>
          <cx:pt idx="3406">0</cx:pt>
          <cx:pt idx="3407">0</cx:pt>
          <cx:pt idx="3408">0</cx:pt>
          <cx:pt idx="3409">0</cx:pt>
          <cx:pt idx="3410">0</cx:pt>
          <cx:pt idx="3411">0</cx:pt>
          <cx:pt idx="3412">0</cx:pt>
          <cx:pt idx="3413">0</cx:pt>
          <cx:pt idx="3414">0</cx:pt>
          <cx:pt idx="3415">0</cx:pt>
          <cx:pt idx="3416">0</cx:pt>
          <cx:pt idx="3417">0</cx:pt>
          <cx:pt idx="3418">0</cx:pt>
          <cx:pt idx="3419">0</cx:pt>
          <cx:pt idx="3420">0</cx:pt>
          <cx:pt idx="3421">0</cx:pt>
          <cx:pt idx="3422">0</cx:pt>
          <cx:pt idx="3423">0</cx:pt>
          <cx:pt idx="3424">0</cx:pt>
          <cx:pt idx="3425">0</cx:pt>
          <cx:pt idx="3426">0</cx:pt>
          <cx:pt idx="3427">0</cx:pt>
          <cx:pt idx="3428">0</cx:pt>
          <cx:pt idx="3429">0</cx:pt>
          <cx:pt idx="3430">0</cx:pt>
          <cx:pt idx="3431">0</cx:pt>
          <cx:pt idx="3432">0</cx:pt>
          <cx:pt idx="3433">0</cx:pt>
          <cx:pt idx="3434">0</cx:pt>
          <cx:pt idx="3435">0</cx:pt>
          <cx:pt idx="3436">0</cx:pt>
          <cx:pt idx="3437">0</cx:pt>
          <cx:pt idx="3438">0</cx:pt>
          <cx:pt idx="3439">0</cx:pt>
          <cx:pt idx="3440">0</cx:pt>
          <cx:pt idx="3441">0</cx:pt>
          <cx:pt idx="3442">0</cx:pt>
          <cx:pt idx="3443">0</cx:pt>
          <cx:pt idx="3444">0</cx:pt>
          <cx:pt idx="3445">0</cx:pt>
          <cx:pt idx="3446">0</cx:pt>
          <cx:pt idx="3447">0</cx:pt>
          <cx:pt idx="3448">0</cx:pt>
          <cx:pt idx="3449">0</cx:pt>
          <cx:pt idx="3450">0</cx:pt>
          <cx:pt idx="3451">0</cx:pt>
          <cx:pt idx="3452">0</cx:pt>
          <cx:pt idx="3453">0</cx:pt>
          <cx:pt idx="3454">0</cx:pt>
          <cx:pt idx="3455">0</cx:pt>
          <cx:pt idx="3456">0</cx:pt>
          <cx:pt idx="3457">0</cx:pt>
          <cx:pt idx="3458">0</cx:pt>
          <cx:pt idx="3459">0</cx:pt>
          <cx:pt idx="3460">0</cx:pt>
          <cx:pt idx="3461">0</cx:pt>
          <cx:pt idx="3462">0</cx:pt>
          <cx:pt idx="3463">0</cx:pt>
          <cx:pt idx="3464">0</cx:pt>
          <cx:pt idx="3465">0</cx:pt>
          <cx:pt idx="3466">0</cx:pt>
          <cx:pt idx="3467">0</cx:pt>
          <cx:pt idx="3468">0</cx:pt>
          <cx:pt idx="3469">0</cx:pt>
          <cx:pt idx="3470">0</cx:pt>
          <cx:pt idx="3471">0</cx:pt>
          <cx:pt idx="3472">0</cx:pt>
          <cx:pt idx="3473">0</cx:pt>
          <cx:pt idx="3474">0</cx:pt>
          <cx:pt idx="3475">0</cx:pt>
          <cx:pt idx="3476">0</cx:pt>
          <cx:pt idx="3477">0</cx:pt>
          <cx:pt idx="3478">0</cx:pt>
          <cx:pt idx="3479">0</cx:pt>
          <cx:pt idx="3480">0</cx:pt>
          <cx:pt idx="3481">0</cx:pt>
          <cx:pt idx="3482">0</cx:pt>
          <cx:pt idx="3483">0</cx:pt>
          <cx:pt idx="3484">0</cx:pt>
          <cx:pt idx="3485">0</cx:pt>
          <cx:pt idx="3486">0</cx:pt>
          <cx:pt idx="3487">0</cx:pt>
          <cx:pt idx="3488">0</cx:pt>
          <cx:pt idx="3489">0</cx:pt>
          <cx:pt idx="3490">0</cx:pt>
          <cx:pt idx="3491">0</cx:pt>
          <cx:pt idx="3492">0</cx:pt>
          <cx:pt idx="3493">0</cx:pt>
          <cx:pt idx="3494">0</cx:pt>
          <cx:pt idx="3495">0</cx:pt>
          <cx:pt idx="3496">0</cx:pt>
          <cx:pt idx="3497">0</cx:pt>
          <cx:pt idx="3498">0</cx:pt>
          <cx:pt idx="3499">0</cx:pt>
          <cx:pt idx="3500">0</cx:pt>
          <cx:pt idx="3501">0</cx:pt>
          <cx:pt idx="3502">0</cx:pt>
          <cx:pt idx="3503">0</cx:pt>
          <cx:pt idx="3504">0</cx:pt>
          <cx:pt idx="3505">0</cx:pt>
          <cx:pt idx="3506">0</cx:pt>
          <cx:pt idx="3507">0</cx:pt>
          <cx:pt idx="3508">0</cx:pt>
          <cx:pt idx="3509">0</cx:pt>
          <cx:pt idx="3510">0</cx:pt>
          <cx:pt idx="3511">0</cx:pt>
          <cx:pt idx="3512">0</cx:pt>
          <cx:pt idx="3513">0</cx:pt>
          <cx:pt idx="3514">0</cx:pt>
          <cx:pt idx="3515">0</cx:pt>
          <cx:pt idx="3516">0</cx:pt>
          <cx:pt idx="3517">0</cx:pt>
          <cx:pt idx="3518">0</cx:pt>
          <cx:pt idx="3519">0</cx:pt>
          <cx:pt idx="3520">0</cx:pt>
          <cx:pt idx="3521">0</cx:pt>
          <cx:pt idx="3522">0</cx:pt>
          <cx:pt idx="3523">0</cx:pt>
          <cx:pt idx="3524">0</cx:pt>
          <cx:pt idx="3525">0</cx:pt>
          <cx:pt idx="3526">0</cx:pt>
          <cx:pt idx="3527">0</cx:pt>
          <cx:pt idx="3528">0</cx:pt>
          <cx:pt idx="3529">0</cx:pt>
          <cx:pt idx="3530">0</cx:pt>
          <cx:pt idx="3531">0</cx:pt>
          <cx:pt idx="3532">0</cx:pt>
          <cx:pt idx="3533">0</cx:pt>
          <cx:pt idx="3534">0</cx:pt>
          <cx:pt idx="3535">0</cx:pt>
          <cx:pt idx="3536">0</cx:pt>
          <cx:pt idx="3537">0</cx:pt>
          <cx:pt idx="3538">0</cx:pt>
          <cx:pt idx="3539">0</cx:pt>
          <cx:pt idx="3540">0</cx:pt>
          <cx:pt idx="3541">0</cx:pt>
          <cx:pt idx="3542">0</cx:pt>
          <cx:pt idx="3543">0</cx:pt>
          <cx:pt idx="3544">0</cx:pt>
          <cx:pt idx="3545">0</cx:pt>
          <cx:pt idx="3546">0</cx:pt>
          <cx:pt idx="3547">0</cx:pt>
          <cx:pt idx="3548">0</cx:pt>
          <cx:pt idx="3549">0</cx:pt>
          <cx:pt idx="3550">0</cx:pt>
          <cx:pt idx="3551">0</cx:pt>
          <cx:pt idx="3552">0</cx:pt>
          <cx:pt idx="3553">0</cx:pt>
          <cx:pt idx="3554">0</cx:pt>
          <cx:pt idx="3555">0</cx:pt>
          <cx:pt idx="3556">0</cx:pt>
          <cx:pt idx="3557">0</cx:pt>
          <cx:pt idx="3558">0</cx:pt>
          <cx:pt idx="3559">0</cx:pt>
          <cx:pt idx="3560">0</cx:pt>
          <cx:pt idx="3561">0</cx:pt>
          <cx:pt idx="3562">0</cx:pt>
          <cx:pt idx="3563">0</cx:pt>
          <cx:pt idx="3564">0</cx:pt>
          <cx:pt idx="3565">0</cx:pt>
          <cx:pt idx="3566">0</cx:pt>
          <cx:pt idx="3567">0</cx:pt>
          <cx:pt idx="3568">0</cx:pt>
          <cx:pt idx="3569">0</cx:pt>
          <cx:pt idx="3570">0</cx:pt>
          <cx:pt idx="3571">0</cx:pt>
          <cx:pt idx="3572">0</cx:pt>
          <cx:pt idx="3573">0</cx:pt>
          <cx:pt idx="3574">0</cx:pt>
          <cx:pt idx="3575">0</cx:pt>
          <cx:pt idx="3576">0</cx:pt>
          <cx:pt idx="3577">0</cx:pt>
          <cx:pt idx="3578">0</cx:pt>
          <cx:pt idx="3579">0</cx:pt>
          <cx:pt idx="3580">0</cx:pt>
          <cx:pt idx="3581">0</cx:pt>
          <cx:pt idx="3582">0</cx:pt>
          <cx:pt idx="3583">0</cx:pt>
          <cx:pt idx="3584">0</cx:pt>
          <cx:pt idx="3585">0</cx:pt>
          <cx:pt idx="3586">0</cx:pt>
          <cx:pt idx="3587">0</cx:pt>
          <cx:pt idx="3588">0</cx:pt>
          <cx:pt idx="3589">0</cx:pt>
          <cx:pt idx="3590">0</cx:pt>
          <cx:pt idx="3591">0</cx:pt>
          <cx:pt idx="3592">0</cx:pt>
          <cx:pt idx="3593">0</cx:pt>
          <cx:pt idx="3594">0</cx:pt>
          <cx:pt idx="3595">0</cx:pt>
          <cx:pt idx="3596">0</cx:pt>
          <cx:pt idx="3597">0</cx:pt>
          <cx:pt idx="3598">0</cx:pt>
          <cx:pt idx="3599">0</cx:pt>
          <cx:pt idx="3600">0</cx:pt>
          <cx:pt idx="3601">0</cx:pt>
          <cx:pt idx="3602">0</cx:pt>
          <cx:pt idx="3603">0</cx:pt>
          <cx:pt idx="3604">0</cx:pt>
          <cx:pt idx="3605">0</cx:pt>
          <cx:pt idx="3606">0</cx:pt>
          <cx:pt idx="3607">0</cx:pt>
          <cx:pt idx="3608">0</cx:pt>
          <cx:pt idx="3609">0</cx:pt>
          <cx:pt idx="3610">0</cx:pt>
          <cx:pt idx="3611">0</cx:pt>
          <cx:pt idx="3612">0</cx:pt>
          <cx:pt idx="3613">0</cx:pt>
          <cx:pt idx="3614">0</cx:pt>
          <cx:pt idx="3615">0</cx:pt>
          <cx:pt idx="3616">0</cx:pt>
          <cx:pt idx="3617">0</cx:pt>
          <cx:pt idx="3618">0</cx:pt>
          <cx:pt idx="3619">0</cx:pt>
          <cx:pt idx="3620">0</cx:pt>
          <cx:pt idx="3621">0</cx:pt>
          <cx:pt idx="3622">0</cx:pt>
          <cx:pt idx="3623">0</cx:pt>
          <cx:pt idx="3624">0</cx:pt>
          <cx:pt idx="3625">0</cx:pt>
          <cx:pt idx="3626">0</cx:pt>
          <cx:pt idx="3627">0</cx:pt>
          <cx:pt idx="3628">0</cx:pt>
          <cx:pt idx="3629">0</cx:pt>
          <cx:pt idx="3630">0</cx:pt>
          <cx:pt idx="3631">0</cx:pt>
          <cx:pt idx="3632">0</cx:pt>
          <cx:pt idx="3633">0</cx:pt>
          <cx:pt idx="3634">0</cx:pt>
          <cx:pt idx="3635">0</cx:pt>
          <cx:pt idx="3636">0</cx:pt>
          <cx:pt idx="3637">0</cx:pt>
          <cx:pt idx="3638">0</cx:pt>
          <cx:pt idx="3639">0</cx:pt>
          <cx:pt idx="3640">0</cx:pt>
          <cx:pt idx="3641">0</cx:pt>
          <cx:pt idx="3642">0</cx:pt>
          <cx:pt idx="3643">0</cx:pt>
          <cx:pt idx="3644">0</cx:pt>
          <cx:pt idx="3645">0</cx:pt>
          <cx:pt idx="3646">0</cx:pt>
          <cx:pt idx="3647">0</cx:pt>
          <cx:pt idx="3648">0</cx:pt>
          <cx:pt idx="3649">0</cx:pt>
          <cx:pt idx="3650">0</cx:pt>
          <cx:pt idx="3651">0</cx:pt>
          <cx:pt idx="3652">0</cx:pt>
          <cx:pt idx="3653">0</cx:pt>
          <cx:pt idx="3654">0</cx:pt>
          <cx:pt idx="3655">0</cx:pt>
          <cx:pt idx="3656">0</cx:pt>
          <cx:pt idx="3657">0</cx:pt>
          <cx:pt idx="3658">0</cx:pt>
          <cx:pt idx="3659">0</cx:pt>
          <cx:pt idx="3660">0</cx:pt>
          <cx:pt idx="3661">0</cx:pt>
          <cx:pt idx="3662">0</cx:pt>
          <cx:pt idx="3663">0</cx:pt>
          <cx:pt idx="3664">0</cx:pt>
          <cx:pt idx="3665">0</cx:pt>
          <cx:pt idx="3666">0</cx:pt>
          <cx:pt idx="3667">0</cx:pt>
          <cx:pt idx="3668">0</cx:pt>
          <cx:pt idx="3669">0</cx:pt>
          <cx:pt idx="3670">0</cx:pt>
          <cx:pt idx="3671">0</cx:pt>
          <cx:pt idx="3672">0</cx:pt>
          <cx:pt idx="3673">0</cx:pt>
          <cx:pt idx="3674">0</cx:pt>
          <cx:pt idx="3675">0</cx:pt>
          <cx:pt idx="3676">0</cx:pt>
          <cx:pt idx="3677">0</cx:pt>
          <cx:pt idx="3678">0</cx:pt>
          <cx:pt idx="3679">0</cx:pt>
          <cx:pt idx="3680">0</cx:pt>
          <cx:pt idx="3681">0</cx:pt>
          <cx:pt idx="3682">0</cx:pt>
          <cx:pt idx="3683">0</cx:pt>
          <cx:pt idx="3684">0</cx:pt>
          <cx:pt idx="3685">0</cx:pt>
          <cx:pt idx="3686">0</cx:pt>
          <cx:pt idx="3687">0</cx:pt>
          <cx:pt idx="3688">0</cx:pt>
          <cx:pt idx="3689">0</cx:pt>
          <cx:pt idx="3690">0</cx:pt>
          <cx:pt idx="3691">0</cx:pt>
          <cx:pt idx="3692">0</cx:pt>
          <cx:pt idx="3693">0</cx:pt>
          <cx:pt idx="3694">0</cx:pt>
          <cx:pt idx="3695">0</cx:pt>
          <cx:pt idx="3696">0</cx:pt>
          <cx:pt idx="3697">0</cx:pt>
          <cx:pt idx="3698">0</cx:pt>
          <cx:pt idx="3699">0</cx:pt>
          <cx:pt idx="3700">0</cx:pt>
          <cx:pt idx="3701">0</cx:pt>
          <cx:pt idx="3702">0</cx:pt>
          <cx:pt idx="3703">0</cx:pt>
          <cx:pt idx="3704">0</cx:pt>
          <cx:pt idx="3705">0</cx:pt>
          <cx:pt idx="3706">0</cx:pt>
          <cx:pt idx="3707">0</cx:pt>
          <cx:pt idx="3708">0</cx:pt>
          <cx:pt idx="3709">0</cx:pt>
          <cx:pt idx="3710">0</cx:pt>
          <cx:pt idx="3711">0</cx:pt>
          <cx:pt idx="3712">0</cx:pt>
          <cx:pt idx="3713">0</cx:pt>
          <cx:pt idx="3714">0</cx:pt>
          <cx:pt idx="3715">0</cx:pt>
          <cx:pt idx="3716">0</cx:pt>
          <cx:pt idx="3717">0</cx:pt>
          <cx:pt idx="3718">0</cx:pt>
          <cx:pt idx="3719">0</cx:pt>
          <cx:pt idx="3720">0</cx:pt>
          <cx:pt idx="3721">0</cx:pt>
          <cx:pt idx="3722">0</cx:pt>
          <cx:pt idx="3723">0</cx:pt>
          <cx:pt idx="3724">0</cx:pt>
          <cx:pt idx="3725">0</cx:pt>
          <cx:pt idx="3726">0</cx:pt>
          <cx:pt idx="3727">0</cx:pt>
          <cx:pt idx="3728">0</cx:pt>
          <cx:pt idx="3729">0</cx:pt>
          <cx:pt idx="3730">0</cx:pt>
          <cx:pt idx="3731">0</cx:pt>
          <cx:pt idx="3732">0</cx:pt>
          <cx:pt idx="3733">0</cx:pt>
          <cx:pt idx="3734">0</cx:pt>
          <cx:pt idx="3735">0</cx:pt>
          <cx:pt idx="3736">0</cx:pt>
          <cx:pt idx="3737">0</cx:pt>
          <cx:pt idx="3738">0</cx:pt>
          <cx:pt idx="3739">0</cx:pt>
          <cx:pt idx="3740">0</cx:pt>
          <cx:pt idx="3741">0</cx:pt>
          <cx:pt idx="3742">0</cx:pt>
          <cx:pt idx="3743">0</cx:pt>
          <cx:pt idx="3744">0</cx:pt>
          <cx:pt idx="3745">0</cx:pt>
          <cx:pt idx="3746">0</cx:pt>
          <cx:pt idx="3747">0</cx:pt>
          <cx:pt idx="3748">0</cx:pt>
          <cx:pt idx="3749">0</cx:pt>
          <cx:pt idx="3750">0</cx:pt>
          <cx:pt idx="3751">0</cx:pt>
          <cx:pt idx="3752">0</cx:pt>
          <cx:pt idx="3753">0</cx:pt>
          <cx:pt idx="3754">0</cx:pt>
          <cx:pt idx="3755">0</cx:pt>
          <cx:pt idx="3756">0</cx:pt>
          <cx:pt idx="3757">0</cx:pt>
          <cx:pt idx="3758">0</cx:pt>
          <cx:pt idx="3759">0</cx:pt>
          <cx:pt idx="3760">0</cx:pt>
          <cx:pt idx="3761">0</cx:pt>
          <cx:pt idx="3762">0</cx:pt>
          <cx:pt idx="3763">0</cx:pt>
          <cx:pt idx="3764">0</cx:pt>
          <cx:pt idx="3765">0</cx:pt>
          <cx:pt idx="3766">0</cx:pt>
          <cx:pt idx="3767">0</cx:pt>
          <cx:pt idx="3768">0</cx:pt>
          <cx:pt idx="3769">0</cx:pt>
          <cx:pt idx="3770">0</cx:pt>
          <cx:pt idx="3771">0</cx:pt>
          <cx:pt idx="3772">0</cx:pt>
          <cx:pt idx="3773">0</cx:pt>
          <cx:pt idx="3774">0</cx:pt>
          <cx:pt idx="3775">0</cx:pt>
          <cx:pt idx="3776">0</cx:pt>
          <cx:pt idx="3777">0</cx:pt>
          <cx:pt idx="3778">0</cx:pt>
          <cx:pt idx="3779">0</cx:pt>
          <cx:pt idx="3780">0</cx:pt>
          <cx:pt idx="3781">0</cx:pt>
          <cx:pt idx="3782">0</cx:pt>
          <cx:pt idx="3783">0</cx:pt>
          <cx:pt idx="3784">0</cx:pt>
          <cx:pt idx="3785">0</cx:pt>
          <cx:pt idx="3786">0</cx:pt>
          <cx:pt idx="3787">0</cx:pt>
          <cx:pt idx="3788">0</cx:pt>
          <cx:pt idx="3789">0</cx:pt>
          <cx:pt idx="3790">0</cx:pt>
          <cx:pt idx="3791">0</cx:pt>
          <cx:pt idx="3792">0</cx:pt>
          <cx:pt idx="3793">0</cx:pt>
          <cx:pt idx="3794">0</cx:pt>
          <cx:pt idx="3795">0</cx:pt>
          <cx:pt idx="3796">0</cx:pt>
          <cx:pt idx="3797">0</cx:pt>
          <cx:pt idx="3798">0</cx:pt>
          <cx:pt idx="3799">0</cx:pt>
          <cx:pt idx="3800">0</cx:pt>
          <cx:pt idx="3801">0</cx:pt>
          <cx:pt idx="3802">0</cx:pt>
          <cx:pt idx="3803">0</cx:pt>
          <cx:pt idx="3804">0</cx:pt>
          <cx:pt idx="3805">0</cx:pt>
          <cx:pt idx="3806">0</cx:pt>
          <cx:pt idx="3807">0</cx:pt>
          <cx:pt idx="3808">0</cx:pt>
          <cx:pt idx="3809">0</cx:pt>
          <cx:pt idx="3810">0</cx:pt>
          <cx:pt idx="3811">0</cx:pt>
          <cx:pt idx="3812">0</cx:pt>
          <cx:pt idx="3813">0</cx:pt>
          <cx:pt idx="3814">0</cx:pt>
          <cx:pt idx="3815">0</cx:pt>
          <cx:pt idx="3816">0</cx:pt>
          <cx:pt idx="3817">0</cx:pt>
          <cx:pt idx="3818">0</cx:pt>
          <cx:pt idx="3819">0</cx:pt>
          <cx:pt idx="3820">0</cx:pt>
          <cx:pt idx="3821">0</cx:pt>
          <cx:pt idx="3822">0</cx:pt>
          <cx:pt idx="3823">0</cx:pt>
          <cx:pt idx="3824">0</cx:pt>
          <cx:pt idx="3825">0</cx:pt>
          <cx:pt idx="3826">0</cx:pt>
          <cx:pt idx="3827">0</cx:pt>
          <cx:pt idx="3828">0</cx:pt>
          <cx:pt idx="3829">0</cx:pt>
          <cx:pt idx="3830">0</cx:pt>
          <cx:pt idx="3831">0</cx:pt>
          <cx:pt idx="3832">0</cx:pt>
          <cx:pt idx="3833">0</cx:pt>
          <cx:pt idx="3834">0</cx:pt>
          <cx:pt idx="3835">0</cx:pt>
          <cx:pt idx="3836">0</cx:pt>
          <cx:pt idx="3837">0</cx:pt>
          <cx:pt idx="3838">0</cx:pt>
          <cx:pt idx="3839">0</cx:pt>
          <cx:pt idx="3840">0</cx:pt>
          <cx:pt idx="3841">0</cx:pt>
          <cx:pt idx="3842">0</cx:pt>
          <cx:pt idx="3843">0</cx:pt>
          <cx:pt idx="3844">0</cx:pt>
          <cx:pt idx="3845">0</cx:pt>
          <cx:pt idx="3846">0</cx:pt>
          <cx:pt idx="3847">0</cx:pt>
          <cx:pt idx="3848">0</cx:pt>
          <cx:pt idx="3849">0</cx:pt>
          <cx:pt idx="3850">0</cx:pt>
          <cx:pt idx="3851">0</cx:pt>
          <cx:pt idx="3852">0</cx:pt>
          <cx:pt idx="3853">0</cx:pt>
          <cx:pt idx="3854">0</cx:pt>
          <cx:pt idx="3855">0</cx:pt>
          <cx:pt idx="3856">0</cx:pt>
          <cx:pt idx="3857">0</cx:pt>
          <cx:pt idx="3858">0</cx:pt>
          <cx:pt idx="3859">0</cx:pt>
          <cx:pt idx="3860">0</cx:pt>
          <cx:pt idx="3861">0</cx:pt>
          <cx:pt idx="3862">0</cx:pt>
          <cx:pt idx="3863">0</cx:pt>
          <cx:pt idx="3864">0</cx:pt>
          <cx:pt idx="3865">0</cx:pt>
          <cx:pt idx="3866">0</cx:pt>
          <cx:pt idx="3867">0</cx:pt>
          <cx:pt idx="3868">0</cx:pt>
          <cx:pt idx="3869">0</cx:pt>
          <cx:pt idx="3870">0</cx:pt>
          <cx:pt idx="3871">0</cx:pt>
          <cx:pt idx="3872">0</cx:pt>
          <cx:pt idx="3873">0</cx:pt>
          <cx:pt idx="3874">0</cx:pt>
          <cx:pt idx="3875">0</cx:pt>
          <cx:pt idx="3876">0</cx:pt>
          <cx:pt idx="3877">0</cx:pt>
          <cx:pt idx="3878">0</cx:pt>
          <cx:pt idx="3879">0</cx:pt>
          <cx:pt idx="3880">0</cx:pt>
          <cx:pt idx="3881">0</cx:pt>
          <cx:pt idx="3882">0</cx:pt>
          <cx:pt idx="3883">0</cx:pt>
          <cx:pt idx="3884">0</cx:pt>
          <cx:pt idx="3885">0</cx:pt>
          <cx:pt idx="3886">0</cx:pt>
          <cx:pt idx="3887">0</cx:pt>
          <cx:pt idx="3888">0</cx:pt>
          <cx:pt idx="3889">0</cx:pt>
          <cx:pt idx="3890">0</cx:pt>
          <cx:pt idx="3891">0</cx:pt>
          <cx:pt idx="3892">0</cx:pt>
          <cx:pt idx="3893">0</cx:pt>
          <cx:pt idx="3894">0</cx:pt>
          <cx:pt idx="3895">0</cx:pt>
          <cx:pt idx="3896">0</cx:pt>
          <cx:pt idx="3897">0</cx:pt>
          <cx:pt idx="3898">0</cx:pt>
          <cx:pt idx="3899">0</cx:pt>
          <cx:pt idx="3900">0</cx:pt>
          <cx:pt idx="3901">0</cx:pt>
          <cx:pt idx="3902">0</cx:pt>
          <cx:pt idx="3903">0</cx:pt>
          <cx:pt idx="3904">0</cx:pt>
          <cx:pt idx="3905">0</cx:pt>
          <cx:pt idx="3906">0</cx:pt>
          <cx:pt idx="3907">0</cx:pt>
          <cx:pt idx="3908">0</cx:pt>
          <cx:pt idx="3909">0</cx:pt>
          <cx:pt idx="3910">0</cx:pt>
          <cx:pt idx="3911">0</cx:pt>
          <cx:pt idx="3912">0</cx:pt>
          <cx:pt idx="3913">0</cx:pt>
          <cx:pt idx="3914">0</cx:pt>
          <cx:pt idx="3915">0</cx:pt>
          <cx:pt idx="3916">0</cx:pt>
          <cx:pt idx="3917">0</cx:pt>
          <cx:pt idx="3918">0</cx:pt>
          <cx:pt idx="3919">0</cx:pt>
          <cx:pt idx="3920">0</cx:pt>
          <cx:pt idx="3921">0</cx:pt>
          <cx:pt idx="3922">0</cx:pt>
          <cx:pt idx="3923">0</cx:pt>
          <cx:pt idx="3924">0</cx:pt>
          <cx:pt idx="3925">0</cx:pt>
          <cx:pt idx="3926">0</cx:pt>
          <cx:pt idx="3927">0</cx:pt>
          <cx:pt idx="3928">0</cx:pt>
          <cx:pt idx="3929">0</cx:pt>
          <cx:pt idx="3930">0</cx:pt>
          <cx:pt idx="3931">0</cx:pt>
          <cx:pt idx="3932">0</cx:pt>
          <cx:pt idx="3933">0</cx:pt>
          <cx:pt idx="3934">0</cx:pt>
          <cx:pt idx="3935">0</cx:pt>
          <cx:pt idx="3936">0</cx:pt>
          <cx:pt idx="3937">0</cx:pt>
          <cx:pt idx="3938">0</cx:pt>
          <cx:pt idx="3939">0</cx:pt>
          <cx:pt idx="3940">0</cx:pt>
          <cx:pt idx="3941">0</cx:pt>
          <cx:pt idx="3942">0</cx:pt>
          <cx:pt idx="3943">0</cx:pt>
          <cx:pt idx="3944">0</cx:pt>
          <cx:pt idx="3945">0</cx:pt>
          <cx:pt idx="3946">0</cx:pt>
          <cx:pt idx="3947">0</cx:pt>
          <cx:pt idx="3948">0</cx:pt>
          <cx:pt idx="3949">0</cx:pt>
          <cx:pt idx="3950">0</cx:pt>
          <cx:pt idx="3951">0</cx:pt>
          <cx:pt idx="3952">0</cx:pt>
          <cx:pt idx="3953">0</cx:pt>
          <cx:pt idx="3954">0</cx:pt>
          <cx:pt idx="3955">0</cx:pt>
          <cx:pt idx="3956">0</cx:pt>
          <cx:pt idx="3957">0</cx:pt>
          <cx:pt idx="3958">0</cx:pt>
          <cx:pt idx="3959">0</cx:pt>
          <cx:pt idx="3960">0</cx:pt>
          <cx:pt idx="3961">0</cx:pt>
          <cx:pt idx="3962">0</cx:pt>
          <cx:pt idx="3963">0</cx:pt>
          <cx:pt idx="3964">0</cx:pt>
          <cx:pt idx="3965">0</cx:pt>
          <cx:pt idx="3966">0</cx:pt>
          <cx:pt idx="3967">0</cx:pt>
          <cx:pt idx="3968">0</cx:pt>
          <cx:pt idx="3969">0</cx:pt>
          <cx:pt idx="3970">0</cx:pt>
          <cx:pt idx="3971">0</cx:pt>
          <cx:pt idx="3972">0</cx:pt>
          <cx:pt idx="3973">0</cx:pt>
          <cx:pt idx="3974">0</cx:pt>
          <cx:pt idx="3975">0</cx:pt>
          <cx:pt idx="3976">0</cx:pt>
          <cx:pt idx="3977">0</cx:pt>
          <cx:pt idx="3978">0</cx:pt>
          <cx:pt idx="3979">0</cx:pt>
          <cx:pt idx="3980">0</cx:pt>
          <cx:pt idx="3981">0</cx:pt>
          <cx:pt idx="3982">0</cx:pt>
          <cx:pt idx="3983">0</cx:pt>
          <cx:pt idx="3984">0</cx:pt>
          <cx:pt idx="3985">0</cx:pt>
          <cx:pt idx="3986">0</cx:pt>
          <cx:pt idx="3987">0</cx:pt>
          <cx:pt idx="3988">0</cx:pt>
          <cx:pt idx="3989">0</cx:pt>
          <cx:pt idx="3990">0</cx:pt>
          <cx:pt idx="3991">0</cx:pt>
          <cx:pt idx="3992">0</cx:pt>
          <cx:pt idx="3993">0</cx:pt>
          <cx:pt idx="3994">0</cx:pt>
          <cx:pt idx="3995">0</cx:pt>
          <cx:pt idx="3996">0</cx:pt>
          <cx:pt idx="3997">0</cx:pt>
          <cx:pt idx="3998">0</cx:pt>
          <cx:pt idx="3999">0</cx:pt>
          <cx:pt idx="4000">0</cx:pt>
          <cx:pt idx="4001">0</cx:pt>
          <cx:pt idx="4002">0</cx:pt>
          <cx:pt idx="4003">0</cx:pt>
          <cx:pt idx="4004">0</cx:pt>
          <cx:pt idx="4005">0</cx:pt>
          <cx:pt idx="4006">0</cx:pt>
          <cx:pt idx="4007">0</cx:pt>
          <cx:pt idx="4008">0</cx:pt>
          <cx:pt idx="4009">0</cx:pt>
          <cx:pt idx="4010">0</cx:pt>
          <cx:pt idx="4011">0</cx:pt>
          <cx:pt idx="4012">0</cx:pt>
          <cx:pt idx="4013">0</cx:pt>
          <cx:pt idx="4014">0</cx:pt>
          <cx:pt idx="4015">0</cx:pt>
          <cx:pt idx="4016">0</cx:pt>
          <cx:pt idx="4017">0</cx:pt>
          <cx:pt idx="4018">0</cx:pt>
          <cx:pt idx="4019">0</cx:pt>
          <cx:pt idx="4020">0</cx:pt>
          <cx:pt idx="4021">0</cx:pt>
          <cx:pt idx="4022">0</cx:pt>
          <cx:pt idx="4023">0</cx:pt>
          <cx:pt idx="4024">0</cx:pt>
          <cx:pt idx="4025">0</cx:pt>
          <cx:pt idx="4026">0</cx:pt>
          <cx:pt idx="4027">0</cx:pt>
          <cx:pt idx="4028">0</cx:pt>
          <cx:pt idx="4029">0</cx:pt>
          <cx:pt idx="4030">0</cx:pt>
          <cx:pt idx="4031">0</cx:pt>
          <cx:pt idx="4032">0</cx:pt>
          <cx:pt idx="4033">0</cx:pt>
          <cx:pt idx="4034">0</cx:pt>
          <cx:pt idx="4035">0</cx:pt>
          <cx:pt idx="4036">0</cx:pt>
          <cx:pt idx="4037">0</cx:pt>
          <cx:pt idx="4038">0</cx:pt>
          <cx:pt idx="4039">0</cx:pt>
          <cx:pt idx="4040">0</cx:pt>
          <cx:pt idx="4041">0</cx:pt>
          <cx:pt idx="4042">0</cx:pt>
          <cx:pt idx="4043">0</cx:pt>
          <cx:pt idx="4044">0</cx:pt>
          <cx:pt idx="4045">0</cx:pt>
          <cx:pt idx="4046">0</cx:pt>
          <cx:pt idx="4047">0</cx:pt>
          <cx:pt idx="4048">0</cx:pt>
          <cx:pt idx="4049">0</cx:pt>
          <cx:pt idx="4050">0</cx:pt>
          <cx:pt idx="4051">0</cx:pt>
          <cx:pt idx="4052">0</cx:pt>
          <cx:pt idx="4053">0</cx:pt>
          <cx:pt idx="4054">0</cx:pt>
          <cx:pt idx="4055">0</cx:pt>
          <cx:pt idx="4056">0</cx:pt>
          <cx:pt idx="4057">0</cx:pt>
          <cx:pt idx="4058">0</cx:pt>
          <cx:pt idx="4059">0</cx:pt>
          <cx:pt idx="4060">0</cx:pt>
          <cx:pt idx="4061">0</cx:pt>
          <cx:pt idx="4062">0</cx:pt>
          <cx:pt idx="4063">0</cx:pt>
          <cx:pt idx="4064">0</cx:pt>
          <cx:pt idx="4065">0</cx:pt>
          <cx:pt idx="4066">0</cx:pt>
          <cx:pt idx="4067">0</cx:pt>
          <cx:pt idx="4068">0</cx:pt>
          <cx:pt idx="4069">0</cx:pt>
          <cx:pt idx="4070">0</cx:pt>
          <cx:pt idx="4071">0</cx:pt>
          <cx:pt idx="4072">0</cx:pt>
          <cx:pt idx="4073">0</cx:pt>
          <cx:pt idx="4074">0</cx:pt>
          <cx:pt idx="4075">0</cx:pt>
          <cx:pt idx="4076">0</cx:pt>
          <cx:pt idx="4077">0</cx:pt>
          <cx:pt idx="4078">0</cx:pt>
          <cx:pt idx="4079">0</cx:pt>
          <cx:pt idx="4080">0</cx:pt>
          <cx:pt idx="4081">0</cx:pt>
          <cx:pt idx="4082">0</cx:pt>
          <cx:pt idx="4083">0</cx:pt>
          <cx:pt idx="4084">0</cx:pt>
          <cx:pt idx="4085">0</cx:pt>
          <cx:pt idx="4086">0</cx:pt>
          <cx:pt idx="4087">0</cx:pt>
          <cx:pt idx="4088">0</cx:pt>
          <cx:pt idx="4089">0</cx:pt>
          <cx:pt idx="4090">0</cx:pt>
          <cx:pt idx="4091">0</cx:pt>
          <cx:pt idx="4092">0</cx:pt>
          <cx:pt idx="4093">0</cx:pt>
          <cx:pt idx="4094">0</cx:pt>
          <cx:pt idx="4095">0</cx:pt>
          <cx:pt idx="4096">0</cx:pt>
          <cx:pt idx="4097">0</cx:pt>
          <cx:pt idx="4098">0</cx:pt>
          <cx:pt idx="4099">0</cx:pt>
          <cx:pt idx="4100">0</cx:pt>
          <cx:pt idx="4101">0</cx:pt>
          <cx:pt idx="4102">0</cx:pt>
          <cx:pt idx="4103">0</cx:pt>
          <cx:pt idx="4104">0</cx:pt>
          <cx:pt idx="4105">0</cx:pt>
          <cx:pt idx="4106">0</cx:pt>
          <cx:pt idx="4107">0</cx:pt>
          <cx:pt idx="4108">0</cx:pt>
          <cx:pt idx="4109">0</cx:pt>
          <cx:pt idx="4110">0</cx:pt>
          <cx:pt idx="4111">0</cx:pt>
          <cx:pt idx="4112">0</cx:pt>
          <cx:pt idx="4113">0</cx:pt>
          <cx:pt idx="4114">0</cx:pt>
          <cx:pt idx="4115">0</cx:pt>
          <cx:pt idx="4116">0</cx:pt>
          <cx:pt idx="4117">0</cx:pt>
          <cx:pt idx="4118">0</cx:pt>
          <cx:pt idx="4119">0</cx:pt>
          <cx:pt idx="4120">0</cx:pt>
          <cx:pt idx="4121">0</cx:pt>
          <cx:pt idx="4122">0</cx:pt>
          <cx:pt idx="4123">0</cx:pt>
          <cx:pt idx="4124">0</cx:pt>
          <cx:pt idx="4125">0</cx:pt>
          <cx:pt idx="4126">0</cx:pt>
          <cx:pt idx="4127">0</cx:pt>
          <cx:pt idx="4128">0</cx:pt>
          <cx:pt idx="4129">0</cx:pt>
          <cx:pt idx="4130">0</cx:pt>
          <cx:pt idx="4131">0</cx:pt>
          <cx:pt idx="4132">0</cx:pt>
          <cx:pt idx="4133">0</cx:pt>
          <cx:pt idx="4134">0</cx:pt>
          <cx:pt idx="4135">0</cx:pt>
          <cx:pt idx="4136">0</cx:pt>
          <cx:pt idx="4137">0</cx:pt>
          <cx:pt idx="4138">0</cx:pt>
          <cx:pt idx="4139">0</cx:pt>
          <cx:pt idx="4140">0</cx:pt>
          <cx:pt idx="4141">0</cx:pt>
          <cx:pt idx="4142">0</cx:pt>
          <cx:pt idx="4143">0</cx:pt>
          <cx:pt idx="4144">0</cx:pt>
          <cx:pt idx="4145">0</cx:pt>
          <cx:pt idx="4146">0</cx:pt>
          <cx:pt idx="4147">0</cx:pt>
          <cx:pt idx="4148">0</cx:pt>
          <cx:pt idx="4149">0</cx:pt>
          <cx:pt idx="4150">0</cx:pt>
          <cx:pt idx="4151">0</cx:pt>
          <cx:pt idx="4152">0</cx:pt>
          <cx:pt idx="4153">0</cx:pt>
          <cx:pt idx="4154">0</cx:pt>
          <cx:pt idx="4155">0</cx:pt>
          <cx:pt idx="4156">0</cx:pt>
          <cx:pt idx="4157">0</cx:pt>
          <cx:pt idx="4158">0</cx:pt>
          <cx:pt idx="4159">0</cx:pt>
          <cx:pt idx="4160">0</cx:pt>
          <cx:pt idx="4161">0</cx:pt>
          <cx:pt idx="4162">0</cx:pt>
          <cx:pt idx="4163">0</cx:pt>
          <cx:pt idx="4164">0</cx:pt>
          <cx:pt idx="4165">0</cx:pt>
          <cx:pt idx="4166">0</cx:pt>
          <cx:pt idx="4167">0</cx:pt>
          <cx:pt idx="4168">0</cx:pt>
          <cx:pt idx="4169">0</cx:pt>
          <cx:pt idx="4170">0</cx:pt>
          <cx:pt idx="4171">0</cx:pt>
          <cx:pt idx="4172">0</cx:pt>
          <cx:pt idx="4173">0</cx:pt>
          <cx:pt idx="4174">0</cx:pt>
          <cx:pt idx="4175">0</cx:pt>
          <cx:pt idx="4176">0</cx:pt>
          <cx:pt idx="4177">0</cx:pt>
          <cx:pt idx="4178">0</cx:pt>
          <cx:pt idx="4179">0</cx:pt>
          <cx:pt idx="4180">0</cx:pt>
          <cx:pt idx="4181">0</cx:pt>
          <cx:pt idx="4182">0</cx:pt>
          <cx:pt idx="4183">0</cx:pt>
          <cx:pt idx="4184">0</cx:pt>
          <cx:pt idx="4185">0</cx:pt>
          <cx:pt idx="4186">0</cx:pt>
          <cx:pt idx="4187">0</cx:pt>
          <cx:pt idx="4188">0</cx:pt>
          <cx:pt idx="4189">0</cx:pt>
          <cx:pt idx="4190">0</cx:pt>
          <cx:pt idx="4191">0</cx:pt>
          <cx:pt idx="4192">0</cx:pt>
          <cx:pt idx="4193">0</cx:pt>
          <cx:pt idx="4194">0</cx:pt>
          <cx:pt idx="4195">0</cx:pt>
          <cx:pt idx="4196">0</cx:pt>
          <cx:pt idx="4197">0</cx:pt>
          <cx:pt idx="4198">0</cx:pt>
          <cx:pt idx="4199">0</cx:pt>
          <cx:pt idx="4200">0</cx:pt>
          <cx:pt idx="4201">0</cx:pt>
          <cx:pt idx="4202">0</cx:pt>
          <cx:pt idx="4203">0</cx:pt>
          <cx:pt idx="4204">0</cx:pt>
          <cx:pt idx="4205">0</cx:pt>
          <cx:pt idx="4206">0</cx:pt>
          <cx:pt idx="4207">0</cx:pt>
          <cx:pt idx="4208">0</cx:pt>
          <cx:pt idx="4209">0</cx:pt>
          <cx:pt idx="4210">0</cx:pt>
          <cx:pt idx="4211">0</cx:pt>
          <cx:pt idx="4212">0</cx:pt>
          <cx:pt idx="4213">0</cx:pt>
          <cx:pt idx="4214">0</cx:pt>
          <cx:pt idx="4215">0</cx:pt>
          <cx:pt idx="4216">0</cx:pt>
          <cx:pt idx="4217">0</cx:pt>
          <cx:pt idx="4218">0</cx:pt>
          <cx:pt idx="4219">0</cx:pt>
          <cx:pt idx="4220">0</cx:pt>
          <cx:pt idx="4221">0</cx:pt>
          <cx:pt idx="4222">0</cx:pt>
          <cx:pt idx="4223">0</cx:pt>
          <cx:pt idx="4224">0</cx:pt>
          <cx:pt idx="4225">0</cx:pt>
          <cx:pt idx="4226">0</cx:pt>
          <cx:pt idx="4227">0</cx:pt>
          <cx:pt idx="4228">0</cx:pt>
          <cx:pt idx="4229">0</cx:pt>
          <cx:pt idx="4230">0</cx:pt>
          <cx:pt idx="4231">0</cx:pt>
          <cx:pt idx="4232">0</cx:pt>
          <cx:pt idx="4233">0</cx:pt>
          <cx:pt idx="4234">0</cx:pt>
          <cx:pt idx="4235">0</cx:pt>
          <cx:pt idx="4236">0</cx:pt>
          <cx:pt idx="4237">0</cx:pt>
          <cx:pt idx="4238">0</cx:pt>
          <cx:pt idx="4239">0</cx:pt>
          <cx:pt idx="4240">0</cx:pt>
          <cx:pt idx="4241">0</cx:pt>
          <cx:pt idx="4242">0</cx:pt>
          <cx:pt idx="4243">0</cx:pt>
          <cx:pt idx="4244">0</cx:pt>
          <cx:pt idx="4245">0</cx:pt>
          <cx:pt idx="4246">0</cx:pt>
          <cx:pt idx="4247">0</cx:pt>
          <cx:pt idx="4248">0</cx:pt>
          <cx:pt idx="4249">0</cx:pt>
          <cx:pt idx="4250">0</cx:pt>
          <cx:pt idx="4251">0</cx:pt>
          <cx:pt idx="4252">0</cx:pt>
          <cx:pt idx="4253">0</cx:pt>
          <cx:pt idx="4254">0</cx:pt>
          <cx:pt idx="4255">0</cx:pt>
          <cx:pt idx="4256">0</cx:pt>
          <cx:pt idx="4257">0</cx:pt>
          <cx:pt idx="4258">0</cx:pt>
          <cx:pt idx="4259">0</cx:pt>
          <cx:pt idx="4260">0</cx:pt>
          <cx:pt idx="4261">0</cx:pt>
          <cx:pt idx="4262">0</cx:pt>
          <cx:pt idx="4263">0</cx:pt>
          <cx:pt idx="4264">0</cx:pt>
          <cx:pt idx="4265">0</cx:pt>
          <cx:pt idx="4266">0</cx:pt>
          <cx:pt idx="4267">0</cx:pt>
          <cx:pt idx="4268">0</cx:pt>
          <cx:pt idx="4269">0</cx:pt>
          <cx:pt idx="4270">0</cx:pt>
          <cx:pt idx="4271">0</cx:pt>
          <cx:pt idx="4272">0</cx:pt>
          <cx:pt idx="4273">0</cx:pt>
          <cx:pt idx="4274">0</cx:pt>
          <cx:pt idx="4275">0</cx:pt>
          <cx:pt idx="4276">0</cx:pt>
          <cx:pt idx="4277">0</cx:pt>
          <cx:pt idx="4278">0</cx:pt>
          <cx:pt idx="4279">0</cx:pt>
          <cx:pt idx="4280">0</cx:pt>
          <cx:pt idx="4281">0</cx:pt>
          <cx:pt idx="4282">0</cx:pt>
          <cx:pt idx="4283">0</cx:pt>
          <cx:pt idx="4284">0</cx:pt>
          <cx:pt idx="4285">0</cx:pt>
          <cx:pt idx="4286">0</cx:pt>
          <cx:pt idx="4287">0</cx:pt>
          <cx:pt idx="4288">0</cx:pt>
          <cx:pt idx="4289">0</cx:pt>
          <cx:pt idx="4290">0</cx:pt>
          <cx:pt idx="4291">0</cx:pt>
          <cx:pt idx="4292">0</cx:pt>
          <cx:pt idx="4293">0</cx:pt>
          <cx:pt idx="4294">0</cx:pt>
          <cx:pt idx="4295">0</cx:pt>
          <cx:pt idx="4296">0</cx:pt>
          <cx:pt idx="4297">0</cx:pt>
          <cx:pt idx="4298">0</cx:pt>
          <cx:pt idx="4299">0</cx:pt>
          <cx:pt idx="4300">0</cx:pt>
          <cx:pt idx="4301">0</cx:pt>
          <cx:pt idx="4302">0</cx:pt>
          <cx:pt idx="4303">0</cx:pt>
          <cx:pt idx="4304">0</cx:pt>
          <cx:pt idx="4305">0</cx:pt>
          <cx:pt idx="4306">0</cx:pt>
          <cx:pt idx="4307">0</cx:pt>
          <cx:pt idx="4308">0</cx:pt>
          <cx:pt idx="4309">0</cx:pt>
          <cx:pt idx="4310">0</cx:pt>
          <cx:pt idx="4311">0</cx:pt>
          <cx:pt idx="4312">0</cx:pt>
          <cx:pt idx="4313">0</cx:pt>
          <cx:pt idx="4314">0</cx:pt>
          <cx:pt idx="4315">0</cx:pt>
          <cx:pt idx="4316">0</cx:pt>
          <cx:pt idx="4317">0</cx:pt>
          <cx:pt idx="4318">0</cx:pt>
          <cx:pt idx="4319">0</cx:pt>
          <cx:pt idx="4320">0</cx:pt>
          <cx:pt idx="4321">0</cx:pt>
          <cx:pt idx="4322">0</cx:pt>
          <cx:pt idx="4323">0</cx:pt>
          <cx:pt idx="4324">0</cx:pt>
          <cx:pt idx="4325">0</cx:pt>
          <cx:pt idx="4326">0</cx:pt>
          <cx:pt idx="4327">0</cx:pt>
          <cx:pt idx="4328">0</cx:pt>
          <cx:pt idx="4329">0</cx:pt>
          <cx:pt idx="4330">0</cx:pt>
          <cx:pt idx="4331">0</cx:pt>
          <cx:pt idx="4332">0</cx:pt>
          <cx:pt idx="4333">0</cx:pt>
          <cx:pt idx="4334">0</cx:pt>
          <cx:pt idx="4335">0</cx:pt>
          <cx:pt idx="4336">0</cx:pt>
          <cx:pt idx="4337">0</cx:pt>
          <cx:pt idx="4338">0</cx:pt>
          <cx:pt idx="4339">0</cx:pt>
          <cx:pt idx="4340">0</cx:pt>
          <cx:pt idx="4341">0</cx:pt>
          <cx:pt idx="4342">0</cx:pt>
          <cx:pt idx="4343">0</cx:pt>
          <cx:pt idx="4344">0</cx:pt>
          <cx:pt idx="4345">0</cx:pt>
          <cx:pt idx="4346">0</cx:pt>
          <cx:pt idx="4347">0</cx:pt>
          <cx:pt idx="4348">0</cx:pt>
          <cx:pt idx="4349">0</cx:pt>
          <cx:pt idx="4350">0</cx:pt>
          <cx:pt idx="4351">0</cx:pt>
          <cx:pt idx="4352">0</cx:pt>
          <cx:pt idx="4353">0</cx:pt>
          <cx:pt idx="4354">0</cx:pt>
          <cx:pt idx="4355">0</cx:pt>
          <cx:pt idx="4356">0</cx:pt>
          <cx:pt idx="4357">0</cx:pt>
          <cx:pt idx="4358">0</cx:pt>
          <cx:pt idx="4359">0</cx:pt>
          <cx:pt idx="4360">0</cx:pt>
          <cx:pt idx="4361">0</cx:pt>
          <cx:pt idx="4362">0</cx:pt>
          <cx:pt idx="4363">0</cx:pt>
          <cx:pt idx="4364">0</cx:pt>
          <cx:pt idx="4365">0</cx:pt>
          <cx:pt idx="4366">0</cx:pt>
          <cx:pt idx="4367">0</cx:pt>
          <cx:pt idx="4368">0</cx:pt>
          <cx:pt idx="4369">0</cx:pt>
          <cx:pt idx="4370">0</cx:pt>
          <cx:pt idx="4371">0</cx:pt>
          <cx:pt idx="4372">0</cx:pt>
          <cx:pt idx="4373">0</cx:pt>
          <cx:pt idx="4374">0</cx:pt>
          <cx:pt idx="4375">0</cx:pt>
          <cx:pt idx="4376">0</cx:pt>
          <cx:pt idx="4377">0</cx:pt>
          <cx:pt idx="4378">0</cx:pt>
          <cx:pt idx="4379">0</cx:pt>
          <cx:pt idx="4380">0</cx:pt>
          <cx:pt idx="4381">0</cx:pt>
          <cx:pt idx="4382">0</cx:pt>
          <cx:pt idx="4383">0</cx:pt>
          <cx:pt idx="4384">0</cx:pt>
          <cx:pt idx="4385">0</cx:pt>
          <cx:pt idx="4386">0</cx:pt>
          <cx:pt idx="4387">0</cx:pt>
          <cx:pt idx="4388">0</cx:pt>
          <cx:pt idx="4389">0</cx:pt>
          <cx:pt idx="4390">0</cx:pt>
          <cx:pt idx="4391">0</cx:pt>
          <cx:pt idx="4392">0</cx:pt>
          <cx:pt idx="4393">0</cx:pt>
          <cx:pt idx="4394">0</cx:pt>
          <cx:pt idx="4395">0</cx:pt>
          <cx:pt idx="4396">0</cx:pt>
          <cx:pt idx="4397">0</cx:pt>
          <cx:pt idx="4398">0</cx:pt>
          <cx:pt idx="4399">0</cx:pt>
          <cx:pt idx="4400">0</cx:pt>
          <cx:pt idx="4401">0</cx:pt>
          <cx:pt idx="4402">0</cx:pt>
          <cx:pt idx="4403">0</cx:pt>
          <cx:pt idx="4404">0</cx:pt>
          <cx:pt idx="4405">0</cx:pt>
          <cx:pt idx="4406">0</cx:pt>
          <cx:pt idx="4407">0</cx:pt>
          <cx:pt idx="4408">0</cx:pt>
          <cx:pt idx="4409">0</cx:pt>
          <cx:pt idx="4410">0</cx:pt>
          <cx:pt idx="4411">0</cx:pt>
          <cx:pt idx="4412">0</cx:pt>
          <cx:pt idx="4413">0</cx:pt>
          <cx:pt idx="4414">0</cx:pt>
          <cx:pt idx="4415">0</cx:pt>
          <cx:pt idx="4416">0</cx:pt>
          <cx:pt idx="4417">0</cx:pt>
          <cx:pt idx="4418">0</cx:pt>
          <cx:pt idx="4419">0</cx:pt>
          <cx:pt idx="4420">0</cx:pt>
          <cx:pt idx="4421">0</cx:pt>
          <cx:pt idx="4422">0</cx:pt>
          <cx:pt idx="4423">0</cx:pt>
          <cx:pt idx="4424">0</cx:pt>
          <cx:pt idx="4425">0</cx:pt>
          <cx:pt idx="4426">0</cx:pt>
          <cx:pt idx="4427">0</cx:pt>
          <cx:pt idx="4428">0</cx:pt>
          <cx:pt idx="4429">0</cx:pt>
          <cx:pt idx="4430">0</cx:pt>
          <cx:pt idx="4431">0</cx:pt>
          <cx:pt idx="4432">0</cx:pt>
          <cx:pt idx="4433">0</cx:pt>
          <cx:pt idx="4434">0</cx:pt>
          <cx:pt idx="4435">0</cx:pt>
          <cx:pt idx="4436">0</cx:pt>
          <cx:pt idx="4437">0</cx:pt>
          <cx:pt idx="4438">0</cx:pt>
          <cx:pt idx="4439">0</cx:pt>
          <cx:pt idx="4440">0</cx:pt>
          <cx:pt idx="4441">0</cx:pt>
          <cx:pt idx="4442">0</cx:pt>
          <cx:pt idx="4443">0</cx:pt>
          <cx:pt idx="4444">0</cx:pt>
          <cx:pt idx="4445">0</cx:pt>
          <cx:pt idx="4446">0</cx:pt>
          <cx:pt idx="4447">0</cx:pt>
          <cx:pt idx="4448">0</cx:pt>
          <cx:pt idx="4449">0</cx:pt>
          <cx:pt idx="4450">0</cx:pt>
          <cx:pt idx="4451">0</cx:pt>
          <cx:pt idx="4452">0</cx:pt>
          <cx:pt idx="4453">0</cx:pt>
          <cx:pt idx="4454">0</cx:pt>
          <cx:pt idx="4455">0</cx:pt>
          <cx:pt idx="4456">0</cx:pt>
          <cx:pt idx="4457">0</cx:pt>
          <cx:pt idx="4458">0</cx:pt>
          <cx:pt idx="4459">0</cx:pt>
          <cx:pt idx="4460">0</cx:pt>
          <cx:pt idx="4461">0</cx:pt>
          <cx:pt idx="4462">0</cx:pt>
          <cx:pt idx="4463">0</cx:pt>
          <cx:pt idx="4464">0</cx:pt>
          <cx:pt idx="4465">0</cx:pt>
          <cx:pt idx="4466">0</cx:pt>
          <cx:pt idx="4467">0</cx:pt>
          <cx:pt idx="4468">0</cx:pt>
          <cx:pt idx="4469">0</cx:pt>
          <cx:pt idx="4470">0</cx:pt>
          <cx:pt idx="4471">0</cx:pt>
          <cx:pt idx="4472">0</cx:pt>
          <cx:pt idx="4473">0</cx:pt>
          <cx:pt idx="4474">0</cx:pt>
          <cx:pt idx="4475">0</cx:pt>
          <cx:pt idx="4476">0</cx:pt>
          <cx:pt idx="4477">0</cx:pt>
          <cx:pt idx="4478">0</cx:pt>
          <cx:pt idx="4479">0</cx:pt>
          <cx:pt idx="4480">0</cx:pt>
          <cx:pt idx="4481">0</cx:pt>
          <cx:pt idx="4482">0</cx:pt>
          <cx:pt idx="4483">0</cx:pt>
          <cx:pt idx="4484">0</cx:pt>
          <cx:pt idx="4485">0</cx:pt>
          <cx:pt idx="4486">0</cx:pt>
          <cx:pt idx="4487">0</cx:pt>
          <cx:pt idx="4488">0</cx:pt>
          <cx:pt idx="4489">0</cx:pt>
          <cx:pt idx="4490">0</cx:pt>
          <cx:pt idx="4491">0</cx:pt>
          <cx:pt idx="4492">0</cx:pt>
          <cx:pt idx="4493">0</cx:pt>
          <cx:pt idx="4494">0</cx:pt>
          <cx:pt idx="4495">0</cx:pt>
          <cx:pt idx="4496">0</cx:pt>
          <cx:pt idx="4497">0</cx:pt>
          <cx:pt idx="4498">0</cx:pt>
          <cx:pt idx="4499">0</cx:pt>
          <cx:pt idx="4500">0</cx:pt>
          <cx:pt idx="4501">0</cx:pt>
          <cx:pt idx="4502">0</cx:pt>
          <cx:pt idx="4503">0</cx:pt>
          <cx:pt idx="4504">0</cx:pt>
          <cx:pt idx="4505">0</cx:pt>
          <cx:pt idx="4506">0</cx:pt>
          <cx:pt idx="4507">0</cx:pt>
          <cx:pt idx="4508">0</cx:pt>
          <cx:pt idx="4509">0</cx:pt>
          <cx:pt idx="4510">0</cx:pt>
          <cx:pt idx="4511">0</cx:pt>
          <cx:pt idx="4512">0</cx:pt>
          <cx:pt idx="4513">0</cx:pt>
          <cx:pt idx="4514">0</cx:pt>
          <cx:pt idx="4515">0</cx:pt>
          <cx:pt idx="4516">0</cx:pt>
          <cx:pt idx="4517">0</cx:pt>
          <cx:pt idx="4518">0</cx:pt>
          <cx:pt idx="4519">0</cx:pt>
          <cx:pt idx="4520">0</cx:pt>
          <cx:pt idx="4521">0</cx:pt>
          <cx:pt idx="4522">0</cx:pt>
          <cx:pt idx="4523">0</cx:pt>
          <cx:pt idx="4524">0</cx:pt>
          <cx:pt idx="4525">0</cx:pt>
          <cx:pt idx="4526">0</cx:pt>
          <cx:pt idx="4527">0</cx:pt>
          <cx:pt idx="4528">0</cx:pt>
          <cx:pt idx="4529">0</cx:pt>
          <cx:pt idx="4530">0</cx:pt>
          <cx:pt idx="4531">0</cx:pt>
          <cx:pt idx="4532">0</cx:pt>
          <cx:pt idx="4533">0</cx:pt>
          <cx:pt idx="4534">0</cx:pt>
          <cx:pt idx="4535">0</cx:pt>
          <cx:pt idx="4536">0</cx:pt>
          <cx:pt idx="4537">0</cx:pt>
          <cx:pt idx="4538">0</cx:pt>
          <cx:pt idx="4539">0</cx:pt>
          <cx:pt idx="4540">0</cx:pt>
          <cx:pt idx="4541">0</cx:pt>
          <cx:pt idx="4542">0</cx:pt>
          <cx:pt idx="4543">0</cx:pt>
          <cx:pt idx="4544">0</cx:pt>
          <cx:pt idx="4545">0</cx:pt>
          <cx:pt idx="4546">0</cx:pt>
          <cx:pt idx="4547">0</cx:pt>
          <cx:pt idx="4548">0</cx:pt>
          <cx:pt idx="4549">0</cx:pt>
          <cx:pt idx="4550">0</cx:pt>
          <cx:pt idx="4551">0</cx:pt>
          <cx:pt idx="4552">0</cx:pt>
          <cx:pt idx="4553">0</cx:pt>
          <cx:pt idx="4554">0</cx:pt>
          <cx:pt idx="4555">0</cx:pt>
          <cx:pt idx="4556">0</cx:pt>
          <cx:pt idx="4557">0</cx:pt>
          <cx:pt idx="4558">0</cx:pt>
          <cx:pt idx="4559">0</cx:pt>
          <cx:pt idx="4560">0</cx:pt>
          <cx:pt idx="4561">0</cx:pt>
          <cx:pt idx="4562">0</cx:pt>
          <cx:pt idx="4563">0</cx:pt>
          <cx:pt idx="4564">0</cx:pt>
          <cx:pt idx="4565">0</cx:pt>
          <cx:pt idx="4566">0</cx:pt>
          <cx:pt idx="4567">0</cx:pt>
          <cx:pt idx="4568">0</cx:pt>
          <cx:pt idx="4569">0</cx:pt>
          <cx:pt idx="4570">0</cx:pt>
          <cx:pt idx="4571">0</cx:pt>
          <cx:pt idx="4572">0</cx:pt>
          <cx:pt idx="4573">0</cx:pt>
          <cx:pt idx="4574">0</cx:pt>
          <cx:pt idx="4575">0</cx:pt>
          <cx:pt idx="4576">0</cx:pt>
          <cx:pt idx="4577">0</cx:pt>
          <cx:pt idx="4578">0</cx:pt>
          <cx:pt idx="4579">0</cx:pt>
          <cx:pt idx="4580">0</cx:pt>
          <cx:pt idx="4581">0</cx:pt>
          <cx:pt idx="4582">0</cx:pt>
          <cx:pt idx="4583">0</cx:pt>
          <cx:pt idx="4584">0</cx:pt>
          <cx:pt idx="4585">0</cx:pt>
          <cx:pt idx="4586">0</cx:pt>
          <cx:pt idx="4587">0</cx:pt>
          <cx:pt idx="4588">0</cx:pt>
          <cx:pt idx="4589">0</cx:pt>
          <cx:pt idx="4590">0</cx:pt>
          <cx:pt idx="4591">0</cx:pt>
          <cx:pt idx="4592">0</cx:pt>
          <cx:pt idx="4593">0</cx:pt>
          <cx:pt idx="4594">0</cx:pt>
          <cx:pt idx="4595">0</cx:pt>
          <cx:pt idx="4596">0</cx:pt>
          <cx:pt idx="4597">0</cx:pt>
          <cx:pt idx="4598">0</cx:pt>
          <cx:pt idx="4599">0</cx:pt>
          <cx:pt idx="4600">0</cx:pt>
          <cx:pt idx="4601">0</cx:pt>
          <cx:pt idx="4602">0</cx:pt>
          <cx:pt idx="4603">0</cx:pt>
          <cx:pt idx="4604">0</cx:pt>
          <cx:pt idx="4605">0</cx:pt>
          <cx:pt idx="4606">0</cx:pt>
          <cx:pt idx="4607">0</cx:pt>
          <cx:pt idx="4608">0</cx:pt>
          <cx:pt idx="4609">0</cx:pt>
          <cx:pt idx="4610">0</cx:pt>
          <cx:pt idx="4611">0</cx:pt>
          <cx:pt idx="4612">0</cx:pt>
          <cx:pt idx="4613">0</cx:pt>
          <cx:pt idx="4614">0</cx:pt>
          <cx:pt idx="4615">0</cx:pt>
          <cx:pt idx="4616">0</cx:pt>
          <cx:pt idx="4617">0</cx:pt>
          <cx:pt idx="4618">0</cx:pt>
          <cx:pt idx="4619">0</cx:pt>
          <cx:pt idx="4620">0</cx:pt>
          <cx:pt idx="4621">0</cx:pt>
          <cx:pt idx="4622">0</cx:pt>
          <cx:pt idx="4623">0</cx:pt>
          <cx:pt idx="4624">0</cx:pt>
          <cx:pt idx="4625">0</cx:pt>
          <cx:pt idx="4626">0</cx:pt>
          <cx:pt idx="4627">0</cx:pt>
          <cx:pt idx="4628">0</cx:pt>
          <cx:pt idx="4629">0</cx:pt>
          <cx:pt idx="4630">0</cx:pt>
          <cx:pt idx="4631">0</cx:pt>
          <cx:pt idx="4632">0</cx:pt>
          <cx:pt idx="4633">0</cx:pt>
          <cx:pt idx="4634">0</cx:pt>
          <cx:pt idx="4635">0</cx:pt>
          <cx:pt idx="4636">0</cx:pt>
          <cx:pt idx="4637">0</cx:pt>
          <cx:pt idx="4638">0</cx:pt>
          <cx:pt idx="4639">0</cx:pt>
          <cx:pt idx="4640">0</cx:pt>
          <cx:pt idx="4641">0</cx:pt>
          <cx:pt idx="4642">0</cx:pt>
          <cx:pt idx="4643">0</cx:pt>
          <cx:pt idx="4644">0</cx:pt>
          <cx:pt idx="4645">0</cx:pt>
          <cx:pt idx="4646">0</cx:pt>
          <cx:pt idx="4647">0</cx:pt>
          <cx:pt idx="4648">0</cx:pt>
          <cx:pt idx="4649">0</cx:pt>
          <cx:pt idx="4650">0</cx:pt>
          <cx:pt idx="4651">0</cx:pt>
          <cx:pt idx="4652">0</cx:pt>
          <cx:pt idx="4653">0</cx:pt>
          <cx:pt idx="4654">0</cx:pt>
          <cx:pt idx="4655">0</cx:pt>
          <cx:pt idx="4656">0</cx:pt>
          <cx:pt idx="4657">0</cx:pt>
          <cx:pt idx="4658">0</cx:pt>
          <cx:pt idx="4659">0</cx:pt>
          <cx:pt idx="4660">0</cx:pt>
          <cx:pt idx="4661">0</cx:pt>
          <cx:pt idx="4662">0</cx:pt>
          <cx:pt idx="4663">0</cx:pt>
          <cx:pt idx="4664">0</cx:pt>
          <cx:pt idx="4665">0</cx:pt>
          <cx:pt idx="4666">0</cx:pt>
          <cx:pt idx="4667">0</cx:pt>
          <cx:pt idx="4668">0</cx:pt>
          <cx:pt idx="4669">0</cx:pt>
          <cx:pt idx="4670">0</cx:pt>
          <cx:pt idx="4671">0</cx:pt>
          <cx:pt idx="4672">0</cx:pt>
          <cx:pt idx="4673">0</cx:pt>
          <cx:pt idx="4674">0</cx:pt>
          <cx:pt idx="4675">0</cx:pt>
          <cx:pt idx="4676">0</cx:pt>
          <cx:pt idx="4677">0</cx:pt>
          <cx:pt idx="4678">0</cx:pt>
          <cx:pt idx="4679">0</cx:pt>
          <cx:pt idx="4680">0</cx:pt>
          <cx:pt idx="4681">0</cx:pt>
          <cx:pt idx="4682">0</cx:pt>
          <cx:pt idx="4683">0</cx:pt>
          <cx:pt idx="4684">0</cx:pt>
          <cx:pt idx="4685">0</cx:pt>
          <cx:pt idx="4686">0</cx:pt>
          <cx:pt idx="4687">0</cx:pt>
          <cx:pt idx="4688">0</cx:pt>
          <cx:pt idx="4689">0</cx:pt>
          <cx:pt idx="4690">0</cx:pt>
          <cx:pt idx="4691">0</cx:pt>
          <cx:pt idx="4692">0</cx:pt>
          <cx:pt idx="4693">0</cx:pt>
          <cx:pt idx="4694">0</cx:pt>
          <cx:pt idx="4695">0</cx:pt>
          <cx:pt idx="4696">0</cx:pt>
          <cx:pt idx="4697">0</cx:pt>
          <cx:pt idx="4698">0</cx:pt>
          <cx:pt idx="4699">0</cx:pt>
          <cx:pt idx="4700">0</cx:pt>
          <cx:pt idx="4701">0</cx:pt>
          <cx:pt idx="4702">0</cx:pt>
          <cx:pt idx="4703">0</cx:pt>
          <cx:pt idx="4704">0</cx:pt>
          <cx:pt idx="4705">0</cx:pt>
          <cx:pt idx="4706">0</cx:pt>
          <cx:pt idx="4707">0</cx:pt>
          <cx:pt idx="4708">0</cx:pt>
          <cx:pt idx="4709">0</cx:pt>
          <cx:pt idx="4710">0</cx:pt>
          <cx:pt idx="4711">0</cx:pt>
          <cx:pt idx="4712">0</cx:pt>
          <cx:pt idx="4713">0</cx:pt>
          <cx:pt idx="4714">0</cx:pt>
          <cx:pt idx="4715">0</cx:pt>
          <cx:pt idx="4716">0</cx:pt>
          <cx:pt idx="4717">0</cx:pt>
          <cx:pt idx="4718">0</cx:pt>
          <cx:pt idx="4719">0</cx:pt>
          <cx:pt idx="4720">0</cx:pt>
          <cx:pt idx="4721">0</cx:pt>
          <cx:pt idx="4722">0</cx:pt>
          <cx:pt idx="4723">0</cx:pt>
          <cx:pt idx="4724">0</cx:pt>
          <cx:pt idx="4725">0</cx:pt>
          <cx:pt idx="4726">0</cx:pt>
          <cx:pt idx="4727">0</cx:pt>
          <cx:pt idx="4728">0</cx:pt>
          <cx:pt idx="4729">0</cx:pt>
          <cx:pt idx="4730">0</cx:pt>
          <cx:pt idx="4731">0</cx:pt>
          <cx:pt idx="4732">0</cx:pt>
          <cx:pt idx="4733">0</cx:pt>
          <cx:pt idx="4734">0</cx:pt>
          <cx:pt idx="4735">0</cx:pt>
          <cx:pt idx="4736">0</cx:pt>
          <cx:pt idx="4737">0</cx:pt>
          <cx:pt idx="4738">0</cx:pt>
          <cx:pt idx="4739">0</cx:pt>
          <cx:pt idx="4740">0</cx:pt>
          <cx:pt idx="4741">0</cx:pt>
          <cx:pt idx="4742">0</cx:pt>
          <cx:pt idx="4743">0</cx:pt>
          <cx:pt idx="4744">0</cx:pt>
          <cx:pt idx="4745">0</cx:pt>
          <cx:pt idx="4746">0</cx:pt>
          <cx:pt idx="4747">0</cx:pt>
          <cx:pt idx="4748">0</cx:pt>
          <cx:pt idx="4749">0</cx:pt>
          <cx:pt idx="4750">0</cx:pt>
          <cx:pt idx="4751">0</cx:pt>
          <cx:pt idx="4752">0</cx:pt>
          <cx:pt idx="4753">0</cx:pt>
          <cx:pt idx="4754">0</cx:pt>
          <cx:pt idx="4755">0</cx:pt>
          <cx:pt idx="4756">0</cx:pt>
          <cx:pt idx="4757">0</cx:pt>
          <cx:pt idx="4758">0</cx:pt>
          <cx:pt idx="4759">0</cx:pt>
          <cx:pt idx="4760">0</cx:pt>
          <cx:pt idx="4761">0</cx:pt>
          <cx:pt idx="4762">0</cx:pt>
          <cx:pt idx="4763">0</cx:pt>
          <cx:pt idx="4764">0</cx:pt>
          <cx:pt idx="4765">0</cx:pt>
          <cx:pt idx="4766">0</cx:pt>
          <cx:pt idx="4767">0</cx:pt>
          <cx:pt idx="4768">0</cx:pt>
          <cx:pt idx="4769">0</cx:pt>
          <cx:pt idx="4770">0</cx:pt>
          <cx:pt idx="4771">0</cx:pt>
          <cx:pt idx="4772">0</cx:pt>
          <cx:pt idx="4773">0</cx:pt>
          <cx:pt idx="4774">0</cx:pt>
          <cx:pt idx="4775">0</cx:pt>
          <cx:pt idx="4776">0</cx:pt>
          <cx:pt idx="4777">0</cx:pt>
          <cx:pt idx="4778">0</cx:pt>
          <cx:pt idx="4779">0</cx:pt>
          <cx:pt idx="4780">0</cx:pt>
          <cx:pt idx="4781">0</cx:pt>
          <cx:pt idx="4782">0</cx:pt>
          <cx:pt idx="4783">0</cx:pt>
          <cx:pt idx="4784">0</cx:pt>
          <cx:pt idx="4785">0</cx:pt>
          <cx:pt idx="4786">0</cx:pt>
          <cx:pt idx="4787">0</cx:pt>
          <cx:pt idx="4788">0</cx:pt>
          <cx:pt idx="4789">0</cx:pt>
          <cx:pt idx="4790">0</cx:pt>
          <cx:pt idx="4791">0</cx:pt>
          <cx:pt idx="4792">0</cx:pt>
          <cx:pt idx="4793">0</cx:pt>
          <cx:pt idx="4794">0</cx:pt>
          <cx:pt idx="4795">0</cx:pt>
          <cx:pt idx="4796">0</cx:pt>
          <cx:pt idx="4797">0</cx:pt>
          <cx:pt idx="4798">0</cx:pt>
          <cx:pt idx="4799">0</cx:pt>
          <cx:pt idx="4800">0</cx:pt>
          <cx:pt idx="4801">0</cx:pt>
          <cx:pt idx="4802">0</cx:pt>
          <cx:pt idx="4803">0</cx:pt>
          <cx:pt idx="4804">0</cx:pt>
          <cx:pt idx="4805">0</cx:pt>
          <cx:pt idx="4806">0</cx:pt>
          <cx:pt idx="4807">0</cx:pt>
          <cx:pt idx="4808">0</cx:pt>
          <cx:pt idx="4809">0</cx:pt>
          <cx:pt idx="4810">0</cx:pt>
          <cx:pt idx="4811">0</cx:pt>
          <cx:pt idx="4812">0</cx:pt>
          <cx:pt idx="4813">0</cx:pt>
          <cx:pt idx="4814">0</cx:pt>
          <cx:pt idx="4815">0</cx:pt>
          <cx:pt idx="4816">0</cx:pt>
          <cx:pt idx="4817">0</cx:pt>
          <cx:pt idx="4818">0</cx:pt>
          <cx:pt idx="4819">0</cx:pt>
          <cx:pt idx="4820">0</cx:pt>
          <cx:pt idx="4821">0</cx:pt>
          <cx:pt idx="4822">0</cx:pt>
          <cx:pt idx="4823">0</cx:pt>
          <cx:pt idx="4824">0</cx:pt>
          <cx:pt idx="4825">0</cx:pt>
          <cx:pt idx="4826">0</cx:pt>
          <cx:pt idx="4827">0</cx:pt>
          <cx:pt idx="4828">0</cx:pt>
          <cx:pt idx="4829">0</cx:pt>
          <cx:pt idx="4830">0</cx:pt>
          <cx:pt idx="4831">0</cx:pt>
          <cx:pt idx="4832">0</cx:pt>
          <cx:pt idx="4833">0</cx:pt>
          <cx:pt idx="4834">0</cx:pt>
          <cx:pt idx="4835">0</cx:pt>
          <cx:pt idx="4836">0</cx:pt>
          <cx:pt idx="4837">0</cx:pt>
          <cx:pt idx="4838">0</cx:pt>
          <cx:pt idx="4839">0</cx:pt>
          <cx:pt idx="4840">0</cx:pt>
          <cx:pt idx="4841">0</cx:pt>
          <cx:pt idx="4842">0</cx:pt>
          <cx:pt idx="4843">0</cx:pt>
          <cx:pt idx="4844">0</cx:pt>
          <cx:pt idx="4845">0</cx:pt>
          <cx:pt idx="4846">0</cx:pt>
          <cx:pt idx="4847">0</cx:pt>
          <cx:pt idx="4848">0</cx:pt>
          <cx:pt idx="4849">0</cx:pt>
          <cx:pt idx="4850">0</cx:pt>
          <cx:pt idx="4851">0</cx:pt>
          <cx:pt idx="4852">0</cx:pt>
          <cx:pt idx="4853">0</cx:pt>
          <cx:pt idx="4854">0</cx:pt>
          <cx:pt idx="4855">0</cx:pt>
          <cx:pt idx="4856">0</cx:pt>
          <cx:pt idx="4857">0</cx:pt>
          <cx:pt idx="4858">0</cx:pt>
          <cx:pt idx="4859">0</cx:pt>
          <cx:pt idx="4860">0</cx:pt>
          <cx:pt idx="4861">0</cx:pt>
          <cx:pt idx="4862">0</cx:pt>
          <cx:pt idx="4863">0</cx:pt>
          <cx:pt idx="4864">0</cx:pt>
          <cx:pt idx="4865">0</cx:pt>
          <cx:pt idx="4866">0</cx:pt>
          <cx:pt idx="4867">0</cx:pt>
          <cx:pt idx="4868">0</cx:pt>
          <cx:pt idx="4869">0</cx:pt>
          <cx:pt idx="4870">0</cx:pt>
          <cx:pt idx="4871">0</cx:pt>
          <cx:pt idx="4872">0</cx:pt>
          <cx:pt idx="4873">0</cx:pt>
          <cx:pt idx="4874">0</cx:pt>
          <cx:pt idx="4875">0</cx:pt>
          <cx:pt idx="4876">0</cx:pt>
          <cx:pt idx="4877">0</cx:pt>
          <cx:pt idx="4878">0</cx:pt>
          <cx:pt idx="4879">0</cx:pt>
          <cx:pt idx="4880">0</cx:pt>
          <cx:pt idx="4881">0</cx:pt>
          <cx:pt idx="4882">0</cx:pt>
          <cx:pt idx="4883">0</cx:pt>
          <cx:pt idx="4884">0</cx:pt>
          <cx:pt idx="4885">0</cx:pt>
          <cx:pt idx="4886">0</cx:pt>
          <cx:pt idx="4887">0</cx:pt>
          <cx:pt idx="4888">0</cx:pt>
          <cx:pt idx="4889">0</cx:pt>
          <cx:pt idx="4890">0</cx:pt>
          <cx:pt idx="4891">0</cx:pt>
          <cx:pt idx="4892">0</cx:pt>
          <cx:pt idx="4893">0</cx:pt>
          <cx:pt idx="4894">0</cx:pt>
          <cx:pt idx="4895">0</cx:pt>
          <cx:pt idx="4896">0</cx:pt>
          <cx:pt idx="4897">0</cx:pt>
          <cx:pt idx="4898">0</cx:pt>
          <cx:pt idx="4899">0</cx:pt>
          <cx:pt idx="4900">0</cx:pt>
          <cx:pt idx="4901">0</cx:pt>
          <cx:pt idx="4902">0</cx:pt>
          <cx:pt idx="4903">0</cx:pt>
          <cx:pt idx="4904">0</cx:pt>
          <cx:pt idx="4905">0</cx:pt>
          <cx:pt idx="4906">0</cx:pt>
          <cx:pt idx="4907">0</cx:pt>
          <cx:pt idx="4908">0</cx:pt>
          <cx:pt idx="4909">0</cx:pt>
          <cx:pt idx="4910">0</cx:pt>
          <cx:pt idx="4911">0</cx:pt>
          <cx:pt idx="4912">0</cx:pt>
          <cx:pt idx="4913">0</cx:pt>
          <cx:pt idx="4914">0</cx:pt>
          <cx:pt idx="4915">0</cx:pt>
          <cx:pt idx="4916">0</cx:pt>
          <cx:pt idx="4917">0</cx:pt>
          <cx:pt idx="4918">0</cx:pt>
          <cx:pt idx="4919">0</cx:pt>
          <cx:pt idx="4920">0</cx:pt>
          <cx:pt idx="4921">0</cx:pt>
          <cx:pt idx="4922">0</cx:pt>
          <cx:pt idx="4923">0</cx:pt>
          <cx:pt idx="4924">0</cx:pt>
          <cx:pt idx="4925">0</cx:pt>
          <cx:pt idx="4926">0</cx:pt>
          <cx:pt idx="4927">0</cx:pt>
          <cx:pt idx="4928">0</cx:pt>
          <cx:pt idx="4929">0</cx:pt>
          <cx:pt idx="4930">0</cx:pt>
          <cx:pt idx="4931">0</cx:pt>
          <cx:pt idx="4932">0</cx:pt>
          <cx:pt idx="4933">0</cx:pt>
          <cx:pt idx="4934">0</cx:pt>
          <cx:pt idx="4935">0</cx:pt>
          <cx:pt idx="4936">0</cx:pt>
          <cx:pt idx="4937">0</cx:pt>
          <cx:pt idx="4938">0</cx:pt>
          <cx:pt idx="4939">0</cx:pt>
          <cx:pt idx="4940">0</cx:pt>
          <cx:pt idx="4941">0</cx:pt>
          <cx:pt idx="4942">0</cx:pt>
          <cx:pt idx="4943">0</cx:pt>
          <cx:pt idx="4944">0</cx:pt>
          <cx:pt idx="4945">0</cx:pt>
          <cx:pt idx="4946">0</cx:pt>
          <cx:pt idx="4947">0</cx:pt>
          <cx:pt idx="4948">0</cx:pt>
          <cx:pt idx="4949">0</cx:pt>
          <cx:pt idx="4950">0</cx:pt>
          <cx:pt idx="4951">0</cx:pt>
          <cx:pt idx="4952">0</cx:pt>
          <cx:pt idx="4953">0</cx:pt>
          <cx:pt idx="4954">0</cx:pt>
          <cx:pt idx="4955">0</cx:pt>
          <cx:pt idx="4956">0</cx:pt>
          <cx:pt idx="4957">0</cx:pt>
          <cx:pt idx="4958">0</cx:pt>
          <cx:pt idx="4959">0</cx:pt>
          <cx:pt idx="4960">0</cx:pt>
          <cx:pt idx="4961">0</cx:pt>
          <cx:pt idx="4962">0</cx:pt>
          <cx:pt idx="4963">0</cx:pt>
          <cx:pt idx="4964">0</cx:pt>
          <cx:pt idx="4965">0</cx:pt>
          <cx:pt idx="4966">0</cx:pt>
          <cx:pt idx="4967">0</cx:pt>
          <cx:pt idx="4968">0</cx:pt>
          <cx:pt idx="4969">0</cx:pt>
          <cx:pt idx="4970">0</cx:pt>
          <cx:pt idx="4971">0</cx:pt>
          <cx:pt idx="4972">0</cx:pt>
          <cx:pt idx="4973">0</cx:pt>
          <cx:pt idx="4974">0</cx:pt>
          <cx:pt idx="4975">0</cx:pt>
          <cx:pt idx="4976">0</cx:pt>
          <cx:pt idx="4977">0</cx:pt>
          <cx:pt idx="4978">0</cx:pt>
          <cx:pt idx="4979">0</cx:pt>
          <cx:pt idx="4980">0</cx:pt>
          <cx:pt idx="4981">0</cx:pt>
          <cx:pt idx="4982">0</cx:pt>
          <cx:pt idx="4983">0</cx:pt>
          <cx:pt idx="4984">0</cx:pt>
          <cx:pt idx="4985">0</cx:pt>
          <cx:pt idx="4986">0</cx:pt>
          <cx:pt idx="4987">0</cx:pt>
          <cx:pt idx="4988">0</cx:pt>
          <cx:pt idx="4989">0</cx:pt>
          <cx:pt idx="4990">0</cx:pt>
          <cx:pt idx="4991">0</cx:pt>
          <cx:pt idx="4992">0</cx:pt>
          <cx:pt idx="4993">0</cx:pt>
          <cx:pt idx="4994">0</cx:pt>
          <cx:pt idx="4995">0</cx:pt>
          <cx:pt idx="4996">0</cx:pt>
          <cx:pt idx="4997">0</cx:pt>
          <cx:pt idx="4998">0</cx:pt>
          <cx:pt idx="4999">0</cx:pt>
          <cx:pt idx="5000">0</cx:pt>
          <cx:pt idx="5001">0</cx:pt>
          <cx:pt idx="5002">0</cx:pt>
          <cx:pt idx="5003">0</cx:pt>
          <cx:pt idx="5004">0</cx:pt>
          <cx:pt idx="5005">0</cx:pt>
          <cx:pt idx="5006">0</cx:pt>
          <cx:pt idx="5007">0</cx:pt>
          <cx:pt idx="5008">0</cx:pt>
          <cx:pt idx="5009">0</cx:pt>
          <cx:pt idx="5010">0</cx:pt>
          <cx:pt idx="5011">0</cx:pt>
          <cx:pt idx="5012">0</cx:pt>
          <cx:pt idx="5013">0</cx:pt>
          <cx:pt idx="5014">0</cx:pt>
          <cx:pt idx="5015">0</cx:pt>
          <cx:pt idx="5016">0</cx:pt>
          <cx:pt idx="5017">0</cx:pt>
          <cx:pt idx="5018">0</cx:pt>
          <cx:pt idx="5019">0</cx:pt>
          <cx:pt idx="5020">0</cx:pt>
          <cx:pt idx="5021">0</cx:pt>
          <cx:pt idx="5022">0</cx:pt>
          <cx:pt idx="5023">0</cx:pt>
          <cx:pt idx="5024">0</cx:pt>
          <cx:pt idx="5025">0</cx:pt>
          <cx:pt idx="5026">0</cx:pt>
          <cx:pt idx="5027">0</cx:pt>
          <cx:pt idx="5028">0</cx:pt>
          <cx:pt idx="5029">0</cx:pt>
          <cx:pt idx="5030">0</cx:pt>
          <cx:pt idx="5031">0</cx:pt>
          <cx:pt idx="5032">0</cx:pt>
          <cx:pt idx="5033">0</cx:pt>
          <cx:pt idx="5034">0</cx:pt>
          <cx:pt idx="5035">0</cx:pt>
          <cx:pt idx="5036">0</cx:pt>
          <cx:pt idx="5037">0</cx:pt>
          <cx:pt idx="5038">0</cx:pt>
          <cx:pt idx="5039">0</cx:pt>
          <cx:pt idx="5040">0</cx:pt>
          <cx:pt idx="5041">0</cx:pt>
          <cx:pt idx="5042">0</cx:pt>
          <cx:pt idx="5043">0</cx:pt>
          <cx:pt idx="5044">0</cx:pt>
          <cx:pt idx="5045">0</cx:pt>
          <cx:pt idx="5046">0</cx:pt>
          <cx:pt idx="5047">0</cx:pt>
          <cx:pt idx="5048">0</cx:pt>
          <cx:pt idx="5049">0</cx:pt>
          <cx:pt idx="5050">0</cx:pt>
          <cx:pt idx="5051">0</cx:pt>
          <cx:pt idx="5052">0</cx:pt>
          <cx:pt idx="5053">0</cx:pt>
          <cx:pt idx="5054">0</cx:pt>
          <cx:pt idx="5055">0</cx:pt>
          <cx:pt idx="5056">0</cx:pt>
          <cx:pt idx="5057">0</cx:pt>
          <cx:pt idx="5058">0</cx:pt>
          <cx:pt idx="5059">0</cx:pt>
          <cx:pt idx="5060">0</cx:pt>
          <cx:pt idx="5061">0</cx:pt>
          <cx:pt idx="5062">0</cx:pt>
          <cx:pt idx="5063">0</cx:pt>
          <cx:pt idx="5064">0</cx:pt>
          <cx:pt idx="5065">0</cx:pt>
          <cx:pt idx="5066">0</cx:pt>
          <cx:pt idx="5067">0</cx:pt>
          <cx:pt idx="5068">0</cx:pt>
          <cx:pt idx="5069">0</cx:pt>
          <cx:pt idx="5070">0</cx:pt>
          <cx:pt idx="5071">0</cx:pt>
          <cx:pt idx="5072">0</cx:pt>
          <cx:pt idx="5073">0</cx:pt>
          <cx:pt idx="5074">0</cx:pt>
          <cx:pt idx="5075">0</cx:pt>
          <cx:pt idx="5076">0</cx:pt>
          <cx:pt idx="5077">0</cx:pt>
          <cx:pt idx="5078">0</cx:pt>
          <cx:pt idx="5079">0</cx:pt>
          <cx:pt idx="5080">0</cx:pt>
          <cx:pt idx="5081">0</cx:pt>
          <cx:pt idx="5082">0</cx:pt>
          <cx:pt idx="5083">0</cx:pt>
          <cx:pt idx="5084">0</cx:pt>
          <cx:pt idx="5085">0</cx:pt>
          <cx:pt idx="5086">0</cx:pt>
          <cx:pt idx="5087">0</cx:pt>
          <cx:pt idx="5088">0</cx:pt>
          <cx:pt idx="5089">0</cx:pt>
          <cx:pt idx="5090">0</cx:pt>
          <cx:pt idx="5091">0</cx:pt>
          <cx:pt idx="5092">0</cx:pt>
          <cx:pt idx="5093">0</cx:pt>
          <cx:pt idx="5094">0</cx:pt>
          <cx:pt idx="5095">0</cx:pt>
          <cx:pt idx="5096">0</cx:pt>
          <cx:pt idx="5097">0</cx:pt>
          <cx:pt idx="5098">0</cx:pt>
          <cx:pt idx="5099">0</cx:pt>
          <cx:pt idx="5100">0</cx:pt>
          <cx:pt idx="5101">0</cx:pt>
          <cx:pt idx="5102">0</cx:pt>
          <cx:pt idx="5103">0</cx:pt>
          <cx:pt idx="5104">0</cx:pt>
          <cx:pt idx="5105">0</cx:pt>
          <cx:pt idx="5106">0</cx:pt>
          <cx:pt idx="5107">0</cx:pt>
          <cx:pt idx="5108">0</cx:pt>
          <cx:pt idx="5109">0</cx:pt>
          <cx:pt idx="5110">0</cx:pt>
          <cx:pt idx="5111">0</cx:pt>
          <cx:pt idx="5112">0</cx:pt>
          <cx:pt idx="5113">0</cx:pt>
          <cx:pt idx="5114">0</cx:pt>
          <cx:pt idx="5115">0</cx:pt>
          <cx:pt idx="5116">0</cx:pt>
          <cx:pt idx="5117">0</cx:pt>
          <cx:pt idx="5118">0</cx:pt>
          <cx:pt idx="5119">0</cx:pt>
          <cx:pt idx="5120">0</cx:pt>
          <cx:pt idx="5121">0</cx:pt>
          <cx:pt idx="5122">0</cx:pt>
          <cx:pt idx="5123">0</cx:pt>
          <cx:pt idx="5124">0</cx:pt>
          <cx:pt idx="5125">0</cx:pt>
          <cx:pt idx="5126">0</cx:pt>
          <cx:pt idx="5127">0</cx:pt>
          <cx:pt idx="5128">0</cx:pt>
          <cx:pt idx="5129">0</cx:pt>
          <cx:pt idx="5130">0</cx:pt>
          <cx:pt idx="5131">0</cx:pt>
          <cx:pt idx="5132">0</cx:pt>
          <cx:pt idx="5133">0</cx:pt>
          <cx:pt idx="5134">0</cx:pt>
          <cx:pt idx="5135">0</cx:pt>
          <cx:pt idx="5136">0</cx:pt>
          <cx:pt idx="5137">0</cx:pt>
          <cx:pt idx="5138">0</cx:pt>
          <cx:pt idx="5139">0</cx:pt>
          <cx:pt idx="5140">0</cx:pt>
          <cx:pt idx="5141">0</cx:pt>
          <cx:pt idx="5142">0</cx:pt>
          <cx:pt idx="5143">0</cx:pt>
          <cx:pt idx="5144">0</cx:pt>
          <cx:pt idx="5145">0</cx:pt>
          <cx:pt idx="5146">0</cx:pt>
          <cx:pt idx="5147">0</cx:pt>
          <cx:pt idx="5148">0</cx:pt>
          <cx:pt idx="5149">0</cx:pt>
          <cx:pt idx="5150">0</cx:pt>
          <cx:pt idx="5151">0</cx:pt>
          <cx:pt idx="5152">0</cx:pt>
          <cx:pt idx="5153">0</cx:pt>
          <cx:pt idx="5154">0</cx:pt>
          <cx:pt idx="5155">0</cx:pt>
          <cx:pt idx="5156">0</cx:pt>
          <cx:pt idx="5157">0</cx:pt>
          <cx:pt idx="5158">0</cx:pt>
          <cx:pt idx="5159">0</cx:pt>
          <cx:pt idx="5160">0</cx:pt>
          <cx:pt idx="5161">0</cx:pt>
          <cx:pt idx="5162">0</cx:pt>
          <cx:pt idx="5163">0</cx:pt>
          <cx:pt idx="5164">0</cx:pt>
          <cx:pt idx="5165">0</cx:pt>
          <cx:pt idx="5166">0</cx:pt>
          <cx:pt idx="5167">0</cx:pt>
          <cx:pt idx="5168">0</cx:pt>
          <cx:pt idx="5169">0</cx:pt>
          <cx:pt idx="5170">0</cx:pt>
          <cx:pt idx="5171">0</cx:pt>
          <cx:pt idx="5172">0</cx:pt>
          <cx:pt idx="5173">0</cx:pt>
          <cx:pt idx="5174">0</cx:pt>
          <cx:pt idx="5175">0</cx:pt>
          <cx:pt idx="5176">0</cx:pt>
          <cx:pt idx="5177">0</cx:pt>
          <cx:pt idx="5178">0</cx:pt>
          <cx:pt idx="5179">0</cx:pt>
          <cx:pt idx="5180">0</cx:pt>
          <cx:pt idx="5181">0</cx:pt>
          <cx:pt idx="5182">0</cx:pt>
          <cx:pt idx="5183">0</cx:pt>
          <cx:pt idx="5184">0</cx:pt>
          <cx:pt idx="5185">0</cx:pt>
          <cx:pt idx="5186">0</cx:pt>
          <cx:pt idx="5187">0</cx:pt>
          <cx:pt idx="5188">0</cx:pt>
          <cx:pt idx="5189">0</cx:pt>
          <cx:pt idx="5190">0</cx:pt>
          <cx:pt idx="5191">0</cx:pt>
          <cx:pt idx="5192">0</cx:pt>
          <cx:pt idx="5193">0</cx:pt>
          <cx:pt idx="5194">0</cx:pt>
          <cx:pt idx="5195">0</cx:pt>
          <cx:pt idx="5196">0</cx:pt>
          <cx:pt idx="5197">0</cx:pt>
          <cx:pt idx="5198">0</cx:pt>
          <cx:pt idx="5199">0</cx:pt>
          <cx:pt idx="5200">0</cx:pt>
          <cx:pt idx="5201">0</cx:pt>
          <cx:pt idx="5202">0</cx:pt>
          <cx:pt idx="5203">0</cx:pt>
          <cx:pt idx="5204">0</cx:pt>
          <cx:pt idx="5205">0</cx:pt>
          <cx:pt idx="5206">0</cx:pt>
          <cx:pt idx="5207">0</cx:pt>
          <cx:pt idx="5208">0</cx:pt>
          <cx:pt idx="5209">0</cx:pt>
          <cx:pt idx="5210">0</cx:pt>
          <cx:pt idx="5211">0</cx:pt>
          <cx:pt idx="5212">0</cx:pt>
          <cx:pt idx="5213">0</cx:pt>
          <cx:pt idx="5214">0</cx:pt>
          <cx:pt idx="5215">0</cx:pt>
          <cx:pt idx="5216">0</cx:pt>
          <cx:pt idx="5217">0</cx:pt>
          <cx:pt idx="5218">0</cx:pt>
          <cx:pt idx="5219">0</cx:pt>
          <cx:pt idx="5220">0</cx:pt>
          <cx:pt idx="5221">0</cx:pt>
          <cx:pt idx="5222">0</cx:pt>
          <cx:pt idx="5223">0</cx:pt>
          <cx:pt idx="5224">0</cx:pt>
          <cx:pt idx="5225">0</cx:pt>
          <cx:pt idx="5226">0</cx:pt>
          <cx:pt idx="5227">0</cx:pt>
          <cx:pt idx="5228">0</cx:pt>
          <cx:pt idx="5229">0</cx:pt>
          <cx:pt idx="5230">0</cx:pt>
          <cx:pt idx="5231">0</cx:pt>
          <cx:pt idx="5232">0</cx:pt>
          <cx:pt idx="5233">0</cx:pt>
          <cx:pt idx="5234">0</cx:pt>
          <cx:pt idx="5235">0</cx:pt>
          <cx:pt idx="5236">0</cx:pt>
          <cx:pt idx="5237">0</cx:pt>
          <cx:pt idx="5238">0</cx:pt>
          <cx:pt idx="5239">0</cx:pt>
          <cx:pt idx="5240">0</cx:pt>
          <cx:pt idx="5241">0</cx:pt>
          <cx:pt idx="5242">0</cx:pt>
          <cx:pt idx="5243">0</cx:pt>
          <cx:pt idx="5244">0</cx:pt>
          <cx:pt idx="5245">0</cx:pt>
          <cx:pt idx="5246">0</cx:pt>
          <cx:pt idx="5247">0</cx:pt>
          <cx:pt idx="5248">0</cx:pt>
          <cx:pt idx="5249">0</cx:pt>
          <cx:pt idx="5250">0</cx:pt>
          <cx:pt idx="5251">0</cx:pt>
          <cx:pt idx="5252">0</cx:pt>
          <cx:pt idx="5253">0</cx:pt>
          <cx:pt idx="5254">0</cx:pt>
          <cx:pt idx="5255">0</cx:pt>
          <cx:pt idx="5256">0</cx:pt>
          <cx:pt idx="5257">0</cx:pt>
          <cx:pt idx="5258">0</cx:pt>
          <cx:pt idx="5259">0</cx:pt>
          <cx:pt idx="5260">0</cx:pt>
          <cx:pt idx="5261">0</cx:pt>
          <cx:pt idx="5262">0</cx:pt>
          <cx:pt idx="5263">0</cx:pt>
          <cx:pt idx="5264">0</cx:pt>
          <cx:pt idx="5265">0</cx:pt>
          <cx:pt idx="5266">0</cx:pt>
          <cx:pt idx="5267">0</cx:pt>
          <cx:pt idx="5268">0</cx:pt>
          <cx:pt idx="5269">0</cx:pt>
          <cx:pt idx="5270">0</cx:pt>
          <cx:pt idx="5271">0</cx:pt>
          <cx:pt idx="5272">0</cx:pt>
          <cx:pt idx="5273">0</cx:pt>
          <cx:pt idx="5274">0</cx:pt>
          <cx:pt idx="5275">0</cx:pt>
          <cx:pt idx="5276">0</cx:pt>
          <cx:pt idx="5277">0</cx:pt>
          <cx:pt idx="5278">0</cx:pt>
          <cx:pt idx="5279">0</cx:pt>
          <cx:pt idx="5280">0</cx:pt>
          <cx:pt idx="5281">0</cx:pt>
          <cx:pt idx="5282">0</cx:pt>
          <cx:pt idx="5283">0</cx:pt>
          <cx:pt idx="5284">0</cx:pt>
          <cx:pt idx="5285">0</cx:pt>
          <cx:pt idx="5286">0</cx:pt>
          <cx:pt idx="5287">0</cx:pt>
          <cx:pt idx="5288">0</cx:pt>
          <cx:pt idx="5289">0</cx:pt>
          <cx:pt idx="5290">0</cx:pt>
          <cx:pt idx="5291">0</cx:pt>
          <cx:pt idx="5292">0</cx:pt>
          <cx:pt idx="5293">0</cx:pt>
          <cx:pt idx="5294">0</cx:pt>
          <cx:pt idx="5295">0</cx:pt>
          <cx:pt idx="5296">0</cx:pt>
          <cx:pt idx="5297">0</cx:pt>
          <cx:pt idx="5298">0</cx:pt>
          <cx:pt idx="5299">0</cx:pt>
          <cx:pt idx="5300">0</cx:pt>
          <cx:pt idx="5301">0</cx:pt>
          <cx:pt idx="5302">0</cx:pt>
          <cx:pt idx="5303">0</cx:pt>
          <cx:pt idx="5304">0</cx:pt>
          <cx:pt idx="5305">0</cx:pt>
          <cx:pt idx="5306">0</cx:pt>
          <cx:pt idx="5307">0</cx:pt>
          <cx:pt idx="5308">0</cx:pt>
          <cx:pt idx="5309">0</cx:pt>
          <cx:pt idx="5310">0</cx:pt>
          <cx:pt idx="5311">0</cx:pt>
          <cx:pt idx="5312">0</cx:pt>
          <cx:pt idx="5313">0</cx:pt>
          <cx:pt idx="5314">0</cx:pt>
          <cx:pt idx="5315">0</cx:pt>
          <cx:pt idx="5316">0</cx:pt>
          <cx:pt idx="5317">0</cx:pt>
          <cx:pt idx="5318">0</cx:pt>
          <cx:pt idx="5319">0</cx:pt>
          <cx:pt idx="5320">0</cx:pt>
          <cx:pt idx="5321">0</cx:pt>
          <cx:pt idx="5322">0</cx:pt>
          <cx:pt idx="5323">0</cx:pt>
          <cx:pt idx="5324">0</cx:pt>
          <cx:pt idx="5325">0</cx:pt>
          <cx:pt idx="5326">0</cx:pt>
          <cx:pt idx="5327">0</cx:pt>
          <cx:pt idx="5328">0</cx:pt>
          <cx:pt idx="5329">0</cx:pt>
          <cx:pt idx="5330">0</cx:pt>
          <cx:pt idx="5331">0</cx:pt>
          <cx:pt idx="5332">0</cx:pt>
          <cx:pt idx="5333">0</cx:pt>
          <cx:pt idx="5334">0</cx:pt>
          <cx:pt idx="5335">0</cx:pt>
          <cx:pt idx="5336">0</cx:pt>
          <cx:pt idx="5337">0</cx:pt>
          <cx:pt idx="5338">0</cx:pt>
          <cx:pt idx="5339">0</cx:pt>
          <cx:pt idx="5340">0</cx:pt>
          <cx:pt idx="5341">0</cx:pt>
          <cx:pt idx="5342">0</cx:pt>
          <cx:pt idx="5343">0</cx:pt>
          <cx:pt idx="5344">0</cx:pt>
          <cx:pt idx="5345">0</cx:pt>
          <cx:pt idx="5346">0</cx:pt>
          <cx:pt idx="5347">0</cx:pt>
          <cx:pt idx="5348">0</cx:pt>
          <cx:pt idx="5349">0</cx:pt>
          <cx:pt idx="5350">0</cx:pt>
          <cx:pt idx="5351">0</cx:pt>
          <cx:pt idx="5352">0</cx:pt>
          <cx:pt idx="5353">0</cx:pt>
          <cx:pt idx="5354">0</cx:pt>
          <cx:pt idx="5355">0</cx:pt>
          <cx:pt idx="5356">0</cx:pt>
          <cx:pt idx="5357">0</cx:pt>
          <cx:pt idx="5358">0</cx:pt>
          <cx:pt idx="5359">0</cx:pt>
          <cx:pt idx="5360">0</cx:pt>
          <cx:pt idx="5361">0</cx:pt>
          <cx:pt idx="5362">0</cx:pt>
          <cx:pt idx="5363">0</cx:pt>
          <cx:pt idx="5364">0</cx:pt>
          <cx:pt idx="5365">0</cx:pt>
          <cx:pt idx="5366">0</cx:pt>
          <cx:pt idx="5367">0</cx:pt>
          <cx:pt idx="5368">0</cx:pt>
          <cx:pt idx="5369">0</cx:pt>
          <cx:pt idx="5370">0</cx:pt>
          <cx:pt idx="5371">0</cx:pt>
          <cx:pt idx="5372">0</cx:pt>
          <cx:pt idx="5373">0</cx:pt>
          <cx:pt idx="5374">0</cx:pt>
          <cx:pt idx="5375">0</cx:pt>
          <cx:pt idx="5376">0</cx:pt>
          <cx:pt idx="5377">0</cx:pt>
          <cx:pt idx="5378">0</cx:pt>
          <cx:pt idx="5379">0</cx:pt>
          <cx:pt idx="5380">0</cx:pt>
          <cx:pt idx="5381">0</cx:pt>
          <cx:pt idx="5382">0</cx:pt>
          <cx:pt idx="5383">0</cx:pt>
          <cx:pt idx="5384">0</cx:pt>
          <cx:pt idx="5385">0</cx:pt>
          <cx:pt idx="5386">0</cx:pt>
          <cx:pt idx="5387">0</cx:pt>
          <cx:pt idx="5388">0</cx:pt>
          <cx:pt idx="5389">0</cx:pt>
          <cx:pt idx="5390">0</cx:pt>
          <cx:pt idx="5391">0</cx:pt>
          <cx:pt idx="5392">0</cx:pt>
          <cx:pt idx="5393">0</cx:pt>
          <cx:pt idx="5394">0</cx:pt>
          <cx:pt idx="5395">0</cx:pt>
          <cx:pt idx="5396">0</cx:pt>
          <cx:pt idx="5397">0</cx:pt>
          <cx:pt idx="5398">0</cx:pt>
          <cx:pt idx="5399">0</cx:pt>
          <cx:pt idx="5400">0</cx:pt>
          <cx:pt idx="5401">0</cx:pt>
          <cx:pt idx="5402">0</cx:pt>
          <cx:pt idx="5403">0</cx:pt>
          <cx:pt idx="5404">0</cx:pt>
          <cx:pt idx="5405">0</cx:pt>
          <cx:pt idx="5406">0</cx:pt>
          <cx:pt idx="5407">0</cx:pt>
          <cx:pt idx="5408">0</cx:pt>
          <cx:pt idx="5409">0</cx:pt>
          <cx:pt idx="5410">0</cx:pt>
          <cx:pt idx="5411">0</cx:pt>
          <cx:pt idx="5412">0</cx:pt>
          <cx:pt idx="5413">0</cx:pt>
          <cx:pt idx="5414">0</cx:pt>
          <cx:pt idx="5415">0</cx:pt>
          <cx:pt idx="5416">0</cx:pt>
          <cx:pt idx="5417">0</cx:pt>
          <cx:pt idx="5418">0</cx:pt>
          <cx:pt idx="5419">0</cx:pt>
          <cx:pt idx="5420">0</cx:pt>
          <cx:pt idx="5421">0</cx:pt>
          <cx:pt idx="5422">0</cx:pt>
          <cx:pt idx="5423">0</cx:pt>
          <cx:pt idx="5424">0</cx:pt>
          <cx:pt idx="5425">0</cx:pt>
          <cx:pt idx="5426">0</cx:pt>
          <cx:pt idx="5427">0</cx:pt>
          <cx:pt idx="5428">0</cx:pt>
          <cx:pt idx="5429">0</cx:pt>
          <cx:pt idx="5430">0</cx:pt>
          <cx:pt idx="5431">0</cx:pt>
          <cx:pt idx="5432">0</cx:pt>
          <cx:pt idx="5433">0</cx:pt>
          <cx:pt idx="5434">0</cx:pt>
          <cx:pt idx="5435">0</cx:pt>
          <cx:pt idx="5436">0</cx:pt>
          <cx:pt idx="5437">0</cx:pt>
          <cx:pt idx="5438">0</cx:pt>
          <cx:pt idx="5439">0</cx:pt>
          <cx:pt idx="5440">0</cx:pt>
          <cx:pt idx="5441">0</cx:pt>
          <cx:pt idx="5442">0</cx:pt>
          <cx:pt idx="5443">0</cx:pt>
          <cx:pt idx="5444">0</cx:pt>
          <cx:pt idx="5445">0</cx:pt>
          <cx:pt idx="5446">0</cx:pt>
          <cx:pt idx="5447">0</cx:pt>
          <cx:pt idx="5448">0</cx:pt>
          <cx:pt idx="5449">0</cx:pt>
          <cx:pt idx="5450">0</cx:pt>
          <cx:pt idx="5451">0</cx:pt>
          <cx:pt idx="5452">0</cx:pt>
          <cx:pt idx="5453">0</cx:pt>
          <cx:pt idx="5454">0</cx:pt>
          <cx:pt idx="5455">0</cx:pt>
          <cx:pt idx="5456">0</cx:pt>
          <cx:pt idx="5457">0</cx:pt>
          <cx:pt idx="5458">0</cx:pt>
          <cx:pt idx="5459">0</cx:pt>
          <cx:pt idx="5460">0</cx:pt>
          <cx:pt idx="5461">0</cx:pt>
          <cx:pt idx="5462">0</cx:pt>
          <cx:pt idx="5463">0</cx:pt>
          <cx:pt idx="5464">0</cx:pt>
          <cx:pt idx="5465">0</cx:pt>
          <cx:pt idx="5466">0</cx:pt>
          <cx:pt idx="5467">0</cx:pt>
          <cx:pt idx="5468">0</cx:pt>
          <cx:pt idx="5469">0</cx:pt>
          <cx:pt idx="5470">0</cx:pt>
          <cx:pt idx="5471">0</cx:pt>
          <cx:pt idx="5472">0</cx:pt>
          <cx:pt idx="5473">0</cx:pt>
          <cx:pt idx="5474">0</cx:pt>
          <cx:pt idx="5475">0</cx:pt>
          <cx:pt idx="5476">0</cx:pt>
          <cx:pt idx="5477">0</cx:pt>
          <cx:pt idx="5478">0</cx:pt>
          <cx:pt idx="5479">0</cx:pt>
          <cx:pt idx="5480">0</cx:pt>
          <cx:pt idx="5481">0</cx:pt>
          <cx:pt idx="5482">0</cx:pt>
          <cx:pt idx="5483">0</cx:pt>
          <cx:pt idx="5484">0</cx:pt>
          <cx:pt idx="5485">0</cx:pt>
          <cx:pt idx="5486">0</cx:pt>
          <cx:pt idx="5487">0</cx:pt>
          <cx:pt idx="5488">0</cx:pt>
          <cx:pt idx="5489">0</cx:pt>
          <cx:pt idx="5490">0</cx:pt>
          <cx:pt idx="5491">0</cx:pt>
          <cx:pt idx="5492">0</cx:pt>
          <cx:pt idx="5493">0</cx:pt>
          <cx:pt idx="5494">0</cx:pt>
          <cx:pt idx="5495">0</cx:pt>
          <cx:pt idx="5496">0</cx:pt>
          <cx:pt idx="5497">0</cx:pt>
          <cx:pt idx="5498">0</cx:pt>
          <cx:pt idx="5499">0</cx:pt>
          <cx:pt idx="5500">0</cx:pt>
          <cx:pt idx="5501">0</cx:pt>
          <cx:pt idx="5502">0</cx:pt>
          <cx:pt idx="5503">0</cx:pt>
          <cx:pt idx="5504">0</cx:pt>
          <cx:pt idx="5505">0</cx:pt>
          <cx:pt idx="5506">0</cx:pt>
          <cx:pt idx="5507">0</cx:pt>
          <cx:pt idx="5508">0</cx:pt>
          <cx:pt idx="5509">0</cx:pt>
          <cx:pt idx="5510">0</cx:pt>
          <cx:pt idx="5511">0</cx:pt>
          <cx:pt idx="5512">0</cx:pt>
          <cx:pt idx="5513">0</cx:pt>
          <cx:pt idx="5514">0</cx:pt>
          <cx:pt idx="5515">0</cx:pt>
          <cx:pt idx="5516">0</cx:pt>
          <cx:pt idx="5517">0</cx:pt>
          <cx:pt idx="5518">0</cx:pt>
          <cx:pt idx="5519">0</cx:pt>
          <cx:pt idx="5520">0</cx:pt>
          <cx:pt idx="5521">0</cx:pt>
          <cx:pt idx="5522">0</cx:pt>
          <cx:pt idx="5523">0</cx:pt>
          <cx:pt idx="5524">0</cx:pt>
          <cx:pt idx="5525">0</cx:pt>
          <cx:pt idx="5526">0</cx:pt>
          <cx:pt idx="5527">0</cx:pt>
          <cx:pt idx="5528">0</cx:pt>
          <cx:pt idx="5529">0</cx:pt>
          <cx:pt idx="5530">0</cx:pt>
          <cx:pt idx="5531">0</cx:pt>
          <cx:pt idx="5532">0</cx:pt>
          <cx:pt idx="5533">0</cx:pt>
          <cx:pt idx="5534">0</cx:pt>
          <cx:pt idx="5535">0</cx:pt>
          <cx:pt idx="5536">0</cx:pt>
          <cx:pt idx="5537">0</cx:pt>
          <cx:pt idx="5538">0</cx:pt>
          <cx:pt idx="5539">0</cx:pt>
          <cx:pt idx="5540">0</cx:pt>
          <cx:pt idx="5541">0</cx:pt>
          <cx:pt idx="5542">0</cx:pt>
          <cx:pt idx="5543">0</cx:pt>
          <cx:pt idx="5544">0</cx:pt>
          <cx:pt idx="5545">0</cx:pt>
          <cx:pt idx="5546">0</cx:pt>
          <cx:pt idx="5547">0</cx:pt>
          <cx:pt idx="5548">0</cx:pt>
          <cx:pt idx="5549">0</cx:pt>
          <cx:pt idx="5550">0</cx:pt>
          <cx:pt idx="5551">0</cx:pt>
          <cx:pt idx="5552">0</cx:pt>
          <cx:pt idx="5553">0</cx:pt>
          <cx:pt idx="5554">0</cx:pt>
          <cx:pt idx="5555">0</cx:pt>
          <cx:pt idx="5556">0</cx:pt>
          <cx:pt idx="5557">0</cx:pt>
          <cx:pt idx="5558">0</cx:pt>
          <cx:pt idx="5559">0</cx:pt>
          <cx:pt idx="5560">0</cx:pt>
          <cx:pt idx="5561">0</cx:pt>
          <cx:pt idx="5562">0</cx:pt>
          <cx:pt idx="5563">0</cx:pt>
          <cx:pt idx="5564">0</cx:pt>
          <cx:pt idx="5565">0</cx:pt>
          <cx:pt idx="5566">0</cx:pt>
          <cx:pt idx="5567">0</cx:pt>
          <cx:pt idx="5568">0</cx:pt>
          <cx:pt idx="5569">0</cx:pt>
          <cx:pt idx="5570">0</cx:pt>
          <cx:pt idx="5571">0</cx:pt>
          <cx:pt idx="5572">0</cx:pt>
          <cx:pt idx="5573">0</cx:pt>
          <cx:pt idx="5574">0</cx:pt>
          <cx:pt idx="5575">0</cx:pt>
          <cx:pt idx="5576">0</cx:pt>
          <cx:pt idx="5577">0</cx:pt>
          <cx:pt idx="5578">0</cx:pt>
          <cx:pt idx="5579">0</cx:pt>
          <cx:pt idx="5580">0</cx:pt>
          <cx:pt idx="5581">0</cx:pt>
          <cx:pt idx="5582">0</cx:pt>
          <cx:pt idx="5583">0</cx:pt>
          <cx:pt idx="5584">0</cx:pt>
          <cx:pt idx="5585">0</cx:pt>
          <cx:pt idx="5586">0</cx:pt>
          <cx:pt idx="5587">0</cx:pt>
          <cx:pt idx="5588">0</cx:pt>
          <cx:pt idx="5589">0</cx:pt>
          <cx:pt idx="5590">0</cx:pt>
          <cx:pt idx="5591">0</cx:pt>
          <cx:pt idx="5592">0</cx:pt>
          <cx:pt idx="5593">0</cx:pt>
          <cx:pt idx="5594">0</cx:pt>
          <cx:pt idx="5595">0</cx:pt>
          <cx:pt idx="5596">0</cx:pt>
          <cx:pt idx="5597">0</cx:pt>
          <cx:pt idx="5598">0</cx:pt>
          <cx:pt idx="5599">0</cx:pt>
          <cx:pt idx="5600">0</cx:pt>
          <cx:pt idx="5601">0</cx:pt>
          <cx:pt idx="5602">0</cx:pt>
          <cx:pt idx="5603">0</cx:pt>
          <cx:pt idx="5604">0</cx:pt>
          <cx:pt idx="5605">0</cx:pt>
          <cx:pt idx="5606">0</cx:pt>
          <cx:pt idx="5607">0</cx:pt>
          <cx:pt idx="5608">0</cx:pt>
          <cx:pt idx="5609">0</cx:pt>
          <cx:pt idx="5610">0</cx:pt>
          <cx:pt idx="5611">0</cx:pt>
          <cx:pt idx="5612">0</cx:pt>
          <cx:pt idx="5613">0</cx:pt>
          <cx:pt idx="5614">0</cx:pt>
          <cx:pt idx="5615">0</cx:pt>
          <cx:pt idx="5616">0</cx:pt>
          <cx:pt idx="5617">0</cx:pt>
          <cx:pt idx="5618">0</cx:pt>
          <cx:pt idx="5619">0</cx:pt>
          <cx:pt idx="5620">0</cx:pt>
          <cx:pt idx="5621">0</cx:pt>
          <cx:pt idx="5622">0</cx:pt>
          <cx:pt idx="5623">0</cx:pt>
          <cx:pt idx="5624">0</cx:pt>
          <cx:pt idx="5625">0</cx:pt>
          <cx:pt idx="5626">0</cx:pt>
          <cx:pt idx="5627">0</cx:pt>
          <cx:pt idx="5628">0</cx:pt>
          <cx:pt idx="5629">0</cx:pt>
          <cx:pt idx="5630">0</cx:pt>
          <cx:pt idx="5631">0</cx:pt>
          <cx:pt idx="5632">0</cx:pt>
          <cx:pt idx="5633">0</cx:pt>
          <cx:pt idx="5634">0</cx:pt>
          <cx:pt idx="5635">0</cx:pt>
          <cx:pt idx="5636">0</cx:pt>
          <cx:pt idx="5637">0</cx:pt>
          <cx:pt idx="5638">0</cx:pt>
          <cx:pt idx="5639">0</cx:pt>
          <cx:pt idx="5640">0</cx:pt>
          <cx:pt idx="5641">0</cx:pt>
          <cx:pt idx="5642">0</cx:pt>
          <cx:pt idx="5643">0</cx:pt>
          <cx:pt idx="5644">0</cx:pt>
          <cx:pt idx="5645">0</cx:pt>
          <cx:pt idx="5646">0</cx:pt>
          <cx:pt idx="5647">0</cx:pt>
          <cx:pt idx="5648">0</cx:pt>
          <cx:pt idx="5649">0</cx:pt>
          <cx:pt idx="5650">0</cx:pt>
          <cx:pt idx="5651">0</cx:pt>
          <cx:pt idx="5652">0</cx:pt>
          <cx:pt idx="5653">0</cx:pt>
          <cx:pt idx="5654">0</cx:pt>
          <cx:pt idx="5655">0</cx:pt>
          <cx:pt idx="5656">0</cx:pt>
          <cx:pt idx="5657">0</cx:pt>
          <cx:pt idx="5658">0</cx:pt>
          <cx:pt idx="5659">0</cx:pt>
          <cx:pt idx="5660">0</cx:pt>
          <cx:pt idx="5661">0</cx:pt>
          <cx:pt idx="5662">0</cx:pt>
          <cx:pt idx="5663">0</cx:pt>
          <cx:pt idx="5664">0</cx:pt>
          <cx:pt idx="5665">0</cx:pt>
          <cx:pt idx="5666">0</cx:pt>
          <cx:pt idx="5667">0</cx:pt>
          <cx:pt idx="5668">0</cx:pt>
          <cx:pt idx="5669">0</cx:pt>
          <cx:pt idx="5670">0</cx:pt>
          <cx:pt idx="5671">0</cx:pt>
          <cx:pt idx="5672">0</cx:pt>
          <cx:pt idx="5673">0</cx:pt>
          <cx:pt idx="5674">0</cx:pt>
          <cx:pt idx="5675">0</cx:pt>
          <cx:pt idx="5676">0</cx:pt>
          <cx:pt idx="5677">0</cx:pt>
          <cx:pt idx="5678">0</cx:pt>
          <cx:pt idx="5679">0</cx:pt>
          <cx:pt idx="5680">0</cx:pt>
          <cx:pt idx="5681">0</cx:pt>
          <cx:pt idx="5682">0</cx:pt>
          <cx:pt idx="5683">0</cx:pt>
          <cx:pt idx="5684">0</cx:pt>
          <cx:pt idx="5685">0</cx:pt>
          <cx:pt idx="5686">0</cx:pt>
          <cx:pt idx="5687">0</cx:pt>
          <cx:pt idx="5688">0</cx:pt>
          <cx:pt idx="5689">0</cx:pt>
          <cx:pt idx="5690">0</cx:pt>
          <cx:pt idx="5691">0</cx:pt>
          <cx:pt idx="5692">0</cx:pt>
          <cx:pt idx="5693">0</cx:pt>
          <cx:pt idx="5694">0</cx:pt>
          <cx:pt idx="5695">0</cx:pt>
          <cx:pt idx="5696">0</cx:pt>
          <cx:pt idx="5697">0</cx:pt>
          <cx:pt idx="5698">0</cx:pt>
          <cx:pt idx="5699">0</cx:pt>
          <cx:pt idx="5700">0</cx:pt>
          <cx:pt idx="5701">0</cx:pt>
          <cx:pt idx="5702">0</cx:pt>
          <cx:pt idx="5703">0</cx:pt>
          <cx:pt idx="5704">0</cx:pt>
          <cx:pt idx="5705">0</cx:pt>
          <cx:pt idx="5706">0</cx:pt>
          <cx:pt idx="5707">0</cx:pt>
          <cx:pt idx="5708">0</cx:pt>
          <cx:pt idx="5709">0</cx:pt>
          <cx:pt idx="5710">0</cx:pt>
          <cx:pt idx="5711">0</cx:pt>
          <cx:pt idx="5712">0</cx:pt>
          <cx:pt idx="5713">0</cx:pt>
          <cx:pt idx="5714">0</cx:pt>
          <cx:pt idx="5715">0</cx:pt>
          <cx:pt idx="5716">0</cx:pt>
          <cx:pt idx="5717">0</cx:pt>
          <cx:pt idx="5718">0</cx:pt>
          <cx:pt idx="5719">0</cx:pt>
          <cx:pt idx="5720">0</cx:pt>
          <cx:pt idx="5721">0</cx:pt>
          <cx:pt idx="5722">0</cx:pt>
          <cx:pt idx="5723">0</cx:pt>
          <cx:pt idx="5724">0</cx:pt>
          <cx:pt idx="5725">0</cx:pt>
          <cx:pt idx="5726">0</cx:pt>
          <cx:pt idx="5727">0</cx:pt>
          <cx:pt idx="5728">0</cx:pt>
          <cx:pt idx="5729">0</cx:pt>
          <cx:pt idx="5730">0</cx:pt>
          <cx:pt idx="5731">0</cx:pt>
          <cx:pt idx="5732">0</cx:pt>
          <cx:pt idx="5733">0</cx:pt>
          <cx:pt idx="5734">0</cx:pt>
          <cx:pt idx="5735">0</cx:pt>
          <cx:pt idx="5736">0</cx:pt>
          <cx:pt idx="5737">0</cx:pt>
          <cx:pt idx="5738">0</cx:pt>
          <cx:pt idx="5739">0</cx:pt>
          <cx:pt idx="5740">0</cx:pt>
          <cx:pt idx="5741">0</cx:pt>
          <cx:pt idx="5742">0</cx:pt>
          <cx:pt idx="5743">0</cx:pt>
          <cx:pt idx="5744">0</cx:pt>
          <cx:pt idx="5745">0</cx:pt>
          <cx:pt idx="5746">0</cx:pt>
          <cx:pt idx="5747">0</cx:pt>
          <cx:pt idx="5748">0</cx:pt>
          <cx:pt idx="5749">0</cx:pt>
          <cx:pt idx="5750">0</cx:pt>
          <cx:pt idx="5751">0</cx:pt>
          <cx:pt idx="5752">0</cx:pt>
          <cx:pt idx="5753">0</cx:pt>
          <cx:pt idx="5754">0</cx:pt>
          <cx:pt idx="5755">0</cx:pt>
          <cx:pt idx="5756">0</cx:pt>
          <cx:pt idx="5757">0</cx:pt>
          <cx:pt idx="5758">0</cx:pt>
          <cx:pt idx="5759">0</cx:pt>
          <cx:pt idx="5760">0</cx:pt>
          <cx:pt idx="5761">0</cx:pt>
          <cx:pt idx="5762">0</cx:pt>
          <cx:pt idx="5763">0</cx:pt>
          <cx:pt idx="5764">0</cx:pt>
          <cx:pt idx="5765">0</cx:pt>
          <cx:pt idx="5766">0</cx:pt>
          <cx:pt idx="5767">0</cx:pt>
          <cx:pt idx="5768">0</cx:pt>
          <cx:pt idx="5769">0</cx:pt>
          <cx:pt idx="5770">0</cx:pt>
          <cx:pt idx="5771">0</cx:pt>
          <cx:pt idx="5772">0</cx:pt>
          <cx:pt idx="5773">0</cx:pt>
          <cx:pt idx="5774">0</cx:pt>
          <cx:pt idx="5775">0</cx:pt>
          <cx:pt idx="5776">0</cx:pt>
          <cx:pt idx="5777">0</cx:pt>
          <cx:pt idx="5778">0</cx:pt>
          <cx:pt idx="5779">0</cx:pt>
          <cx:pt idx="5780">0</cx:pt>
          <cx:pt idx="5781">0</cx:pt>
          <cx:pt idx="5782">0</cx:pt>
          <cx:pt idx="5783">0</cx:pt>
          <cx:pt idx="5784">0</cx:pt>
          <cx:pt idx="5785">0</cx:pt>
          <cx:pt idx="5786">0</cx:pt>
          <cx:pt idx="5787">0</cx:pt>
          <cx:pt idx="5788">0</cx:pt>
          <cx:pt idx="5789">0</cx:pt>
          <cx:pt idx="5790">0</cx:pt>
          <cx:pt idx="5791">0</cx:pt>
          <cx:pt idx="5792">0</cx:pt>
          <cx:pt idx="5793">0</cx:pt>
          <cx:pt idx="5794">0</cx:pt>
          <cx:pt idx="5795">0</cx:pt>
          <cx:pt idx="5796">0</cx:pt>
          <cx:pt idx="5797">0</cx:pt>
          <cx:pt idx="5798">0</cx:pt>
          <cx:pt idx="5799">0</cx:pt>
          <cx:pt idx="5800">0</cx:pt>
          <cx:pt idx="5801">0</cx:pt>
          <cx:pt idx="5802">0</cx:pt>
          <cx:pt idx="5803">0</cx:pt>
          <cx:pt idx="5804">0</cx:pt>
          <cx:pt idx="5805">0</cx:pt>
          <cx:pt idx="5806">0</cx:pt>
          <cx:pt idx="5807">0</cx:pt>
          <cx:pt idx="5808">0</cx:pt>
          <cx:pt idx="5809">0</cx:pt>
          <cx:pt idx="5810">0</cx:pt>
          <cx:pt idx="5811">0</cx:pt>
          <cx:pt idx="5812">0</cx:pt>
          <cx:pt idx="5813">0</cx:pt>
          <cx:pt idx="5814">0</cx:pt>
          <cx:pt idx="5815">0</cx:pt>
          <cx:pt idx="5816">0</cx:pt>
          <cx:pt idx="5817">0</cx:pt>
          <cx:pt idx="5818">0</cx:pt>
          <cx:pt idx="5819">0</cx:pt>
          <cx:pt idx="5820">0</cx:pt>
          <cx:pt idx="5821">0</cx:pt>
          <cx:pt idx="5822">0</cx:pt>
          <cx:pt idx="5823">0</cx:pt>
          <cx:pt idx="5824">0</cx:pt>
          <cx:pt idx="5825">0</cx:pt>
          <cx:pt idx="5826">0</cx:pt>
          <cx:pt idx="5827">0</cx:pt>
          <cx:pt idx="5828">0</cx:pt>
          <cx:pt idx="5829">0</cx:pt>
          <cx:pt idx="5830">0</cx:pt>
          <cx:pt idx="5831">0</cx:pt>
          <cx:pt idx="5832">0</cx:pt>
          <cx:pt idx="5833">0</cx:pt>
          <cx:pt idx="5834">0</cx:pt>
          <cx:pt idx="5835">0</cx:pt>
          <cx:pt idx="5836">0</cx:pt>
          <cx:pt idx="5837">0</cx:pt>
          <cx:pt idx="5838">0</cx:pt>
          <cx:pt idx="5839">0</cx:pt>
          <cx:pt idx="5840">0</cx:pt>
          <cx:pt idx="5841">0</cx:pt>
          <cx:pt idx="5842">0</cx:pt>
          <cx:pt idx="5843">0</cx:pt>
          <cx:pt idx="5844">0</cx:pt>
          <cx:pt idx="5845">0</cx:pt>
          <cx:pt idx="5846">0</cx:pt>
          <cx:pt idx="5847">0</cx:pt>
          <cx:pt idx="5848">0</cx:pt>
          <cx:pt idx="5849">0</cx:pt>
          <cx:pt idx="5850">0</cx:pt>
          <cx:pt idx="5851">0</cx:pt>
          <cx:pt idx="5852">0</cx:pt>
          <cx:pt idx="5853">0</cx:pt>
          <cx:pt idx="5854">0</cx:pt>
          <cx:pt idx="5855">0</cx:pt>
          <cx:pt idx="5856">0</cx:pt>
          <cx:pt idx="5857">0</cx:pt>
          <cx:pt idx="5858">0</cx:pt>
          <cx:pt idx="5859">0</cx:pt>
          <cx:pt idx="5860">0</cx:pt>
          <cx:pt idx="5861">0</cx:pt>
          <cx:pt idx="5862">0</cx:pt>
          <cx:pt idx="5863">0</cx:pt>
          <cx:pt idx="5864">0</cx:pt>
          <cx:pt idx="5865">0</cx:pt>
          <cx:pt idx="5866">0</cx:pt>
          <cx:pt idx="5867">0</cx:pt>
          <cx:pt idx="5868">0</cx:pt>
          <cx:pt idx="5869">0</cx:pt>
          <cx:pt idx="5870">0</cx:pt>
          <cx:pt idx="5871">0</cx:pt>
          <cx:pt idx="5872">0</cx:pt>
          <cx:pt idx="5873">0</cx:pt>
          <cx:pt idx="5874">0</cx:pt>
          <cx:pt idx="5875">0</cx:pt>
          <cx:pt idx="5876">0</cx:pt>
          <cx:pt idx="5877">0</cx:pt>
          <cx:pt idx="5878">0</cx:pt>
          <cx:pt idx="5879">0</cx:pt>
          <cx:pt idx="5880">0</cx:pt>
          <cx:pt idx="5881">0</cx:pt>
          <cx:pt idx="5882">0</cx:pt>
          <cx:pt idx="5883">0</cx:pt>
          <cx:pt idx="5884">0</cx:pt>
          <cx:pt idx="5885">0</cx:pt>
          <cx:pt idx="5886">0</cx:pt>
          <cx:pt idx="5887">0</cx:pt>
          <cx:pt idx="5888">0</cx:pt>
          <cx:pt idx="5889">0</cx:pt>
          <cx:pt idx="5890">0</cx:pt>
          <cx:pt idx="5891">0</cx:pt>
          <cx:pt idx="5892">0</cx:pt>
          <cx:pt idx="5893">0</cx:pt>
          <cx:pt idx="5894">0</cx:pt>
          <cx:pt idx="5895">0</cx:pt>
          <cx:pt idx="5896">0</cx:pt>
          <cx:pt idx="5897">0</cx:pt>
          <cx:pt idx="5898">0</cx:pt>
          <cx:pt idx="5899">0</cx:pt>
          <cx:pt idx="5900">0</cx:pt>
          <cx:pt idx="5901">0</cx:pt>
          <cx:pt idx="5902">0</cx:pt>
          <cx:pt idx="5903">0</cx:pt>
          <cx:pt idx="5904">0</cx:pt>
          <cx:pt idx="5905">0</cx:pt>
          <cx:pt idx="5906">0</cx:pt>
          <cx:pt idx="5907">0</cx:pt>
          <cx:pt idx="5908">0</cx:pt>
          <cx:pt idx="5909">0</cx:pt>
          <cx:pt idx="5910">0</cx:pt>
          <cx:pt idx="5911">0</cx:pt>
          <cx:pt idx="5912">0</cx:pt>
          <cx:pt idx="5913">0</cx:pt>
          <cx:pt idx="5914">0</cx:pt>
          <cx:pt idx="5915">0</cx:pt>
          <cx:pt idx="5916">0</cx:pt>
          <cx:pt idx="5917">0</cx:pt>
          <cx:pt idx="5918">0</cx:pt>
          <cx:pt idx="5919">0</cx:pt>
          <cx:pt idx="5920">0</cx:pt>
          <cx:pt idx="5921">0</cx:pt>
          <cx:pt idx="5922">0</cx:pt>
          <cx:pt idx="5923">0</cx:pt>
          <cx:pt idx="5924">0</cx:pt>
          <cx:pt idx="5925">0</cx:pt>
          <cx:pt idx="5926">0</cx:pt>
          <cx:pt idx="5927">0</cx:pt>
          <cx:pt idx="5928">0</cx:pt>
          <cx:pt idx="5929">0</cx:pt>
          <cx:pt idx="5930">0</cx:pt>
          <cx:pt idx="5931">0</cx:pt>
          <cx:pt idx="5932">0</cx:pt>
          <cx:pt idx="5933">0</cx:pt>
          <cx:pt idx="5934">0</cx:pt>
          <cx:pt idx="5935">0</cx:pt>
          <cx:pt idx="5936">0</cx:pt>
          <cx:pt idx="5937">0</cx:pt>
          <cx:pt idx="5938">0</cx:pt>
          <cx:pt idx="5939">0</cx:pt>
          <cx:pt idx="5940">0</cx:pt>
          <cx:pt idx="5941">0</cx:pt>
          <cx:pt idx="5942">0</cx:pt>
          <cx:pt idx="5943">0</cx:pt>
          <cx:pt idx="5944">0</cx:pt>
          <cx:pt idx="5945">0</cx:pt>
          <cx:pt idx="5946">0</cx:pt>
          <cx:pt idx="5947">0</cx:pt>
          <cx:pt idx="5948">0</cx:pt>
          <cx:pt idx="5949">0</cx:pt>
          <cx:pt idx="5950">0</cx:pt>
          <cx:pt idx="5951">0</cx:pt>
          <cx:pt idx="5952">0</cx:pt>
          <cx:pt idx="5953">0</cx:pt>
          <cx:pt idx="5954">0</cx:pt>
          <cx:pt idx="5955">0</cx:pt>
          <cx:pt idx="5956">0</cx:pt>
          <cx:pt idx="5957">0</cx:pt>
          <cx:pt idx="5958">0</cx:pt>
          <cx:pt idx="5959">0</cx:pt>
          <cx:pt idx="5960">0</cx:pt>
          <cx:pt idx="5961">0</cx:pt>
          <cx:pt idx="5962">0</cx:pt>
          <cx:pt idx="5963">0</cx:pt>
          <cx:pt idx="5964">0</cx:pt>
          <cx:pt idx="5965">0</cx:pt>
          <cx:pt idx="5966">0</cx:pt>
          <cx:pt idx="5967">0</cx:pt>
          <cx:pt idx="5968">0</cx:pt>
          <cx:pt idx="5969">0</cx:pt>
          <cx:pt idx="5970">0</cx:pt>
          <cx:pt idx="5971">0</cx:pt>
          <cx:pt idx="5972">0</cx:pt>
          <cx:pt idx="5973">0</cx:pt>
          <cx:pt idx="5974">0</cx:pt>
          <cx:pt idx="5975">0</cx:pt>
          <cx:pt idx="5976">0</cx:pt>
          <cx:pt idx="5977">0</cx:pt>
          <cx:pt idx="5978">0</cx:pt>
          <cx:pt idx="5979">0</cx:pt>
          <cx:pt idx="5980">0</cx:pt>
          <cx:pt idx="5981">0</cx:pt>
          <cx:pt idx="5982">0</cx:pt>
          <cx:pt idx="5983">0</cx:pt>
          <cx:pt idx="5984">0</cx:pt>
          <cx:pt idx="5985">0</cx:pt>
          <cx:pt idx="5986">0</cx:pt>
          <cx:pt idx="5987">0</cx:pt>
          <cx:pt idx="5988">0</cx:pt>
          <cx:pt idx="5989">0</cx:pt>
          <cx:pt idx="5990">0</cx:pt>
          <cx:pt idx="5991">0</cx:pt>
          <cx:pt idx="5992">0</cx:pt>
          <cx:pt idx="5993">0</cx:pt>
          <cx:pt idx="5994">0</cx:pt>
          <cx:pt idx="5995">0</cx:pt>
          <cx:pt idx="5996">0</cx:pt>
          <cx:pt idx="5997">0</cx:pt>
          <cx:pt idx="5998">0</cx:pt>
          <cx:pt idx="5999">0</cx:pt>
          <cx:pt idx="6000">0</cx:pt>
          <cx:pt idx="6001">0</cx:pt>
          <cx:pt idx="6002">0</cx:pt>
          <cx:pt idx="6003">0</cx:pt>
          <cx:pt idx="6004">0</cx:pt>
          <cx:pt idx="6005">0</cx:pt>
          <cx:pt idx="6006">0</cx:pt>
          <cx:pt idx="6007">0</cx:pt>
          <cx:pt idx="6008">0</cx:pt>
          <cx:pt idx="6009">0</cx:pt>
          <cx:pt idx="6010">0</cx:pt>
          <cx:pt idx="6011">0</cx:pt>
          <cx:pt idx="6012">0</cx:pt>
          <cx:pt idx="6013">0</cx:pt>
          <cx:pt idx="6014">0</cx:pt>
          <cx:pt idx="6015">0</cx:pt>
          <cx:pt idx="6016">0</cx:pt>
          <cx:pt idx="6017">0</cx:pt>
          <cx:pt idx="6018">0</cx:pt>
          <cx:pt idx="6019">0</cx:pt>
          <cx:pt idx="6020">0</cx:pt>
          <cx:pt idx="6021">0</cx:pt>
          <cx:pt idx="6022">0</cx:pt>
          <cx:pt idx="6023">0</cx:pt>
          <cx:pt idx="6024">0</cx:pt>
          <cx:pt idx="6025">0</cx:pt>
          <cx:pt idx="6026">0</cx:pt>
          <cx:pt idx="6027">0</cx:pt>
          <cx:pt idx="6028">0</cx:pt>
          <cx:pt idx="6029">0</cx:pt>
          <cx:pt idx="6030">0</cx:pt>
          <cx:pt idx="6031">0</cx:pt>
          <cx:pt idx="6032">0</cx:pt>
          <cx:pt idx="6033">0</cx:pt>
          <cx:pt idx="6034">0</cx:pt>
          <cx:pt idx="6035">0</cx:pt>
          <cx:pt idx="6036">0</cx:pt>
          <cx:pt idx="6037">0</cx:pt>
          <cx:pt idx="6038">0</cx:pt>
          <cx:pt idx="6039">0</cx:pt>
          <cx:pt idx="6040">0</cx:pt>
          <cx:pt idx="6041">0</cx:pt>
          <cx:pt idx="6042">0</cx:pt>
          <cx:pt idx="6043">0</cx:pt>
          <cx:pt idx="6044">0</cx:pt>
          <cx:pt idx="6045">0</cx:pt>
          <cx:pt idx="6046">0</cx:pt>
          <cx:pt idx="6047">0</cx:pt>
          <cx:pt idx="6048">0</cx:pt>
          <cx:pt idx="6049">0</cx:pt>
          <cx:pt idx="6050">0</cx:pt>
          <cx:pt idx="6051">0</cx:pt>
          <cx:pt idx="6052">0</cx:pt>
          <cx:pt idx="6053">0</cx:pt>
          <cx:pt idx="6054">0</cx:pt>
          <cx:pt idx="6055">0</cx:pt>
          <cx:pt idx="6056">0</cx:pt>
          <cx:pt idx="6057">0</cx:pt>
          <cx:pt idx="6058">0</cx:pt>
          <cx:pt idx="6059">0</cx:pt>
          <cx:pt idx="6060">0</cx:pt>
          <cx:pt idx="6061">0</cx:pt>
          <cx:pt idx="6062">0</cx:pt>
          <cx:pt idx="6063">0</cx:pt>
          <cx:pt idx="6064">0</cx:pt>
          <cx:pt idx="6065">0</cx:pt>
          <cx:pt idx="6066">0</cx:pt>
          <cx:pt idx="6067">0</cx:pt>
          <cx:pt idx="6068">0</cx:pt>
          <cx:pt idx="6069">0</cx:pt>
          <cx:pt idx="6070">0</cx:pt>
          <cx:pt idx="6071">0</cx:pt>
          <cx:pt idx="6072">0</cx:pt>
          <cx:pt idx="6073">0</cx:pt>
          <cx:pt idx="6074">0</cx:pt>
          <cx:pt idx="6075">0</cx:pt>
          <cx:pt idx="6076">0</cx:pt>
          <cx:pt idx="6077">0</cx:pt>
          <cx:pt idx="6078">0</cx:pt>
          <cx:pt idx="6079">0</cx:pt>
          <cx:pt idx="6080">0</cx:pt>
          <cx:pt idx="6081">0</cx:pt>
          <cx:pt idx="6082">0</cx:pt>
          <cx:pt idx="6083">0</cx:pt>
          <cx:pt idx="6084">0</cx:pt>
          <cx:pt idx="6085">0</cx:pt>
          <cx:pt idx="6086">0</cx:pt>
          <cx:pt idx="6087">0</cx:pt>
          <cx:pt idx="6088">0</cx:pt>
          <cx:pt idx="6089">0</cx:pt>
          <cx:pt idx="6090">0</cx:pt>
          <cx:pt idx="6091">0</cx:pt>
          <cx:pt idx="6092">0</cx:pt>
          <cx:pt idx="6093">0</cx:pt>
          <cx:pt idx="6094">0</cx:pt>
          <cx:pt idx="6095">0</cx:pt>
          <cx:pt idx="6096">0</cx:pt>
          <cx:pt idx="6097">0</cx:pt>
          <cx:pt idx="6098">0</cx:pt>
          <cx:pt idx="6099">0</cx:pt>
          <cx:pt idx="6100">0</cx:pt>
          <cx:pt idx="6101">0</cx:pt>
          <cx:pt idx="6102">0</cx:pt>
          <cx:pt idx="6103">0</cx:pt>
          <cx:pt idx="6104">0</cx:pt>
          <cx:pt idx="6105">0</cx:pt>
          <cx:pt idx="6106">0</cx:pt>
          <cx:pt idx="6107">0</cx:pt>
          <cx:pt idx="6108">0</cx:pt>
          <cx:pt idx="6109">0</cx:pt>
          <cx:pt idx="6110">0</cx:pt>
          <cx:pt idx="6111">0</cx:pt>
          <cx:pt idx="6112">0</cx:pt>
          <cx:pt idx="6113">0</cx:pt>
          <cx:pt idx="6114">0</cx:pt>
          <cx:pt idx="6115">0</cx:pt>
          <cx:pt idx="6116">0</cx:pt>
          <cx:pt idx="6117">0</cx:pt>
          <cx:pt idx="6118">0</cx:pt>
          <cx:pt idx="6119">0</cx:pt>
          <cx:pt idx="6120">0</cx:pt>
          <cx:pt idx="6121">0</cx:pt>
          <cx:pt idx="6122">0</cx:pt>
          <cx:pt idx="6123">0</cx:pt>
          <cx:pt idx="6124">0</cx:pt>
          <cx:pt idx="6125">0</cx:pt>
          <cx:pt idx="6126">0</cx:pt>
          <cx:pt idx="6127">0</cx:pt>
          <cx:pt idx="6128">0</cx:pt>
          <cx:pt idx="6129">0</cx:pt>
          <cx:pt idx="6130">0</cx:pt>
          <cx:pt idx="6131">0</cx:pt>
          <cx:pt idx="6132">0</cx:pt>
          <cx:pt idx="6133">0</cx:pt>
          <cx:pt idx="6134">0</cx:pt>
          <cx:pt idx="6135">0</cx:pt>
          <cx:pt idx="6136">0</cx:pt>
          <cx:pt idx="6137">0</cx:pt>
          <cx:pt idx="6138">0</cx:pt>
          <cx:pt idx="6139">0</cx:pt>
          <cx:pt idx="6140">0</cx:pt>
          <cx:pt idx="6141">0</cx:pt>
          <cx:pt idx="6142">0</cx:pt>
          <cx:pt idx="6143">0</cx:pt>
          <cx:pt idx="6144">0</cx:pt>
          <cx:pt idx="6145">0</cx:pt>
          <cx:pt idx="6146">0</cx:pt>
          <cx:pt idx="6147">0</cx:pt>
          <cx:pt idx="6148">0</cx:pt>
          <cx:pt idx="6149">0</cx:pt>
          <cx:pt idx="6150">0</cx:pt>
          <cx:pt idx="6151">0</cx:pt>
          <cx:pt idx="6152">0</cx:pt>
          <cx:pt idx="6153">0</cx:pt>
          <cx:pt idx="6154">0</cx:pt>
          <cx:pt idx="6155">0</cx:pt>
          <cx:pt idx="6156">0</cx:pt>
          <cx:pt idx="6157">0</cx:pt>
          <cx:pt idx="6158">0</cx:pt>
          <cx:pt idx="6159">0</cx:pt>
          <cx:pt idx="6160">0</cx:pt>
          <cx:pt idx="6161">0</cx:pt>
          <cx:pt idx="6162">0</cx:pt>
          <cx:pt idx="6163">0</cx:pt>
          <cx:pt idx="6164">0</cx:pt>
          <cx:pt idx="6165">0</cx:pt>
          <cx:pt idx="6166">0</cx:pt>
          <cx:pt idx="6167">0</cx:pt>
          <cx:pt idx="6168">0</cx:pt>
          <cx:pt idx="6169">0</cx:pt>
          <cx:pt idx="6170">0</cx:pt>
          <cx:pt idx="6171">0</cx:pt>
          <cx:pt idx="6172">0</cx:pt>
          <cx:pt idx="6173">0</cx:pt>
          <cx:pt idx="6174">0</cx:pt>
          <cx:pt idx="6175">0</cx:pt>
          <cx:pt idx="6176">0</cx:pt>
          <cx:pt idx="6177">0</cx:pt>
          <cx:pt idx="6178">0</cx:pt>
          <cx:pt idx="6179">0</cx:pt>
          <cx:pt idx="6180">0</cx:pt>
          <cx:pt idx="6181">0</cx:pt>
          <cx:pt idx="6182">0</cx:pt>
          <cx:pt idx="6183">0</cx:pt>
          <cx:pt idx="6184">0</cx:pt>
          <cx:pt idx="6185">0</cx:pt>
          <cx:pt idx="6186">0</cx:pt>
          <cx:pt idx="6187">0</cx:pt>
          <cx:pt idx="6188">0</cx:pt>
          <cx:pt idx="6189">0</cx:pt>
          <cx:pt idx="6190">0</cx:pt>
          <cx:pt idx="6191">0</cx:pt>
          <cx:pt idx="6192">0</cx:pt>
          <cx:pt idx="6193">0</cx:pt>
          <cx:pt idx="6194">0</cx:pt>
          <cx:pt idx="6195">0</cx:pt>
          <cx:pt idx="6196">0</cx:pt>
          <cx:pt idx="6197">0</cx:pt>
          <cx:pt idx="6198">0</cx:pt>
          <cx:pt idx="6199">0</cx:pt>
          <cx:pt idx="6200">0</cx:pt>
          <cx:pt idx="6201">0</cx:pt>
          <cx:pt idx="6202">0</cx:pt>
          <cx:pt idx="6203">0</cx:pt>
          <cx:pt idx="6204">0</cx:pt>
          <cx:pt idx="6205">0</cx:pt>
          <cx:pt idx="6206">0</cx:pt>
          <cx:pt idx="6207">0</cx:pt>
          <cx:pt idx="6208">0</cx:pt>
          <cx:pt idx="6209">0</cx:pt>
          <cx:pt idx="6210">0</cx:pt>
          <cx:pt idx="6211">0</cx:pt>
          <cx:pt idx="6212">0</cx:pt>
          <cx:pt idx="6213">0</cx:pt>
          <cx:pt idx="6214">0</cx:pt>
          <cx:pt idx="6215">0</cx:pt>
          <cx:pt idx="6216">0</cx:pt>
          <cx:pt idx="6217">0</cx:pt>
          <cx:pt idx="6218">0</cx:pt>
          <cx:pt idx="6219">0</cx:pt>
          <cx:pt idx="6220">0</cx:pt>
          <cx:pt idx="6221">0</cx:pt>
          <cx:pt idx="6222">0</cx:pt>
          <cx:pt idx="6223">0</cx:pt>
          <cx:pt idx="6224">0</cx:pt>
          <cx:pt idx="6225">0</cx:pt>
          <cx:pt idx="6226">0</cx:pt>
          <cx:pt idx="6227">0</cx:pt>
          <cx:pt idx="6228">0</cx:pt>
          <cx:pt idx="6229">0</cx:pt>
          <cx:pt idx="6230">0</cx:pt>
          <cx:pt idx="6231">0</cx:pt>
          <cx:pt idx="6232">0</cx:pt>
          <cx:pt idx="6233">0</cx:pt>
          <cx:pt idx="6234">0</cx:pt>
          <cx:pt idx="6235">0</cx:pt>
          <cx:pt idx="6236">0</cx:pt>
          <cx:pt idx="6237">0</cx:pt>
          <cx:pt idx="6238">0</cx:pt>
          <cx:pt idx="6239">0</cx:pt>
          <cx:pt idx="6240">0</cx:pt>
          <cx:pt idx="6241">0</cx:pt>
          <cx:pt idx="6242">0</cx:pt>
          <cx:pt idx="6243">0</cx:pt>
          <cx:pt idx="6244">0</cx:pt>
          <cx:pt idx="6245">0</cx:pt>
          <cx:pt idx="6246">0</cx:pt>
          <cx:pt idx="6247">0</cx:pt>
          <cx:pt idx="6248">0</cx:pt>
          <cx:pt idx="6249">0</cx:pt>
          <cx:pt idx="6250">0</cx:pt>
          <cx:pt idx="6251">0</cx:pt>
          <cx:pt idx="6252">0</cx:pt>
          <cx:pt idx="6253">0</cx:pt>
          <cx:pt idx="6254">0</cx:pt>
          <cx:pt idx="6255">0</cx:pt>
          <cx:pt idx="6256">0</cx:pt>
          <cx:pt idx="6257">0</cx:pt>
          <cx:pt idx="6258">0</cx:pt>
          <cx:pt idx="6259">0</cx:pt>
          <cx:pt idx="6260">0</cx:pt>
          <cx:pt idx="6261">0</cx:pt>
          <cx:pt idx="6262">0</cx:pt>
          <cx:pt idx="6263">0</cx:pt>
          <cx:pt idx="6264">0</cx:pt>
          <cx:pt idx="6265">0</cx:pt>
          <cx:pt idx="6266">0</cx:pt>
          <cx:pt idx="6267">0</cx:pt>
          <cx:pt idx="6268">0</cx:pt>
          <cx:pt idx="6269">0</cx:pt>
          <cx:pt idx="6270">0</cx:pt>
          <cx:pt idx="6271">0</cx:pt>
          <cx:pt idx="6272">0</cx:pt>
          <cx:pt idx="6273">0</cx:pt>
          <cx:pt idx="6274">0</cx:pt>
          <cx:pt idx="6275">0</cx:pt>
          <cx:pt idx="6276">0</cx:pt>
          <cx:pt idx="6277">0</cx:pt>
          <cx:pt idx="6278">0</cx:pt>
          <cx:pt idx="6279">0</cx:pt>
          <cx:pt idx="6280">0</cx:pt>
          <cx:pt idx="6281">0</cx:pt>
          <cx:pt idx="6282">0</cx:pt>
          <cx:pt idx="6283">0</cx:pt>
          <cx:pt idx="6284">0</cx:pt>
          <cx:pt idx="6285">0</cx:pt>
          <cx:pt idx="6286">0</cx:pt>
          <cx:pt idx="6287">0</cx:pt>
          <cx:pt idx="6288">0</cx:pt>
          <cx:pt idx="6289">0</cx:pt>
          <cx:pt idx="6290">0</cx:pt>
          <cx:pt idx="6291">0</cx:pt>
          <cx:pt idx="6292">0</cx:pt>
          <cx:pt idx="6293">0</cx:pt>
          <cx:pt idx="6294">0</cx:pt>
          <cx:pt idx="6295">0</cx:pt>
          <cx:pt idx="6296">0</cx:pt>
          <cx:pt idx="6297">0</cx:pt>
          <cx:pt idx="6298">0</cx:pt>
          <cx:pt idx="6299">0</cx:pt>
          <cx:pt idx="6300">0</cx:pt>
          <cx:pt idx="6301">0</cx:pt>
          <cx:pt idx="6302">0</cx:pt>
          <cx:pt idx="6303">0</cx:pt>
          <cx:pt idx="6304">0</cx:pt>
          <cx:pt idx="6305">0</cx:pt>
          <cx:pt idx="6306">0</cx:pt>
          <cx:pt idx="6307">0</cx:pt>
          <cx:pt idx="6308">0</cx:pt>
          <cx:pt idx="6309">0</cx:pt>
          <cx:pt idx="6310">0</cx:pt>
          <cx:pt idx="6311">0</cx:pt>
          <cx:pt idx="6312">0</cx:pt>
          <cx:pt idx="6313">0</cx:pt>
          <cx:pt idx="6314">0</cx:pt>
          <cx:pt idx="6315">0</cx:pt>
          <cx:pt idx="6316">0</cx:pt>
          <cx:pt idx="6317">0</cx:pt>
          <cx:pt idx="6318">0</cx:pt>
          <cx:pt idx="6319">0</cx:pt>
          <cx:pt idx="6320">0</cx:pt>
          <cx:pt idx="6321">0</cx:pt>
          <cx:pt idx="6322">0</cx:pt>
          <cx:pt idx="6323">0</cx:pt>
          <cx:pt idx="6324">0</cx:pt>
          <cx:pt idx="6325">0</cx:pt>
          <cx:pt idx="6326">0</cx:pt>
          <cx:pt idx="6327">0</cx:pt>
          <cx:pt idx="6328">0</cx:pt>
          <cx:pt idx="6329">0</cx:pt>
          <cx:pt idx="6330">0</cx:pt>
          <cx:pt idx="6331">0</cx:pt>
          <cx:pt idx="6332">0</cx:pt>
          <cx:pt idx="6333">0</cx:pt>
          <cx:pt idx="6334">0</cx:pt>
          <cx:pt idx="6335">0</cx:pt>
          <cx:pt idx="6336">0</cx:pt>
          <cx:pt idx="6337">0</cx:pt>
          <cx:pt idx="6338">0</cx:pt>
          <cx:pt idx="6339">0</cx:pt>
          <cx:pt idx="6340">0</cx:pt>
          <cx:pt idx="6341">0</cx:pt>
          <cx:pt idx="6342">0</cx:pt>
          <cx:pt idx="6343">0</cx:pt>
          <cx:pt idx="6344">0</cx:pt>
          <cx:pt idx="6345">0</cx:pt>
          <cx:pt idx="6346">0</cx:pt>
          <cx:pt idx="6347">0</cx:pt>
          <cx:pt idx="6348">0</cx:pt>
          <cx:pt idx="6349">0</cx:pt>
          <cx:pt idx="6350">0</cx:pt>
          <cx:pt idx="6351">0</cx:pt>
          <cx:pt idx="6352">0</cx:pt>
          <cx:pt idx="6353">0</cx:pt>
          <cx:pt idx="6354">0</cx:pt>
          <cx:pt idx="6355">0</cx:pt>
          <cx:pt idx="6356">0</cx:pt>
          <cx:pt idx="6357">0</cx:pt>
          <cx:pt idx="6358">0</cx:pt>
          <cx:pt idx="6359">0</cx:pt>
          <cx:pt idx="6360">0</cx:pt>
          <cx:pt idx="6361">0</cx:pt>
          <cx:pt idx="6362">0</cx:pt>
          <cx:pt idx="6363">0</cx:pt>
          <cx:pt idx="6364">0</cx:pt>
          <cx:pt idx="6365">0</cx:pt>
          <cx:pt idx="6366">0</cx:pt>
          <cx:pt idx="6367">0</cx:pt>
          <cx:pt idx="6368">0</cx:pt>
          <cx:pt idx="6369">0</cx:pt>
          <cx:pt idx="6370">0</cx:pt>
          <cx:pt idx="6371">0</cx:pt>
          <cx:pt idx="6372">0</cx:pt>
          <cx:pt idx="6373">0</cx:pt>
          <cx:pt idx="6374">0</cx:pt>
          <cx:pt idx="6375">0</cx:pt>
          <cx:pt idx="6376">0</cx:pt>
          <cx:pt idx="6377">0</cx:pt>
          <cx:pt idx="6378">0</cx:pt>
          <cx:pt idx="6379">0</cx:pt>
          <cx:pt idx="6380">0</cx:pt>
          <cx:pt idx="6381">0</cx:pt>
          <cx:pt idx="6382">0</cx:pt>
          <cx:pt idx="6383">0</cx:pt>
          <cx:pt idx="6384">0</cx:pt>
          <cx:pt idx="6385">0</cx:pt>
          <cx:pt idx="6386">0</cx:pt>
          <cx:pt idx="6387">0</cx:pt>
          <cx:pt idx="6388">0</cx:pt>
          <cx:pt idx="6389">0</cx:pt>
          <cx:pt idx="6390">0</cx:pt>
          <cx:pt idx="6391">0</cx:pt>
          <cx:pt idx="6392">0</cx:pt>
          <cx:pt idx="6393">0</cx:pt>
          <cx:pt idx="6394">0</cx:pt>
          <cx:pt idx="6395">0</cx:pt>
          <cx:pt idx="6396">0</cx:pt>
          <cx:pt idx="6397">0</cx:pt>
          <cx:pt idx="6398">0</cx:pt>
          <cx:pt idx="6399">0</cx:pt>
          <cx:pt idx="6400">0</cx:pt>
          <cx:pt idx="6401">0</cx:pt>
          <cx:pt idx="6402">0</cx:pt>
          <cx:pt idx="6403">0</cx:pt>
          <cx:pt idx="6404">0</cx:pt>
          <cx:pt idx="6405">0</cx:pt>
          <cx:pt idx="6406">0</cx:pt>
          <cx:pt idx="6407">0</cx:pt>
          <cx:pt idx="6408">0</cx:pt>
          <cx:pt idx="6409">0</cx:pt>
          <cx:pt idx="6410">0</cx:pt>
          <cx:pt idx="6411">0</cx:pt>
          <cx:pt idx="6412">0</cx:pt>
          <cx:pt idx="6413">0</cx:pt>
          <cx:pt idx="6414">0</cx:pt>
          <cx:pt idx="6415">0</cx:pt>
          <cx:pt idx="6416">0</cx:pt>
          <cx:pt idx="6417">0</cx:pt>
          <cx:pt idx="6418">0</cx:pt>
          <cx:pt idx="6419">0</cx:pt>
          <cx:pt idx="6420">0</cx:pt>
          <cx:pt idx="6421">0</cx:pt>
          <cx:pt idx="6422">0</cx:pt>
          <cx:pt idx="6423">0</cx:pt>
          <cx:pt idx="6424">0</cx:pt>
          <cx:pt idx="6425">0</cx:pt>
          <cx:pt idx="6426">0</cx:pt>
          <cx:pt idx="6427">0</cx:pt>
          <cx:pt idx="6428">0</cx:pt>
          <cx:pt idx="6429">0</cx:pt>
          <cx:pt idx="6430">0</cx:pt>
          <cx:pt idx="6431">0</cx:pt>
          <cx:pt idx="6432">0</cx:pt>
          <cx:pt idx="6433">0</cx:pt>
          <cx:pt idx="6434">0</cx:pt>
          <cx:pt idx="6435">0</cx:pt>
          <cx:pt idx="6436">0</cx:pt>
          <cx:pt idx="6437">0</cx:pt>
          <cx:pt idx="6438">0</cx:pt>
          <cx:pt idx="6439">0</cx:pt>
          <cx:pt idx="6440">0</cx:pt>
          <cx:pt idx="6441">0</cx:pt>
          <cx:pt idx="6442">0</cx:pt>
          <cx:pt idx="6443">0</cx:pt>
          <cx:pt idx="6444">0</cx:pt>
          <cx:pt idx="6445">0</cx:pt>
          <cx:pt idx="6446">0</cx:pt>
          <cx:pt idx="6447">0</cx:pt>
          <cx:pt idx="6448">0</cx:pt>
          <cx:pt idx="6449">0</cx:pt>
          <cx:pt idx="6450">0</cx:pt>
          <cx:pt idx="6451">0</cx:pt>
          <cx:pt idx="6452">0</cx:pt>
          <cx:pt idx="6453">0</cx:pt>
          <cx:pt idx="6454">0</cx:pt>
          <cx:pt idx="6455">0</cx:pt>
          <cx:pt idx="6456">0</cx:pt>
          <cx:pt idx="6457">0</cx:pt>
          <cx:pt idx="6458">0</cx:pt>
          <cx:pt idx="6459">0</cx:pt>
          <cx:pt idx="6460">0</cx:pt>
          <cx:pt idx="6461">0</cx:pt>
          <cx:pt idx="6462">0</cx:pt>
          <cx:pt idx="6463">0</cx:pt>
          <cx:pt idx="6464">0</cx:pt>
          <cx:pt idx="6465">0</cx:pt>
          <cx:pt idx="6466">0</cx:pt>
          <cx:pt idx="6467">0</cx:pt>
          <cx:pt idx="6468">0</cx:pt>
          <cx:pt idx="6469">0</cx:pt>
          <cx:pt idx="6470">0</cx:pt>
          <cx:pt idx="6471">0</cx:pt>
          <cx:pt idx="6472">0</cx:pt>
          <cx:pt idx="6473">0</cx:pt>
          <cx:pt idx="6474">0</cx:pt>
          <cx:pt idx="6475">0</cx:pt>
          <cx:pt idx="6476">0</cx:pt>
          <cx:pt idx="6477">0</cx:pt>
          <cx:pt idx="6478">0</cx:pt>
          <cx:pt idx="6479">0</cx:pt>
          <cx:pt idx="6480">0</cx:pt>
          <cx:pt idx="6481">0</cx:pt>
          <cx:pt idx="6482">0</cx:pt>
          <cx:pt idx="6483">0</cx:pt>
          <cx:pt idx="6484">0</cx:pt>
          <cx:pt idx="6485">0</cx:pt>
          <cx:pt idx="6486">0</cx:pt>
          <cx:pt idx="6487">0</cx:pt>
          <cx:pt idx="6488">0</cx:pt>
          <cx:pt idx="6489">0</cx:pt>
          <cx:pt idx="6490">0</cx:pt>
          <cx:pt idx="6491">0</cx:pt>
          <cx:pt idx="6492">0</cx:pt>
          <cx:pt idx="6493">0</cx:pt>
          <cx:pt idx="6494">0</cx:pt>
          <cx:pt idx="6495">0</cx:pt>
          <cx:pt idx="6496">0</cx:pt>
          <cx:pt idx="6497">0</cx:pt>
          <cx:pt idx="6498">0</cx:pt>
          <cx:pt idx="6499">0</cx:pt>
          <cx:pt idx="6500">0</cx:pt>
          <cx:pt idx="6501">0</cx:pt>
          <cx:pt idx="6502">0</cx:pt>
          <cx:pt idx="6503">0</cx:pt>
          <cx:pt idx="6504">0</cx:pt>
          <cx:pt idx="6505">0</cx:pt>
          <cx:pt idx="6506">0</cx:pt>
          <cx:pt idx="6507">0</cx:pt>
          <cx:pt idx="6508">0</cx:pt>
          <cx:pt idx="6509">0</cx:pt>
          <cx:pt idx="6510">0</cx:pt>
          <cx:pt idx="6511">0</cx:pt>
          <cx:pt idx="6512">0</cx:pt>
          <cx:pt idx="6513">0</cx:pt>
          <cx:pt idx="6514">0</cx:pt>
          <cx:pt idx="6515">0</cx:pt>
          <cx:pt idx="6516">0</cx:pt>
          <cx:pt idx="6517">0</cx:pt>
          <cx:pt idx="6518">0</cx:pt>
          <cx:pt idx="6519">0</cx:pt>
          <cx:pt idx="6520">0</cx:pt>
          <cx:pt idx="6521">0</cx:pt>
          <cx:pt idx="6522">0</cx:pt>
          <cx:pt idx="6523">0</cx:pt>
          <cx:pt idx="6524">0</cx:pt>
          <cx:pt idx="6525">0</cx:pt>
          <cx:pt idx="6526">0</cx:pt>
          <cx:pt idx="6527">0</cx:pt>
          <cx:pt idx="6528">0</cx:pt>
          <cx:pt idx="6529">0</cx:pt>
          <cx:pt idx="6530">0</cx:pt>
          <cx:pt idx="6531">0</cx:pt>
          <cx:pt idx="6532">0</cx:pt>
          <cx:pt idx="6533">0</cx:pt>
          <cx:pt idx="6534">0</cx:pt>
          <cx:pt idx="6535">0</cx:pt>
          <cx:pt idx="6536">0</cx:pt>
          <cx:pt idx="6537">0</cx:pt>
          <cx:pt idx="6538">0</cx:pt>
          <cx:pt idx="6539">0</cx:pt>
          <cx:pt idx="6540">0</cx:pt>
          <cx:pt idx="6541">0</cx:pt>
          <cx:pt idx="6542">0</cx:pt>
          <cx:pt idx="6543">0</cx:pt>
          <cx:pt idx="6544">0</cx:pt>
          <cx:pt idx="6545">0</cx:pt>
          <cx:pt idx="6546">0</cx:pt>
          <cx:pt idx="6547">0</cx:pt>
          <cx:pt idx="6548">0</cx:pt>
          <cx:pt idx="6549">0</cx:pt>
          <cx:pt idx="6550">0</cx:pt>
          <cx:pt idx="6551">0</cx:pt>
          <cx:pt idx="6552">0</cx:pt>
          <cx:pt idx="6553">0</cx:pt>
          <cx:pt idx="6554">0</cx:pt>
          <cx:pt idx="6555">0</cx:pt>
          <cx:pt idx="6556">0</cx:pt>
          <cx:pt idx="6557">0</cx:pt>
          <cx:pt idx="6558">0</cx:pt>
          <cx:pt idx="6559">0</cx:pt>
          <cx:pt idx="6560">0</cx:pt>
          <cx:pt idx="6561">0</cx:pt>
          <cx:pt idx="6562">0</cx:pt>
          <cx:pt idx="6563">0</cx:pt>
          <cx:pt idx="6564">0</cx:pt>
          <cx:pt idx="6565">0</cx:pt>
          <cx:pt idx="6566">0</cx:pt>
          <cx:pt idx="6567">0</cx:pt>
          <cx:pt idx="6568">0</cx:pt>
          <cx:pt idx="6569">0</cx:pt>
          <cx:pt idx="6570">0</cx:pt>
          <cx:pt idx="6571">0</cx:pt>
          <cx:pt idx="6572">0</cx:pt>
          <cx:pt idx="6573">0</cx:pt>
          <cx:pt idx="6574">0</cx:pt>
          <cx:pt idx="6575">0</cx:pt>
          <cx:pt idx="6576">0</cx:pt>
          <cx:pt idx="6577">0</cx:pt>
          <cx:pt idx="6578">0</cx:pt>
          <cx:pt idx="6579">0</cx:pt>
          <cx:pt idx="6580">0</cx:pt>
          <cx:pt idx="6581">0</cx:pt>
          <cx:pt idx="6582">0</cx:pt>
          <cx:pt idx="6583">0</cx:pt>
          <cx:pt idx="6584">0</cx:pt>
          <cx:pt idx="6585">0</cx:pt>
          <cx:pt idx="6586">0</cx:pt>
          <cx:pt idx="6587">0</cx:pt>
          <cx:pt idx="6588">0</cx:pt>
          <cx:pt idx="6589">0</cx:pt>
          <cx:pt idx="6590">0</cx:pt>
          <cx:pt idx="6591">0</cx:pt>
          <cx:pt idx="6592">0</cx:pt>
          <cx:pt idx="6593">0</cx:pt>
          <cx:pt idx="6594">0</cx:pt>
          <cx:pt idx="6595">0</cx:pt>
          <cx:pt idx="6596">0</cx:pt>
          <cx:pt idx="6597">0</cx:pt>
          <cx:pt idx="6598">0</cx:pt>
          <cx:pt idx="6599">0</cx:pt>
          <cx:pt idx="6600">0</cx:pt>
          <cx:pt idx="6601">0</cx:pt>
          <cx:pt idx="6602">0</cx:pt>
          <cx:pt idx="6603">0</cx:pt>
          <cx:pt idx="6604">0</cx:pt>
          <cx:pt idx="6605">0</cx:pt>
          <cx:pt idx="6606">0</cx:pt>
          <cx:pt idx="6607">0</cx:pt>
          <cx:pt idx="6608">0</cx:pt>
          <cx:pt idx="6609">0</cx:pt>
          <cx:pt idx="6610">0</cx:pt>
          <cx:pt idx="6611">0</cx:pt>
          <cx:pt idx="6612">0</cx:pt>
          <cx:pt idx="6613">0</cx:pt>
          <cx:pt idx="6614">0</cx:pt>
          <cx:pt idx="6615">0</cx:pt>
          <cx:pt idx="6616">0</cx:pt>
          <cx:pt idx="6617">0</cx:pt>
          <cx:pt idx="6618">0</cx:pt>
          <cx:pt idx="6619">0</cx:pt>
          <cx:pt idx="6620">0</cx:pt>
          <cx:pt idx="6621">0</cx:pt>
          <cx:pt idx="6622">0</cx:pt>
          <cx:pt idx="6623">0</cx:pt>
          <cx:pt idx="6624">0</cx:pt>
          <cx:pt idx="6625">0</cx:pt>
          <cx:pt idx="6626">0</cx:pt>
          <cx:pt idx="6627">0</cx:pt>
          <cx:pt idx="6628">0</cx:pt>
          <cx:pt idx="6629">0</cx:pt>
          <cx:pt idx="6630">0</cx:pt>
          <cx:pt idx="6631">0</cx:pt>
          <cx:pt idx="6632">0</cx:pt>
          <cx:pt idx="6633">0</cx:pt>
          <cx:pt idx="6634">0</cx:pt>
          <cx:pt idx="6635">0</cx:pt>
          <cx:pt idx="6636">0</cx:pt>
          <cx:pt idx="6637">0</cx:pt>
          <cx:pt idx="6638">0</cx:pt>
          <cx:pt idx="6639">0</cx:pt>
          <cx:pt idx="6640">0</cx:pt>
          <cx:pt idx="6641">0</cx:pt>
          <cx:pt idx="6642">0</cx:pt>
          <cx:pt idx="6643">0</cx:pt>
          <cx:pt idx="6644">0</cx:pt>
          <cx:pt idx="6645">0</cx:pt>
          <cx:pt idx="6646">0</cx:pt>
          <cx:pt idx="6647">0</cx:pt>
          <cx:pt idx="6648">0</cx:pt>
          <cx:pt idx="6649">0</cx:pt>
          <cx:pt idx="6650">0</cx:pt>
          <cx:pt idx="6651">0</cx:pt>
          <cx:pt idx="6652">0</cx:pt>
          <cx:pt idx="6653">0</cx:pt>
          <cx:pt idx="6654">0</cx:pt>
          <cx:pt idx="6655">0</cx:pt>
          <cx:pt idx="6656">0</cx:pt>
          <cx:pt idx="6657">0</cx:pt>
          <cx:pt idx="6658">0</cx:pt>
          <cx:pt idx="6659">0</cx:pt>
          <cx:pt idx="6660">0</cx:pt>
          <cx:pt idx="6661">0</cx:pt>
          <cx:pt idx="6662">0</cx:pt>
          <cx:pt idx="6663">0</cx:pt>
          <cx:pt idx="6664">0</cx:pt>
          <cx:pt idx="6665">0</cx:pt>
          <cx:pt idx="6666">0</cx:pt>
          <cx:pt idx="6667">0</cx:pt>
          <cx:pt idx="6668">0</cx:pt>
          <cx:pt idx="6669">0</cx:pt>
          <cx:pt idx="6670">0</cx:pt>
          <cx:pt idx="6671">0</cx:pt>
          <cx:pt idx="6672">0</cx:pt>
          <cx:pt idx="6673">0</cx:pt>
          <cx:pt idx="6674">0</cx:pt>
          <cx:pt idx="6675">0</cx:pt>
          <cx:pt idx="6676">0</cx:pt>
          <cx:pt idx="6677">0</cx:pt>
          <cx:pt idx="6678">0</cx:pt>
          <cx:pt idx="6679">0</cx:pt>
          <cx:pt idx="6680">0</cx:pt>
          <cx:pt idx="6681">0</cx:pt>
          <cx:pt idx="6682">0</cx:pt>
          <cx:pt idx="6683">0</cx:pt>
          <cx:pt idx="6684">0</cx:pt>
          <cx:pt idx="6685">0</cx:pt>
          <cx:pt idx="6686">0</cx:pt>
          <cx:pt idx="6687">0</cx:pt>
          <cx:pt idx="6688">0</cx:pt>
          <cx:pt idx="6689">0</cx:pt>
          <cx:pt idx="6690">0</cx:pt>
          <cx:pt idx="6691">0</cx:pt>
          <cx:pt idx="6692">0</cx:pt>
          <cx:pt idx="6693">0</cx:pt>
          <cx:pt idx="6694">0</cx:pt>
          <cx:pt idx="6695">0</cx:pt>
          <cx:pt idx="6696">0</cx:pt>
          <cx:pt idx="6697">0</cx:pt>
          <cx:pt idx="6698">0</cx:pt>
          <cx:pt idx="6699">0</cx:pt>
          <cx:pt idx="6700">0</cx:pt>
          <cx:pt idx="6701">0</cx:pt>
          <cx:pt idx="6702">0</cx:pt>
          <cx:pt idx="6703">0</cx:pt>
          <cx:pt idx="6704">0</cx:pt>
          <cx:pt idx="6705">0</cx:pt>
          <cx:pt idx="6706">0</cx:pt>
          <cx:pt idx="6707">0</cx:pt>
          <cx:pt idx="6708">0</cx:pt>
          <cx:pt idx="6709">0</cx:pt>
          <cx:pt idx="6710">0</cx:pt>
          <cx:pt idx="6711">0</cx:pt>
          <cx:pt idx="6712">0</cx:pt>
          <cx:pt idx="6713">0</cx:pt>
          <cx:pt idx="6714">0</cx:pt>
          <cx:pt idx="6715">0</cx:pt>
          <cx:pt idx="6716">0</cx:pt>
          <cx:pt idx="6717">0</cx:pt>
          <cx:pt idx="6718">0</cx:pt>
          <cx:pt idx="6719">0</cx:pt>
          <cx:pt idx="6720">0</cx:pt>
          <cx:pt idx="6721">0</cx:pt>
          <cx:pt idx="6722">0</cx:pt>
          <cx:pt idx="6723">0</cx:pt>
          <cx:pt idx="6724">0</cx:pt>
          <cx:pt idx="6725">0</cx:pt>
          <cx:pt idx="6726">0</cx:pt>
          <cx:pt idx="6727">0</cx:pt>
          <cx:pt idx="6728">0</cx:pt>
          <cx:pt idx="6729">0</cx:pt>
          <cx:pt idx="6730">0</cx:pt>
          <cx:pt idx="6731">0</cx:pt>
          <cx:pt idx="6732">0</cx:pt>
          <cx:pt idx="6733">0</cx:pt>
          <cx:pt idx="6734">0</cx:pt>
          <cx:pt idx="6735">0</cx:pt>
          <cx:pt idx="6736">0</cx:pt>
          <cx:pt idx="6737">0</cx:pt>
          <cx:pt idx="6738">0</cx:pt>
          <cx:pt idx="6739">0</cx:pt>
          <cx:pt idx="6740">0</cx:pt>
          <cx:pt idx="6741">0</cx:pt>
          <cx:pt idx="6742">0</cx:pt>
          <cx:pt idx="6743">0</cx:pt>
          <cx:pt idx="6744">0</cx:pt>
          <cx:pt idx="6745">0</cx:pt>
          <cx:pt idx="6746">0</cx:pt>
          <cx:pt idx="6747">0</cx:pt>
          <cx:pt idx="6748">0</cx:pt>
          <cx:pt idx="6749">0</cx:pt>
          <cx:pt idx="6750">0</cx:pt>
          <cx:pt idx="6751">0</cx:pt>
          <cx:pt idx="6752">0</cx:pt>
          <cx:pt idx="6753">0</cx:pt>
          <cx:pt idx="6754">0</cx:pt>
          <cx:pt idx="6755">0</cx:pt>
          <cx:pt idx="6756">0</cx:pt>
          <cx:pt idx="6757">0</cx:pt>
          <cx:pt idx="6758">0</cx:pt>
          <cx:pt idx="6759">0</cx:pt>
          <cx:pt idx="6760">0</cx:pt>
          <cx:pt idx="6761">0</cx:pt>
          <cx:pt idx="6762">0</cx:pt>
          <cx:pt idx="6763">0</cx:pt>
          <cx:pt idx="6764">0</cx:pt>
          <cx:pt idx="6765">0</cx:pt>
          <cx:pt idx="6766">0</cx:pt>
          <cx:pt idx="6767">0</cx:pt>
          <cx:pt idx="6768">0</cx:pt>
          <cx:pt idx="6769">0</cx:pt>
          <cx:pt idx="6770">0</cx:pt>
          <cx:pt idx="6771">0</cx:pt>
          <cx:pt idx="6772">0</cx:pt>
          <cx:pt idx="6773">0</cx:pt>
          <cx:pt idx="6774">0</cx:pt>
          <cx:pt idx="6775">0</cx:pt>
          <cx:pt idx="6776">0</cx:pt>
          <cx:pt idx="6777">0</cx:pt>
          <cx:pt idx="6778">0</cx:pt>
          <cx:pt idx="6779">0</cx:pt>
          <cx:pt idx="6780">0</cx:pt>
          <cx:pt idx="6781">0</cx:pt>
          <cx:pt idx="6782">0</cx:pt>
          <cx:pt idx="6783">0</cx:pt>
          <cx:pt idx="6784">0</cx:pt>
          <cx:pt idx="6785">0</cx:pt>
          <cx:pt idx="6786">0</cx:pt>
          <cx:pt idx="6787">0</cx:pt>
          <cx:pt idx="6788">0</cx:pt>
          <cx:pt idx="6789">0</cx:pt>
          <cx:pt idx="6790">0</cx:pt>
          <cx:pt idx="6791">0</cx:pt>
          <cx:pt idx="6792">0</cx:pt>
          <cx:pt idx="6793">0</cx:pt>
          <cx:pt idx="6794">0</cx:pt>
          <cx:pt idx="6795">0</cx:pt>
          <cx:pt idx="6796">0</cx:pt>
          <cx:pt idx="6797">0</cx:pt>
          <cx:pt idx="6798">0</cx:pt>
          <cx:pt idx="6799">0</cx:pt>
          <cx:pt idx="6800">0</cx:pt>
          <cx:pt idx="6801">0</cx:pt>
          <cx:pt idx="6802">0</cx:pt>
          <cx:pt idx="6803">0</cx:pt>
          <cx:pt idx="6804">0</cx:pt>
          <cx:pt idx="6805">0</cx:pt>
          <cx:pt idx="6806">0</cx:pt>
          <cx:pt idx="6807">0</cx:pt>
          <cx:pt idx="6808">0</cx:pt>
          <cx:pt idx="6809">0</cx:pt>
          <cx:pt idx="6810">0</cx:pt>
          <cx:pt idx="6811">0</cx:pt>
          <cx:pt idx="6812">0</cx:pt>
          <cx:pt idx="6813">0</cx:pt>
          <cx:pt idx="6814">0</cx:pt>
          <cx:pt idx="6815">0</cx:pt>
          <cx:pt idx="6816">0</cx:pt>
          <cx:pt idx="6817">0</cx:pt>
          <cx:pt idx="6818">0</cx:pt>
          <cx:pt idx="6819">0</cx:pt>
          <cx:pt idx="6820">0</cx:pt>
          <cx:pt idx="6821">0</cx:pt>
          <cx:pt idx="6822">0</cx:pt>
          <cx:pt idx="6823">0</cx:pt>
          <cx:pt idx="6824">0</cx:pt>
          <cx:pt idx="6825">0</cx:pt>
          <cx:pt idx="6826">0</cx:pt>
          <cx:pt idx="6827">0</cx:pt>
          <cx:pt idx="6828">0</cx:pt>
          <cx:pt idx="6829">0</cx:pt>
          <cx:pt idx="6830">0</cx:pt>
          <cx:pt idx="6831">0</cx:pt>
          <cx:pt idx="6832">0</cx:pt>
          <cx:pt idx="6833">0</cx:pt>
          <cx:pt idx="6834">0</cx:pt>
          <cx:pt idx="6835">0</cx:pt>
          <cx:pt idx="6836">0</cx:pt>
          <cx:pt idx="6837">0</cx:pt>
          <cx:pt idx="6838">0</cx:pt>
          <cx:pt idx="6839">0</cx:pt>
          <cx:pt idx="6840">0</cx:pt>
          <cx:pt idx="6841">0</cx:pt>
          <cx:pt idx="6842">0</cx:pt>
          <cx:pt idx="6843">0</cx:pt>
          <cx:pt idx="6844">0</cx:pt>
          <cx:pt idx="6845">0</cx:pt>
          <cx:pt idx="6846">0</cx:pt>
          <cx:pt idx="6847">0</cx:pt>
          <cx:pt idx="6848">0</cx:pt>
          <cx:pt idx="6849">0</cx:pt>
          <cx:pt idx="6850">0</cx:pt>
          <cx:pt idx="6851">0</cx:pt>
          <cx:pt idx="6852">0</cx:pt>
          <cx:pt idx="6853">0</cx:pt>
          <cx:pt idx="6854">0</cx:pt>
          <cx:pt idx="6855">0</cx:pt>
          <cx:pt idx="6856">0</cx:pt>
          <cx:pt idx="6857">0</cx:pt>
          <cx:pt idx="6858">0</cx:pt>
          <cx:pt idx="6859">0</cx:pt>
          <cx:pt idx="6860">0</cx:pt>
          <cx:pt idx="6861">0</cx:pt>
          <cx:pt idx="6862">0</cx:pt>
          <cx:pt idx="6863">0</cx:pt>
          <cx:pt idx="6864">0</cx:pt>
          <cx:pt idx="6865">0</cx:pt>
          <cx:pt idx="6866">0</cx:pt>
          <cx:pt idx="6867">0</cx:pt>
          <cx:pt idx="6868">0</cx:pt>
          <cx:pt idx="6869">0</cx:pt>
          <cx:pt idx="6870">0</cx:pt>
          <cx:pt idx="6871">0</cx:pt>
          <cx:pt idx="6872">0</cx:pt>
          <cx:pt idx="6873">0</cx:pt>
          <cx:pt idx="6874">0</cx:pt>
          <cx:pt idx="6875">0</cx:pt>
          <cx:pt idx="6876">0</cx:pt>
          <cx:pt idx="6877">0</cx:pt>
          <cx:pt idx="6878">0</cx:pt>
          <cx:pt idx="6879">0</cx:pt>
          <cx:pt idx="6880">0</cx:pt>
          <cx:pt idx="6881">0</cx:pt>
          <cx:pt idx="6882">0</cx:pt>
          <cx:pt idx="6883">0</cx:pt>
          <cx:pt idx="6884">0</cx:pt>
          <cx:pt idx="6885">0</cx:pt>
          <cx:pt idx="6886">0</cx:pt>
          <cx:pt idx="6887">0</cx:pt>
          <cx:pt idx="6888">0</cx:pt>
          <cx:pt idx="6889">0</cx:pt>
          <cx:pt idx="6890">0</cx:pt>
          <cx:pt idx="6891">0</cx:pt>
          <cx:pt idx="6892">0</cx:pt>
          <cx:pt idx="6893">0</cx:pt>
          <cx:pt idx="6894">0</cx:pt>
          <cx:pt idx="6895">0</cx:pt>
          <cx:pt idx="6896">0</cx:pt>
          <cx:pt idx="6897">0</cx:pt>
          <cx:pt idx="6898">0</cx:pt>
          <cx:pt idx="6899">0</cx:pt>
          <cx:pt idx="6900">0</cx:pt>
          <cx:pt idx="6901">0</cx:pt>
          <cx:pt idx="6902">0</cx:pt>
          <cx:pt idx="6903">0</cx:pt>
          <cx:pt idx="6904">0</cx:pt>
          <cx:pt idx="6905">0</cx:pt>
          <cx:pt idx="6906">0</cx:pt>
          <cx:pt idx="6907">0</cx:pt>
          <cx:pt idx="6908">0</cx:pt>
          <cx:pt idx="6909">0</cx:pt>
          <cx:pt idx="6910">0</cx:pt>
          <cx:pt idx="6911">0</cx:pt>
          <cx:pt idx="6912">0</cx:pt>
          <cx:pt idx="6913">0</cx:pt>
          <cx:pt idx="6914">0</cx:pt>
          <cx:pt idx="6915">0</cx:pt>
          <cx:pt idx="6916">0</cx:pt>
          <cx:pt idx="6917">0</cx:pt>
          <cx:pt idx="6918">0</cx:pt>
          <cx:pt idx="6919">0</cx:pt>
          <cx:pt idx="6920">0</cx:pt>
          <cx:pt idx="6921">0</cx:pt>
          <cx:pt idx="6922">0</cx:pt>
          <cx:pt idx="6923">0</cx:pt>
          <cx:pt idx="6924">0</cx:pt>
          <cx:pt idx="6925">0</cx:pt>
          <cx:pt idx="6926">0</cx:pt>
          <cx:pt idx="6927">0</cx:pt>
          <cx:pt idx="6928">0</cx:pt>
          <cx:pt idx="6929">0</cx:pt>
          <cx:pt idx="6930">0</cx:pt>
          <cx:pt idx="6931">0</cx:pt>
          <cx:pt idx="6932">0</cx:pt>
        </cx:lvl>
      </cx:numDim>
    </cx:data>
  </cx:chartData>
  <cx:chart>
    <cx:title pos="t" align="ctr" overlay="0">
      <cx:tx>
        <cx:txData>
          <cx:v>NO</cx:v>
        </cx:txData>
      </cx:tx>
      <cx:txPr>
        <a:bodyPr spcFirstLastPara="1" vertOverflow="ellipsis" horzOverflow="overflow" wrap="square" lIns="0" tIns="0" rIns="0" bIns="0" anchor="ctr" anchorCtr="1"/>
        <a:lstStyle/>
        <a:p>
          <a:pPr algn="ctr" rtl="0">
            <a:defRPr/>
          </a:pPr>
          <a:r>
            <a:rPr lang="en-US" sz="1400" b="1" i="0" u="none" strike="noStrike" baseline="0">
              <a:solidFill>
                <a:sysClr val="windowText" lastClr="000000">
                  <a:lumMod val="65000"/>
                  <a:lumOff val="35000"/>
                </a:sysClr>
              </a:solidFill>
              <a:latin typeface="Calibri" panose="020F0502020204030204"/>
            </a:rPr>
            <a:t>NO</a:t>
          </a:r>
        </a:p>
      </cx:txPr>
    </cx:title>
    <cx:plotArea>
      <cx:plotAreaRegion>
        <cx:series layoutId="boxWhisker" uniqueId="{D1F900F1-E5E4-F54E-A333-05A84F601828}">
          <cx:tx>
            <cx:txData>
              <cx:f>'Desalination_Unit_Data (3)'!$A$1:$A$2</cx:f>
              <cx:v>SURJEK_FLOW_METER_1</cx:v>
            </cx:txData>
          </cx:tx>
          <cx:dataId val="0"/>
          <cx:layoutPr>
            <cx:visibility meanLine="0" meanMarker="1" nonoutliers="0" outliers="1"/>
            <cx:statistics quartileMethod="exclusive"/>
          </cx:layoutPr>
        </cx:series>
        <cx:series layoutId="boxWhisker" uniqueId="{68E80367-A8EF-CB4D-A9EE-5C4889BE848C}">
          <cx:tx>
            <cx:txData>
              <cx:f>'Desalination_Unit_Data (3)'!$B$1:$B$2</cx:f>
              <cx:v>SURJEK_FLOW_METER_2</cx:v>
            </cx:txData>
          </cx:tx>
          <cx:dataId val="1"/>
          <cx:layoutPr>
            <cx:visibility meanLine="0" meanMarker="1" nonoutliers="0" outliers="1"/>
            <cx:statistics quartileMethod="exclusive"/>
          </cx:layoutPr>
        </cx:series>
        <cx:series layoutId="boxWhisker" uniqueId="{CEEADB80-5B84-F045-8C41-30D7B20230C6}">
          <cx:tx>
            <cx:txData>
              <cx:f>'Desalination_Unit_Data (3)'!$C$1:$C$2</cx:f>
              <cx:v>ROTATIONAL_PUMP_RPM</cx:v>
            </cx:txData>
          </cx:tx>
          <cx:dataId val="2"/>
          <cx:layoutPr>
            <cx:visibility meanLine="0" meanMarker="1" nonoutliers="0" outliers="1"/>
            <cx:statistics quartileMethod="exclusive"/>
          </cx:layoutPr>
        </cx:series>
        <cx:series layoutId="boxWhisker" uniqueId="{ED1FC518-B417-A94A-BE40-11BCEC38CDC5}">
          <cx:tx>
            <cx:txData>
              <cx:f>'Desalination_Unit_Data (3)'!$D$1:$D$2</cx:f>
              <cx:v>SURJEK_PUMP_TORQUE</cx:v>
            </cx:txData>
          </cx:tx>
          <cx:dataId val="3"/>
          <cx:layoutPr>
            <cx:visibility meanLine="0" meanMarker="1" nonoutliers="0" outliers="1"/>
            <cx:statistics quartileMethod="exclusive"/>
          </cx:layoutPr>
        </cx:series>
        <cx:series layoutId="boxWhisker" uniqueId="{461DDFE0-EF97-1A4F-82F4-A5BEF982D819}">
          <cx:tx>
            <cx:txData>
              <cx:f>'Desalination_Unit_Data (3)'!$E$1:$E$2</cx:f>
              <cx:v>MAXIMUM_DAILY_PUMP_TORQUE</cx:v>
            </cx:txData>
          </cx:tx>
          <cx:dataId val="4"/>
          <cx:layoutPr>
            <cx:visibility meanLine="0" meanMarker="1" nonoutliers="0" outliers="1"/>
            <cx:statistics quartileMethod="exclusive"/>
          </cx:layoutPr>
        </cx:series>
        <cx:series layoutId="boxWhisker" uniqueId="{2E35FE20-4AF5-BE43-8649-1A6CD5815CC6}">
          <cx:tx>
            <cx:txData>
              <cx:f>'Desalination_Unit_Data (3)'!$F$1:$F$2</cx:f>
              <cx:v>SURJEK_AMMONIA_FLOW_RATE</cx:v>
            </cx:txData>
          </cx:tx>
          <cx:dataId val="5"/>
          <cx:layoutPr>
            <cx:visibility meanLine="0" meanMarker="1" nonoutliers="0" outliers="1"/>
            <cx:statistics quartileMethod="exclusive"/>
          </cx:layoutPr>
        </cx:series>
        <cx:series layoutId="boxWhisker" uniqueId="{2E3D8DB0-65F6-BD41-8DE5-6BF9D59B4471}">
          <cx:tx>
            <cx:txData>
              <cx:f>'Desalination_Unit_Data (3)'!$G$1:$G$2</cx:f>
              <cx:v>SURJEK_TUBE_PRESSURE</cx:v>
            </cx:txData>
          </cx:tx>
          <cx:dataId val="6"/>
          <cx:layoutPr>
            <cx:visibility meanLine="0" meanMarker="1" nonoutliers="0" outliers="1"/>
            <cx:statistics quartileMethod="exclusive"/>
          </cx:layoutPr>
        </cx:series>
        <cx:series layoutId="boxWhisker" uniqueId="{84059A34-92A6-2249-A06E-C10B22768218}">
          <cx:tx>
            <cx:txData>
              <cx:f>'Desalination_Unit_Data (3)'!$H$1:$H$2</cx:f>
              <cx:v>SURJEK_ESTIMATED_EFFICIENCY</cx:v>
            </cx:txData>
          </cx:tx>
          <cx:dataId val="7"/>
          <cx:layoutPr>
            <cx:visibility meanLine="0" meanMarker="1" nonoutliers="0" outliers="1"/>
            <cx:statistics quartileMethod="exclusive"/>
          </cx:layoutPr>
        </cx:series>
        <cx:series layoutId="boxWhisker" uniqueId="{F2C065CD-4C8E-9949-8D72-3395E19B7BCA}">
          <cx:tx>
            <cx:txData>
              <cx:f>'Desalination_Unit_Data (3)'!$I$1:$I$2</cx:f>
              <cx:v>PUMP FAILURE (1 or 0)</cx:v>
            </cx:txData>
          </cx:tx>
          <cx:dataId val="8"/>
          <cx:layoutPr>
            <cx:visibility meanLine="0" meanMarker="1" nonoutliers="0" outliers="1"/>
            <cx:statistics quartileMethod="exclusive"/>
          </cx:layoutPr>
        </cx:series>
      </cx:plotAreaRegion>
      <cx:axis id="0">
        <cx:catScaling gapWidth="1"/>
        <cx:tickLabels/>
      </cx:axis>
      <cx:axis id="1">
        <cx:valScaling/>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2</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4: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86" name="Google Shape;86;p4: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01" name="Google Shape;101;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6: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12" name="Google Shape;112;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5" r:id="rId3" imgW="1587" imgH="1587" progId="TCLayout.ActiveDocument.1">
                  <p:embed/>
                </p:oleObj>
              </mc:Choice>
              <mc:Fallback>
                <p:oleObj r:id="rId3" imgW="1587" imgH="1587" progId="TCLayout.ActiveDocument.1">
                  <p:embed/>
                  <p:pic>
                    <p:nvPicPr>
                      <p:cNvPr id="15" name="Google Shape;15;p8"/>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9"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sp>
        <p:nvSpPr>
          <p:cNvPr id="30" name="Google Shape;30;p11"/>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31"/>
        <p:cNvGrpSpPr/>
        <p:nvPr/>
      </p:nvGrpSpPr>
      <p:grpSpPr>
        <a:xfrm>
          <a:off x="0" y="0"/>
          <a:ext cx="0" cy="0"/>
          <a:chOff x="0" y="0"/>
          <a:chExt cx="0" cy="0"/>
        </a:xfrm>
      </p:grpSpPr>
      <p:sp>
        <p:nvSpPr>
          <p:cNvPr id="32" name="Google Shape;32;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1" r:id="rId5" imgW="158750" imgH="158750" progId="TCLayout.ActiveDocument.1">
                  <p:embed/>
                </p:oleObj>
              </mc:Choice>
              <mc:Fallback>
                <p:oleObj r:id="rId5" imgW="158750" imgH="158750" progId="TCLayout.ActiveDocument.1">
                  <p:embed/>
                  <p:pic>
                    <p:nvPicPr>
                      <p:cNvPr id="8" name="Google Shape;8;p7"/>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0"/>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3" b="0" i="0" u="none" strike="noStrike" cap="none">
                <a:solidFill>
                  <a:schemeClr val="accent6"/>
                </a:solidFill>
                <a:latin typeface="Arial"/>
                <a:ea typeface="Arial"/>
                <a:cs typeface="Arial"/>
                <a:sym typeface="Arial"/>
              </a:defRPr>
            </a:lvl1pPr>
            <a:lvl2pPr marL="914400" marR="0" lvl="1" indent="-325675" algn="l" rtl="0">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717" algn="l" rtl="0">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0"/>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52" b="1" i="0" u="none" strike="noStrike" cap="none">
                <a:solidFill>
                  <a:schemeClr val="accent6"/>
                </a:solidFill>
                <a:latin typeface="Arial"/>
                <a:ea typeface="Arial"/>
                <a:cs typeface="Arial"/>
                <a:sym typeface="Arial"/>
              </a:defRPr>
            </a:lvl1pPr>
            <a:lvl2pPr marR="0" lvl="1" algn="l" rtl="0">
              <a:spcBef>
                <a:spcPts val="0"/>
              </a:spcBef>
              <a:spcAft>
                <a:spcPts val="0"/>
              </a:spcAft>
              <a:buSzPts val="1400"/>
              <a:buNone/>
              <a:defRPr sz="1452"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452"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452"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452"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452"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452"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452"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452" b="1" i="0" u="none" strike="noStrike" cap="none">
                <a:solidFill>
                  <a:schemeClr val="dk2"/>
                </a:solidFill>
                <a:latin typeface="Arial"/>
                <a:ea typeface="Arial"/>
                <a:cs typeface="Arial"/>
                <a:sym typeface="Arial"/>
              </a:defRPr>
            </a:lvl9pPr>
          </a:lstStyle>
          <a:p>
            <a:endParaRPr/>
          </a:p>
        </p:txBody>
      </p:sp>
      <p:sp>
        <p:nvSpPr>
          <p:cNvPr id="27" name="Google Shape;27;p10"/>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764">
                <a:solidFill>
                  <a:schemeClr val="dk1"/>
                </a:solidFill>
                <a:latin typeface="Arial"/>
                <a:ea typeface="Arial"/>
                <a:cs typeface="Arial"/>
                <a:sym typeface="Arial"/>
              </a:rPr>
              <a:t>‹#›</a:t>
            </a:fld>
            <a:endParaRPr sz="764">
              <a:solidFill>
                <a:schemeClr val="dk1"/>
              </a:solidFill>
              <a:latin typeface="Arial"/>
              <a:ea typeface="Arial"/>
              <a:cs typeface="Arial"/>
              <a:sym typeface="Arial"/>
            </a:endParaRPr>
          </a:p>
        </p:txBody>
      </p:sp>
      <p:cxnSp>
        <p:nvCxnSpPr>
          <p:cNvPr id="28" name="Google Shape;28;p10"/>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4.png"/><Relationship Id="rId5" Type="http://schemas.microsoft.com/office/2014/relationships/chartEx" Target="../charts/chartEx2.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796274" y="2868294"/>
            <a:ext cx="7368890" cy="984885"/>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AU" dirty="0"/>
              <a:t>Southern Water Corp Case Study  Technical Presentation</a:t>
            </a:r>
            <a:endParaRPr dirty="0"/>
          </a:p>
        </p:txBody>
      </p:sp>
      <p:sp>
        <p:nvSpPr>
          <p:cNvPr id="42" name="Google Shape;42;p1"/>
          <p:cNvSpPr txBox="1"/>
          <p:nvPr/>
        </p:nvSpPr>
        <p:spPr>
          <a:xfrm>
            <a:off x="233364" y="5189563"/>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Date:</a:t>
            </a:r>
            <a:endParaRPr dirty="0"/>
          </a:p>
        </p:txBody>
      </p:sp>
      <p:sp>
        <p:nvSpPr>
          <p:cNvPr id="43" name="Google Shape;43;p1"/>
          <p:cNvSpPr txBox="1"/>
          <p:nvPr/>
        </p:nvSpPr>
        <p:spPr>
          <a:xfrm>
            <a:off x="233364" y="4867241"/>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Presenter: Hande </a:t>
            </a:r>
            <a:r>
              <a:rPr lang="en-AU" sz="1400" b="0" i="0" u="none" strike="noStrike" cap="none" dirty="0" err="1">
                <a:solidFill>
                  <a:schemeClr val="dk1"/>
                </a:solidFill>
                <a:latin typeface="Arial"/>
                <a:ea typeface="Arial"/>
                <a:cs typeface="Arial"/>
                <a:sym typeface="Arial"/>
              </a:rPr>
              <a:t>Tokgoz</a:t>
            </a:r>
            <a:r>
              <a:rPr lang="en-AU" sz="1400" b="0" i="0" u="none" strike="noStrike" cap="none" dirty="0">
                <a:solidFill>
                  <a:schemeClr val="dk1"/>
                </a:solidFill>
                <a:latin typeface="Arial"/>
                <a:ea typeface="Arial"/>
                <a:cs typeface="Arial"/>
                <a:sym typeface="Arial"/>
              </a:rPr>
              <a:t> Utku</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171451" y="230188"/>
            <a:ext cx="8618537" cy="492443"/>
          </a:xfrm>
          <a:prstGeom prst="rect">
            <a:avLst/>
          </a:prstGeom>
          <a:noFill/>
          <a:ln>
            <a:noFill/>
          </a:ln>
        </p:spPr>
        <p:txBody>
          <a:bodyPr spcFirstLastPara="1" wrap="square" lIns="0" tIns="0" rIns="0" bIns="0" anchor="t" anchorCtr="0">
            <a:spAutoFit/>
          </a:bodyPr>
          <a:lstStyle/>
          <a:p>
            <a:pPr lvl="0"/>
            <a:r>
              <a:rPr lang="en-AU" sz="1600" dirty="0"/>
              <a:t>Rising water demand leads to more production - more wear and pump failures. Discovering the reasons of failures will help improving SWC's revenues and EBIT</a:t>
            </a:r>
            <a:r>
              <a:rPr lang="en-AU" sz="1600" b="0" dirty="0"/>
              <a:t>​.</a:t>
            </a:r>
            <a:endParaRPr sz="1600" dirty="0"/>
          </a:p>
        </p:txBody>
      </p:sp>
      <p:grpSp>
        <p:nvGrpSpPr>
          <p:cNvPr id="49" name="Google Shape;49;p3"/>
          <p:cNvGrpSpPr/>
          <p:nvPr/>
        </p:nvGrpSpPr>
        <p:grpSpPr>
          <a:xfrm>
            <a:off x="695481" y="1384768"/>
            <a:ext cx="7341871" cy="1462345"/>
            <a:chOff x="709649" y="1412776"/>
            <a:chExt cx="7491440" cy="1492136"/>
          </a:xfrm>
        </p:grpSpPr>
        <p:sp>
          <p:nvSpPr>
            <p:cNvPr id="50" name="Google Shape;50;p3"/>
            <p:cNvSpPr/>
            <p:nvPr/>
          </p:nvSpPr>
          <p:spPr>
            <a:xfrm>
              <a:off x="883141" y="1511552"/>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1" name="Google Shape;51;p3"/>
            <p:cNvSpPr/>
            <p:nvPr/>
          </p:nvSpPr>
          <p:spPr>
            <a:xfrm>
              <a:off x="952547" y="2069732"/>
              <a:ext cx="3528392" cy="46344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Problem 1</a:t>
              </a:r>
              <a:endParaRPr dirty="0"/>
            </a:p>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Increased demand leading to increased pump wear</a:t>
              </a:r>
              <a:endParaRPr dirty="0"/>
            </a:p>
          </p:txBody>
        </p:sp>
        <p:sp>
          <p:nvSpPr>
            <p:cNvPr id="52" name="Google Shape;52;p3"/>
            <p:cNvSpPr/>
            <p:nvPr/>
          </p:nvSpPr>
          <p:spPr>
            <a:xfrm>
              <a:off x="709649" y="1412776"/>
              <a:ext cx="381642" cy="392605"/>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3" name="Google Shape;53;p3"/>
            <p:cNvSpPr/>
            <p:nvPr/>
          </p:nvSpPr>
          <p:spPr>
            <a:xfrm>
              <a:off x="4537322" y="1511552"/>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4" name="Google Shape;54;p3"/>
            <p:cNvSpPr/>
            <p:nvPr/>
          </p:nvSpPr>
          <p:spPr>
            <a:xfrm>
              <a:off x="4631189" y="1690075"/>
              <a:ext cx="3528392" cy="1036312"/>
            </a:xfrm>
            <a:prstGeom prst="rect">
              <a:avLst/>
            </a:prstGeom>
            <a:noFill/>
            <a:ln>
              <a:noFill/>
            </a:ln>
          </p:spPr>
          <p:txBody>
            <a:bodyPr spcFirstLastPara="1" wrap="square" lIns="91425" tIns="45700" rIns="91425" bIns="45700" anchor="t" anchorCtr="0">
              <a:spAutoFit/>
            </a:bodyPr>
            <a:lstStyle/>
            <a:p>
              <a:pPr algn="ctr"/>
              <a:r>
                <a:rPr lang="en-US" sz="1176" b="1" dirty="0">
                  <a:solidFill>
                    <a:srgbClr val="002060"/>
                  </a:solidFill>
                  <a:latin typeface="Quattrocento Sans"/>
                </a:rPr>
                <a:t>Maximizing the availability of SWC desalination plants to meet continual demand, results in more pump failures due to pump wear. To cope with the demand, SWC needs to understand the reasons of failures to reduce plant maintenance expenses​.</a:t>
              </a:r>
              <a:endParaRPr sz="1176" b="1" dirty="0">
                <a:solidFill>
                  <a:srgbClr val="002060"/>
                </a:solidFill>
                <a:latin typeface="Quattrocento Sans"/>
              </a:endParaRPr>
            </a:p>
          </p:txBody>
        </p:sp>
      </p:grpSp>
      <p:sp>
        <p:nvSpPr>
          <p:cNvPr id="55" name="Google Shape;55;p3"/>
          <p:cNvSpPr/>
          <p:nvPr/>
        </p:nvSpPr>
        <p:spPr>
          <a:xfrm>
            <a:off x="873978" y="3175260"/>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6" name="Google Shape;56;p3"/>
          <p:cNvSpPr/>
          <p:nvPr/>
        </p:nvSpPr>
        <p:spPr>
          <a:xfrm>
            <a:off x="957296" y="3541317"/>
            <a:ext cx="3457947" cy="816080"/>
          </a:xfrm>
          <a:prstGeom prst="rect">
            <a:avLst/>
          </a:prstGeom>
          <a:noFill/>
          <a:ln>
            <a:noFill/>
          </a:ln>
        </p:spPr>
        <p:txBody>
          <a:bodyPr spcFirstLastPara="1" wrap="square" lIns="91425" tIns="45700" rIns="91425" bIns="45700" anchor="t" anchorCtr="0">
            <a:spAutoFit/>
          </a:bodyPr>
          <a:lstStyle/>
          <a:p>
            <a:pPr algn="ctr"/>
            <a:r>
              <a:rPr lang="en-AU" sz="1176" b="1" dirty="0">
                <a:solidFill>
                  <a:srgbClr val="002060"/>
                </a:solidFill>
                <a:latin typeface="Quattrocento Sans"/>
                <a:sym typeface="Quattrocento Sans"/>
              </a:rPr>
              <a:t>Problem 2</a:t>
            </a:r>
          </a:p>
          <a:p>
            <a:pPr algn="ctr"/>
            <a:r>
              <a:rPr lang="en-US" sz="1176" b="1" dirty="0">
                <a:solidFill>
                  <a:srgbClr val="002060"/>
                </a:solidFill>
                <a:latin typeface="Quattrocento Sans"/>
              </a:rPr>
              <a:t>Increased failures impact production negatively during high production</a:t>
            </a:r>
            <a:endParaRPr sz="1176" b="1" dirty="0">
              <a:solidFill>
                <a:srgbClr val="002060"/>
              </a:solidFill>
              <a:latin typeface="Quattrocento Sans"/>
            </a:endParaRPr>
          </a:p>
          <a:p>
            <a:pPr marL="0" marR="0" lvl="0" indent="0" algn="ctr" rtl="0">
              <a:spcBef>
                <a:spcPts val="0"/>
              </a:spcBef>
              <a:spcAft>
                <a:spcPts val="0"/>
              </a:spcAft>
              <a:buNone/>
            </a:pPr>
            <a:endParaRPr sz="1176" b="1" dirty="0">
              <a:solidFill>
                <a:srgbClr val="002060"/>
              </a:solidFill>
              <a:latin typeface="Quattrocento Sans"/>
              <a:ea typeface="Quattrocento Sans"/>
              <a:cs typeface="Quattrocento Sans"/>
              <a:sym typeface="Quattrocento Sans"/>
            </a:endParaRPr>
          </a:p>
        </p:txBody>
      </p:sp>
      <p:sp>
        <p:nvSpPr>
          <p:cNvPr id="57" name="Google Shape;57;p3"/>
          <p:cNvSpPr/>
          <p:nvPr/>
        </p:nvSpPr>
        <p:spPr>
          <a:xfrm>
            <a:off x="703950" y="3078456"/>
            <a:ext cx="374022" cy="38476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8" name="Google Shape;58;p3"/>
          <p:cNvSpPr/>
          <p:nvPr/>
        </p:nvSpPr>
        <p:spPr>
          <a:xfrm>
            <a:off x="4415243" y="3175260"/>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9" name="Google Shape;59;p3"/>
          <p:cNvSpPr/>
          <p:nvPr/>
        </p:nvSpPr>
        <p:spPr>
          <a:xfrm>
            <a:off x="4513068" y="3375680"/>
            <a:ext cx="3457947" cy="99702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Being able to understand when failures happen is vital for being able to get ready for those and take the precautions proactively.</a:t>
            </a:r>
          </a:p>
          <a:p>
            <a:pPr lvl="0" algn="ctr"/>
            <a:r>
              <a:rPr lang="en-AU" sz="1176" b="1" dirty="0">
                <a:solidFill>
                  <a:srgbClr val="002060"/>
                </a:solidFill>
                <a:latin typeface="Quattrocento Sans"/>
                <a:sym typeface="Quattrocento Sans"/>
              </a:rPr>
              <a:t>SWC needs to forecast failures better to keep production going (Revenues and EBIT)​</a:t>
            </a:r>
            <a:endParaRPr dirty="0"/>
          </a:p>
        </p:txBody>
      </p:sp>
      <p:sp>
        <p:nvSpPr>
          <p:cNvPr id="60" name="Google Shape;60;p3"/>
          <p:cNvSpPr/>
          <p:nvPr/>
        </p:nvSpPr>
        <p:spPr>
          <a:xfrm>
            <a:off x="890961" y="4849573"/>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61" name="Google Shape;61;p3"/>
          <p:cNvSpPr/>
          <p:nvPr/>
        </p:nvSpPr>
        <p:spPr>
          <a:xfrm>
            <a:off x="720933" y="4741826"/>
            <a:ext cx="374022" cy="38476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62" name="Google Shape;62;p3"/>
          <p:cNvSpPr/>
          <p:nvPr/>
        </p:nvSpPr>
        <p:spPr>
          <a:xfrm>
            <a:off x="4473111" y="4849573"/>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63" name="Google Shape;63;p3"/>
          <p:cNvSpPr/>
          <p:nvPr/>
        </p:nvSpPr>
        <p:spPr>
          <a:xfrm>
            <a:off x="988787" y="5396610"/>
            <a:ext cx="3457947" cy="63513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Problem 3</a:t>
            </a:r>
          </a:p>
          <a:p>
            <a:pPr marL="0" marR="0" lvl="0" indent="0" algn="ctr" rtl="0">
              <a:spcBef>
                <a:spcPts val="0"/>
              </a:spcBef>
              <a:spcAft>
                <a:spcPts val="0"/>
              </a:spcAft>
              <a:buNone/>
            </a:pPr>
            <a:r>
              <a:rPr lang="en-AU" sz="1176" b="1" dirty="0">
                <a:solidFill>
                  <a:srgbClr val="002060"/>
                </a:solidFill>
                <a:latin typeface="Quattrocento Sans"/>
                <a:sym typeface="Quattrocento Sans"/>
              </a:rPr>
              <a:t>It’s hard to know which metrics would be the indicator of a pump failure</a:t>
            </a:r>
            <a:endParaRPr dirty="0"/>
          </a:p>
        </p:txBody>
      </p:sp>
      <p:sp>
        <p:nvSpPr>
          <p:cNvPr id="64" name="Google Shape;64;p3"/>
          <p:cNvSpPr/>
          <p:nvPr/>
        </p:nvSpPr>
        <p:spPr>
          <a:xfrm>
            <a:off x="4570937" y="5086275"/>
            <a:ext cx="3457947" cy="997027"/>
          </a:xfrm>
          <a:prstGeom prst="rect">
            <a:avLst/>
          </a:prstGeom>
          <a:noFill/>
          <a:ln>
            <a:noFill/>
          </a:ln>
        </p:spPr>
        <p:txBody>
          <a:bodyPr spcFirstLastPara="1" wrap="square" lIns="91425" tIns="45700" rIns="91425" bIns="45700" anchor="t" anchorCtr="0">
            <a:spAutoFit/>
          </a:bodyPr>
          <a:lstStyle/>
          <a:p>
            <a:pPr lvl="0" algn="ctr"/>
            <a:r>
              <a:rPr lang="en-AU" sz="1176" b="1" dirty="0">
                <a:solidFill>
                  <a:srgbClr val="002060"/>
                </a:solidFill>
                <a:latin typeface="Quattrocento Sans"/>
                <a:ea typeface="Quattrocento Sans"/>
                <a:cs typeface="Quattrocento Sans"/>
                <a:sym typeface="Quattrocento Sans"/>
              </a:rPr>
              <a:t>There are multiple metrics that SWC is tracking and those change during production fluctuations. These fluctuations range from 1X to 3X and sometimes more. It’s hard to say which one impacts the failures the most without inferential statistics.</a:t>
            </a:r>
            <a:endParaRPr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E0F3E9C4-D1CC-644E-A4CA-4D75B0198856}"/>
              </a:ext>
            </a:extLst>
          </p:cNvPr>
          <p:cNvGraphicFramePr>
            <a:graphicFrameLocks/>
          </p:cNvGraphicFramePr>
          <p:nvPr>
            <p:extLst>
              <p:ext uri="{D42A27DB-BD31-4B8C-83A1-F6EECF244321}">
                <p14:modId xmlns:p14="http://schemas.microsoft.com/office/powerpoint/2010/main" val="3216065623"/>
              </p:ext>
            </p:extLst>
          </p:nvPr>
        </p:nvGraphicFramePr>
        <p:xfrm>
          <a:off x="80966" y="1040227"/>
          <a:ext cx="8709022" cy="5445692"/>
        </p:xfrm>
        <a:graphic>
          <a:graphicData uri="http://schemas.openxmlformats.org/drawingml/2006/chart">
            <c:chart xmlns:c="http://schemas.openxmlformats.org/drawingml/2006/chart" xmlns:r="http://schemas.openxmlformats.org/officeDocument/2006/relationships" r:id="rId3"/>
          </a:graphicData>
        </a:graphic>
      </p:graphicFrame>
      <p:sp>
        <p:nvSpPr>
          <p:cNvPr id="70" name="Google Shape;70;p2"/>
          <p:cNvSpPr txBox="1">
            <a:spLocks noGrp="1"/>
          </p:cNvSpPr>
          <p:nvPr>
            <p:ph type="title"/>
          </p:nvPr>
        </p:nvSpPr>
        <p:spPr>
          <a:xfrm>
            <a:off x="171451" y="230188"/>
            <a:ext cx="8618537" cy="492443"/>
          </a:xfrm>
          <a:prstGeom prst="rect">
            <a:avLst/>
          </a:prstGeom>
          <a:noFill/>
          <a:ln>
            <a:noFill/>
          </a:ln>
        </p:spPr>
        <p:txBody>
          <a:bodyPr spcFirstLastPara="1" wrap="square" lIns="0" tIns="0" rIns="0" bIns="0" anchor="t" anchorCtr="0">
            <a:spAutoFit/>
          </a:bodyPr>
          <a:lstStyle/>
          <a:p>
            <a:pPr lvl="0"/>
            <a:r>
              <a:rPr lang="en-US" sz="1600" dirty="0"/>
              <a:t>Flow Meter 2, Pump Torque, Max Daily Pump Torque and RPM are the indicators of pump failure per the rolling standard deviation model, increasing up to 600% during failures.</a:t>
            </a:r>
            <a:endParaRPr dirty="0"/>
          </a:p>
        </p:txBody>
      </p:sp>
      <p:sp>
        <p:nvSpPr>
          <p:cNvPr id="71" name="Google Shape;71;p2"/>
          <p:cNvSpPr/>
          <p:nvPr/>
        </p:nvSpPr>
        <p:spPr>
          <a:xfrm>
            <a:off x="539451" y="6485919"/>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a:solidFill>
                  <a:schemeClr val="dk1"/>
                </a:solidFill>
                <a:latin typeface="Arial"/>
                <a:ea typeface="Arial"/>
                <a:cs typeface="Arial"/>
                <a:sym typeface="Arial"/>
              </a:rPr>
              <a:t>Source: </a:t>
            </a:r>
            <a:r>
              <a:rPr lang="en-AU" sz="800" b="0" i="0" u="none" strike="noStrike" cap="none">
                <a:solidFill>
                  <a:schemeClr val="dk1"/>
                </a:solidFill>
                <a:latin typeface="Arial"/>
                <a:ea typeface="Arial"/>
                <a:cs typeface="Arial"/>
                <a:sym typeface="Arial"/>
              </a:rPr>
              <a:t>Southern Water Corp Statistical Records</a:t>
            </a:r>
            <a:endParaRPr/>
          </a:p>
        </p:txBody>
      </p:sp>
      <p:sp>
        <p:nvSpPr>
          <p:cNvPr id="72" name="Google Shape;72;p2"/>
          <p:cNvSpPr txBox="1"/>
          <p:nvPr/>
        </p:nvSpPr>
        <p:spPr>
          <a:xfrm>
            <a:off x="435166" y="1040227"/>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73" name="Google Shape;73;p2"/>
          <p:cNvSpPr txBox="1"/>
          <p:nvPr/>
        </p:nvSpPr>
        <p:spPr>
          <a:xfrm>
            <a:off x="892366" y="1403666"/>
            <a:ext cx="2963538" cy="3108503"/>
          </a:xfrm>
          <a:prstGeom prst="rect">
            <a:avLst/>
          </a:prstGeom>
          <a:noFill/>
          <a:ln>
            <a:noFill/>
          </a:ln>
        </p:spPr>
        <p:txBody>
          <a:bodyPr spcFirstLastPara="1" wrap="square" lIns="91425" tIns="45700" rIns="91425" bIns="45700" anchor="t" anchorCtr="0">
            <a:spAutoFit/>
          </a:bodyPr>
          <a:lstStyle/>
          <a:p>
            <a:pPr lvl="0"/>
            <a:r>
              <a:rPr lang="en-US" sz="1400" dirty="0">
                <a:solidFill>
                  <a:schemeClr val="dk1"/>
                </a:solidFill>
                <a:latin typeface="Arial"/>
                <a:ea typeface="Arial"/>
                <a:cs typeface="Arial"/>
                <a:sym typeface="Arial"/>
              </a:rPr>
              <a:t>Pump Failure is paired with </a:t>
            </a:r>
            <a:r>
              <a:rPr lang="en-US" dirty="0">
                <a:solidFill>
                  <a:schemeClr val="dk1"/>
                </a:solidFill>
              </a:rPr>
              <a:t>fluctuations and increases of </a:t>
            </a:r>
            <a:r>
              <a:rPr lang="en-US" dirty="0"/>
              <a:t>Flow Meter 2, Pump Torque, Max Daily Pump Torque and RPM .</a:t>
            </a:r>
          </a:p>
          <a:p>
            <a:pPr lvl="0"/>
            <a:endParaRPr lang="en-US" dirty="0">
              <a:solidFill>
                <a:schemeClr val="dk1"/>
              </a:solidFill>
            </a:endParaRPr>
          </a:p>
          <a:p>
            <a:pPr lvl="0"/>
            <a:r>
              <a:rPr lang="en-US" sz="1400" dirty="0">
                <a:solidFill>
                  <a:schemeClr val="dk1"/>
                </a:solidFill>
                <a:latin typeface="Arial"/>
                <a:ea typeface="Arial"/>
                <a:cs typeface="Arial"/>
                <a:sym typeface="Arial"/>
              </a:rPr>
              <a:t>Before and during pump failures, there </a:t>
            </a:r>
            <a:r>
              <a:rPr lang="en-US" dirty="0">
                <a:solidFill>
                  <a:schemeClr val="dk1"/>
                </a:solidFill>
              </a:rPr>
              <a:t>are changes in the overall rolling standard deviation of those metrics, which goes back to normal when the failure is repaired.</a:t>
            </a:r>
          </a:p>
          <a:p>
            <a:pPr lvl="0"/>
            <a:endParaRPr lang="en-US" dirty="0">
              <a:solidFill>
                <a:schemeClr val="dk1"/>
              </a:solidFill>
            </a:endParaRPr>
          </a:p>
          <a:p>
            <a:pPr lvl="0"/>
            <a:r>
              <a:rPr lang="en-US" dirty="0">
                <a:solidFill>
                  <a:schemeClr val="dk1"/>
                </a:solidFill>
              </a:rPr>
              <a:t>Key regression variables: </a:t>
            </a:r>
            <a:r>
              <a:rPr lang="en-US" dirty="0"/>
              <a:t>Flow Meter 2, Pump Torque, Max Daily Pump Torque and RPM .</a:t>
            </a:r>
            <a:endParaRPr dirty="0"/>
          </a:p>
        </p:txBody>
      </p:sp>
      <p:sp>
        <p:nvSpPr>
          <p:cNvPr id="74" name="Google Shape;74;p2"/>
          <p:cNvSpPr/>
          <p:nvPr/>
        </p:nvSpPr>
        <p:spPr>
          <a:xfrm>
            <a:off x="517793" y="1355536"/>
            <a:ext cx="3338111" cy="3084384"/>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cxnSp>
        <p:nvCxnSpPr>
          <p:cNvPr id="80" name="Google Shape;80;p2"/>
          <p:cNvCxnSpPr>
            <a:cxnSpLocks/>
          </p:cNvCxnSpPr>
          <p:nvPr/>
        </p:nvCxnSpPr>
        <p:spPr>
          <a:xfrm rot="5400000">
            <a:off x="6586814" y="4956267"/>
            <a:ext cx="111300" cy="599700"/>
          </a:xfrm>
          <a:prstGeom prst="bentConnector3">
            <a:avLst>
              <a:gd name="adj1" fmla="val 50010"/>
            </a:avLst>
          </a:prstGeom>
          <a:noFill/>
          <a:ln w="12700" cap="flat" cmpd="sng">
            <a:solidFill>
              <a:schemeClr val="lt1"/>
            </a:solidFill>
            <a:prstDash val="solid"/>
            <a:miter lim="800000"/>
            <a:headEnd type="none" w="med" len="med"/>
            <a:tailEnd type="none" w="med" len="med"/>
          </a:ln>
        </p:spPr>
      </p:cxnSp>
      <p:cxnSp>
        <p:nvCxnSpPr>
          <p:cNvPr id="81" name="Google Shape;81;p2"/>
          <p:cNvCxnSpPr>
            <a:cxnSpLocks/>
          </p:cNvCxnSpPr>
          <p:nvPr/>
        </p:nvCxnSpPr>
        <p:spPr>
          <a:xfrm rot="-5400000" flipH="1">
            <a:off x="7185764" y="4957017"/>
            <a:ext cx="111300" cy="598200"/>
          </a:xfrm>
          <a:prstGeom prst="bentConnector3">
            <a:avLst>
              <a:gd name="adj1" fmla="val 50009"/>
            </a:avLst>
          </a:prstGeom>
          <a:noFill/>
          <a:ln w="12700" cap="flat" cmpd="sng">
            <a:solidFill>
              <a:schemeClr val="lt1"/>
            </a:solidFill>
            <a:prstDash val="solid"/>
            <a:miter lim="800000"/>
            <a:headEnd type="none" w="med" len="med"/>
            <a:tailEnd type="none" w="med" len="med"/>
          </a:ln>
        </p:spPr>
      </p:cxnSp>
      <p:cxnSp>
        <p:nvCxnSpPr>
          <p:cNvPr id="82" name="Google Shape;82;p2"/>
          <p:cNvCxnSpPr>
            <a:cxnSpLocks/>
          </p:cNvCxnSpPr>
          <p:nvPr/>
        </p:nvCxnSpPr>
        <p:spPr>
          <a:xfrm flipH="1">
            <a:off x="6941414" y="5200467"/>
            <a:ext cx="900" cy="111300"/>
          </a:xfrm>
          <a:prstGeom prst="straightConnector1">
            <a:avLst/>
          </a:prstGeom>
          <a:noFill/>
          <a:ln w="12700" cap="flat" cmpd="sng">
            <a:solidFill>
              <a:schemeClr val="lt1"/>
            </a:solidFill>
            <a:prstDash val="solid"/>
            <a:round/>
            <a:headEnd type="none" w="sm" len="sm"/>
            <a:tailEnd type="none" w="sm" len="sm"/>
          </a:ln>
        </p:spPr>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4"/>
          <p:cNvSpPr txBox="1">
            <a:spLocks noGrp="1"/>
          </p:cNvSpPr>
          <p:nvPr>
            <p:ph type="title"/>
          </p:nvPr>
        </p:nvSpPr>
        <p:spPr>
          <a:xfrm>
            <a:off x="171451" y="230188"/>
            <a:ext cx="8618537" cy="55399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We applied Descriptive and Inferential statistics to uncover which metrics could be the indicators of pump failure</a:t>
            </a:r>
            <a:endParaRPr dirty="0"/>
          </a:p>
        </p:txBody>
      </p:sp>
      <p:cxnSp>
        <p:nvCxnSpPr>
          <p:cNvPr id="89" name="Google Shape;89;p4"/>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90" name="Google Shape;90;p4"/>
          <p:cNvSpPr/>
          <p:nvPr/>
        </p:nvSpPr>
        <p:spPr>
          <a:xfrm>
            <a:off x="2779646" y="1713518"/>
            <a:ext cx="3590619" cy="1647219"/>
          </a:xfrm>
          <a:prstGeom prst="rect">
            <a:avLst/>
          </a:prstGeom>
          <a:solidFill>
            <a:srgbClr val="F2F2F2">
              <a:alpha val="84705"/>
            </a:srgbClr>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lvl="0">
              <a:buSzPts val="1400"/>
            </a:pPr>
            <a:r>
              <a:rPr lang="en-US" sz="1800" b="1" dirty="0"/>
              <a:t>How can Southern Water Corp. anticipate a pump failure at least 7 days before the failure with a 100% success during the year of 2020?</a:t>
            </a:r>
          </a:p>
        </p:txBody>
      </p:sp>
      <p:sp>
        <p:nvSpPr>
          <p:cNvPr id="91" name="Google Shape;91;p4"/>
          <p:cNvSpPr/>
          <p:nvPr/>
        </p:nvSpPr>
        <p:spPr>
          <a:xfrm>
            <a:off x="431217" y="4290069"/>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2" name="Google Shape;92;p4"/>
          <p:cNvCxnSpPr/>
          <p:nvPr/>
        </p:nvCxnSpPr>
        <p:spPr>
          <a:xfrm flipH="1">
            <a:off x="3385133" y="3772869"/>
            <a:ext cx="1" cy="516048"/>
          </a:xfrm>
          <a:prstGeom prst="straightConnector1">
            <a:avLst/>
          </a:prstGeom>
          <a:noFill/>
          <a:ln w="25400" cap="flat" cmpd="sng">
            <a:solidFill>
              <a:schemeClr val="accent1"/>
            </a:solidFill>
            <a:prstDash val="dash"/>
            <a:round/>
            <a:headEnd type="none" w="sm" len="sm"/>
            <a:tailEnd type="none" w="sm" len="sm"/>
          </a:ln>
        </p:spPr>
      </p:cxnSp>
      <p:sp>
        <p:nvSpPr>
          <p:cNvPr id="93" name="Google Shape;93;p4"/>
          <p:cNvSpPr/>
          <p:nvPr/>
        </p:nvSpPr>
        <p:spPr>
          <a:xfrm>
            <a:off x="4939604" y="4288917"/>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4" name="Google Shape;94;p4"/>
          <p:cNvCxnSpPr/>
          <p:nvPr/>
        </p:nvCxnSpPr>
        <p:spPr>
          <a:xfrm flipH="1">
            <a:off x="5465485" y="3771717"/>
            <a:ext cx="1" cy="516048"/>
          </a:xfrm>
          <a:prstGeom prst="straightConnector1">
            <a:avLst/>
          </a:prstGeom>
          <a:noFill/>
          <a:ln w="25400" cap="flat" cmpd="sng">
            <a:solidFill>
              <a:schemeClr val="accent1"/>
            </a:solidFill>
            <a:prstDash val="dash"/>
            <a:round/>
            <a:headEnd type="none" w="sm" len="sm"/>
            <a:tailEnd type="none" w="sm" len="sm"/>
          </a:ln>
        </p:spPr>
      </p:cxnSp>
      <p:cxnSp>
        <p:nvCxnSpPr>
          <p:cNvPr id="95" name="Google Shape;95;p4"/>
          <p:cNvCxnSpPr/>
          <p:nvPr/>
        </p:nvCxnSpPr>
        <p:spPr>
          <a:xfrm>
            <a:off x="3385133" y="3771717"/>
            <a:ext cx="2035166" cy="0"/>
          </a:xfrm>
          <a:prstGeom prst="straightConnector1">
            <a:avLst/>
          </a:prstGeom>
          <a:noFill/>
          <a:ln w="25400" cap="flat" cmpd="sng">
            <a:solidFill>
              <a:schemeClr val="accent1"/>
            </a:solidFill>
            <a:prstDash val="dash"/>
            <a:round/>
            <a:headEnd type="none" w="sm" len="sm"/>
            <a:tailEnd type="none" w="sm" len="sm"/>
          </a:ln>
        </p:spPr>
      </p:cxnSp>
      <p:cxnSp>
        <p:nvCxnSpPr>
          <p:cNvPr id="96" name="Google Shape;96;p4"/>
          <p:cNvCxnSpPr>
            <a:stCxn id="90" idx="2"/>
          </p:cNvCxnSpPr>
          <p:nvPr/>
        </p:nvCxnSpPr>
        <p:spPr>
          <a:xfrm>
            <a:off x="4574956" y="3360737"/>
            <a:ext cx="0" cy="411000"/>
          </a:xfrm>
          <a:prstGeom prst="straightConnector1">
            <a:avLst/>
          </a:prstGeom>
          <a:noFill/>
          <a:ln w="25400" cap="flat" cmpd="sng">
            <a:solidFill>
              <a:schemeClr val="accent1"/>
            </a:solidFill>
            <a:prstDash val="dash"/>
            <a:round/>
            <a:headEnd type="none" w="sm" len="sm"/>
            <a:tailEnd type="none" w="sm" len="sm"/>
          </a:ln>
        </p:spPr>
      </p:cxnSp>
      <p:sp>
        <p:nvSpPr>
          <p:cNvPr id="97" name="Google Shape;97;p4"/>
          <p:cNvSpPr txBox="1"/>
          <p:nvPr/>
        </p:nvSpPr>
        <p:spPr>
          <a:xfrm>
            <a:off x="826264" y="4861005"/>
            <a:ext cx="3084723" cy="58473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600" dirty="0">
                <a:solidFill>
                  <a:schemeClr val="dk1"/>
                </a:solidFill>
                <a:latin typeface="Arial"/>
                <a:ea typeface="Arial"/>
                <a:cs typeface="Arial"/>
                <a:sym typeface="Arial"/>
              </a:rPr>
              <a:t>Descriptive Statistics</a:t>
            </a:r>
          </a:p>
          <a:p>
            <a:pPr marL="0" marR="0" lvl="0" indent="0" algn="l" rtl="0">
              <a:spcBef>
                <a:spcPts val="0"/>
              </a:spcBef>
              <a:spcAft>
                <a:spcPts val="0"/>
              </a:spcAft>
              <a:buNone/>
            </a:pPr>
            <a:r>
              <a:rPr lang="en-AU" sz="1600" dirty="0">
                <a:solidFill>
                  <a:schemeClr val="dk1"/>
                </a:solidFill>
              </a:rPr>
              <a:t>Box Plots</a:t>
            </a:r>
            <a:endParaRPr dirty="0"/>
          </a:p>
        </p:txBody>
      </p:sp>
      <p:sp>
        <p:nvSpPr>
          <p:cNvPr id="98" name="Google Shape;98;p4"/>
          <p:cNvSpPr txBox="1"/>
          <p:nvPr/>
        </p:nvSpPr>
        <p:spPr>
          <a:xfrm>
            <a:off x="5192551" y="4803813"/>
            <a:ext cx="3084723" cy="58473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600" dirty="0">
                <a:solidFill>
                  <a:schemeClr val="dk1"/>
                </a:solidFill>
                <a:latin typeface="Arial"/>
                <a:ea typeface="Arial"/>
                <a:cs typeface="Arial"/>
                <a:sym typeface="Arial"/>
              </a:rPr>
              <a:t>Inferential Statistics</a:t>
            </a:r>
          </a:p>
          <a:p>
            <a:pPr marL="0" marR="0" lvl="0" indent="0" algn="l" rtl="0">
              <a:spcBef>
                <a:spcPts val="0"/>
              </a:spcBef>
              <a:spcAft>
                <a:spcPts val="0"/>
              </a:spcAft>
              <a:buNone/>
            </a:pPr>
            <a:r>
              <a:rPr lang="en-AU" sz="1600" dirty="0">
                <a:solidFill>
                  <a:schemeClr val="dk1"/>
                </a:solidFill>
              </a:rPr>
              <a:t>Regression</a:t>
            </a:r>
            <a:endParaRPr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171451" y="230188"/>
            <a:ext cx="8618537" cy="492443"/>
          </a:xfrm>
          <a:prstGeom prst="rect">
            <a:avLst/>
          </a:prstGeom>
          <a:noFill/>
          <a:ln>
            <a:noFill/>
          </a:ln>
        </p:spPr>
        <p:txBody>
          <a:bodyPr spcFirstLastPara="1" wrap="square" lIns="0" tIns="0" rIns="0" bIns="0" anchor="t" anchorCtr="0">
            <a:spAutoFit/>
          </a:bodyPr>
          <a:lstStyle/>
          <a:p>
            <a:r>
              <a:rPr lang="en-AU" sz="1600" dirty="0" err="1"/>
              <a:t>Surjek</a:t>
            </a:r>
            <a:r>
              <a:rPr lang="en-AU" sz="1600" dirty="0"/>
              <a:t> Pump Torque </a:t>
            </a:r>
            <a:r>
              <a:rPr lang="en-US" sz="1600" dirty="0"/>
              <a:t>and </a:t>
            </a:r>
            <a:r>
              <a:rPr lang="en-AU" sz="1600" dirty="0"/>
              <a:t>Maximum Daily Pump Torque</a:t>
            </a:r>
            <a:r>
              <a:rPr lang="en-US" sz="1600" dirty="0"/>
              <a:t> increases would be the major indicators of pump failure per descriptive statistics (shown as yellow and blue below)</a:t>
            </a:r>
          </a:p>
        </p:txBody>
      </p:sp>
      <p:cxnSp>
        <p:nvCxnSpPr>
          <p:cNvPr id="104" name="Google Shape;104;p5"/>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06" name="Google Shape;106;p5"/>
          <p:cNvSpPr/>
          <p:nvPr/>
        </p:nvSpPr>
        <p:spPr>
          <a:xfrm>
            <a:off x="5464366" y="1355536"/>
            <a:ext cx="2963538"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07" name="Google Shape;107;p5"/>
          <p:cNvSpPr txBox="1"/>
          <p:nvPr/>
        </p:nvSpPr>
        <p:spPr>
          <a:xfrm>
            <a:off x="5414790" y="1047759"/>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cxnSp>
        <p:nvCxnSpPr>
          <p:cNvPr id="108" name="Google Shape;108;p5"/>
          <p:cNvCxnSpPr/>
          <p:nvPr/>
        </p:nvCxnSpPr>
        <p:spPr>
          <a:xfrm>
            <a:off x="4979624" y="1134737"/>
            <a:ext cx="0" cy="5056743"/>
          </a:xfrm>
          <a:prstGeom prst="straightConnector1">
            <a:avLst/>
          </a:prstGeom>
          <a:noFill/>
          <a:ln w="25400" cap="flat" cmpd="sng">
            <a:solidFill>
              <a:srgbClr val="000000"/>
            </a:solidFill>
            <a:prstDash val="solid"/>
            <a:round/>
            <a:headEnd type="none" w="sm" len="sm"/>
            <a:tailEnd type="none" w="sm" len="sm"/>
          </a:ln>
        </p:spPr>
      </p:cxnSp>
      <p:sp>
        <p:nvSpPr>
          <p:cNvPr id="109" name="Google Shape;109;p5"/>
          <p:cNvSpPr txBox="1"/>
          <p:nvPr/>
        </p:nvSpPr>
        <p:spPr>
          <a:xfrm>
            <a:off x="5464366" y="1403666"/>
            <a:ext cx="2963538" cy="3231614"/>
          </a:xfrm>
          <a:prstGeom prst="rect">
            <a:avLst/>
          </a:prstGeom>
          <a:noFill/>
          <a:ln>
            <a:noFill/>
          </a:ln>
        </p:spPr>
        <p:txBody>
          <a:bodyPr spcFirstLastPara="1" wrap="square" lIns="91425" tIns="45700" rIns="91425" bIns="45700" anchor="t" anchorCtr="0">
            <a:spAutoFit/>
          </a:bodyPr>
          <a:lstStyle/>
          <a:p>
            <a:pPr marL="285750" lvl="0" indent="-285750">
              <a:buClr>
                <a:schemeClr val="dk1"/>
              </a:buClr>
              <a:buSzPts val="1400"/>
              <a:buFont typeface="Noto Sans Symbols"/>
              <a:buChar char="▪"/>
            </a:pPr>
            <a:r>
              <a:rPr lang="en-AU" dirty="0" err="1"/>
              <a:t>Surjek</a:t>
            </a:r>
            <a:r>
              <a:rPr lang="en-AU" dirty="0"/>
              <a:t> Pump Torque</a:t>
            </a:r>
            <a:r>
              <a:rPr lang="en-US" dirty="0">
                <a:solidFill>
                  <a:schemeClr val="dk1"/>
                </a:solidFill>
              </a:rPr>
              <a:t> triples when a pump failure happens</a:t>
            </a:r>
          </a:p>
          <a:p>
            <a:pPr marL="285750" lvl="0" indent="-285750">
              <a:buClr>
                <a:schemeClr val="dk1"/>
              </a:buClr>
              <a:buSzPts val="1400"/>
              <a:buFont typeface="Noto Sans Symbols"/>
              <a:buChar char="▪"/>
            </a:pPr>
            <a:r>
              <a:rPr lang="en-AU" dirty="0"/>
              <a:t>Maximum Daily Pump Torque</a:t>
            </a:r>
            <a:r>
              <a:rPr lang="en-US" dirty="0">
                <a:solidFill>
                  <a:schemeClr val="dk1"/>
                </a:solidFill>
              </a:rPr>
              <a:t> triples when a pump failure happens</a:t>
            </a:r>
          </a:p>
          <a:p>
            <a:pPr marL="285750" marR="0" lvl="0" indent="-285750" algn="l" rtl="0">
              <a:spcBef>
                <a:spcPts val="0"/>
              </a:spcBef>
              <a:spcAft>
                <a:spcPts val="0"/>
              </a:spcAft>
              <a:buClr>
                <a:schemeClr val="dk1"/>
              </a:buClr>
              <a:buSzPts val="1400"/>
              <a:buFont typeface="Noto Sans Symbols"/>
              <a:buChar char="▪"/>
            </a:pPr>
            <a:endParaRPr lang="en-US" dirty="0">
              <a:solidFill>
                <a:schemeClr val="dk1"/>
              </a:solidFill>
            </a:endParaRPr>
          </a:p>
          <a:p>
            <a:pPr marL="285750" marR="0" lvl="0" indent="-285750" algn="l" rtl="0">
              <a:spcBef>
                <a:spcPts val="0"/>
              </a:spcBef>
              <a:spcAft>
                <a:spcPts val="0"/>
              </a:spcAft>
              <a:buClr>
                <a:schemeClr val="dk1"/>
              </a:buClr>
              <a:buSzPts val="1400"/>
              <a:buFont typeface="Noto Sans Symbols"/>
              <a:buChar char="▪"/>
            </a:pPr>
            <a:endParaRPr lang="en-US" dirty="0">
              <a:solidFill>
                <a:schemeClr val="dk1"/>
              </a:solidFill>
            </a:endParaRPr>
          </a:p>
          <a:p>
            <a:pPr marL="285750" marR="0" lvl="0" indent="-285750" algn="l" rtl="0">
              <a:spcBef>
                <a:spcPts val="0"/>
              </a:spcBef>
              <a:spcAft>
                <a:spcPts val="0"/>
              </a:spcAft>
              <a:buClr>
                <a:schemeClr val="dk1"/>
              </a:buClr>
              <a:buSzPts val="1400"/>
              <a:buFont typeface="Noto Sans Symbols"/>
              <a:buChar char="▪"/>
            </a:pPr>
            <a:r>
              <a:rPr lang="en-US" dirty="0">
                <a:solidFill>
                  <a:schemeClr val="dk1"/>
                </a:solidFill>
              </a:rPr>
              <a:t>Torque metrics are clear indicators of pump failure per our box plots for Failure = YES and Failure = NO</a:t>
            </a:r>
            <a:endParaRPr dirty="0"/>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0E2B6540-EB68-164D-9E96-AC6468860F49}"/>
                  </a:ext>
                </a:extLst>
              </p:cNvPr>
              <p:cNvGraphicFramePr/>
              <p:nvPr>
                <p:extLst>
                  <p:ext uri="{D42A27DB-BD31-4B8C-83A1-F6EECF244321}">
                    <p14:modId xmlns:p14="http://schemas.microsoft.com/office/powerpoint/2010/main" val="3793996261"/>
                  </p:ext>
                </p:extLst>
              </p:nvPr>
            </p:nvGraphicFramePr>
            <p:xfrm>
              <a:off x="323150" y="1187522"/>
              <a:ext cx="4191000" cy="2599618"/>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9" name="Chart 8">
                <a:extLst>
                  <a:ext uri="{FF2B5EF4-FFF2-40B4-BE49-F238E27FC236}">
                    <a16:creationId xmlns:a16="http://schemas.microsoft.com/office/drawing/2014/main" id="{0E2B6540-EB68-164D-9E96-AC6468860F49}"/>
                  </a:ext>
                </a:extLst>
              </p:cNvPr>
              <p:cNvPicPr>
                <a:picLocks noGrp="1" noRot="1" noChangeAspect="1" noMove="1" noResize="1" noEditPoints="1" noAdjustHandles="1" noChangeArrowheads="1" noChangeShapeType="1"/>
              </p:cNvPicPr>
              <p:nvPr/>
            </p:nvPicPr>
            <p:blipFill>
              <a:blip r:embed="rId4"/>
              <a:stretch>
                <a:fillRect/>
              </a:stretch>
            </p:blipFill>
            <p:spPr>
              <a:xfrm>
                <a:off x="323150" y="1187522"/>
                <a:ext cx="4191000" cy="2599618"/>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9D5D00BE-D42C-954B-B1D1-B1B9E30A59A0}"/>
                  </a:ext>
                </a:extLst>
              </p:cNvPr>
              <p:cNvGraphicFramePr/>
              <p:nvPr>
                <p:extLst>
                  <p:ext uri="{D42A27DB-BD31-4B8C-83A1-F6EECF244321}">
                    <p14:modId xmlns:p14="http://schemas.microsoft.com/office/powerpoint/2010/main" val="3738769615"/>
                  </p:ext>
                </p:extLst>
              </p:nvPr>
            </p:nvGraphicFramePr>
            <p:xfrm>
              <a:off x="312746" y="3787140"/>
              <a:ext cx="4572000" cy="2404333"/>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10" name="Chart 9">
                <a:extLst>
                  <a:ext uri="{FF2B5EF4-FFF2-40B4-BE49-F238E27FC236}">
                    <a16:creationId xmlns:a16="http://schemas.microsoft.com/office/drawing/2014/main" id="{9D5D00BE-D42C-954B-B1D1-B1B9E30A59A0}"/>
                  </a:ext>
                </a:extLst>
              </p:cNvPr>
              <p:cNvPicPr>
                <a:picLocks noGrp="1" noRot="1" noChangeAspect="1" noMove="1" noResize="1" noEditPoints="1" noAdjustHandles="1" noChangeArrowheads="1" noChangeShapeType="1"/>
              </p:cNvPicPr>
              <p:nvPr/>
            </p:nvPicPr>
            <p:blipFill>
              <a:blip r:embed="rId6"/>
              <a:stretch>
                <a:fillRect/>
              </a:stretch>
            </p:blipFill>
            <p:spPr>
              <a:xfrm>
                <a:off x="312746" y="3787140"/>
                <a:ext cx="4572000" cy="2404333"/>
              </a:xfrm>
              <a:prstGeom prst="rect">
                <a:avLst/>
              </a:prstGeom>
            </p:spPr>
          </p:pic>
        </mc:Fallback>
      </mc:AlternateContent>
      <p:sp>
        <p:nvSpPr>
          <p:cNvPr id="2" name="TextBox 1">
            <a:extLst>
              <a:ext uri="{FF2B5EF4-FFF2-40B4-BE49-F238E27FC236}">
                <a16:creationId xmlns:a16="http://schemas.microsoft.com/office/drawing/2014/main" id="{4B36B0AF-C9C2-544D-98CA-59A0B7FDA7BD}"/>
              </a:ext>
            </a:extLst>
          </p:cNvPr>
          <p:cNvSpPr txBox="1"/>
          <p:nvPr/>
        </p:nvSpPr>
        <p:spPr>
          <a:xfrm>
            <a:off x="2145979" y="1187522"/>
            <a:ext cx="545342" cy="307777"/>
          </a:xfrm>
          <a:prstGeom prst="rect">
            <a:avLst/>
          </a:prstGeom>
          <a:noFill/>
        </p:spPr>
        <p:txBody>
          <a:bodyPr wrap="none" rtlCol="0">
            <a:spAutoFit/>
          </a:bodyPr>
          <a:lstStyle/>
          <a:p>
            <a:r>
              <a:rPr lang="en-US" b="1" dirty="0"/>
              <a:t>YES</a:t>
            </a:r>
          </a:p>
        </p:txBody>
      </p:sp>
      <p:sp>
        <p:nvSpPr>
          <p:cNvPr id="3" name="Rectangle 2">
            <a:extLst>
              <a:ext uri="{FF2B5EF4-FFF2-40B4-BE49-F238E27FC236}">
                <a16:creationId xmlns:a16="http://schemas.microsoft.com/office/drawing/2014/main" id="{03B04B1B-9251-174D-B0E5-A58EE2A71F26}"/>
              </a:ext>
            </a:extLst>
          </p:cNvPr>
          <p:cNvSpPr/>
          <p:nvPr/>
        </p:nvSpPr>
        <p:spPr>
          <a:xfrm>
            <a:off x="2377757" y="3808185"/>
            <a:ext cx="453970" cy="307777"/>
          </a:xfrm>
          <a:prstGeom prst="rect">
            <a:avLst/>
          </a:prstGeom>
        </p:spPr>
        <p:txBody>
          <a:bodyPr wrap="none">
            <a:spAutoFit/>
          </a:bodyPr>
          <a:lstStyle/>
          <a:p>
            <a:r>
              <a:rPr lang="en-US" b="1" dirty="0"/>
              <a:t>NO</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6"/>
          <p:cNvSpPr txBox="1">
            <a:spLocks noGrp="1"/>
          </p:cNvSpPr>
          <p:nvPr>
            <p:ph type="title"/>
          </p:nvPr>
        </p:nvSpPr>
        <p:spPr>
          <a:xfrm>
            <a:off x="171451" y="230188"/>
            <a:ext cx="8618537" cy="55399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Flow Meter 2, Maximum Daily Pump Torque and </a:t>
            </a:r>
            <a:r>
              <a:rPr lang="en-AU" sz="1800" dirty="0" err="1"/>
              <a:t>Surjek</a:t>
            </a:r>
            <a:r>
              <a:rPr lang="en-AU" sz="1800" dirty="0"/>
              <a:t> Pump Torque are the main indicators of pump failure per inferential statistics</a:t>
            </a:r>
            <a:endParaRPr dirty="0"/>
          </a:p>
        </p:txBody>
      </p:sp>
      <p:cxnSp>
        <p:nvCxnSpPr>
          <p:cNvPr id="115" name="Google Shape;115;p6"/>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16" name="Google Shape;116;p6"/>
          <p:cNvSpPr/>
          <p:nvPr/>
        </p:nvSpPr>
        <p:spPr>
          <a:xfrm>
            <a:off x="5464366" y="1355536"/>
            <a:ext cx="2963538"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17" name="Google Shape;117;p6"/>
          <p:cNvSpPr txBox="1"/>
          <p:nvPr/>
        </p:nvSpPr>
        <p:spPr>
          <a:xfrm>
            <a:off x="5414790" y="1047759"/>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cxnSp>
        <p:nvCxnSpPr>
          <p:cNvPr id="118" name="Google Shape;118;p6"/>
          <p:cNvCxnSpPr/>
          <p:nvPr/>
        </p:nvCxnSpPr>
        <p:spPr>
          <a:xfrm>
            <a:off x="4979624" y="1134737"/>
            <a:ext cx="0" cy="5056743"/>
          </a:xfrm>
          <a:prstGeom prst="straightConnector1">
            <a:avLst/>
          </a:prstGeom>
          <a:noFill/>
          <a:ln w="25400" cap="flat" cmpd="sng">
            <a:solidFill>
              <a:srgbClr val="000000"/>
            </a:solidFill>
            <a:prstDash val="solid"/>
            <a:round/>
            <a:headEnd type="none" w="sm" len="sm"/>
            <a:tailEnd type="none" w="sm" len="sm"/>
          </a:ln>
        </p:spPr>
      </p:cxnSp>
      <p:sp>
        <p:nvSpPr>
          <p:cNvPr id="119" name="Google Shape;119;p6"/>
          <p:cNvSpPr txBox="1"/>
          <p:nvPr/>
        </p:nvSpPr>
        <p:spPr>
          <a:xfrm>
            <a:off x="5464366" y="1403666"/>
            <a:ext cx="2963538" cy="3754834"/>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400"/>
              <a:buFont typeface="Noto Sans Symbols"/>
              <a:buChar char="▪"/>
            </a:pPr>
            <a:r>
              <a:rPr lang="en-US" sz="1400" dirty="0">
                <a:solidFill>
                  <a:schemeClr val="dk1"/>
                </a:solidFill>
                <a:latin typeface="Arial"/>
                <a:ea typeface="Arial"/>
                <a:cs typeface="Arial"/>
                <a:sym typeface="Arial"/>
              </a:rPr>
              <a:t>SURJEK_FLOW_METER_2, MAXIMUM_DAILY_PUMP_TORQUE, and SURJEK_PUMP TORQUE are correlated the most with pump failures with scores close to 0.60</a:t>
            </a:r>
          </a:p>
          <a:p>
            <a:pPr marL="285750" marR="0" lvl="0" indent="-285750" algn="l" rtl="0">
              <a:spcBef>
                <a:spcPts val="0"/>
              </a:spcBef>
              <a:spcAft>
                <a:spcPts val="0"/>
              </a:spcAft>
              <a:buClr>
                <a:schemeClr val="dk1"/>
              </a:buClr>
              <a:buSzPts val="1400"/>
              <a:buFont typeface="Noto Sans Symbols"/>
              <a:buChar char="▪"/>
            </a:pPr>
            <a:r>
              <a:rPr lang="en-US" dirty="0">
                <a:solidFill>
                  <a:schemeClr val="dk1"/>
                </a:solidFill>
              </a:rPr>
              <a:t>SURJEK_FLOW_METER_1 and ROTATIONAL_PUMP_RPM might be considered as secondary metrics that correlates to pump failure with scores 0.40 and 0.20 respectively.</a:t>
            </a:r>
            <a:endParaRPr dirty="0"/>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p:graphicFrame>
        <p:nvGraphicFramePr>
          <p:cNvPr id="12" name="Chart 11">
            <a:extLst>
              <a:ext uri="{FF2B5EF4-FFF2-40B4-BE49-F238E27FC236}">
                <a16:creationId xmlns:a16="http://schemas.microsoft.com/office/drawing/2014/main" id="{4D7E3CF3-2E37-044B-94FD-EFC1CD836A7D}"/>
              </a:ext>
            </a:extLst>
          </p:cNvPr>
          <p:cNvGraphicFramePr>
            <a:graphicFrameLocks/>
          </p:cNvGraphicFramePr>
          <p:nvPr>
            <p:extLst>
              <p:ext uri="{D42A27DB-BD31-4B8C-83A1-F6EECF244321}">
                <p14:modId xmlns:p14="http://schemas.microsoft.com/office/powerpoint/2010/main" val="3387616386"/>
              </p:ext>
            </p:extLst>
          </p:nvPr>
        </p:nvGraphicFramePr>
        <p:xfrm>
          <a:off x="171451" y="1762135"/>
          <a:ext cx="4548515" cy="34644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6A706-5350-5342-BAF9-31774CE59D1E}"/>
              </a:ext>
            </a:extLst>
          </p:cNvPr>
          <p:cNvSpPr>
            <a:spLocks noGrp="1"/>
          </p:cNvSpPr>
          <p:nvPr>
            <p:ph type="title"/>
          </p:nvPr>
        </p:nvSpPr>
        <p:spPr/>
        <p:txBody>
          <a:bodyPr/>
          <a:lstStyle/>
          <a:p>
            <a:r>
              <a:rPr lang="en-US" dirty="0"/>
              <a:t>Plot of Actual Failures vs Regression Results</a:t>
            </a:r>
          </a:p>
        </p:txBody>
      </p:sp>
      <p:graphicFrame>
        <p:nvGraphicFramePr>
          <p:cNvPr id="7" name="Chart 6">
            <a:extLst>
              <a:ext uri="{FF2B5EF4-FFF2-40B4-BE49-F238E27FC236}">
                <a16:creationId xmlns:a16="http://schemas.microsoft.com/office/drawing/2014/main" id="{BB9025A0-3F00-42D9-932B-9C58F7B6A652}"/>
              </a:ext>
            </a:extLst>
          </p:cNvPr>
          <p:cNvGraphicFramePr>
            <a:graphicFrameLocks/>
          </p:cNvGraphicFramePr>
          <p:nvPr>
            <p:extLst>
              <p:ext uri="{D42A27DB-BD31-4B8C-83A1-F6EECF244321}">
                <p14:modId xmlns:p14="http://schemas.microsoft.com/office/powerpoint/2010/main" val="2226556868"/>
              </p:ext>
            </p:extLst>
          </p:nvPr>
        </p:nvGraphicFramePr>
        <p:xfrm>
          <a:off x="-2559077" y="881349"/>
          <a:ext cx="14079591" cy="5840126"/>
        </p:xfrm>
        <a:graphic>
          <a:graphicData uri="http://schemas.openxmlformats.org/drawingml/2006/chart">
            <c:chart xmlns:c="http://schemas.openxmlformats.org/drawingml/2006/chart" xmlns:r="http://schemas.openxmlformats.org/officeDocument/2006/relationships" r:id="rId2"/>
          </a:graphicData>
        </a:graphic>
      </p:graphicFrame>
      <p:sp>
        <p:nvSpPr>
          <p:cNvPr id="4" name="Google Shape;90;p4">
            <a:extLst>
              <a:ext uri="{FF2B5EF4-FFF2-40B4-BE49-F238E27FC236}">
                <a16:creationId xmlns:a16="http://schemas.microsoft.com/office/drawing/2014/main" id="{7634207D-0E51-AA4D-AC30-D87D92BF03F0}"/>
              </a:ext>
            </a:extLst>
          </p:cNvPr>
          <p:cNvSpPr/>
          <p:nvPr/>
        </p:nvSpPr>
        <p:spPr>
          <a:xfrm>
            <a:off x="2779646" y="1713518"/>
            <a:ext cx="3590619" cy="1647219"/>
          </a:xfrm>
          <a:prstGeom prst="rect">
            <a:avLst/>
          </a:prstGeom>
          <a:solidFill>
            <a:srgbClr val="F2F2F2">
              <a:alpha val="84705"/>
            </a:srgbClr>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lvl="0">
              <a:buSzPts val="1400"/>
            </a:pPr>
            <a:r>
              <a:rPr lang="en-US" sz="1800" b="1" dirty="0"/>
              <a:t>We can roughly anticipate the pump failures with our regression equation, but we might have false positives as marked. </a:t>
            </a:r>
          </a:p>
        </p:txBody>
      </p:sp>
      <p:sp>
        <p:nvSpPr>
          <p:cNvPr id="6" name="Right Arrow 5">
            <a:extLst>
              <a:ext uri="{FF2B5EF4-FFF2-40B4-BE49-F238E27FC236}">
                <a16:creationId xmlns:a16="http://schemas.microsoft.com/office/drawing/2014/main" id="{50B23BA0-676B-5544-83FE-A7688AE1E267}"/>
              </a:ext>
            </a:extLst>
          </p:cNvPr>
          <p:cNvSpPr/>
          <p:nvPr/>
        </p:nvSpPr>
        <p:spPr>
          <a:xfrm rot="3222741">
            <a:off x="1524000" y="442976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Arrow 7">
            <a:extLst>
              <a:ext uri="{FF2B5EF4-FFF2-40B4-BE49-F238E27FC236}">
                <a16:creationId xmlns:a16="http://schemas.microsoft.com/office/drawing/2014/main" id="{18A97243-7B54-6F4D-9A57-FC0450E2C49E}"/>
              </a:ext>
            </a:extLst>
          </p:cNvPr>
          <p:cNvSpPr/>
          <p:nvPr/>
        </p:nvSpPr>
        <p:spPr>
          <a:xfrm rot="3222741">
            <a:off x="2174241" y="442976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Arrow 8">
            <a:extLst>
              <a:ext uri="{FF2B5EF4-FFF2-40B4-BE49-F238E27FC236}">
                <a16:creationId xmlns:a16="http://schemas.microsoft.com/office/drawing/2014/main" id="{1374FD9D-2274-3C45-A4A9-7510CD416E66}"/>
              </a:ext>
            </a:extLst>
          </p:cNvPr>
          <p:cNvSpPr/>
          <p:nvPr/>
        </p:nvSpPr>
        <p:spPr>
          <a:xfrm rot="3222741">
            <a:off x="4328161" y="442976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a:extLst>
              <a:ext uri="{FF2B5EF4-FFF2-40B4-BE49-F238E27FC236}">
                <a16:creationId xmlns:a16="http://schemas.microsoft.com/office/drawing/2014/main" id="{B55F380C-A22D-1144-9C7C-A436DC3BE08D}"/>
              </a:ext>
            </a:extLst>
          </p:cNvPr>
          <p:cNvSpPr/>
          <p:nvPr/>
        </p:nvSpPr>
        <p:spPr>
          <a:xfrm rot="3222741">
            <a:off x="7007617" y="442976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26004398"/>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0</TotalTime>
  <Words>570</Words>
  <Application>Microsoft Macintosh PowerPoint</Application>
  <PresentationFormat>Custom</PresentationFormat>
  <Paragraphs>55</Paragraphs>
  <Slides>7</Slides>
  <Notes>6</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Noto Sans Symbols</vt:lpstr>
      <vt:lpstr>Quattrocento Sans</vt:lpstr>
      <vt:lpstr>Synergy_CF_YNR002</vt:lpstr>
      <vt:lpstr>1_Synergy_CF_YNR002</vt:lpstr>
      <vt:lpstr>TCLayout.ActiveDocument.1</vt:lpstr>
      <vt:lpstr>Southern Water Corp Case Study  Technical Presentation</vt:lpstr>
      <vt:lpstr>Rising water demand leads to more production - more wear and pump failures. Discovering the reasons of failures will help improving SWC's revenues and EBIT​.</vt:lpstr>
      <vt:lpstr>Flow Meter 2, Pump Torque, Max Daily Pump Torque and RPM are the indicators of pump failure per the rolling standard deviation model, increasing up to 600% during failures.</vt:lpstr>
      <vt:lpstr>We applied Descriptive and Inferential statistics to uncover which metrics could be the indicators of pump failure</vt:lpstr>
      <vt:lpstr>Surjek Pump Torque and Maximum Daily Pump Torque increases would be the major indicators of pump failure per descriptive statistics (shown as yellow and blue below)</vt:lpstr>
      <vt:lpstr>Flow Meter 2, Maximum Daily Pump Torque and Surjek Pump Torque are the main indicators of pump failure per inferential statistics</vt:lpstr>
      <vt:lpstr>Plot of Actual Failures vs Regression Resul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Technical Presentation</dc:title>
  <dc:creator>Chris Hui</dc:creator>
  <cp:lastModifiedBy>Hande Utku</cp:lastModifiedBy>
  <cp:revision>19</cp:revision>
  <dcterms:created xsi:type="dcterms:W3CDTF">2015-09-14T11:37:31Z</dcterms:created>
  <dcterms:modified xsi:type="dcterms:W3CDTF">2020-10-05T21:1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